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4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Override5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Override6.xml" ContentType="application/vnd.openxmlformats-officedocument.themeOverr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7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6"/>
  </p:notesMasterIdLst>
  <p:sldIdLst>
    <p:sldId id="256" r:id="rId2"/>
    <p:sldId id="1691" r:id="rId3"/>
    <p:sldId id="258" r:id="rId4"/>
    <p:sldId id="1708" r:id="rId5"/>
    <p:sldId id="1706" r:id="rId6"/>
    <p:sldId id="1713" r:id="rId7"/>
    <p:sldId id="1693" r:id="rId8"/>
    <p:sldId id="1688" r:id="rId9"/>
    <p:sldId id="1717" r:id="rId10"/>
    <p:sldId id="1694" r:id="rId11"/>
    <p:sldId id="1711" r:id="rId12"/>
    <p:sldId id="1710" r:id="rId13"/>
    <p:sldId id="1709" r:id="rId14"/>
    <p:sldId id="1689" r:id="rId15"/>
    <p:sldId id="1695" r:id="rId16"/>
    <p:sldId id="1719" r:id="rId17"/>
    <p:sldId id="1720" r:id="rId18"/>
    <p:sldId id="1718" r:id="rId19"/>
    <p:sldId id="1728" r:id="rId20"/>
    <p:sldId id="1690" r:id="rId21"/>
    <p:sldId id="1732" r:id="rId22"/>
    <p:sldId id="1729" r:id="rId23"/>
    <p:sldId id="1696" r:id="rId24"/>
    <p:sldId id="1726" r:id="rId25"/>
    <p:sldId id="1731" r:id="rId26"/>
    <p:sldId id="1692" r:id="rId27"/>
    <p:sldId id="1735" r:id="rId28"/>
    <p:sldId id="1721" r:id="rId29"/>
    <p:sldId id="1722" r:id="rId30"/>
    <p:sldId id="1733" r:id="rId31"/>
    <p:sldId id="1697" r:id="rId32"/>
    <p:sldId id="261" r:id="rId33"/>
    <p:sldId id="1714" r:id="rId34"/>
    <p:sldId id="1736" r:id="rId35"/>
  </p:sldIdLst>
  <p:sldSz cx="12192000" cy="6858000"/>
  <p:notesSz cx="6858000" cy="9144000"/>
  <p:custDataLst>
    <p:tags r:id="rId3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666D7"/>
    <a:srgbClr val="180D5B"/>
    <a:srgbClr val="36A6B8"/>
    <a:srgbClr val="42E6E0"/>
    <a:srgbClr val="566BD8"/>
    <a:srgbClr val="42E8E0"/>
    <a:srgbClr val="255184"/>
    <a:srgbClr val="2B6C95"/>
    <a:srgbClr val="40DCD9"/>
    <a:srgbClr val="2659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98" d="100"/>
          <a:sy n="98" d="100"/>
        </p:scale>
        <p:origin x="528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11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本素材由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提供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尊重知识产权并注重保护用户享有的各项权利。郑重提醒您：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插件中提供的任何信息内容的所有权、知识产权归其原始权利人或权利受让人所有，您免费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购买获得的是信息内容的使用权，并受下述条款的约束；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1.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您仅可以个人非商业用途使用该等信息内容，不可将信息内容的全部或部分用于出售，或以出租、出借、转让、分销、发布等其他任何方式供他人使用；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2.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禁止在接入互联网或移动互联网的任何网站、平台、应用或程序上以任何方式为他人提供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插件资源内容的下载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The resource is supplied by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iSlide</a:t>
            </a:r>
            <a:r>
              <a:rPr kumimoji="0" lang="en-US" altLang="zh-CN" sz="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 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respects all intellectual property rights and protects all the rights its users acquired. Solemnly remind you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The ownership and intellectual property of the resources supplied in iSlide Add-in belongs to its owner or the assignee of this ownership. you only acquired the usage of the resources supplied in iSlide Add-in, as well as respected the following restrain term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1.You are only allowed to use such resource for personal and non-commercial aim, not allowed to use such resource or part of it for the sale; or rent, lend, transfer to others; or distribution or release it in any wa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2.You are not permitted to provide the resource of iSlide Add-in in any website, platform, application access to the Internet or mobile Internet.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6842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7" name="矩形 9926">
            <a:extLst>
              <a:ext uri="{FF2B5EF4-FFF2-40B4-BE49-F238E27FC236}">
                <a16:creationId xmlns:a16="http://schemas.microsoft.com/office/drawing/2014/main" xmlns="" id="{F722FE8D-4A19-4A18-B1FB-8492B199FD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943402" y="2737940"/>
            <a:ext cx="5087595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rgbClr val="5666D7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943402" y="1525496"/>
            <a:ext cx="5087595" cy="1198382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grpSp>
        <p:nvGrpSpPr>
          <p:cNvPr id="252" name="组合 251">
            <a:extLst>
              <a:ext uri="{FF2B5EF4-FFF2-40B4-BE49-F238E27FC236}">
                <a16:creationId xmlns:a16="http://schemas.microsoft.com/office/drawing/2014/main" xmlns="" id="{839CE1DB-111B-4A2C-A29E-C50E634E2318}"/>
              </a:ext>
            </a:extLst>
          </p:cNvPr>
          <p:cNvGrpSpPr/>
          <p:nvPr userDrawn="1"/>
        </p:nvGrpSpPr>
        <p:grpSpPr>
          <a:xfrm>
            <a:off x="2134335" y="607950"/>
            <a:ext cx="9680127" cy="5377577"/>
            <a:chOff x="4656138" y="2437995"/>
            <a:chExt cx="6846887" cy="3803634"/>
          </a:xfrm>
        </p:grpSpPr>
        <p:sp>
          <p:nvSpPr>
            <p:cNvPr id="196" name="椭圆 195">
              <a:extLst>
                <a:ext uri="{FF2B5EF4-FFF2-40B4-BE49-F238E27FC236}">
                  <a16:creationId xmlns:a16="http://schemas.microsoft.com/office/drawing/2014/main" xmlns="" id="{31287A23-FE6B-487B-8BED-0C677DFB4992}"/>
                </a:ext>
              </a:extLst>
            </p:cNvPr>
            <p:cNvSpPr/>
            <p:nvPr userDrawn="1"/>
          </p:nvSpPr>
          <p:spPr>
            <a:xfrm>
              <a:off x="9791994" y="5509651"/>
              <a:ext cx="564315" cy="317874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17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5" name="椭圆 194">
              <a:extLst>
                <a:ext uri="{FF2B5EF4-FFF2-40B4-BE49-F238E27FC236}">
                  <a16:creationId xmlns:a16="http://schemas.microsoft.com/office/drawing/2014/main" xmlns="" id="{C044A711-CB2C-4F92-A19F-1C38F5CC3EA3}"/>
                </a:ext>
              </a:extLst>
            </p:cNvPr>
            <p:cNvSpPr/>
            <p:nvPr userDrawn="1"/>
          </p:nvSpPr>
          <p:spPr>
            <a:xfrm>
              <a:off x="8951536" y="5923755"/>
              <a:ext cx="564315" cy="317874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17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2" name="椭圆 191">
              <a:extLst>
                <a:ext uri="{FF2B5EF4-FFF2-40B4-BE49-F238E27FC236}">
                  <a16:creationId xmlns:a16="http://schemas.microsoft.com/office/drawing/2014/main" xmlns="" id="{97AC0DD2-E837-4B6C-A8B4-9459081251B9}"/>
                </a:ext>
              </a:extLst>
            </p:cNvPr>
            <p:cNvSpPr/>
            <p:nvPr userDrawn="1"/>
          </p:nvSpPr>
          <p:spPr>
            <a:xfrm>
              <a:off x="7681196" y="5266157"/>
              <a:ext cx="564315" cy="317874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17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99" name="椭圆 4098">
              <a:extLst>
                <a:ext uri="{FF2B5EF4-FFF2-40B4-BE49-F238E27FC236}">
                  <a16:creationId xmlns:a16="http://schemas.microsoft.com/office/drawing/2014/main" xmlns="" id="{CCFB4B6B-1FA7-46C9-B4AC-9CA47E3B66ED}"/>
                </a:ext>
              </a:extLst>
            </p:cNvPr>
            <p:cNvSpPr/>
            <p:nvPr userDrawn="1"/>
          </p:nvSpPr>
          <p:spPr>
            <a:xfrm>
              <a:off x="6269331" y="5704329"/>
              <a:ext cx="564315" cy="317874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20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xmlns="" id="{DD7B420F-1711-4A49-A959-C81CD1AFFC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56138" y="4818063"/>
              <a:ext cx="6846887" cy="1335087"/>
            </a:xfrm>
            <a:custGeom>
              <a:avLst/>
              <a:gdLst>
                <a:gd name="T0" fmla="*/ 2059 w 2076"/>
                <a:gd name="T1" fmla="*/ 0 h 404"/>
                <a:gd name="T2" fmla="*/ 2053 w 2076"/>
                <a:gd name="T3" fmla="*/ 2 h 404"/>
                <a:gd name="T4" fmla="*/ 1420 w 2076"/>
                <a:gd name="T5" fmla="*/ 368 h 404"/>
                <a:gd name="T6" fmla="*/ 1388 w 2076"/>
                <a:gd name="T7" fmla="*/ 376 h 404"/>
                <a:gd name="T8" fmla="*/ 1357 w 2076"/>
                <a:gd name="T9" fmla="*/ 368 h 404"/>
                <a:gd name="T10" fmla="*/ 949 w 2076"/>
                <a:gd name="T11" fmla="*/ 132 h 404"/>
                <a:gd name="T12" fmla="*/ 903 w 2076"/>
                <a:gd name="T13" fmla="*/ 120 h 404"/>
                <a:gd name="T14" fmla="*/ 858 w 2076"/>
                <a:gd name="T15" fmla="*/ 132 h 404"/>
                <a:gd name="T16" fmla="*/ 521 w 2076"/>
                <a:gd name="T17" fmla="*/ 326 h 404"/>
                <a:gd name="T18" fmla="*/ 490 w 2076"/>
                <a:gd name="T19" fmla="*/ 335 h 404"/>
                <a:gd name="T20" fmla="*/ 459 w 2076"/>
                <a:gd name="T21" fmla="*/ 326 h 404"/>
                <a:gd name="T22" fmla="*/ 23 w 2076"/>
                <a:gd name="T23" fmla="*/ 75 h 404"/>
                <a:gd name="T24" fmla="*/ 16 w 2076"/>
                <a:gd name="T25" fmla="*/ 73 h 404"/>
                <a:gd name="T26" fmla="*/ 4 w 2076"/>
                <a:gd name="T27" fmla="*/ 80 h 404"/>
                <a:gd name="T28" fmla="*/ 9 w 2076"/>
                <a:gd name="T29" fmla="*/ 99 h 404"/>
                <a:gd name="T30" fmla="*/ 445 w 2076"/>
                <a:gd name="T31" fmla="*/ 351 h 404"/>
                <a:gd name="T32" fmla="*/ 490 w 2076"/>
                <a:gd name="T33" fmla="*/ 363 h 404"/>
                <a:gd name="T34" fmla="*/ 535 w 2076"/>
                <a:gd name="T35" fmla="*/ 351 h 404"/>
                <a:gd name="T36" fmla="*/ 872 w 2076"/>
                <a:gd name="T37" fmla="*/ 156 h 404"/>
                <a:gd name="T38" fmla="*/ 903 w 2076"/>
                <a:gd name="T39" fmla="*/ 148 h 404"/>
                <a:gd name="T40" fmla="*/ 935 w 2076"/>
                <a:gd name="T41" fmla="*/ 156 h 404"/>
                <a:gd name="T42" fmla="*/ 1343 w 2076"/>
                <a:gd name="T43" fmla="*/ 392 h 404"/>
                <a:gd name="T44" fmla="*/ 1388 w 2076"/>
                <a:gd name="T45" fmla="*/ 404 h 404"/>
                <a:gd name="T46" fmla="*/ 1434 w 2076"/>
                <a:gd name="T47" fmla="*/ 392 h 404"/>
                <a:gd name="T48" fmla="*/ 2067 w 2076"/>
                <a:gd name="T49" fmla="*/ 26 h 404"/>
                <a:gd name="T50" fmla="*/ 2072 w 2076"/>
                <a:gd name="T51" fmla="*/ 7 h 404"/>
                <a:gd name="T52" fmla="*/ 2059 w 2076"/>
                <a:gd name="T53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76" h="404">
                  <a:moveTo>
                    <a:pt x="2059" y="0"/>
                  </a:moveTo>
                  <a:cubicBezTo>
                    <a:pt x="2057" y="0"/>
                    <a:pt x="2055" y="1"/>
                    <a:pt x="2053" y="2"/>
                  </a:cubicBezTo>
                  <a:cubicBezTo>
                    <a:pt x="1420" y="368"/>
                    <a:pt x="1420" y="368"/>
                    <a:pt x="1420" y="368"/>
                  </a:cubicBezTo>
                  <a:cubicBezTo>
                    <a:pt x="1410" y="373"/>
                    <a:pt x="1399" y="376"/>
                    <a:pt x="1388" y="376"/>
                  </a:cubicBezTo>
                  <a:cubicBezTo>
                    <a:pt x="1378" y="376"/>
                    <a:pt x="1367" y="373"/>
                    <a:pt x="1357" y="368"/>
                  </a:cubicBezTo>
                  <a:cubicBezTo>
                    <a:pt x="949" y="132"/>
                    <a:pt x="949" y="132"/>
                    <a:pt x="949" y="132"/>
                  </a:cubicBezTo>
                  <a:cubicBezTo>
                    <a:pt x="935" y="124"/>
                    <a:pt x="919" y="120"/>
                    <a:pt x="903" y="120"/>
                  </a:cubicBezTo>
                  <a:cubicBezTo>
                    <a:pt x="888" y="120"/>
                    <a:pt x="872" y="124"/>
                    <a:pt x="858" y="132"/>
                  </a:cubicBezTo>
                  <a:cubicBezTo>
                    <a:pt x="521" y="326"/>
                    <a:pt x="521" y="326"/>
                    <a:pt x="521" y="326"/>
                  </a:cubicBezTo>
                  <a:cubicBezTo>
                    <a:pt x="511" y="332"/>
                    <a:pt x="501" y="335"/>
                    <a:pt x="490" y="335"/>
                  </a:cubicBezTo>
                  <a:cubicBezTo>
                    <a:pt x="479" y="335"/>
                    <a:pt x="468" y="332"/>
                    <a:pt x="459" y="326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1" y="74"/>
                    <a:pt x="19" y="73"/>
                    <a:pt x="16" y="73"/>
                  </a:cubicBezTo>
                  <a:cubicBezTo>
                    <a:pt x="11" y="73"/>
                    <a:pt x="7" y="76"/>
                    <a:pt x="4" y="80"/>
                  </a:cubicBezTo>
                  <a:cubicBezTo>
                    <a:pt x="0" y="87"/>
                    <a:pt x="3" y="95"/>
                    <a:pt x="9" y="99"/>
                  </a:cubicBezTo>
                  <a:cubicBezTo>
                    <a:pt x="445" y="351"/>
                    <a:pt x="445" y="351"/>
                    <a:pt x="445" y="351"/>
                  </a:cubicBezTo>
                  <a:cubicBezTo>
                    <a:pt x="459" y="359"/>
                    <a:pt x="474" y="363"/>
                    <a:pt x="490" y="363"/>
                  </a:cubicBezTo>
                  <a:cubicBezTo>
                    <a:pt x="506" y="363"/>
                    <a:pt x="521" y="359"/>
                    <a:pt x="535" y="351"/>
                  </a:cubicBezTo>
                  <a:cubicBezTo>
                    <a:pt x="872" y="156"/>
                    <a:pt x="872" y="156"/>
                    <a:pt x="872" y="156"/>
                  </a:cubicBezTo>
                  <a:cubicBezTo>
                    <a:pt x="882" y="150"/>
                    <a:pt x="893" y="148"/>
                    <a:pt x="903" y="148"/>
                  </a:cubicBezTo>
                  <a:cubicBezTo>
                    <a:pt x="914" y="148"/>
                    <a:pt x="925" y="150"/>
                    <a:pt x="935" y="156"/>
                  </a:cubicBezTo>
                  <a:cubicBezTo>
                    <a:pt x="1343" y="392"/>
                    <a:pt x="1343" y="392"/>
                    <a:pt x="1343" y="392"/>
                  </a:cubicBezTo>
                  <a:cubicBezTo>
                    <a:pt x="1357" y="400"/>
                    <a:pt x="1373" y="404"/>
                    <a:pt x="1388" y="404"/>
                  </a:cubicBezTo>
                  <a:cubicBezTo>
                    <a:pt x="1404" y="404"/>
                    <a:pt x="1420" y="400"/>
                    <a:pt x="1434" y="392"/>
                  </a:cubicBezTo>
                  <a:cubicBezTo>
                    <a:pt x="2067" y="26"/>
                    <a:pt x="2067" y="26"/>
                    <a:pt x="2067" y="26"/>
                  </a:cubicBezTo>
                  <a:cubicBezTo>
                    <a:pt x="2073" y="23"/>
                    <a:pt x="2076" y="14"/>
                    <a:pt x="2072" y="7"/>
                  </a:cubicBezTo>
                  <a:cubicBezTo>
                    <a:pt x="2069" y="3"/>
                    <a:pt x="2064" y="0"/>
                    <a:pt x="2059" y="0"/>
                  </a:cubicBezTo>
                </a:path>
              </a:pathLst>
            </a:custGeom>
            <a:gradFill>
              <a:gsLst>
                <a:gs pos="74000">
                  <a:srgbClr val="2D7C9E">
                    <a:alpha val="50000"/>
                  </a:srgbClr>
                </a:gs>
                <a:gs pos="37000">
                  <a:srgbClr val="41E4DE">
                    <a:alpha val="50000"/>
                  </a:srgbClr>
                </a:gs>
                <a:gs pos="0">
                  <a:srgbClr val="19145F">
                    <a:alpha val="50000"/>
                  </a:srgbClr>
                </a:gs>
                <a:gs pos="100000">
                  <a:srgbClr val="19125E">
                    <a:alpha val="50000"/>
                  </a:srgbClr>
                </a:gs>
              </a:gsLst>
              <a:lin ang="0" scaled="0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xmlns="" id="{01C9163C-CB87-4DDA-A749-1A8F5B9D2AB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40638" y="3989388"/>
              <a:ext cx="3186112" cy="1830387"/>
            </a:xfrm>
            <a:custGeom>
              <a:avLst/>
              <a:gdLst>
                <a:gd name="T0" fmla="*/ 483 w 966"/>
                <a:gd name="T1" fmla="*/ 466 h 554"/>
                <a:gd name="T2" fmla="*/ 157 w 966"/>
                <a:gd name="T3" fmla="*/ 277 h 554"/>
                <a:gd name="T4" fmla="*/ 483 w 966"/>
                <a:gd name="T5" fmla="*/ 89 h 554"/>
                <a:gd name="T6" fmla="*/ 810 w 966"/>
                <a:gd name="T7" fmla="*/ 277 h 554"/>
                <a:gd name="T8" fmla="*/ 483 w 966"/>
                <a:gd name="T9" fmla="*/ 466 h 554"/>
                <a:gd name="T10" fmla="*/ 483 w 966"/>
                <a:gd name="T11" fmla="*/ 48 h 554"/>
                <a:gd name="T12" fmla="*/ 472 w 966"/>
                <a:gd name="T13" fmla="*/ 51 h 554"/>
                <a:gd name="T14" fmla="*/ 82 w 966"/>
                <a:gd name="T15" fmla="*/ 276 h 554"/>
                <a:gd name="T16" fmla="*/ 81 w 966"/>
                <a:gd name="T17" fmla="*/ 277 h 554"/>
                <a:gd name="T18" fmla="*/ 82 w 966"/>
                <a:gd name="T19" fmla="*/ 278 h 554"/>
                <a:gd name="T20" fmla="*/ 472 w 966"/>
                <a:gd name="T21" fmla="*/ 503 h 554"/>
                <a:gd name="T22" fmla="*/ 472 w 966"/>
                <a:gd name="T23" fmla="*/ 503 h 554"/>
                <a:gd name="T24" fmla="*/ 483 w 966"/>
                <a:gd name="T25" fmla="*/ 506 h 554"/>
                <a:gd name="T26" fmla="*/ 494 w 966"/>
                <a:gd name="T27" fmla="*/ 503 h 554"/>
                <a:gd name="T28" fmla="*/ 884 w 966"/>
                <a:gd name="T29" fmla="*/ 278 h 554"/>
                <a:gd name="T30" fmla="*/ 885 w 966"/>
                <a:gd name="T31" fmla="*/ 277 h 554"/>
                <a:gd name="T32" fmla="*/ 884 w 966"/>
                <a:gd name="T33" fmla="*/ 276 h 554"/>
                <a:gd name="T34" fmla="*/ 494 w 966"/>
                <a:gd name="T35" fmla="*/ 51 h 554"/>
                <a:gd name="T36" fmla="*/ 483 w 966"/>
                <a:gd name="T37" fmla="*/ 48 h 554"/>
                <a:gd name="T38" fmla="*/ 483 w 966"/>
                <a:gd name="T39" fmla="*/ 518 h 554"/>
                <a:gd name="T40" fmla="*/ 466 w 966"/>
                <a:gd name="T41" fmla="*/ 514 h 554"/>
                <a:gd name="T42" fmla="*/ 466 w 966"/>
                <a:gd name="T43" fmla="*/ 514 h 554"/>
                <a:gd name="T44" fmla="*/ 76 w 966"/>
                <a:gd name="T45" fmla="*/ 289 h 554"/>
                <a:gd name="T46" fmla="*/ 69 w 966"/>
                <a:gd name="T47" fmla="*/ 277 h 554"/>
                <a:gd name="T48" fmla="*/ 76 w 966"/>
                <a:gd name="T49" fmla="*/ 266 h 554"/>
                <a:gd name="T50" fmla="*/ 466 w 966"/>
                <a:gd name="T51" fmla="*/ 41 h 554"/>
                <a:gd name="T52" fmla="*/ 483 w 966"/>
                <a:gd name="T53" fmla="*/ 36 h 554"/>
                <a:gd name="T54" fmla="*/ 500 w 966"/>
                <a:gd name="T55" fmla="*/ 41 h 554"/>
                <a:gd name="T56" fmla="*/ 890 w 966"/>
                <a:gd name="T57" fmla="*/ 266 h 554"/>
                <a:gd name="T58" fmla="*/ 897 w 966"/>
                <a:gd name="T59" fmla="*/ 277 h 554"/>
                <a:gd name="T60" fmla="*/ 890 w 966"/>
                <a:gd name="T61" fmla="*/ 289 h 554"/>
                <a:gd name="T62" fmla="*/ 500 w 966"/>
                <a:gd name="T63" fmla="*/ 514 h 554"/>
                <a:gd name="T64" fmla="*/ 483 w 966"/>
                <a:gd name="T65" fmla="*/ 518 h 554"/>
                <a:gd name="T66" fmla="*/ 483 w 966"/>
                <a:gd name="T67" fmla="*/ 0 h 554"/>
                <a:gd name="T68" fmla="*/ 462 w 966"/>
                <a:gd name="T69" fmla="*/ 6 h 554"/>
                <a:gd name="T70" fmla="*/ 7 w 966"/>
                <a:gd name="T71" fmla="*/ 269 h 554"/>
                <a:gd name="T72" fmla="*/ 7 w 966"/>
                <a:gd name="T73" fmla="*/ 286 h 554"/>
                <a:gd name="T74" fmla="*/ 462 w 966"/>
                <a:gd name="T75" fmla="*/ 548 h 554"/>
                <a:gd name="T76" fmla="*/ 483 w 966"/>
                <a:gd name="T77" fmla="*/ 554 h 554"/>
                <a:gd name="T78" fmla="*/ 505 w 966"/>
                <a:gd name="T79" fmla="*/ 548 h 554"/>
                <a:gd name="T80" fmla="*/ 960 w 966"/>
                <a:gd name="T81" fmla="*/ 286 h 554"/>
                <a:gd name="T82" fmla="*/ 960 w 966"/>
                <a:gd name="T83" fmla="*/ 269 h 554"/>
                <a:gd name="T84" fmla="*/ 505 w 966"/>
                <a:gd name="T85" fmla="*/ 6 h 554"/>
                <a:gd name="T86" fmla="*/ 483 w 966"/>
                <a:gd name="T87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6" h="554">
                  <a:moveTo>
                    <a:pt x="483" y="466"/>
                  </a:moveTo>
                  <a:cubicBezTo>
                    <a:pt x="157" y="277"/>
                    <a:pt x="157" y="277"/>
                    <a:pt x="157" y="277"/>
                  </a:cubicBezTo>
                  <a:cubicBezTo>
                    <a:pt x="483" y="89"/>
                    <a:pt x="483" y="89"/>
                    <a:pt x="483" y="89"/>
                  </a:cubicBezTo>
                  <a:cubicBezTo>
                    <a:pt x="810" y="277"/>
                    <a:pt x="810" y="277"/>
                    <a:pt x="810" y="277"/>
                  </a:cubicBezTo>
                  <a:cubicBezTo>
                    <a:pt x="483" y="466"/>
                    <a:pt x="483" y="466"/>
                    <a:pt x="483" y="466"/>
                  </a:cubicBezTo>
                  <a:moveTo>
                    <a:pt x="483" y="48"/>
                  </a:moveTo>
                  <a:cubicBezTo>
                    <a:pt x="479" y="48"/>
                    <a:pt x="475" y="49"/>
                    <a:pt x="472" y="51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277"/>
                    <a:pt x="81" y="277"/>
                    <a:pt x="81" y="277"/>
                  </a:cubicBezTo>
                  <a:cubicBezTo>
                    <a:pt x="81" y="278"/>
                    <a:pt x="82" y="278"/>
                    <a:pt x="82" y="278"/>
                  </a:cubicBezTo>
                  <a:cubicBezTo>
                    <a:pt x="472" y="503"/>
                    <a:pt x="472" y="503"/>
                    <a:pt x="472" y="503"/>
                  </a:cubicBezTo>
                  <a:cubicBezTo>
                    <a:pt x="472" y="503"/>
                    <a:pt x="472" y="503"/>
                    <a:pt x="472" y="503"/>
                  </a:cubicBezTo>
                  <a:cubicBezTo>
                    <a:pt x="475" y="505"/>
                    <a:pt x="479" y="506"/>
                    <a:pt x="483" y="506"/>
                  </a:cubicBezTo>
                  <a:cubicBezTo>
                    <a:pt x="487" y="506"/>
                    <a:pt x="491" y="505"/>
                    <a:pt x="494" y="503"/>
                  </a:cubicBezTo>
                  <a:cubicBezTo>
                    <a:pt x="884" y="278"/>
                    <a:pt x="884" y="278"/>
                    <a:pt x="884" y="278"/>
                  </a:cubicBezTo>
                  <a:cubicBezTo>
                    <a:pt x="885" y="278"/>
                    <a:pt x="885" y="278"/>
                    <a:pt x="885" y="277"/>
                  </a:cubicBezTo>
                  <a:cubicBezTo>
                    <a:pt x="885" y="277"/>
                    <a:pt x="885" y="277"/>
                    <a:pt x="884" y="276"/>
                  </a:cubicBezTo>
                  <a:cubicBezTo>
                    <a:pt x="494" y="51"/>
                    <a:pt x="494" y="51"/>
                    <a:pt x="494" y="51"/>
                  </a:cubicBezTo>
                  <a:cubicBezTo>
                    <a:pt x="491" y="49"/>
                    <a:pt x="487" y="48"/>
                    <a:pt x="483" y="48"/>
                  </a:cubicBezTo>
                  <a:moveTo>
                    <a:pt x="483" y="518"/>
                  </a:moveTo>
                  <a:cubicBezTo>
                    <a:pt x="477" y="518"/>
                    <a:pt x="471" y="517"/>
                    <a:pt x="466" y="514"/>
                  </a:cubicBezTo>
                  <a:cubicBezTo>
                    <a:pt x="466" y="514"/>
                    <a:pt x="466" y="514"/>
                    <a:pt x="466" y="514"/>
                  </a:cubicBezTo>
                  <a:cubicBezTo>
                    <a:pt x="76" y="289"/>
                    <a:pt x="76" y="289"/>
                    <a:pt x="76" y="289"/>
                  </a:cubicBezTo>
                  <a:cubicBezTo>
                    <a:pt x="72" y="286"/>
                    <a:pt x="69" y="282"/>
                    <a:pt x="69" y="277"/>
                  </a:cubicBezTo>
                  <a:cubicBezTo>
                    <a:pt x="69" y="273"/>
                    <a:pt x="72" y="268"/>
                    <a:pt x="76" y="266"/>
                  </a:cubicBezTo>
                  <a:cubicBezTo>
                    <a:pt x="466" y="41"/>
                    <a:pt x="466" y="41"/>
                    <a:pt x="466" y="41"/>
                  </a:cubicBezTo>
                  <a:cubicBezTo>
                    <a:pt x="471" y="38"/>
                    <a:pt x="477" y="36"/>
                    <a:pt x="483" y="36"/>
                  </a:cubicBezTo>
                  <a:cubicBezTo>
                    <a:pt x="489" y="36"/>
                    <a:pt x="495" y="38"/>
                    <a:pt x="500" y="41"/>
                  </a:cubicBezTo>
                  <a:cubicBezTo>
                    <a:pt x="890" y="266"/>
                    <a:pt x="890" y="266"/>
                    <a:pt x="890" y="266"/>
                  </a:cubicBezTo>
                  <a:cubicBezTo>
                    <a:pt x="894" y="268"/>
                    <a:pt x="897" y="273"/>
                    <a:pt x="897" y="277"/>
                  </a:cubicBezTo>
                  <a:cubicBezTo>
                    <a:pt x="897" y="282"/>
                    <a:pt x="894" y="286"/>
                    <a:pt x="890" y="289"/>
                  </a:cubicBezTo>
                  <a:cubicBezTo>
                    <a:pt x="500" y="514"/>
                    <a:pt x="500" y="514"/>
                    <a:pt x="500" y="514"/>
                  </a:cubicBezTo>
                  <a:cubicBezTo>
                    <a:pt x="495" y="517"/>
                    <a:pt x="489" y="518"/>
                    <a:pt x="483" y="518"/>
                  </a:cubicBezTo>
                  <a:moveTo>
                    <a:pt x="483" y="0"/>
                  </a:moveTo>
                  <a:cubicBezTo>
                    <a:pt x="476" y="0"/>
                    <a:pt x="468" y="2"/>
                    <a:pt x="462" y="6"/>
                  </a:cubicBezTo>
                  <a:cubicBezTo>
                    <a:pt x="7" y="269"/>
                    <a:pt x="7" y="269"/>
                    <a:pt x="7" y="269"/>
                  </a:cubicBezTo>
                  <a:cubicBezTo>
                    <a:pt x="0" y="273"/>
                    <a:pt x="0" y="282"/>
                    <a:pt x="7" y="286"/>
                  </a:cubicBezTo>
                  <a:cubicBezTo>
                    <a:pt x="462" y="548"/>
                    <a:pt x="462" y="548"/>
                    <a:pt x="462" y="548"/>
                  </a:cubicBezTo>
                  <a:cubicBezTo>
                    <a:pt x="468" y="552"/>
                    <a:pt x="476" y="554"/>
                    <a:pt x="483" y="554"/>
                  </a:cubicBezTo>
                  <a:cubicBezTo>
                    <a:pt x="491" y="554"/>
                    <a:pt x="498" y="552"/>
                    <a:pt x="505" y="548"/>
                  </a:cubicBezTo>
                  <a:cubicBezTo>
                    <a:pt x="960" y="286"/>
                    <a:pt x="960" y="286"/>
                    <a:pt x="960" y="286"/>
                  </a:cubicBezTo>
                  <a:cubicBezTo>
                    <a:pt x="966" y="282"/>
                    <a:pt x="966" y="273"/>
                    <a:pt x="960" y="269"/>
                  </a:cubicBezTo>
                  <a:cubicBezTo>
                    <a:pt x="505" y="6"/>
                    <a:pt x="505" y="6"/>
                    <a:pt x="505" y="6"/>
                  </a:cubicBezTo>
                  <a:cubicBezTo>
                    <a:pt x="498" y="2"/>
                    <a:pt x="491" y="0"/>
                    <a:pt x="483" y="0"/>
                  </a:cubicBezTo>
                </a:path>
              </a:pathLst>
            </a:custGeom>
            <a:solidFill>
              <a:srgbClr val="5E5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xmlns="" id="{FC5F6088-3348-4370-A1D6-28FAA3A584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869238" y="4108450"/>
              <a:ext cx="2730500" cy="1592262"/>
            </a:xfrm>
            <a:custGeom>
              <a:avLst/>
              <a:gdLst>
                <a:gd name="T0" fmla="*/ 403 w 828"/>
                <a:gd name="T1" fmla="*/ 467 h 482"/>
                <a:gd name="T2" fmla="*/ 13 w 828"/>
                <a:gd name="T3" fmla="*/ 242 h 482"/>
                <a:gd name="T4" fmla="*/ 12 w 828"/>
                <a:gd name="T5" fmla="*/ 241 h 482"/>
                <a:gd name="T6" fmla="*/ 13 w 828"/>
                <a:gd name="T7" fmla="*/ 240 h 482"/>
                <a:gd name="T8" fmla="*/ 403 w 828"/>
                <a:gd name="T9" fmla="*/ 15 h 482"/>
                <a:gd name="T10" fmla="*/ 414 w 828"/>
                <a:gd name="T11" fmla="*/ 12 h 482"/>
                <a:gd name="T12" fmla="*/ 425 w 828"/>
                <a:gd name="T13" fmla="*/ 15 h 482"/>
                <a:gd name="T14" fmla="*/ 815 w 828"/>
                <a:gd name="T15" fmla="*/ 240 h 482"/>
                <a:gd name="T16" fmla="*/ 816 w 828"/>
                <a:gd name="T17" fmla="*/ 241 h 482"/>
                <a:gd name="T18" fmla="*/ 815 w 828"/>
                <a:gd name="T19" fmla="*/ 242 h 482"/>
                <a:gd name="T20" fmla="*/ 425 w 828"/>
                <a:gd name="T21" fmla="*/ 467 h 482"/>
                <a:gd name="T22" fmla="*/ 414 w 828"/>
                <a:gd name="T23" fmla="*/ 470 h 482"/>
                <a:gd name="T24" fmla="*/ 403 w 828"/>
                <a:gd name="T25" fmla="*/ 467 h 482"/>
                <a:gd name="T26" fmla="*/ 403 w 828"/>
                <a:gd name="T27" fmla="*/ 467 h 482"/>
                <a:gd name="T28" fmla="*/ 414 w 828"/>
                <a:gd name="T29" fmla="*/ 0 h 482"/>
                <a:gd name="T30" fmla="*/ 397 w 828"/>
                <a:gd name="T31" fmla="*/ 5 h 482"/>
                <a:gd name="T32" fmla="*/ 7 w 828"/>
                <a:gd name="T33" fmla="*/ 230 h 482"/>
                <a:gd name="T34" fmla="*/ 0 w 828"/>
                <a:gd name="T35" fmla="*/ 241 h 482"/>
                <a:gd name="T36" fmla="*/ 7 w 828"/>
                <a:gd name="T37" fmla="*/ 253 h 482"/>
                <a:gd name="T38" fmla="*/ 397 w 828"/>
                <a:gd name="T39" fmla="*/ 478 h 482"/>
                <a:gd name="T40" fmla="*/ 397 w 828"/>
                <a:gd name="T41" fmla="*/ 478 h 482"/>
                <a:gd name="T42" fmla="*/ 414 w 828"/>
                <a:gd name="T43" fmla="*/ 482 h 482"/>
                <a:gd name="T44" fmla="*/ 431 w 828"/>
                <a:gd name="T45" fmla="*/ 478 h 482"/>
                <a:gd name="T46" fmla="*/ 821 w 828"/>
                <a:gd name="T47" fmla="*/ 253 h 482"/>
                <a:gd name="T48" fmla="*/ 828 w 828"/>
                <a:gd name="T49" fmla="*/ 241 h 482"/>
                <a:gd name="T50" fmla="*/ 821 w 828"/>
                <a:gd name="T51" fmla="*/ 230 h 482"/>
                <a:gd name="T52" fmla="*/ 431 w 828"/>
                <a:gd name="T53" fmla="*/ 5 h 482"/>
                <a:gd name="T54" fmla="*/ 414 w 828"/>
                <a:gd name="T55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28" h="482">
                  <a:moveTo>
                    <a:pt x="403" y="467"/>
                  </a:moveTo>
                  <a:cubicBezTo>
                    <a:pt x="13" y="242"/>
                    <a:pt x="13" y="242"/>
                    <a:pt x="13" y="242"/>
                  </a:cubicBezTo>
                  <a:cubicBezTo>
                    <a:pt x="13" y="242"/>
                    <a:pt x="12" y="242"/>
                    <a:pt x="12" y="241"/>
                  </a:cubicBezTo>
                  <a:cubicBezTo>
                    <a:pt x="12" y="241"/>
                    <a:pt x="13" y="241"/>
                    <a:pt x="13" y="240"/>
                  </a:cubicBezTo>
                  <a:cubicBezTo>
                    <a:pt x="403" y="15"/>
                    <a:pt x="403" y="15"/>
                    <a:pt x="403" y="15"/>
                  </a:cubicBezTo>
                  <a:cubicBezTo>
                    <a:pt x="406" y="13"/>
                    <a:pt x="410" y="12"/>
                    <a:pt x="414" y="12"/>
                  </a:cubicBezTo>
                  <a:cubicBezTo>
                    <a:pt x="418" y="12"/>
                    <a:pt x="422" y="13"/>
                    <a:pt x="425" y="15"/>
                  </a:cubicBezTo>
                  <a:cubicBezTo>
                    <a:pt x="815" y="240"/>
                    <a:pt x="815" y="240"/>
                    <a:pt x="815" y="240"/>
                  </a:cubicBezTo>
                  <a:cubicBezTo>
                    <a:pt x="816" y="241"/>
                    <a:pt x="816" y="241"/>
                    <a:pt x="816" y="241"/>
                  </a:cubicBezTo>
                  <a:cubicBezTo>
                    <a:pt x="816" y="242"/>
                    <a:pt x="816" y="242"/>
                    <a:pt x="815" y="242"/>
                  </a:cubicBezTo>
                  <a:cubicBezTo>
                    <a:pt x="425" y="467"/>
                    <a:pt x="425" y="467"/>
                    <a:pt x="425" y="467"/>
                  </a:cubicBezTo>
                  <a:cubicBezTo>
                    <a:pt x="422" y="469"/>
                    <a:pt x="418" y="470"/>
                    <a:pt x="414" y="470"/>
                  </a:cubicBezTo>
                  <a:cubicBezTo>
                    <a:pt x="410" y="470"/>
                    <a:pt x="406" y="469"/>
                    <a:pt x="403" y="467"/>
                  </a:cubicBezTo>
                  <a:cubicBezTo>
                    <a:pt x="403" y="467"/>
                    <a:pt x="403" y="467"/>
                    <a:pt x="403" y="467"/>
                  </a:cubicBezTo>
                  <a:moveTo>
                    <a:pt x="414" y="0"/>
                  </a:moveTo>
                  <a:cubicBezTo>
                    <a:pt x="408" y="0"/>
                    <a:pt x="402" y="2"/>
                    <a:pt x="397" y="5"/>
                  </a:cubicBezTo>
                  <a:cubicBezTo>
                    <a:pt x="7" y="230"/>
                    <a:pt x="7" y="230"/>
                    <a:pt x="7" y="230"/>
                  </a:cubicBezTo>
                  <a:cubicBezTo>
                    <a:pt x="3" y="232"/>
                    <a:pt x="0" y="237"/>
                    <a:pt x="0" y="241"/>
                  </a:cubicBezTo>
                  <a:cubicBezTo>
                    <a:pt x="0" y="246"/>
                    <a:pt x="3" y="250"/>
                    <a:pt x="7" y="253"/>
                  </a:cubicBezTo>
                  <a:cubicBezTo>
                    <a:pt x="397" y="478"/>
                    <a:pt x="397" y="478"/>
                    <a:pt x="397" y="478"/>
                  </a:cubicBezTo>
                  <a:cubicBezTo>
                    <a:pt x="397" y="478"/>
                    <a:pt x="397" y="478"/>
                    <a:pt x="397" y="478"/>
                  </a:cubicBezTo>
                  <a:cubicBezTo>
                    <a:pt x="402" y="481"/>
                    <a:pt x="408" y="482"/>
                    <a:pt x="414" y="482"/>
                  </a:cubicBezTo>
                  <a:cubicBezTo>
                    <a:pt x="420" y="482"/>
                    <a:pt x="426" y="481"/>
                    <a:pt x="431" y="478"/>
                  </a:cubicBezTo>
                  <a:cubicBezTo>
                    <a:pt x="821" y="253"/>
                    <a:pt x="821" y="253"/>
                    <a:pt x="821" y="253"/>
                  </a:cubicBezTo>
                  <a:cubicBezTo>
                    <a:pt x="825" y="250"/>
                    <a:pt x="828" y="246"/>
                    <a:pt x="828" y="241"/>
                  </a:cubicBezTo>
                  <a:cubicBezTo>
                    <a:pt x="828" y="237"/>
                    <a:pt x="825" y="232"/>
                    <a:pt x="821" y="230"/>
                  </a:cubicBezTo>
                  <a:cubicBezTo>
                    <a:pt x="431" y="5"/>
                    <a:pt x="431" y="5"/>
                    <a:pt x="431" y="5"/>
                  </a:cubicBezTo>
                  <a:cubicBezTo>
                    <a:pt x="426" y="2"/>
                    <a:pt x="420" y="0"/>
                    <a:pt x="414" y="0"/>
                  </a:cubicBezTo>
                </a:path>
              </a:pathLst>
            </a:custGeom>
            <a:gradFill>
              <a:gsLst>
                <a:gs pos="74000">
                  <a:srgbClr val="2D7C9E">
                    <a:alpha val="74000"/>
                  </a:srgbClr>
                </a:gs>
                <a:gs pos="37000">
                  <a:srgbClr val="41E4DE">
                    <a:alpha val="71000"/>
                  </a:srgbClr>
                </a:gs>
                <a:gs pos="0">
                  <a:srgbClr val="19145F"/>
                </a:gs>
                <a:gs pos="100000">
                  <a:srgbClr val="19125E">
                    <a:alpha val="82000"/>
                  </a:srgbClr>
                </a:gs>
              </a:gsLst>
              <a:lin ang="12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xmlns="" id="{CD134D4A-FF64-418D-BF61-AE24A995E0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58163" y="4283075"/>
              <a:ext cx="2154237" cy="1246187"/>
            </a:xfrm>
            <a:custGeom>
              <a:avLst/>
              <a:gdLst>
                <a:gd name="T0" fmla="*/ 678 w 1357"/>
                <a:gd name="T1" fmla="*/ 0 h 785"/>
                <a:gd name="T2" fmla="*/ 0 w 1357"/>
                <a:gd name="T3" fmla="*/ 391 h 785"/>
                <a:gd name="T4" fmla="*/ 678 w 1357"/>
                <a:gd name="T5" fmla="*/ 785 h 785"/>
                <a:gd name="T6" fmla="*/ 1357 w 1357"/>
                <a:gd name="T7" fmla="*/ 391 h 785"/>
                <a:gd name="T8" fmla="*/ 678 w 1357"/>
                <a:gd name="T9" fmla="*/ 0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7" h="785">
                  <a:moveTo>
                    <a:pt x="678" y="0"/>
                  </a:moveTo>
                  <a:lnTo>
                    <a:pt x="0" y="391"/>
                  </a:lnTo>
                  <a:lnTo>
                    <a:pt x="678" y="785"/>
                  </a:lnTo>
                  <a:lnTo>
                    <a:pt x="1357" y="391"/>
                  </a:lnTo>
                  <a:lnTo>
                    <a:pt x="678" y="0"/>
                  </a:lnTo>
                  <a:close/>
                </a:path>
              </a:pathLst>
            </a:custGeom>
            <a:solidFill>
              <a:srgbClr val="100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xmlns="" id="{FC0074FF-5BCC-45FA-8E44-F66DF0B78B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58163" y="4283075"/>
              <a:ext cx="2154237" cy="1246187"/>
            </a:xfrm>
            <a:custGeom>
              <a:avLst/>
              <a:gdLst>
                <a:gd name="T0" fmla="*/ 678 w 1357"/>
                <a:gd name="T1" fmla="*/ 0 h 785"/>
                <a:gd name="T2" fmla="*/ 0 w 1357"/>
                <a:gd name="T3" fmla="*/ 391 h 785"/>
                <a:gd name="T4" fmla="*/ 678 w 1357"/>
                <a:gd name="T5" fmla="*/ 785 h 785"/>
                <a:gd name="T6" fmla="*/ 1357 w 1357"/>
                <a:gd name="T7" fmla="*/ 391 h 785"/>
                <a:gd name="T8" fmla="*/ 678 w 1357"/>
                <a:gd name="T9" fmla="*/ 0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7" h="785">
                  <a:moveTo>
                    <a:pt x="678" y="0"/>
                  </a:moveTo>
                  <a:lnTo>
                    <a:pt x="0" y="391"/>
                  </a:lnTo>
                  <a:lnTo>
                    <a:pt x="678" y="785"/>
                  </a:lnTo>
                  <a:lnTo>
                    <a:pt x="1357" y="391"/>
                  </a:lnTo>
                  <a:lnTo>
                    <a:pt x="67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Freeform 55">
              <a:extLst>
                <a:ext uri="{FF2B5EF4-FFF2-40B4-BE49-F238E27FC236}">
                  <a16:creationId xmlns:a16="http://schemas.microsoft.com/office/drawing/2014/main" xmlns="" id="{B5EFAE15-02B0-4FEA-B304-654B59B7E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3861" y="5810250"/>
              <a:ext cx="88900" cy="79375"/>
            </a:xfrm>
            <a:custGeom>
              <a:avLst/>
              <a:gdLst>
                <a:gd name="T0" fmla="*/ 13 w 27"/>
                <a:gd name="T1" fmla="*/ 0 h 24"/>
                <a:gd name="T2" fmla="*/ 7 w 27"/>
                <a:gd name="T3" fmla="*/ 2 h 24"/>
                <a:gd name="T4" fmla="*/ 3 w 27"/>
                <a:gd name="T5" fmla="*/ 18 h 24"/>
                <a:gd name="T6" fmla="*/ 13 w 27"/>
                <a:gd name="T7" fmla="*/ 24 h 24"/>
                <a:gd name="T8" fmla="*/ 19 w 27"/>
                <a:gd name="T9" fmla="*/ 22 h 24"/>
                <a:gd name="T10" fmla="*/ 23 w 27"/>
                <a:gd name="T11" fmla="*/ 6 h 24"/>
                <a:gd name="T12" fmla="*/ 13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3" y="0"/>
                  </a:moveTo>
                  <a:cubicBezTo>
                    <a:pt x="11" y="0"/>
                    <a:pt x="9" y="1"/>
                    <a:pt x="7" y="2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2"/>
                    <a:pt x="9" y="24"/>
                    <a:pt x="13" y="24"/>
                  </a:cubicBezTo>
                  <a:cubicBezTo>
                    <a:pt x="15" y="24"/>
                    <a:pt x="17" y="23"/>
                    <a:pt x="19" y="22"/>
                  </a:cubicBezTo>
                  <a:cubicBezTo>
                    <a:pt x="25" y="19"/>
                    <a:pt x="27" y="12"/>
                    <a:pt x="23" y="6"/>
                  </a:cubicBezTo>
                  <a:cubicBezTo>
                    <a:pt x="21" y="3"/>
                    <a:pt x="17" y="0"/>
                    <a:pt x="13" y="0"/>
                  </a:cubicBezTo>
                </a:path>
              </a:pathLst>
            </a:custGeom>
            <a:solidFill>
              <a:srgbClr val="42E8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56">
              <a:extLst>
                <a:ext uri="{FF2B5EF4-FFF2-40B4-BE49-F238E27FC236}">
                  <a16:creationId xmlns:a16="http://schemas.microsoft.com/office/drawing/2014/main" xmlns="" id="{AACA5D4B-622F-452A-9E2E-FB3D8E5B42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05936" y="5756275"/>
              <a:ext cx="88900" cy="79375"/>
            </a:xfrm>
            <a:custGeom>
              <a:avLst/>
              <a:gdLst>
                <a:gd name="T0" fmla="*/ 14 w 27"/>
                <a:gd name="T1" fmla="*/ 0 h 24"/>
                <a:gd name="T2" fmla="*/ 8 w 27"/>
                <a:gd name="T3" fmla="*/ 2 h 24"/>
                <a:gd name="T4" fmla="*/ 3 w 27"/>
                <a:gd name="T5" fmla="*/ 18 h 24"/>
                <a:gd name="T6" fmla="*/ 14 w 27"/>
                <a:gd name="T7" fmla="*/ 24 h 24"/>
                <a:gd name="T8" fmla="*/ 19 w 27"/>
                <a:gd name="T9" fmla="*/ 22 h 24"/>
                <a:gd name="T10" fmla="*/ 24 w 27"/>
                <a:gd name="T11" fmla="*/ 6 h 24"/>
                <a:gd name="T12" fmla="*/ 14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4" y="0"/>
                  </a:moveTo>
                  <a:cubicBezTo>
                    <a:pt x="12" y="0"/>
                    <a:pt x="10" y="1"/>
                    <a:pt x="8" y="2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2"/>
                    <a:pt x="9" y="24"/>
                    <a:pt x="14" y="24"/>
                  </a:cubicBezTo>
                  <a:cubicBezTo>
                    <a:pt x="16" y="24"/>
                    <a:pt x="18" y="23"/>
                    <a:pt x="19" y="22"/>
                  </a:cubicBezTo>
                  <a:cubicBezTo>
                    <a:pt x="25" y="19"/>
                    <a:pt x="27" y="12"/>
                    <a:pt x="24" y="6"/>
                  </a:cubicBezTo>
                  <a:cubicBezTo>
                    <a:pt x="22" y="2"/>
                    <a:pt x="18" y="0"/>
                    <a:pt x="14" y="0"/>
                  </a:cubicBezTo>
                </a:path>
              </a:pathLst>
            </a:custGeom>
            <a:solidFill>
              <a:srgbClr val="4BC8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57">
              <a:extLst>
                <a:ext uri="{FF2B5EF4-FFF2-40B4-BE49-F238E27FC236}">
                  <a16:creationId xmlns:a16="http://schemas.microsoft.com/office/drawing/2014/main" xmlns="" id="{E9112628-8D4E-4BCC-BC3E-D239FECFF1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1186" y="5702300"/>
              <a:ext cx="85725" cy="77787"/>
            </a:xfrm>
            <a:custGeom>
              <a:avLst/>
              <a:gdLst>
                <a:gd name="T0" fmla="*/ 13 w 26"/>
                <a:gd name="T1" fmla="*/ 0 h 23"/>
                <a:gd name="T2" fmla="*/ 7 w 26"/>
                <a:gd name="T3" fmla="*/ 1 h 23"/>
                <a:gd name="T4" fmla="*/ 3 w 26"/>
                <a:gd name="T5" fmla="*/ 18 h 23"/>
                <a:gd name="T6" fmla="*/ 13 w 26"/>
                <a:gd name="T7" fmla="*/ 23 h 23"/>
                <a:gd name="T8" fmla="*/ 19 w 26"/>
                <a:gd name="T9" fmla="*/ 22 h 23"/>
                <a:gd name="T10" fmla="*/ 23 w 26"/>
                <a:gd name="T11" fmla="*/ 6 h 23"/>
                <a:gd name="T12" fmla="*/ 13 w 26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3">
                  <a:moveTo>
                    <a:pt x="13" y="0"/>
                  </a:moveTo>
                  <a:cubicBezTo>
                    <a:pt x="11" y="0"/>
                    <a:pt x="9" y="0"/>
                    <a:pt x="7" y="1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1"/>
                    <a:pt x="9" y="23"/>
                    <a:pt x="13" y="23"/>
                  </a:cubicBezTo>
                  <a:cubicBezTo>
                    <a:pt x="15" y="23"/>
                    <a:pt x="17" y="23"/>
                    <a:pt x="19" y="22"/>
                  </a:cubicBezTo>
                  <a:cubicBezTo>
                    <a:pt x="24" y="19"/>
                    <a:pt x="26" y="12"/>
                    <a:pt x="23" y="6"/>
                  </a:cubicBezTo>
                  <a:cubicBezTo>
                    <a:pt x="21" y="2"/>
                    <a:pt x="17" y="0"/>
                    <a:pt x="13" y="0"/>
                  </a:cubicBezTo>
                </a:path>
              </a:pathLst>
            </a:custGeom>
            <a:solidFill>
              <a:srgbClr val="56AFC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58">
              <a:extLst>
                <a:ext uri="{FF2B5EF4-FFF2-40B4-BE49-F238E27FC236}">
                  <a16:creationId xmlns:a16="http://schemas.microsoft.com/office/drawing/2014/main" xmlns="" id="{4C1692C0-671E-4112-8870-EA379167AC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3261" y="5649912"/>
              <a:ext cx="90488" cy="76200"/>
            </a:xfrm>
            <a:custGeom>
              <a:avLst/>
              <a:gdLst>
                <a:gd name="T0" fmla="*/ 13 w 27"/>
                <a:gd name="T1" fmla="*/ 0 h 23"/>
                <a:gd name="T2" fmla="*/ 8 w 27"/>
                <a:gd name="T3" fmla="*/ 1 h 23"/>
                <a:gd name="T4" fmla="*/ 3 w 27"/>
                <a:gd name="T5" fmla="*/ 17 h 23"/>
                <a:gd name="T6" fmla="*/ 13 w 27"/>
                <a:gd name="T7" fmla="*/ 23 h 23"/>
                <a:gd name="T8" fmla="*/ 19 w 27"/>
                <a:gd name="T9" fmla="*/ 22 h 23"/>
                <a:gd name="T10" fmla="*/ 24 w 27"/>
                <a:gd name="T11" fmla="*/ 6 h 23"/>
                <a:gd name="T12" fmla="*/ 13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3" y="0"/>
                  </a:moveTo>
                  <a:cubicBezTo>
                    <a:pt x="11" y="0"/>
                    <a:pt x="9" y="0"/>
                    <a:pt x="8" y="1"/>
                  </a:cubicBezTo>
                  <a:cubicBezTo>
                    <a:pt x="2" y="4"/>
                    <a:pt x="0" y="12"/>
                    <a:pt x="3" y="17"/>
                  </a:cubicBezTo>
                  <a:cubicBezTo>
                    <a:pt x="5" y="21"/>
                    <a:pt x="9" y="23"/>
                    <a:pt x="13" y="23"/>
                  </a:cubicBezTo>
                  <a:cubicBezTo>
                    <a:pt x="15" y="23"/>
                    <a:pt x="17" y="23"/>
                    <a:pt x="19" y="22"/>
                  </a:cubicBezTo>
                  <a:cubicBezTo>
                    <a:pt x="25" y="19"/>
                    <a:pt x="27" y="11"/>
                    <a:pt x="24" y="6"/>
                  </a:cubicBezTo>
                  <a:cubicBezTo>
                    <a:pt x="22" y="2"/>
                    <a:pt x="18" y="0"/>
                    <a:pt x="13" y="0"/>
                  </a:cubicBezTo>
                </a:path>
              </a:pathLst>
            </a:custGeom>
            <a:solidFill>
              <a:srgbClr val="629CB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59">
              <a:extLst>
                <a:ext uri="{FF2B5EF4-FFF2-40B4-BE49-F238E27FC236}">
                  <a16:creationId xmlns:a16="http://schemas.microsoft.com/office/drawing/2014/main" xmlns="" id="{CE40BE4D-1325-413C-9BF6-92993CBBA4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6924" y="5595937"/>
              <a:ext cx="88900" cy="76200"/>
            </a:xfrm>
            <a:custGeom>
              <a:avLst/>
              <a:gdLst>
                <a:gd name="T0" fmla="*/ 14 w 27"/>
                <a:gd name="T1" fmla="*/ 0 h 23"/>
                <a:gd name="T2" fmla="*/ 8 w 27"/>
                <a:gd name="T3" fmla="*/ 1 h 23"/>
                <a:gd name="T4" fmla="*/ 4 w 27"/>
                <a:gd name="T5" fmla="*/ 17 h 23"/>
                <a:gd name="T6" fmla="*/ 14 w 27"/>
                <a:gd name="T7" fmla="*/ 23 h 23"/>
                <a:gd name="T8" fmla="*/ 20 w 27"/>
                <a:gd name="T9" fmla="*/ 22 h 23"/>
                <a:gd name="T10" fmla="*/ 24 w 27"/>
                <a:gd name="T11" fmla="*/ 5 h 23"/>
                <a:gd name="T12" fmla="*/ 14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4" y="0"/>
                  </a:moveTo>
                  <a:cubicBezTo>
                    <a:pt x="12" y="0"/>
                    <a:pt x="10" y="0"/>
                    <a:pt x="8" y="1"/>
                  </a:cubicBezTo>
                  <a:cubicBezTo>
                    <a:pt x="2" y="4"/>
                    <a:pt x="0" y="11"/>
                    <a:pt x="4" y="17"/>
                  </a:cubicBezTo>
                  <a:cubicBezTo>
                    <a:pt x="6" y="21"/>
                    <a:pt x="10" y="23"/>
                    <a:pt x="14" y="23"/>
                  </a:cubicBezTo>
                  <a:cubicBezTo>
                    <a:pt x="16" y="23"/>
                    <a:pt x="18" y="23"/>
                    <a:pt x="20" y="22"/>
                  </a:cubicBezTo>
                  <a:cubicBezTo>
                    <a:pt x="25" y="18"/>
                    <a:pt x="27" y="11"/>
                    <a:pt x="24" y="5"/>
                  </a:cubicBezTo>
                  <a:cubicBezTo>
                    <a:pt x="22" y="2"/>
                    <a:pt x="18" y="0"/>
                    <a:pt x="14" y="0"/>
                  </a:cubicBezTo>
                </a:path>
              </a:pathLst>
            </a:custGeom>
            <a:solidFill>
              <a:srgbClr val="42669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60">
              <a:extLst>
                <a:ext uri="{FF2B5EF4-FFF2-40B4-BE49-F238E27FC236}">
                  <a16:creationId xmlns:a16="http://schemas.microsoft.com/office/drawing/2014/main" xmlns="" id="{F6CF83C1-7FD5-4B8D-B257-A98CD78B78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2174" y="5538787"/>
              <a:ext cx="88900" cy="80962"/>
            </a:xfrm>
            <a:custGeom>
              <a:avLst/>
              <a:gdLst>
                <a:gd name="T0" fmla="*/ 13 w 27"/>
                <a:gd name="T1" fmla="*/ 0 h 24"/>
                <a:gd name="T2" fmla="*/ 8 w 27"/>
                <a:gd name="T3" fmla="*/ 2 h 24"/>
                <a:gd name="T4" fmla="*/ 3 w 27"/>
                <a:gd name="T5" fmla="*/ 18 h 24"/>
                <a:gd name="T6" fmla="*/ 13 w 27"/>
                <a:gd name="T7" fmla="*/ 24 h 24"/>
                <a:gd name="T8" fmla="*/ 19 w 27"/>
                <a:gd name="T9" fmla="*/ 22 h 24"/>
                <a:gd name="T10" fmla="*/ 24 w 27"/>
                <a:gd name="T11" fmla="*/ 6 h 24"/>
                <a:gd name="T12" fmla="*/ 13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3" y="0"/>
                  </a:moveTo>
                  <a:cubicBezTo>
                    <a:pt x="11" y="0"/>
                    <a:pt x="9" y="1"/>
                    <a:pt x="8" y="2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2"/>
                    <a:pt x="9" y="24"/>
                    <a:pt x="13" y="24"/>
                  </a:cubicBezTo>
                  <a:cubicBezTo>
                    <a:pt x="15" y="24"/>
                    <a:pt x="17" y="23"/>
                    <a:pt x="19" y="22"/>
                  </a:cubicBezTo>
                  <a:cubicBezTo>
                    <a:pt x="25" y="19"/>
                    <a:pt x="27" y="12"/>
                    <a:pt x="24" y="6"/>
                  </a:cubicBezTo>
                  <a:cubicBezTo>
                    <a:pt x="21" y="2"/>
                    <a:pt x="17" y="0"/>
                    <a:pt x="13" y="0"/>
                  </a:cubicBezTo>
                </a:path>
              </a:pathLst>
            </a:custGeom>
            <a:solidFill>
              <a:srgbClr val="42669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61">
              <a:extLst>
                <a:ext uri="{FF2B5EF4-FFF2-40B4-BE49-F238E27FC236}">
                  <a16:creationId xmlns:a16="http://schemas.microsoft.com/office/drawing/2014/main" xmlns="" id="{B15DA810-0AC5-40C4-A5A1-B1285D0BA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63161" y="5372100"/>
              <a:ext cx="88900" cy="77787"/>
            </a:xfrm>
            <a:custGeom>
              <a:avLst/>
              <a:gdLst>
                <a:gd name="T0" fmla="*/ 14 w 27"/>
                <a:gd name="T1" fmla="*/ 0 h 23"/>
                <a:gd name="T2" fmla="*/ 8 w 27"/>
                <a:gd name="T3" fmla="*/ 1 h 23"/>
                <a:gd name="T4" fmla="*/ 4 w 27"/>
                <a:gd name="T5" fmla="*/ 17 h 23"/>
                <a:gd name="T6" fmla="*/ 14 w 27"/>
                <a:gd name="T7" fmla="*/ 23 h 23"/>
                <a:gd name="T8" fmla="*/ 20 w 27"/>
                <a:gd name="T9" fmla="*/ 22 h 23"/>
                <a:gd name="T10" fmla="*/ 24 w 27"/>
                <a:gd name="T11" fmla="*/ 6 h 23"/>
                <a:gd name="T12" fmla="*/ 14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4" y="0"/>
                  </a:moveTo>
                  <a:cubicBezTo>
                    <a:pt x="12" y="0"/>
                    <a:pt x="10" y="0"/>
                    <a:pt x="8" y="1"/>
                  </a:cubicBezTo>
                  <a:cubicBezTo>
                    <a:pt x="2" y="5"/>
                    <a:pt x="0" y="12"/>
                    <a:pt x="4" y="17"/>
                  </a:cubicBezTo>
                  <a:cubicBezTo>
                    <a:pt x="6" y="21"/>
                    <a:pt x="10" y="23"/>
                    <a:pt x="14" y="23"/>
                  </a:cubicBezTo>
                  <a:cubicBezTo>
                    <a:pt x="16" y="23"/>
                    <a:pt x="18" y="23"/>
                    <a:pt x="20" y="22"/>
                  </a:cubicBezTo>
                  <a:cubicBezTo>
                    <a:pt x="25" y="19"/>
                    <a:pt x="27" y="11"/>
                    <a:pt x="24" y="6"/>
                  </a:cubicBezTo>
                  <a:cubicBezTo>
                    <a:pt x="22" y="2"/>
                    <a:pt x="18" y="0"/>
                    <a:pt x="14" y="0"/>
                  </a:cubicBezTo>
                </a:path>
              </a:pathLst>
            </a:custGeom>
            <a:solidFill>
              <a:srgbClr val="42E8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62">
              <a:extLst>
                <a:ext uri="{FF2B5EF4-FFF2-40B4-BE49-F238E27FC236}">
                  <a16:creationId xmlns:a16="http://schemas.microsoft.com/office/drawing/2014/main" xmlns="" id="{FD1476BC-AC33-4968-8BE4-E89562505D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1086" y="5426075"/>
              <a:ext cx="88900" cy="79375"/>
            </a:xfrm>
            <a:custGeom>
              <a:avLst/>
              <a:gdLst>
                <a:gd name="T0" fmla="*/ 13 w 27"/>
                <a:gd name="T1" fmla="*/ 0 h 24"/>
                <a:gd name="T2" fmla="*/ 8 w 27"/>
                <a:gd name="T3" fmla="*/ 2 h 24"/>
                <a:gd name="T4" fmla="*/ 3 w 27"/>
                <a:gd name="T5" fmla="*/ 18 h 24"/>
                <a:gd name="T6" fmla="*/ 13 w 27"/>
                <a:gd name="T7" fmla="*/ 24 h 24"/>
                <a:gd name="T8" fmla="*/ 19 w 27"/>
                <a:gd name="T9" fmla="*/ 22 h 24"/>
                <a:gd name="T10" fmla="*/ 24 w 27"/>
                <a:gd name="T11" fmla="*/ 6 h 24"/>
                <a:gd name="T12" fmla="*/ 13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3" y="0"/>
                  </a:moveTo>
                  <a:cubicBezTo>
                    <a:pt x="11" y="0"/>
                    <a:pt x="9" y="1"/>
                    <a:pt x="8" y="2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1"/>
                    <a:pt x="9" y="24"/>
                    <a:pt x="13" y="24"/>
                  </a:cubicBezTo>
                  <a:cubicBezTo>
                    <a:pt x="15" y="24"/>
                    <a:pt x="17" y="23"/>
                    <a:pt x="19" y="22"/>
                  </a:cubicBezTo>
                  <a:cubicBezTo>
                    <a:pt x="25" y="19"/>
                    <a:pt x="27" y="12"/>
                    <a:pt x="24" y="6"/>
                  </a:cubicBezTo>
                  <a:cubicBezTo>
                    <a:pt x="21" y="2"/>
                    <a:pt x="17" y="0"/>
                    <a:pt x="13" y="0"/>
                  </a:cubicBezTo>
                </a:path>
              </a:pathLst>
            </a:custGeom>
            <a:solidFill>
              <a:srgbClr val="4BC8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63">
              <a:extLst>
                <a:ext uri="{FF2B5EF4-FFF2-40B4-BE49-F238E27FC236}">
                  <a16:creationId xmlns:a16="http://schemas.microsoft.com/office/drawing/2014/main" xmlns="" id="{0B4524DE-4782-43B9-83DA-A10F81CC0F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74249" y="5480050"/>
              <a:ext cx="88900" cy="79375"/>
            </a:xfrm>
            <a:custGeom>
              <a:avLst/>
              <a:gdLst>
                <a:gd name="T0" fmla="*/ 14 w 27"/>
                <a:gd name="T1" fmla="*/ 0 h 24"/>
                <a:gd name="T2" fmla="*/ 8 w 27"/>
                <a:gd name="T3" fmla="*/ 2 h 24"/>
                <a:gd name="T4" fmla="*/ 4 w 27"/>
                <a:gd name="T5" fmla="*/ 18 h 24"/>
                <a:gd name="T6" fmla="*/ 14 w 27"/>
                <a:gd name="T7" fmla="*/ 24 h 24"/>
                <a:gd name="T8" fmla="*/ 20 w 27"/>
                <a:gd name="T9" fmla="*/ 22 h 24"/>
                <a:gd name="T10" fmla="*/ 24 w 27"/>
                <a:gd name="T11" fmla="*/ 6 h 24"/>
                <a:gd name="T12" fmla="*/ 14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4" y="0"/>
                  </a:moveTo>
                  <a:cubicBezTo>
                    <a:pt x="12" y="0"/>
                    <a:pt x="10" y="1"/>
                    <a:pt x="8" y="2"/>
                  </a:cubicBezTo>
                  <a:cubicBezTo>
                    <a:pt x="2" y="5"/>
                    <a:pt x="0" y="12"/>
                    <a:pt x="4" y="18"/>
                  </a:cubicBezTo>
                  <a:cubicBezTo>
                    <a:pt x="6" y="22"/>
                    <a:pt x="10" y="24"/>
                    <a:pt x="14" y="24"/>
                  </a:cubicBezTo>
                  <a:cubicBezTo>
                    <a:pt x="16" y="24"/>
                    <a:pt x="18" y="23"/>
                    <a:pt x="20" y="22"/>
                  </a:cubicBezTo>
                  <a:cubicBezTo>
                    <a:pt x="25" y="19"/>
                    <a:pt x="27" y="12"/>
                    <a:pt x="24" y="6"/>
                  </a:cubicBezTo>
                  <a:cubicBezTo>
                    <a:pt x="22" y="2"/>
                    <a:pt x="18" y="0"/>
                    <a:pt x="14" y="0"/>
                  </a:cubicBezTo>
                </a:path>
              </a:pathLst>
            </a:custGeom>
            <a:solidFill>
              <a:srgbClr val="457EA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Freeform 64">
              <a:extLst>
                <a:ext uri="{FF2B5EF4-FFF2-40B4-BE49-F238E27FC236}">
                  <a16:creationId xmlns:a16="http://schemas.microsoft.com/office/drawing/2014/main" xmlns="" id="{DB720F95-412E-4E6C-802D-473669FBF1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23561" y="5372100"/>
              <a:ext cx="88900" cy="77787"/>
            </a:xfrm>
            <a:custGeom>
              <a:avLst/>
              <a:gdLst>
                <a:gd name="T0" fmla="*/ 13 w 27"/>
                <a:gd name="T1" fmla="*/ 0 h 23"/>
                <a:gd name="T2" fmla="*/ 3 w 27"/>
                <a:gd name="T3" fmla="*/ 5 h 23"/>
                <a:gd name="T4" fmla="*/ 8 w 27"/>
                <a:gd name="T5" fmla="*/ 22 h 23"/>
                <a:gd name="T6" fmla="*/ 13 w 27"/>
                <a:gd name="T7" fmla="*/ 23 h 23"/>
                <a:gd name="T8" fmla="*/ 24 w 27"/>
                <a:gd name="T9" fmla="*/ 17 h 23"/>
                <a:gd name="T10" fmla="*/ 19 w 27"/>
                <a:gd name="T11" fmla="*/ 1 h 23"/>
                <a:gd name="T12" fmla="*/ 13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3" y="0"/>
                  </a:moveTo>
                  <a:cubicBezTo>
                    <a:pt x="9" y="0"/>
                    <a:pt x="5" y="2"/>
                    <a:pt x="3" y="5"/>
                  </a:cubicBezTo>
                  <a:cubicBezTo>
                    <a:pt x="0" y="11"/>
                    <a:pt x="2" y="18"/>
                    <a:pt x="8" y="22"/>
                  </a:cubicBezTo>
                  <a:cubicBezTo>
                    <a:pt x="9" y="23"/>
                    <a:pt x="11" y="23"/>
                    <a:pt x="13" y="23"/>
                  </a:cubicBezTo>
                  <a:cubicBezTo>
                    <a:pt x="18" y="23"/>
                    <a:pt x="21" y="21"/>
                    <a:pt x="24" y="17"/>
                  </a:cubicBezTo>
                  <a:cubicBezTo>
                    <a:pt x="27" y="11"/>
                    <a:pt x="25" y="4"/>
                    <a:pt x="19" y="1"/>
                  </a:cubicBezTo>
                  <a:cubicBezTo>
                    <a:pt x="17" y="0"/>
                    <a:pt x="15" y="0"/>
                    <a:pt x="13" y="0"/>
                  </a:cubicBezTo>
                </a:path>
              </a:pathLst>
            </a:custGeom>
            <a:solidFill>
              <a:srgbClr val="42E8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65">
              <a:extLst>
                <a:ext uri="{FF2B5EF4-FFF2-40B4-BE49-F238E27FC236}">
                  <a16:creationId xmlns:a16="http://schemas.microsoft.com/office/drawing/2014/main" xmlns="" id="{6F409CC0-6CE5-411A-A631-05BC30DE3F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5636" y="5426075"/>
              <a:ext cx="88900" cy="76200"/>
            </a:xfrm>
            <a:custGeom>
              <a:avLst/>
              <a:gdLst>
                <a:gd name="T0" fmla="*/ 14 w 27"/>
                <a:gd name="T1" fmla="*/ 0 h 23"/>
                <a:gd name="T2" fmla="*/ 4 w 27"/>
                <a:gd name="T3" fmla="*/ 6 h 23"/>
                <a:gd name="T4" fmla="*/ 8 w 27"/>
                <a:gd name="T5" fmla="*/ 22 h 23"/>
                <a:gd name="T6" fmla="*/ 14 w 27"/>
                <a:gd name="T7" fmla="*/ 23 h 23"/>
                <a:gd name="T8" fmla="*/ 24 w 27"/>
                <a:gd name="T9" fmla="*/ 17 h 23"/>
                <a:gd name="T10" fmla="*/ 20 w 27"/>
                <a:gd name="T11" fmla="*/ 1 h 23"/>
                <a:gd name="T12" fmla="*/ 14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4" y="0"/>
                  </a:moveTo>
                  <a:cubicBezTo>
                    <a:pt x="10" y="0"/>
                    <a:pt x="6" y="2"/>
                    <a:pt x="4" y="6"/>
                  </a:cubicBezTo>
                  <a:cubicBezTo>
                    <a:pt x="0" y="11"/>
                    <a:pt x="2" y="19"/>
                    <a:pt x="8" y="22"/>
                  </a:cubicBezTo>
                  <a:cubicBezTo>
                    <a:pt x="10" y="23"/>
                    <a:pt x="12" y="23"/>
                    <a:pt x="14" y="23"/>
                  </a:cubicBezTo>
                  <a:cubicBezTo>
                    <a:pt x="18" y="23"/>
                    <a:pt x="22" y="21"/>
                    <a:pt x="24" y="17"/>
                  </a:cubicBezTo>
                  <a:cubicBezTo>
                    <a:pt x="27" y="12"/>
                    <a:pt x="25" y="5"/>
                    <a:pt x="20" y="1"/>
                  </a:cubicBezTo>
                  <a:cubicBezTo>
                    <a:pt x="18" y="0"/>
                    <a:pt x="16" y="0"/>
                    <a:pt x="14" y="0"/>
                  </a:cubicBezTo>
                </a:path>
              </a:pathLst>
            </a:custGeom>
            <a:solidFill>
              <a:srgbClr val="4BC8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66">
              <a:extLst>
                <a:ext uri="{FF2B5EF4-FFF2-40B4-BE49-F238E27FC236}">
                  <a16:creationId xmlns:a16="http://schemas.microsoft.com/office/drawing/2014/main" xmlns="" id="{FBBEC337-3D96-4552-94E6-D5A400715A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10886" y="5480050"/>
              <a:ext cx="88900" cy="79375"/>
            </a:xfrm>
            <a:custGeom>
              <a:avLst/>
              <a:gdLst>
                <a:gd name="T0" fmla="*/ 13 w 27"/>
                <a:gd name="T1" fmla="*/ 0 h 24"/>
                <a:gd name="T2" fmla="*/ 3 w 27"/>
                <a:gd name="T3" fmla="*/ 6 h 24"/>
                <a:gd name="T4" fmla="*/ 8 w 27"/>
                <a:gd name="T5" fmla="*/ 22 h 24"/>
                <a:gd name="T6" fmla="*/ 13 w 27"/>
                <a:gd name="T7" fmla="*/ 24 h 24"/>
                <a:gd name="T8" fmla="*/ 24 w 27"/>
                <a:gd name="T9" fmla="*/ 18 h 24"/>
                <a:gd name="T10" fmla="*/ 19 w 27"/>
                <a:gd name="T11" fmla="*/ 2 h 24"/>
                <a:gd name="T12" fmla="*/ 13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3" y="0"/>
                  </a:moveTo>
                  <a:cubicBezTo>
                    <a:pt x="9" y="0"/>
                    <a:pt x="5" y="2"/>
                    <a:pt x="3" y="6"/>
                  </a:cubicBezTo>
                  <a:cubicBezTo>
                    <a:pt x="0" y="12"/>
                    <a:pt x="2" y="19"/>
                    <a:pt x="8" y="22"/>
                  </a:cubicBezTo>
                  <a:cubicBezTo>
                    <a:pt x="9" y="23"/>
                    <a:pt x="11" y="24"/>
                    <a:pt x="13" y="24"/>
                  </a:cubicBezTo>
                  <a:cubicBezTo>
                    <a:pt x="17" y="24"/>
                    <a:pt x="21" y="21"/>
                    <a:pt x="24" y="18"/>
                  </a:cubicBezTo>
                  <a:cubicBezTo>
                    <a:pt x="27" y="12"/>
                    <a:pt x="25" y="5"/>
                    <a:pt x="19" y="2"/>
                  </a:cubicBezTo>
                  <a:cubicBezTo>
                    <a:pt x="17" y="0"/>
                    <a:pt x="15" y="0"/>
                    <a:pt x="13" y="0"/>
                  </a:cubicBezTo>
                </a:path>
              </a:pathLst>
            </a:custGeom>
            <a:solidFill>
              <a:srgbClr val="56AFC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28" name="Freeform 67">
              <a:extLst>
                <a:ext uri="{FF2B5EF4-FFF2-40B4-BE49-F238E27FC236}">
                  <a16:creationId xmlns:a16="http://schemas.microsoft.com/office/drawing/2014/main" xmlns="" id="{0B480263-2724-4D8D-890E-23B98114D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4549" y="5532437"/>
              <a:ext cx="88900" cy="80962"/>
            </a:xfrm>
            <a:custGeom>
              <a:avLst/>
              <a:gdLst>
                <a:gd name="T0" fmla="*/ 14 w 27"/>
                <a:gd name="T1" fmla="*/ 0 h 24"/>
                <a:gd name="T2" fmla="*/ 4 w 27"/>
                <a:gd name="T3" fmla="*/ 6 h 24"/>
                <a:gd name="T4" fmla="*/ 8 w 27"/>
                <a:gd name="T5" fmla="*/ 22 h 24"/>
                <a:gd name="T6" fmla="*/ 14 w 27"/>
                <a:gd name="T7" fmla="*/ 24 h 24"/>
                <a:gd name="T8" fmla="*/ 24 w 27"/>
                <a:gd name="T9" fmla="*/ 18 h 24"/>
                <a:gd name="T10" fmla="*/ 20 w 27"/>
                <a:gd name="T11" fmla="*/ 2 h 24"/>
                <a:gd name="T12" fmla="*/ 14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4" y="0"/>
                  </a:moveTo>
                  <a:cubicBezTo>
                    <a:pt x="10" y="0"/>
                    <a:pt x="6" y="2"/>
                    <a:pt x="4" y="6"/>
                  </a:cubicBezTo>
                  <a:cubicBezTo>
                    <a:pt x="0" y="12"/>
                    <a:pt x="2" y="19"/>
                    <a:pt x="8" y="22"/>
                  </a:cubicBezTo>
                  <a:cubicBezTo>
                    <a:pt x="10" y="23"/>
                    <a:pt x="12" y="24"/>
                    <a:pt x="14" y="24"/>
                  </a:cubicBezTo>
                  <a:cubicBezTo>
                    <a:pt x="18" y="24"/>
                    <a:pt x="22" y="22"/>
                    <a:pt x="24" y="18"/>
                  </a:cubicBezTo>
                  <a:cubicBezTo>
                    <a:pt x="27" y="12"/>
                    <a:pt x="25" y="5"/>
                    <a:pt x="20" y="2"/>
                  </a:cubicBezTo>
                  <a:cubicBezTo>
                    <a:pt x="18" y="1"/>
                    <a:pt x="16" y="0"/>
                    <a:pt x="14" y="0"/>
                  </a:cubicBezTo>
                </a:path>
              </a:pathLst>
            </a:custGeom>
            <a:solidFill>
              <a:srgbClr val="6E8E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29" name="Freeform 68">
              <a:extLst>
                <a:ext uri="{FF2B5EF4-FFF2-40B4-BE49-F238E27FC236}">
                  <a16:creationId xmlns:a16="http://schemas.microsoft.com/office/drawing/2014/main" xmlns="" id="{7FC2FF67-8A42-4CD0-B5E5-272103BC23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9799" y="5586412"/>
              <a:ext cx="88900" cy="79375"/>
            </a:xfrm>
            <a:custGeom>
              <a:avLst/>
              <a:gdLst>
                <a:gd name="T0" fmla="*/ 13 w 27"/>
                <a:gd name="T1" fmla="*/ 0 h 24"/>
                <a:gd name="T2" fmla="*/ 3 w 27"/>
                <a:gd name="T3" fmla="*/ 6 h 24"/>
                <a:gd name="T4" fmla="*/ 7 w 27"/>
                <a:gd name="T5" fmla="*/ 22 h 24"/>
                <a:gd name="T6" fmla="*/ 13 w 27"/>
                <a:gd name="T7" fmla="*/ 24 h 24"/>
                <a:gd name="T8" fmla="*/ 24 w 27"/>
                <a:gd name="T9" fmla="*/ 18 h 24"/>
                <a:gd name="T10" fmla="*/ 19 w 27"/>
                <a:gd name="T11" fmla="*/ 2 h 24"/>
                <a:gd name="T12" fmla="*/ 13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3" y="0"/>
                  </a:moveTo>
                  <a:cubicBezTo>
                    <a:pt x="9" y="0"/>
                    <a:pt x="5" y="3"/>
                    <a:pt x="3" y="6"/>
                  </a:cubicBezTo>
                  <a:cubicBezTo>
                    <a:pt x="0" y="12"/>
                    <a:pt x="2" y="19"/>
                    <a:pt x="7" y="22"/>
                  </a:cubicBezTo>
                  <a:cubicBezTo>
                    <a:pt x="9" y="23"/>
                    <a:pt x="11" y="24"/>
                    <a:pt x="13" y="24"/>
                  </a:cubicBezTo>
                  <a:cubicBezTo>
                    <a:pt x="17" y="24"/>
                    <a:pt x="21" y="22"/>
                    <a:pt x="24" y="18"/>
                  </a:cubicBezTo>
                  <a:cubicBezTo>
                    <a:pt x="27" y="12"/>
                    <a:pt x="25" y="5"/>
                    <a:pt x="19" y="2"/>
                  </a:cubicBezTo>
                  <a:cubicBezTo>
                    <a:pt x="17" y="1"/>
                    <a:pt x="15" y="0"/>
                    <a:pt x="13" y="0"/>
                  </a:cubicBezTo>
                </a:path>
              </a:pathLst>
            </a:custGeom>
            <a:solidFill>
              <a:srgbClr val="7C87A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2" name="Freeform 71">
              <a:extLst>
                <a:ext uri="{FF2B5EF4-FFF2-40B4-BE49-F238E27FC236}">
                  <a16:creationId xmlns:a16="http://schemas.microsoft.com/office/drawing/2014/main" xmlns="" id="{FD80A767-1C22-4670-99FF-B8B248D1B0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45911" y="5972175"/>
              <a:ext cx="90488" cy="80962"/>
            </a:xfrm>
            <a:custGeom>
              <a:avLst/>
              <a:gdLst>
                <a:gd name="T0" fmla="*/ 14 w 27"/>
                <a:gd name="T1" fmla="*/ 0 h 24"/>
                <a:gd name="T2" fmla="*/ 3 w 27"/>
                <a:gd name="T3" fmla="*/ 6 h 24"/>
                <a:gd name="T4" fmla="*/ 8 w 27"/>
                <a:gd name="T5" fmla="*/ 22 h 24"/>
                <a:gd name="T6" fmla="*/ 14 w 27"/>
                <a:gd name="T7" fmla="*/ 24 h 24"/>
                <a:gd name="T8" fmla="*/ 24 w 27"/>
                <a:gd name="T9" fmla="*/ 18 h 24"/>
                <a:gd name="T10" fmla="*/ 20 w 27"/>
                <a:gd name="T11" fmla="*/ 2 h 24"/>
                <a:gd name="T12" fmla="*/ 14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4" y="0"/>
                  </a:moveTo>
                  <a:cubicBezTo>
                    <a:pt x="10" y="0"/>
                    <a:pt x="6" y="2"/>
                    <a:pt x="3" y="6"/>
                  </a:cubicBezTo>
                  <a:cubicBezTo>
                    <a:pt x="0" y="12"/>
                    <a:pt x="2" y="19"/>
                    <a:pt x="8" y="22"/>
                  </a:cubicBezTo>
                  <a:cubicBezTo>
                    <a:pt x="10" y="23"/>
                    <a:pt x="12" y="24"/>
                    <a:pt x="14" y="24"/>
                  </a:cubicBezTo>
                  <a:cubicBezTo>
                    <a:pt x="18" y="24"/>
                    <a:pt x="22" y="21"/>
                    <a:pt x="24" y="18"/>
                  </a:cubicBezTo>
                  <a:cubicBezTo>
                    <a:pt x="27" y="12"/>
                    <a:pt x="25" y="5"/>
                    <a:pt x="20" y="2"/>
                  </a:cubicBezTo>
                  <a:cubicBezTo>
                    <a:pt x="18" y="1"/>
                    <a:pt x="16" y="0"/>
                    <a:pt x="14" y="0"/>
                  </a:cubicBezTo>
                </a:path>
              </a:pathLst>
            </a:custGeom>
            <a:solidFill>
              <a:srgbClr val="42E8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3" name="Freeform 72">
              <a:extLst>
                <a:ext uri="{FF2B5EF4-FFF2-40B4-BE49-F238E27FC236}">
                  <a16:creationId xmlns:a16="http://schemas.microsoft.com/office/drawing/2014/main" xmlns="" id="{63B25B06-018E-4207-8D4D-28A3CAB37F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53836" y="5919787"/>
              <a:ext cx="88900" cy="76200"/>
            </a:xfrm>
            <a:custGeom>
              <a:avLst/>
              <a:gdLst>
                <a:gd name="T0" fmla="*/ 13 w 27"/>
                <a:gd name="T1" fmla="*/ 0 h 23"/>
                <a:gd name="T2" fmla="*/ 3 w 27"/>
                <a:gd name="T3" fmla="*/ 6 h 23"/>
                <a:gd name="T4" fmla="*/ 7 w 27"/>
                <a:gd name="T5" fmla="*/ 22 h 23"/>
                <a:gd name="T6" fmla="*/ 13 w 27"/>
                <a:gd name="T7" fmla="*/ 23 h 23"/>
                <a:gd name="T8" fmla="*/ 23 w 27"/>
                <a:gd name="T9" fmla="*/ 17 h 23"/>
                <a:gd name="T10" fmla="*/ 19 w 27"/>
                <a:gd name="T11" fmla="*/ 1 h 23"/>
                <a:gd name="T12" fmla="*/ 13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3" y="0"/>
                  </a:moveTo>
                  <a:cubicBezTo>
                    <a:pt x="9" y="0"/>
                    <a:pt x="5" y="2"/>
                    <a:pt x="3" y="6"/>
                  </a:cubicBezTo>
                  <a:cubicBezTo>
                    <a:pt x="0" y="11"/>
                    <a:pt x="2" y="18"/>
                    <a:pt x="7" y="22"/>
                  </a:cubicBezTo>
                  <a:cubicBezTo>
                    <a:pt x="9" y="23"/>
                    <a:pt x="11" y="23"/>
                    <a:pt x="13" y="23"/>
                  </a:cubicBezTo>
                  <a:cubicBezTo>
                    <a:pt x="17" y="23"/>
                    <a:pt x="21" y="21"/>
                    <a:pt x="23" y="17"/>
                  </a:cubicBezTo>
                  <a:cubicBezTo>
                    <a:pt x="27" y="12"/>
                    <a:pt x="25" y="5"/>
                    <a:pt x="19" y="1"/>
                  </a:cubicBezTo>
                  <a:cubicBezTo>
                    <a:pt x="17" y="0"/>
                    <a:pt x="15" y="0"/>
                    <a:pt x="13" y="0"/>
                  </a:cubicBezTo>
                </a:path>
              </a:pathLst>
            </a:custGeom>
            <a:solidFill>
              <a:srgbClr val="4BC8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4" name="Freeform 73">
              <a:extLst>
                <a:ext uri="{FF2B5EF4-FFF2-40B4-BE49-F238E27FC236}">
                  <a16:creationId xmlns:a16="http://schemas.microsoft.com/office/drawing/2014/main" xmlns="" id="{5D585783-FD34-4BEE-B88F-4B5FB48E44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58586" y="5862637"/>
              <a:ext cx="88900" cy="80962"/>
            </a:xfrm>
            <a:custGeom>
              <a:avLst/>
              <a:gdLst>
                <a:gd name="T0" fmla="*/ 14 w 27"/>
                <a:gd name="T1" fmla="*/ 0 h 24"/>
                <a:gd name="T2" fmla="*/ 4 w 27"/>
                <a:gd name="T3" fmla="*/ 6 h 24"/>
                <a:gd name="T4" fmla="*/ 8 w 27"/>
                <a:gd name="T5" fmla="*/ 22 h 24"/>
                <a:gd name="T6" fmla="*/ 14 w 27"/>
                <a:gd name="T7" fmla="*/ 24 h 24"/>
                <a:gd name="T8" fmla="*/ 24 w 27"/>
                <a:gd name="T9" fmla="*/ 18 h 24"/>
                <a:gd name="T10" fmla="*/ 20 w 27"/>
                <a:gd name="T11" fmla="*/ 2 h 24"/>
                <a:gd name="T12" fmla="*/ 14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4" y="0"/>
                  </a:moveTo>
                  <a:cubicBezTo>
                    <a:pt x="10" y="0"/>
                    <a:pt x="6" y="2"/>
                    <a:pt x="4" y="6"/>
                  </a:cubicBezTo>
                  <a:cubicBezTo>
                    <a:pt x="0" y="12"/>
                    <a:pt x="2" y="19"/>
                    <a:pt x="8" y="22"/>
                  </a:cubicBezTo>
                  <a:cubicBezTo>
                    <a:pt x="10" y="23"/>
                    <a:pt x="12" y="24"/>
                    <a:pt x="14" y="24"/>
                  </a:cubicBezTo>
                  <a:cubicBezTo>
                    <a:pt x="18" y="24"/>
                    <a:pt x="22" y="22"/>
                    <a:pt x="24" y="18"/>
                  </a:cubicBezTo>
                  <a:cubicBezTo>
                    <a:pt x="27" y="12"/>
                    <a:pt x="25" y="5"/>
                    <a:pt x="20" y="2"/>
                  </a:cubicBezTo>
                  <a:cubicBezTo>
                    <a:pt x="18" y="1"/>
                    <a:pt x="16" y="0"/>
                    <a:pt x="14" y="0"/>
                  </a:cubicBezTo>
                </a:path>
              </a:pathLst>
            </a:custGeom>
            <a:solidFill>
              <a:srgbClr val="56AFC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5" name="Freeform 74">
              <a:extLst>
                <a:ext uri="{FF2B5EF4-FFF2-40B4-BE49-F238E27FC236}">
                  <a16:creationId xmlns:a16="http://schemas.microsoft.com/office/drawing/2014/main" xmlns="" id="{4C4350A5-33CD-4F3C-9E46-A7BA7A3F80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66511" y="5810250"/>
              <a:ext cx="88900" cy="76200"/>
            </a:xfrm>
            <a:custGeom>
              <a:avLst/>
              <a:gdLst>
                <a:gd name="T0" fmla="*/ 14 w 27"/>
                <a:gd name="T1" fmla="*/ 0 h 23"/>
                <a:gd name="T2" fmla="*/ 3 w 27"/>
                <a:gd name="T3" fmla="*/ 6 h 23"/>
                <a:gd name="T4" fmla="*/ 8 w 27"/>
                <a:gd name="T5" fmla="*/ 22 h 23"/>
                <a:gd name="T6" fmla="*/ 14 w 27"/>
                <a:gd name="T7" fmla="*/ 23 h 23"/>
                <a:gd name="T8" fmla="*/ 24 w 27"/>
                <a:gd name="T9" fmla="*/ 18 h 23"/>
                <a:gd name="T10" fmla="*/ 19 w 27"/>
                <a:gd name="T11" fmla="*/ 2 h 23"/>
                <a:gd name="T12" fmla="*/ 14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4" y="0"/>
                  </a:moveTo>
                  <a:cubicBezTo>
                    <a:pt x="10" y="0"/>
                    <a:pt x="6" y="2"/>
                    <a:pt x="3" y="6"/>
                  </a:cubicBezTo>
                  <a:cubicBezTo>
                    <a:pt x="0" y="11"/>
                    <a:pt x="2" y="19"/>
                    <a:pt x="8" y="22"/>
                  </a:cubicBezTo>
                  <a:cubicBezTo>
                    <a:pt x="10" y="23"/>
                    <a:pt x="12" y="23"/>
                    <a:pt x="14" y="23"/>
                  </a:cubicBezTo>
                  <a:cubicBezTo>
                    <a:pt x="18" y="23"/>
                    <a:pt x="22" y="21"/>
                    <a:pt x="24" y="18"/>
                  </a:cubicBezTo>
                  <a:cubicBezTo>
                    <a:pt x="27" y="12"/>
                    <a:pt x="25" y="5"/>
                    <a:pt x="19" y="2"/>
                  </a:cubicBezTo>
                  <a:cubicBezTo>
                    <a:pt x="18" y="0"/>
                    <a:pt x="16" y="0"/>
                    <a:pt x="14" y="0"/>
                  </a:cubicBezTo>
                </a:path>
              </a:pathLst>
            </a:custGeom>
            <a:solidFill>
              <a:srgbClr val="629CB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6" name="Freeform 75">
              <a:extLst>
                <a:ext uri="{FF2B5EF4-FFF2-40B4-BE49-F238E27FC236}">
                  <a16:creationId xmlns:a16="http://schemas.microsoft.com/office/drawing/2014/main" xmlns="" id="{2C1A229B-0034-4B96-BD9F-4C994F24CD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72849" y="5756275"/>
              <a:ext cx="90488" cy="76200"/>
            </a:xfrm>
            <a:custGeom>
              <a:avLst/>
              <a:gdLst>
                <a:gd name="T0" fmla="*/ 13 w 27"/>
                <a:gd name="T1" fmla="*/ 0 h 23"/>
                <a:gd name="T2" fmla="*/ 3 w 27"/>
                <a:gd name="T3" fmla="*/ 5 h 23"/>
                <a:gd name="T4" fmla="*/ 7 w 27"/>
                <a:gd name="T5" fmla="*/ 22 h 23"/>
                <a:gd name="T6" fmla="*/ 13 w 27"/>
                <a:gd name="T7" fmla="*/ 23 h 23"/>
                <a:gd name="T8" fmla="*/ 23 w 27"/>
                <a:gd name="T9" fmla="*/ 17 h 23"/>
                <a:gd name="T10" fmla="*/ 19 w 27"/>
                <a:gd name="T11" fmla="*/ 1 h 23"/>
                <a:gd name="T12" fmla="*/ 13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3" y="0"/>
                  </a:moveTo>
                  <a:cubicBezTo>
                    <a:pt x="9" y="0"/>
                    <a:pt x="5" y="2"/>
                    <a:pt x="3" y="5"/>
                  </a:cubicBezTo>
                  <a:cubicBezTo>
                    <a:pt x="0" y="11"/>
                    <a:pt x="2" y="18"/>
                    <a:pt x="7" y="22"/>
                  </a:cubicBezTo>
                  <a:cubicBezTo>
                    <a:pt x="9" y="23"/>
                    <a:pt x="11" y="23"/>
                    <a:pt x="13" y="23"/>
                  </a:cubicBezTo>
                  <a:cubicBezTo>
                    <a:pt x="17" y="23"/>
                    <a:pt x="21" y="21"/>
                    <a:pt x="23" y="17"/>
                  </a:cubicBezTo>
                  <a:cubicBezTo>
                    <a:pt x="27" y="12"/>
                    <a:pt x="25" y="4"/>
                    <a:pt x="19" y="1"/>
                  </a:cubicBezTo>
                  <a:cubicBezTo>
                    <a:pt x="17" y="0"/>
                    <a:pt x="15" y="0"/>
                    <a:pt x="13" y="0"/>
                  </a:cubicBezTo>
                </a:path>
              </a:pathLst>
            </a:custGeom>
            <a:solidFill>
              <a:srgbClr val="6E8E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8" name="Freeform 77">
              <a:extLst>
                <a:ext uri="{FF2B5EF4-FFF2-40B4-BE49-F238E27FC236}">
                  <a16:creationId xmlns:a16="http://schemas.microsoft.com/office/drawing/2014/main" xmlns="" id="{CF3B3962-B84A-4F1D-8B93-0BED7414E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7124" y="5699125"/>
              <a:ext cx="79375" cy="73025"/>
            </a:xfrm>
            <a:custGeom>
              <a:avLst/>
              <a:gdLst>
                <a:gd name="T0" fmla="*/ 11 w 24"/>
                <a:gd name="T1" fmla="*/ 0 h 22"/>
                <a:gd name="T2" fmla="*/ 6 w 24"/>
                <a:gd name="T3" fmla="*/ 1 h 22"/>
                <a:gd name="T4" fmla="*/ 3 w 24"/>
                <a:gd name="T5" fmla="*/ 5 h 22"/>
                <a:gd name="T6" fmla="*/ 7 w 24"/>
                <a:gd name="T7" fmla="*/ 21 h 22"/>
                <a:gd name="T8" fmla="*/ 13 w 24"/>
                <a:gd name="T9" fmla="*/ 22 h 22"/>
                <a:gd name="T10" fmla="*/ 18 w 24"/>
                <a:gd name="T11" fmla="*/ 21 h 22"/>
                <a:gd name="T12" fmla="*/ 21 w 24"/>
                <a:gd name="T13" fmla="*/ 18 h 22"/>
                <a:gd name="T14" fmla="*/ 17 w 24"/>
                <a:gd name="T15" fmla="*/ 2 h 22"/>
                <a:gd name="T16" fmla="*/ 11 w 24"/>
                <a:gd name="T1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2">
                  <a:moveTo>
                    <a:pt x="11" y="0"/>
                  </a:moveTo>
                  <a:cubicBezTo>
                    <a:pt x="9" y="0"/>
                    <a:pt x="8" y="0"/>
                    <a:pt x="6" y="1"/>
                  </a:cubicBezTo>
                  <a:cubicBezTo>
                    <a:pt x="5" y="2"/>
                    <a:pt x="4" y="3"/>
                    <a:pt x="3" y="5"/>
                  </a:cubicBezTo>
                  <a:cubicBezTo>
                    <a:pt x="0" y="10"/>
                    <a:pt x="2" y="18"/>
                    <a:pt x="7" y="21"/>
                  </a:cubicBezTo>
                  <a:cubicBezTo>
                    <a:pt x="9" y="22"/>
                    <a:pt x="11" y="22"/>
                    <a:pt x="13" y="22"/>
                  </a:cubicBezTo>
                  <a:cubicBezTo>
                    <a:pt x="15" y="22"/>
                    <a:pt x="16" y="22"/>
                    <a:pt x="18" y="21"/>
                  </a:cubicBezTo>
                  <a:cubicBezTo>
                    <a:pt x="19" y="21"/>
                    <a:pt x="20" y="19"/>
                    <a:pt x="21" y="18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5" y="1"/>
                    <a:pt x="13" y="0"/>
                    <a:pt x="11" y="0"/>
                  </a:cubicBezTo>
                </a:path>
              </a:pathLst>
            </a:custGeom>
            <a:solidFill>
              <a:srgbClr val="7C87A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0" name="Freeform 79">
              <a:extLst>
                <a:ext uri="{FF2B5EF4-FFF2-40B4-BE49-F238E27FC236}">
                  <a16:creationId xmlns:a16="http://schemas.microsoft.com/office/drawing/2014/main" xmlns="" id="{961F8AA8-F20D-422E-8437-87E243BB6F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91874" y="5646737"/>
              <a:ext cx="82550" cy="73025"/>
            </a:xfrm>
            <a:custGeom>
              <a:avLst/>
              <a:gdLst>
                <a:gd name="T0" fmla="*/ 11 w 25"/>
                <a:gd name="T1" fmla="*/ 0 h 22"/>
                <a:gd name="T2" fmla="*/ 7 w 25"/>
                <a:gd name="T3" fmla="*/ 1 h 22"/>
                <a:gd name="T4" fmla="*/ 4 w 25"/>
                <a:gd name="T5" fmla="*/ 5 h 22"/>
                <a:gd name="T6" fmla="*/ 8 w 25"/>
                <a:gd name="T7" fmla="*/ 21 h 22"/>
                <a:gd name="T8" fmla="*/ 14 w 25"/>
                <a:gd name="T9" fmla="*/ 22 h 22"/>
                <a:gd name="T10" fmla="*/ 18 w 25"/>
                <a:gd name="T11" fmla="*/ 21 h 22"/>
                <a:gd name="T12" fmla="*/ 22 w 25"/>
                <a:gd name="T13" fmla="*/ 17 h 22"/>
                <a:gd name="T14" fmla="*/ 17 w 25"/>
                <a:gd name="T15" fmla="*/ 1 h 22"/>
                <a:gd name="T16" fmla="*/ 11 w 25"/>
                <a:gd name="T1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2">
                  <a:moveTo>
                    <a:pt x="11" y="0"/>
                  </a:moveTo>
                  <a:cubicBezTo>
                    <a:pt x="10" y="0"/>
                    <a:pt x="9" y="0"/>
                    <a:pt x="7" y="1"/>
                  </a:cubicBezTo>
                  <a:cubicBezTo>
                    <a:pt x="6" y="2"/>
                    <a:pt x="4" y="3"/>
                    <a:pt x="4" y="5"/>
                  </a:cubicBezTo>
                  <a:cubicBezTo>
                    <a:pt x="0" y="10"/>
                    <a:pt x="2" y="17"/>
                    <a:pt x="8" y="21"/>
                  </a:cubicBezTo>
                  <a:cubicBezTo>
                    <a:pt x="10" y="22"/>
                    <a:pt x="12" y="22"/>
                    <a:pt x="14" y="22"/>
                  </a:cubicBezTo>
                  <a:cubicBezTo>
                    <a:pt x="15" y="22"/>
                    <a:pt x="17" y="22"/>
                    <a:pt x="18" y="21"/>
                  </a:cubicBezTo>
                  <a:cubicBezTo>
                    <a:pt x="19" y="20"/>
                    <a:pt x="21" y="19"/>
                    <a:pt x="22" y="17"/>
                  </a:cubicBezTo>
                  <a:cubicBezTo>
                    <a:pt x="25" y="12"/>
                    <a:pt x="23" y="5"/>
                    <a:pt x="17" y="1"/>
                  </a:cubicBezTo>
                  <a:cubicBezTo>
                    <a:pt x="15" y="0"/>
                    <a:pt x="13" y="0"/>
                    <a:pt x="11" y="0"/>
                  </a:cubicBezTo>
                </a:path>
              </a:pathLst>
            </a:custGeom>
            <a:solidFill>
              <a:srgbClr val="5149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1" name="Freeform 80">
              <a:extLst>
                <a:ext uri="{FF2B5EF4-FFF2-40B4-BE49-F238E27FC236}">
                  <a16:creationId xmlns:a16="http://schemas.microsoft.com/office/drawing/2014/main" xmlns="" id="{4E51C430-C56F-4FCE-A8D2-F80B69939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30174" y="5626100"/>
              <a:ext cx="88900" cy="76200"/>
            </a:xfrm>
            <a:custGeom>
              <a:avLst/>
              <a:gdLst>
                <a:gd name="T0" fmla="*/ 13 w 27"/>
                <a:gd name="T1" fmla="*/ 0 h 23"/>
                <a:gd name="T2" fmla="*/ 8 w 27"/>
                <a:gd name="T3" fmla="*/ 1 h 23"/>
                <a:gd name="T4" fmla="*/ 3 w 27"/>
                <a:gd name="T5" fmla="*/ 17 h 23"/>
                <a:gd name="T6" fmla="*/ 13 w 27"/>
                <a:gd name="T7" fmla="*/ 23 h 23"/>
                <a:gd name="T8" fmla="*/ 19 w 27"/>
                <a:gd name="T9" fmla="*/ 22 h 23"/>
                <a:gd name="T10" fmla="*/ 24 w 27"/>
                <a:gd name="T11" fmla="*/ 6 h 23"/>
                <a:gd name="T12" fmla="*/ 13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3" y="0"/>
                  </a:moveTo>
                  <a:cubicBezTo>
                    <a:pt x="11" y="0"/>
                    <a:pt x="9" y="0"/>
                    <a:pt x="8" y="1"/>
                  </a:cubicBezTo>
                  <a:cubicBezTo>
                    <a:pt x="2" y="5"/>
                    <a:pt x="0" y="12"/>
                    <a:pt x="3" y="17"/>
                  </a:cubicBezTo>
                  <a:cubicBezTo>
                    <a:pt x="5" y="21"/>
                    <a:pt x="9" y="23"/>
                    <a:pt x="13" y="23"/>
                  </a:cubicBezTo>
                  <a:cubicBezTo>
                    <a:pt x="15" y="23"/>
                    <a:pt x="17" y="23"/>
                    <a:pt x="19" y="22"/>
                  </a:cubicBezTo>
                  <a:cubicBezTo>
                    <a:pt x="25" y="19"/>
                    <a:pt x="27" y="11"/>
                    <a:pt x="24" y="6"/>
                  </a:cubicBezTo>
                  <a:cubicBezTo>
                    <a:pt x="21" y="2"/>
                    <a:pt x="18" y="0"/>
                    <a:pt x="13" y="0"/>
                  </a:cubicBezTo>
                </a:path>
              </a:pathLst>
            </a:custGeom>
            <a:solidFill>
              <a:srgbClr val="42E8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2" name="Freeform 81">
              <a:extLst>
                <a:ext uri="{FF2B5EF4-FFF2-40B4-BE49-F238E27FC236}">
                  <a16:creationId xmlns:a16="http://schemas.microsoft.com/office/drawing/2014/main" xmlns="" id="{D13B5027-1B7C-4ADA-B936-D7BF2A08CB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2249" y="5568950"/>
              <a:ext cx="88900" cy="80962"/>
            </a:xfrm>
            <a:custGeom>
              <a:avLst/>
              <a:gdLst>
                <a:gd name="T0" fmla="*/ 14 w 27"/>
                <a:gd name="T1" fmla="*/ 0 h 24"/>
                <a:gd name="T2" fmla="*/ 8 w 27"/>
                <a:gd name="T3" fmla="*/ 2 h 24"/>
                <a:gd name="T4" fmla="*/ 4 w 27"/>
                <a:gd name="T5" fmla="*/ 18 h 24"/>
                <a:gd name="T6" fmla="*/ 14 w 27"/>
                <a:gd name="T7" fmla="*/ 24 h 24"/>
                <a:gd name="T8" fmla="*/ 20 w 27"/>
                <a:gd name="T9" fmla="*/ 22 h 24"/>
                <a:gd name="T10" fmla="*/ 24 w 27"/>
                <a:gd name="T11" fmla="*/ 6 h 24"/>
                <a:gd name="T12" fmla="*/ 14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4" y="0"/>
                  </a:moveTo>
                  <a:cubicBezTo>
                    <a:pt x="12" y="0"/>
                    <a:pt x="10" y="1"/>
                    <a:pt x="8" y="2"/>
                  </a:cubicBezTo>
                  <a:cubicBezTo>
                    <a:pt x="2" y="5"/>
                    <a:pt x="0" y="12"/>
                    <a:pt x="4" y="18"/>
                  </a:cubicBezTo>
                  <a:cubicBezTo>
                    <a:pt x="6" y="22"/>
                    <a:pt x="10" y="24"/>
                    <a:pt x="14" y="24"/>
                  </a:cubicBezTo>
                  <a:cubicBezTo>
                    <a:pt x="16" y="24"/>
                    <a:pt x="18" y="23"/>
                    <a:pt x="20" y="22"/>
                  </a:cubicBezTo>
                  <a:cubicBezTo>
                    <a:pt x="25" y="19"/>
                    <a:pt x="27" y="12"/>
                    <a:pt x="24" y="6"/>
                  </a:cubicBezTo>
                  <a:cubicBezTo>
                    <a:pt x="22" y="3"/>
                    <a:pt x="18" y="0"/>
                    <a:pt x="14" y="0"/>
                  </a:cubicBezTo>
                </a:path>
              </a:pathLst>
            </a:custGeom>
            <a:solidFill>
              <a:srgbClr val="4BC8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3" name="Freeform 82">
              <a:extLst>
                <a:ext uri="{FF2B5EF4-FFF2-40B4-BE49-F238E27FC236}">
                  <a16:creationId xmlns:a16="http://schemas.microsoft.com/office/drawing/2014/main" xmlns="" id="{9A093AB1-2883-4487-BA43-17D9702BC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17499" y="5516562"/>
              <a:ext cx="88900" cy="79375"/>
            </a:xfrm>
            <a:custGeom>
              <a:avLst/>
              <a:gdLst>
                <a:gd name="T0" fmla="*/ 13 w 27"/>
                <a:gd name="T1" fmla="*/ 0 h 24"/>
                <a:gd name="T2" fmla="*/ 7 w 27"/>
                <a:gd name="T3" fmla="*/ 2 h 24"/>
                <a:gd name="T4" fmla="*/ 3 w 27"/>
                <a:gd name="T5" fmla="*/ 18 h 24"/>
                <a:gd name="T6" fmla="*/ 13 w 27"/>
                <a:gd name="T7" fmla="*/ 24 h 24"/>
                <a:gd name="T8" fmla="*/ 19 w 27"/>
                <a:gd name="T9" fmla="*/ 22 h 24"/>
                <a:gd name="T10" fmla="*/ 23 w 27"/>
                <a:gd name="T11" fmla="*/ 6 h 24"/>
                <a:gd name="T12" fmla="*/ 13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3" y="0"/>
                  </a:moveTo>
                  <a:cubicBezTo>
                    <a:pt x="11" y="0"/>
                    <a:pt x="9" y="1"/>
                    <a:pt x="7" y="2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1"/>
                    <a:pt x="9" y="24"/>
                    <a:pt x="13" y="24"/>
                  </a:cubicBezTo>
                  <a:cubicBezTo>
                    <a:pt x="15" y="24"/>
                    <a:pt x="17" y="23"/>
                    <a:pt x="19" y="22"/>
                  </a:cubicBezTo>
                  <a:cubicBezTo>
                    <a:pt x="25" y="19"/>
                    <a:pt x="27" y="12"/>
                    <a:pt x="23" y="6"/>
                  </a:cubicBezTo>
                  <a:cubicBezTo>
                    <a:pt x="21" y="2"/>
                    <a:pt x="17" y="0"/>
                    <a:pt x="13" y="0"/>
                  </a:cubicBezTo>
                </a:path>
              </a:pathLst>
            </a:custGeom>
            <a:solidFill>
              <a:srgbClr val="56AFC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4" name="Freeform 83">
              <a:extLst>
                <a:ext uri="{FF2B5EF4-FFF2-40B4-BE49-F238E27FC236}">
                  <a16:creationId xmlns:a16="http://schemas.microsoft.com/office/drawing/2014/main" xmlns="" id="{AA71B833-BA1E-4616-AB0B-5881C5F3E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09574" y="5462587"/>
              <a:ext cx="88900" cy="76200"/>
            </a:xfrm>
            <a:custGeom>
              <a:avLst/>
              <a:gdLst>
                <a:gd name="T0" fmla="*/ 14 w 27"/>
                <a:gd name="T1" fmla="*/ 0 h 23"/>
                <a:gd name="T2" fmla="*/ 8 w 27"/>
                <a:gd name="T3" fmla="*/ 1 h 23"/>
                <a:gd name="T4" fmla="*/ 3 w 27"/>
                <a:gd name="T5" fmla="*/ 17 h 23"/>
                <a:gd name="T6" fmla="*/ 14 w 27"/>
                <a:gd name="T7" fmla="*/ 23 h 23"/>
                <a:gd name="T8" fmla="*/ 19 w 27"/>
                <a:gd name="T9" fmla="*/ 22 h 23"/>
                <a:gd name="T10" fmla="*/ 24 w 27"/>
                <a:gd name="T11" fmla="*/ 6 h 23"/>
                <a:gd name="T12" fmla="*/ 14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4" y="0"/>
                  </a:moveTo>
                  <a:cubicBezTo>
                    <a:pt x="12" y="0"/>
                    <a:pt x="10" y="0"/>
                    <a:pt x="8" y="1"/>
                  </a:cubicBezTo>
                  <a:cubicBezTo>
                    <a:pt x="2" y="5"/>
                    <a:pt x="0" y="12"/>
                    <a:pt x="3" y="17"/>
                  </a:cubicBezTo>
                  <a:cubicBezTo>
                    <a:pt x="6" y="21"/>
                    <a:pt x="10" y="23"/>
                    <a:pt x="14" y="23"/>
                  </a:cubicBezTo>
                  <a:cubicBezTo>
                    <a:pt x="16" y="23"/>
                    <a:pt x="18" y="23"/>
                    <a:pt x="19" y="22"/>
                  </a:cubicBezTo>
                  <a:cubicBezTo>
                    <a:pt x="25" y="18"/>
                    <a:pt x="27" y="11"/>
                    <a:pt x="24" y="6"/>
                  </a:cubicBezTo>
                  <a:cubicBezTo>
                    <a:pt x="22" y="2"/>
                    <a:pt x="18" y="0"/>
                    <a:pt x="14" y="0"/>
                  </a:cubicBezTo>
                </a:path>
              </a:pathLst>
            </a:custGeom>
            <a:solidFill>
              <a:srgbClr val="629CB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5" name="Freeform 84">
              <a:extLst>
                <a:ext uri="{FF2B5EF4-FFF2-40B4-BE49-F238E27FC236}">
                  <a16:creationId xmlns:a16="http://schemas.microsoft.com/office/drawing/2014/main" xmlns="" id="{E764C7B4-7F50-466F-8499-DA36A2B899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06411" y="5405437"/>
              <a:ext cx="85725" cy="80962"/>
            </a:xfrm>
            <a:custGeom>
              <a:avLst/>
              <a:gdLst>
                <a:gd name="T0" fmla="*/ 13 w 26"/>
                <a:gd name="T1" fmla="*/ 0 h 24"/>
                <a:gd name="T2" fmla="*/ 7 w 26"/>
                <a:gd name="T3" fmla="*/ 2 h 24"/>
                <a:gd name="T4" fmla="*/ 3 w 26"/>
                <a:gd name="T5" fmla="*/ 18 h 24"/>
                <a:gd name="T6" fmla="*/ 13 w 26"/>
                <a:gd name="T7" fmla="*/ 24 h 24"/>
                <a:gd name="T8" fmla="*/ 19 w 26"/>
                <a:gd name="T9" fmla="*/ 22 h 24"/>
                <a:gd name="T10" fmla="*/ 23 w 26"/>
                <a:gd name="T11" fmla="*/ 6 h 24"/>
                <a:gd name="T12" fmla="*/ 13 w 26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4">
                  <a:moveTo>
                    <a:pt x="13" y="0"/>
                  </a:moveTo>
                  <a:cubicBezTo>
                    <a:pt x="11" y="0"/>
                    <a:pt x="9" y="1"/>
                    <a:pt x="7" y="2"/>
                  </a:cubicBezTo>
                  <a:cubicBezTo>
                    <a:pt x="1" y="5"/>
                    <a:pt x="0" y="12"/>
                    <a:pt x="3" y="18"/>
                  </a:cubicBezTo>
                  <a:cubicBezTo>
                    <a:pt x="5" y="22"/>
                    <a:pt x="9" y="24"/>
                    <a:pt x="13" y="24"/>
                  </a:cubicBezTo>
                  <a:cubicBezTo>
                    <a:pt x="15" y="24"/>
                    <a:pt x="17" y="23"/>
                    <a:pt x="19" y="22"/>
                  </a:cubicBezTo>
                  <a:cubicBezTo>
                    <a:pt x="24" y="19"/>
                    <a:pt x="26" y="12"/>
                    <a:pt x="23" y="6"/>
                  </a:cubicBezTo>
                  <a:cubicBezTo>
                    <a:pt x="21" y="2"/>
                    <a:pt x="17" y="0"/>
                    <a:pt x="13" y="0"/>
                  </a:cubicBezTo>
                </a:path>
              </a:pathLst>
            </a:custGeom>
            <a:solidFill>
              <a:srgbClr val="6E8E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6" name="Freeform 85">
              <a:extLst>
                <a:ext uri="{FF2B5EF4-FFF2-40B4-BE49-F238E27FC236}">
                  <a16:creationId xmlns:a16="http://schemas.microsoft.com/office/drawing/2014/main" xmlns="" id="{092929F9-5B9E-4756-9ABB-428BAC74A5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98486" y="5353050"/>
              <a:ext cx="88900" cy="76200"/>
            </a:xfrm>
            <a:custGeom>
              <a:avLst/>
              <a:gdLst>
                <a:gd name="T0" fmla="*/ 13 w 27"/>
                <a:gd name="T1" fmla="*/ 0 h 23"/>
                <a:gd name="T2" fmla="*/ 7 w 27"/>
                <a:gd name="T3" fmla="*/ 2 h 23"/>
                <a:gd name="T4" fmla="*/ 3 w 27"/>
                <a:gd name="T5" fmla="*/ 18 h 23"/>
                <a:gd name="T6" fmla="*/ 13 w 27"/>
                <a:gd name="T7" fmla="*/ 23 h 23"/>
                <a:gd name="T8" fmla="*/ 19 w 27"/>
                <a:gd name="T9" fmla="*/ 22 h 23"/>
                <a:gd name="T10" fmla="*/ 24 w 27"/>
                <a:gd name="T11" fmla="*/ 6 h 23"/>
                <a:gd name="T12" fmla="*/ 13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3" y="0"/>
                  </a:moveTo>
                  <a:cubicBezTo>
                    <a:pt x="11" y="0"/>
                    <a:pt x="9" y="0"/>
                    <a:pt x="7" y="2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1"/>
                    <a:pt x="9" y="23"/>
                    <a:pt x="13" y="23"/>
                  </a:cubicBezTo>
                  <a:cubicBezTo>
                    <a:pt x="15" y="23"/>
                    <a:pt x="17" y="23"/>
                    <a:pt x="19" y="22"/>
                  </a:cubicBezTo>
                  <a:cubicBezTo>
                    <a:pt x="25" y="19"/>
                    <a:pt x="27" y="11"/>
                    <a:pt x="24" y="6"/>
                  </a:cubicBezTo>
                  <a:cubicBezTo>
                    <a:pt x="21" y="2"/>
                    <a:pt x="17" y="0"/>
                    <a:pt x="13" y="0"/>
                  </a:cubicBezTo>
                </a:path>
              </a:pathLst>
            </a:custGeom>
            <a:solidFill>
              <a:srgbClr val="7C87A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7" name="Freeform 86">
              <a:extLst>
                <a:ext uri="{FF2B5EF4-FFF2-40B4-BE49-F238E27FC236}">
                  <a16:creationId xmlns:a16="http://schemas.microsoft.com/office/drawing/2014/main" xmlns="" id="{8C90C5E6-79A2-4060-8EB1-737E351C3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90561" y="5299075"/>
              <a:ext cx="88900" cy="76200"/>
            </a:xfrm>
            <a:custGeom>
              <a:avLst/>
              <a:gdLst>
                <a:gd name="T0" fmla="*/ 14 w 27"/>
                <a:gd name="T1" fmla="*/ 0 h 23"/>
                <a:gd name="T2" fmla="*/ 8 w 27"/>
                <a:gd name="T3" fmla="*/ 1 h 23"/>
                <a:gd name="T4" fmla="*/ 4 w 27"/>
                <a:gd name="T5" fmla="*/ 17 h 23"/>
                <a:gd name="T6" fmla="*/ 14 w 27"/>
                <a:gd name="T7" fmla="*/ 23 h 23"/>
                <a:gd name="T8" fmla="*/ 20 w 27"/>
                <a:gd name="T9" fmla="*/ 22 h 23"/>
                <a:gd name="T10" fmla="*/ 24 w 27"/>
                <a:gd name="T11" fmla="*/ 5 h 23"/>
                <a:gd name="T12" fmla="*/ 14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4" y="0"/>
                  </a:moveTo>
                  <a:cubicBezTo>
                    <a:pt x="12" y="0"/>
                    <a:pt x="10" y="0"/>
                    <a:pt x="8" y="1"/>
                  </a:cubicBezTo>
                  <a:cubicBezTo>
                    <a:pt x="2" y="4"/>
                    <a:pt x="0" y="12"/>
                    <a:pt x="4" y="17"/>
                  </a:cubicBezTo>
                  <a:cubicBezTo>
                    <a:pt x="6" y="21"/>
                    <a:pt x="10" y="23"/>
                    <a:pt x="14" y="23"/>
                  </a:cubicBezTo>
                  <a:cubicBezTo>
                    <a:pt x="16" y="23"/>
                    <a:pt x="18" y="23"/>
                    <a:pt x="20" y="22"/>
                  </a:cubicBezTo>
                  <a:cubicBezTo>
                    <a:pt x="25" y="18"/>
                    <a:pt x="27" y="11"/>
                    <a:pt x="24" y="5"/>
                  </a:cubicBezTo>
                  <a:cubicBezTo>
                    <a:pt x="22" y="2"/>
                    <a:pt x="18" y="0"/>
                    <a:pt x="14" y="0"/>
                  </a:cubicBezTo>
                </a:path>
              </a:pathLst>
            </a:custGeom>
            <a:solidFill>
              <a:srgbClr val="8B86A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cxnSp>
          <p:nvCxnSpPr>
            <p:cNvPr id="4096" name="直接连接符 4095">
              <a:extLst>
                <a:ext uri="{FF2B5EF4-FFF2-40B4-BE49-F238E27FC236}">
                  <a16:creationId xmlns:a16="http://schemas.microsoft.com/office/drawing/2014/main" xmlns="" id="{B1EA0FC5-29CD-4F28-A45D-D157FD7E5BA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41802" y="5287830"/>
              <a:ext cx="827436" cy="501914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直接连接符 187">
              <a:extLst>
                <a:ext uri="{FF2B5EF4-FFF2-40B4-BE49-F238E27FC236}">
                  <a16:creationId xmlns:a16="http://schemas.microsoft.com/office/drawing/2014/main" xmlns="" id="{867A0B53-8EDF-48B5-9A4E-8F1B2EE88CC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352276" y="5405437"/>
              <a:ext cx="618290" cy="398594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直接连接符 192">
              <a:extLst>
                <a:ext uri="{FF2B5EF4-FFF2-40B4-BE49-F238E27FC236}">
                  <a16:creationId xmlns:a16="http://schemas.microsoft.com/office/drawing/2014/main" xmlns="" id="{459F3CA0-87B8-43D8-B691-12FB120D8EC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731243" y="5471253"/>
              <a:ext cx="328843" cy="211996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直接连接符 197">
              <a:extLst>
                <a:ext uri="{FF2B5EF4-FFF2-40B4-BE49-F238E27FC236}">
                  <a16:creationId xmlns:a16="http://schemas.microsoft.com/office/drawing/2014/main" xmlns="" id="{E3DD8066-40F4-4A02-9DF1-05A162F2CA2C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0065044" y="5664134"/>
              <a:ext cx="618290" cy="398594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9" name="椭圆 198">
              <a:extLst>
                <a:ext uri="{FF2B5EF4-FFF2-40B4-BE49-F238E27FC236}">
                  <a16:creationId xmlns:a16="http://schemas.microsoft.com/office/drawing/2014/main" xmlns="" id="{001A6F1F-C585-4281-828C-058AB5EDE524}"/>
                </a:ext>
              </a:extLst>
            </p:cNvPr>
            <p:cNvSpPr/>
            <p:nvPr userDrawn="1"/>
          </p:nvSpPr>
          <p:spPr>
            <a:xfrm>
              <a:off x="10861128" y="4188135"/>
              <a:ext cx="361456" cy="203605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17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200" name="直接连接符 199">
              <a:extLst>
                <a:ext uri="{FF2B5EF4-FFF2-40B4-BE49-F238E27FC236}">
                  <a16:creationId xmlns:a16="http://schemas.microsoft.com/office/drawing/2014/main" xmlns="" id="{493F7646-9DF0-4328-BA59-726818EBD66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552112" y="4285080"/>
              <a:ext cx="483328" cy="289130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2" name="椭圆 201">
              <a:extLst>
                <a:ext uri="{FF2B5EF4-FFF2-40B4-BE49-F238E27FC236}">
                  <a16:creationId xmlns:a16="http://schemas.microsoft.com/office/drawing/2014/main" xmlns="" id="{557EAC11-F2A0-4C08-8F11-44BF87802B10}"/>
                </a:ext>
              </a:extLst>
            </p:cNvPr>
            <p:cNvSpPr/>
            <p:nvPr userDrawn="1"/>
          </p:nvSpPr>
          <p:spPr>
            <a:xfrm>
              <a:off x="9754989" y="3713379"/>
              <a:ext cx="361456" cy="203605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17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203" name="直接连接符 202">
              <a:extLst>
                <a:ext uri="{FF2B5EF4-FFF2-40B4-BE49-F238E27FC236}">
                  <a16:creationId xmlns:a16="http://schemas.microsoft.com/office/drawing/2014/main" xmlns="" id="{5D1273CE-BE25-441B-953B-C1B5966CAE6F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445973" y="3810324"/>
              <a:ext cx="483328" cy="289130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4" name="椭圆 203">
              <a:extLst>
                <a:ext uri="{FF2B5EF4-FFF2-40B4-BE49-F238E27FC236}">
                  <a16:creationId xmlns:a16="http://schemas.microsoft.com/office/drawing/2014/main" xmlns="" id="{8F096A9B-1AA8-431A-BB04-8C15CF5627F3}"/>
                </a:ext>
              </a:extLst>
            </p:cNvPr>
            <p:cNvSpPr/>
            <p:nvPr userDrawn="1"/>
          </p:nvSpPr>
          <p:spPr>
            <a:xfrm>
              <a:off x="10020604" y="4130676"/>
              <a:ext cx="358974" cy="202206"/>
            </a:xfrm>
            <a:prstGeom prst="ellipse">
              <a:avLst/>
            </a:prstGeom>
            <a:gradFill flip="none" rotWithShape="1">
              <a:gsLst>
                <a:gs pos="100000">
                  <a:srgbClr val="1D296C">
                    <a:alpha val="20000"/>
                  </a:srgbClr>
                </a:gs>
                <a:gs pos="59000">
                  <a:srgbClr val="2B6C95">
                    <a:alpha val="50000"/>
                  </a:srgbClr>
                </a:gs>
                <a:gs pos="30000">
                  <a:srgbClr val="36A6B8">
                    <a:alpha val="50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205" name="直接连接符 204">
              <a:extLst>
                <a:ext uri="{FF2B5EF4-FFF2-40B4-BE49-F238E27FC236}">
                  <a16:creationId xmlns:a16="http://schemas.microsoft.com/office/drawing/2014/main" xmlns="" id="{2919DAC9-4D15-444E-AD29-DB55069F5E6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906261" y="4226956"/>
              <a:ext cx="287454" cy="171956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>
                      <a:alpha val="20000"/>
                    </a:srgbClr>
                  </a:gs>
                  <a:gs pos="53000">
                    <a:srgbClr val="255184">
                      <a:alpha val="20000"/>
                    </a:srgbClr>
                  </a:gs>
                  <a:gs pos="100000">
                    <a:srgbClr val="42E8E0">
                      <a:alpha val="20000"/>
                    </a:srgbClr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1" name="椭圆 210">
              <a:extLst>
                <a:ext uri="{FF2B5EF4-FFF2-40B4-BE49-F238E27FC236}">
                  <a16:creationId xmlns:a16="http://schemas.microsoft.com/office/drawing/2014/main" xmlns="" id="{E0D349D6-48B6-4D60-8DDF-1C1342CDA205}"/>
                </a:ext>
              </a:extLst>
            </p:cNvPr>
            <p:cNvSpPr/>
            <p:nvPr userDrawn="1"/>
          </p:nvSpPr>
          <p:spPr>
            <a:xfrm>
              <a:off x="7626655" y="4176741"/>
              <a:ext cx="358974" cy="202206"/>
            </a:xfrm>
            <a:prstGeom prst="ellipse">
              <a:avLst/>
            </a:prstGeom>
            <a:gradFill flip="none" rotWithShape="1">
              <a:gsLst>
                <a:gs pos="100000">
                  <a:srgbClr val="1D296C">
                    <a:alpha val="20000"/>
                  </a:srgbClr>
                </a:gs>
                <a:gs pos="59000">
                  <a:srgbClr val="2B6C95">
                    <a:alpha val="50000"/>
                  </a:srgbClr>
                </a:gs>
                <a:gs pos="30000">
                  <a:srgbClr val="36A6B8">
                    <a:alpha val="50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212" name="直接连接符 211">
              <a:extLst>
                <a:ext uri="{FF2B5EF4-FFF2-40B4-BE49-F238E27FC236}">
                  <a16:creationId xmlns:a16="http://schemas.microsoft.com/office/drawing/2014/main" xmlns="" id="{7089C232-3C85-423F-947B-0BFA9401DFA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512312" y="4273021"/>
              <a:ext cx="287454" cy="171956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>
                      <a:alpha val="20000"/>
                    </a:srgbClr>
                  </a:gs>
                  <a:gs pos="53000">
                    <a:srgbClr val="255184">
                      <a:alpha val="20000"/>
                    </a:srgbClr>
                  </a:gs>
                  <a:gs pos="100000">
                    <a:srgbClr val="42E8E0">
                      <a:alpha val="20000"/>
                    </a:srgbClr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3" name="椭圆 212">
              <a:extLst>
                <a:ext uri="{FF2B5EF4-FFF2-40B4-BE49-F238E27FC236}">
                  <a16:creationId xmlns:a16="http://schemas.microsoft.com/office/drawing/2014/main" xmlns="" id="{C560641A-F420-4727-A7F7-179E3FE63748}"/>
                </a:ext>
              </a:extLst>
            </p:cNvPr>
            <p:cNvSpPr/>
            <p:nvPr userDrawn="1"/>
          </p:nvSpPr>
          <p:spPr>
            <a:xfrm>
              <a:off x="8387012" y="3360161"/>
              <a:ext cx="358974" cy="202206"/>
            </a:xfrm>
            <a:prstGeom prst="ellipse">
              <a:avLst/>
            </a:prstGeom>
            <a:gradFill flip="none" rotWithShape="1">
              <a:gsLst>
                <a:gs pos="100000">
                  <a:srgbClr val="1D296C">
                    <a:alpha val="20000"/>
                  </a:srgbClr>
                </a:gs>
                <a:gs pos="59000">
                  <a:srgbClr val="2B6C95">
                    <a:alpha val="50000"/>
                  </a:srgbClr>
                </a:gs>
                <a:gs pos="30000">
                  <a:srgbClr val="36A6B8">
                    <a:alpha val="50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214" name="直接连接符 213">
              <a:extLst>
                <a:ext uri="{FF2B5EF4-FFF2-40B4-BE49-F238E27FC236}">
                  <a16:creationId xmlns:a16="http://schemas.microsoft.com/office/drawing/2014/main" xmlns="" id="{545304FD-1796-4169-B922-A5937A78C4F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272669" y="3456441"/>
              <a:ext cx="287454" cy="171956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>
                      <a:alpha val="20000"/>
                    </a:srgbClr>
                  </a:gs>
                  <a:gs pos="53000">
                    <a:srgbClr val="255184">
                      <a:alpha val="20000"/>
                    </a:srgbClr>
                  </a:gs>
                  <a:gs pos="100000">
                    <a:srgbClr val="42E8E0">
                      <a:alpha val="20000"/>
                    </a:srgbClr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" name="椭圆 214">
              <a:extLst>
                <a:ext uri="{FF2B5EF4-FFF2-40B4-BE49-F238E27FC236}">
                  <a16:creationId xmlns:a16="http://schemas.microsoft.com/office/drawing/2014/main" xmlns="" id="{73E6A0CA-67C2-42EF-8383-B14B770ED349}"/>
                </a:ext>
              </a:extLst>
            </p:cNvPr>
            <p:cNvSpPr/>
            <p:nvPr userDrawn="1"/>
          </p:nvSpPr>
          <p:spPr>
            <a:xfrm>
              <a:off x="8071311" y="3424099"/>
              <a:ext cx="361456" cy="203605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17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216" name="直接连接符 215">
              <a:extLst>
                <a:ext uri="{FF2B5EF4-FFF2-40B4-BE49-F238E27FC236}">
                  <a16:creationId xmlns:a16="http://schemas.microsoft.com/office/drawing/2014/main" xmlns="" id="{AF574737-39F9-4472-AE17-3BFF53B46DE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762295" y="3521044"/>
              <a:ext cx="483328" cy="289130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直接连接符 216">
              <a:extLst>
                <a:ext uri="{FF2B5EF4-FFF2-40B4-BE49-F238E27FC236}">
                  <a16:creationId xmlns:a16="http://schemas.microsoft.com/office/drawing/2014/main" xmlns="" id="{9D684D3A-8C4E-4158-8772-8D8471CDA919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8216506" y="2821117"/>
              <a:ext cx="5025" cy="2074259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16200000" scaled="0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直接连接符 219">
              <a:extLst>
                <a:ext uri="{FF2B5EF4-FFF2-40B4-BE49-F238E27FC236}">
                  <a16:creationId xmlns:a16="http://schemas.microsoft.com/office/drawing/2014/main" xmlns="" id="{1E239B15-E30E-46F9-A6D0-F08CDCC35D74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0208402" y="2813165"/>
              <a:ext cx="5025" cy="2074259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16200000" scaled="0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54" name="Freeform 90">
              <a:extLst>
                <a:ext uri="{FF2B5EF4-FFF2-40B4-BE49-F238E27FC236}">
                  <a16:creationId xmlns:a16="http://schemas.microsoft.com/office/drawing/2014/main" xmlns="" id="{AF6DEBA4-934D-42E9-8FD3-EA26D0DCE3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48638" y="4267200"/>
              <a:ext cx="2168525" cy="1239838"/>
            </a:xfrm>
            <a:custGeom>
              <a:avLst/>
              <a:gdLst>
                <a:gd name="T0" fmla="*/ 270 w 538"/>
                <a:gd name="T1" fmla="*/ 0 h 307"/>
                <a:gd name="T2" fmla="*/ 249 w 538"/>
                <a:gd name="T3" fmla="*/ 6 h 307"/>
                <a:gd name="T4" fmla="*/ 13 w 538"/>
                <a:gd name="T5" fmla="*/ 142 h 307"/>
                <a:gd name="T6" fmla="*/ 10 w 538"/>
                <a:gd name="T7" fmla="*/ 164 h 307"/>
                <a:gd name="T8" fmla="*/ 251 w 538"/>
                <a:gd name="T9" fmla="*/ 303 h 307"/>
                <a:gd name="T10" fmla="*/ 268 w 538"/>
                <a:gd name="T11" fmla="*/ 307 h 307"/>
                <a:gd name="T12" fmla="*/ 290 w 538"/>
                <a:gd name="T13" fmla="*/ 302 h 307"/>
                <a:gd name="T14" fmla="*/ 525 w 538"/>
                <a:gd name="T15" fmla="*/ 166 h 307"/>
                <a:gd name="T16" fmla="*/ 528 w 538"/>
                <a:gd name="T17" fmla="*/ 144 h 307"/>
                <a:gd name="T18" fmla="*/ 287 w 538"/>
                <a:gd name="T19" fmla="*/ 4 h 307"/>
                <a:gd name="T20" fmla="*/ 270 w 538"/>
                <a:gd name="T21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8" h="307">
                  <a:moveTo>
                    <a:pt x="270" y="0"/>
                  </a:moveTo>
                  <a:cubicBezTo>
                    <a:pt x="263" y="0"/>
                    <a:pt x="255" y="2"/>
                    <a:pt x="249" y="6"/>
                  </a:cubicBezTo>
                  <a:cubicBezTo>
                    <a:pt x="13" y="142"/>
                    <a:pt x="13" y="142"/>
                    <a:pt x="13" y="142"/>
                  </a:cubicBezTo>
                  <a:cubicBezTo>
                    <a:pt x="2" y="149"/>
                    <a:pt x="0" y="158"/>
                    <a:pt x="10" y="164"/>
                  </a:cubicBezTo>
                  <a:cubicBezTo>
                    <a:pt x="251" y="303"/>
                    <a:pt x="251" y="303"/>
                    <a:pt x="251" y="303"/>
                  </a:cubicBezTo>
                  <a:cubicBezTo>
                    <a:pt x="256" y="306"/>
                    <a:pt x="262" y="307"/>
                    <a:pt x="268" y="307"/>
                  </a:cubicBezTo>
                  <a:cubicBezTo>
                    <a:pt x="275" y="307"/>
                    <a:pt x="283" y="305"/>
                    <a:pt x="290" y="302"/>
                  </a:cubicBezTo>
                  <a:cubicBezTo>
                    <a:pt x="525" y="166"/>
                    <a:pt x="525" y="166"/>
                    <a:pt x="525" y="166"/>
                  </a:cubicBezTo>
                  <a:cubicBezTo>
                    <a:pt x="537" y="159"/>
                    <a:pt x="538" y="149"/>
                    <a:pt x="528" y="144"/>
                  </a:cubicBezTo>
                  <a:cubicBezTo>
                    <a:pt x="287" y="4"/>
                    <a:pt x="287" y="4"/>
                    <a:pt x="287" y="4"/>
                  </a:cubicBezTo>
                  <a:cubicBezTo>
                    <a:pt x="282" y="2"/>
                    <a:pt x="276" y="0"/>
                    <a:pt x="270" y="0"/>
                  </a:cubicBezTo>
                </a:path>
              </a:pathLst>
            </a:custGeom>
            <a:solidFill>
              <a:srgbClr val="736E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55" name="Freeform 91">
              <a:extLst>
                <a:ext uri="{FF2B5EF4-FFF2-40B4-BE49-F238E27FC236}">
                  <a16:creationId xmlns:a16="http://schemas.microsoft.com/office/drawing/2014/main" xmlns="" id="{D3086A1B-50B2-4CAF-9735-932CF494A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48638" y="4264025"/>
              <a:ext cx="2168525" cy="714375"/>
            </a:xfrm>
            <a:custGeom>
              <a:avLst/>
              <a:gdLst>
                <a:gd name="T0" fmla="*/ 10 w 538"/>
                <a:gd name="T1" fmla="*/ 165 h 177"/>
                <a:gd name="T2" fmla="*/ 31 w 538"/>
                <a:gd name="T3" fmla="*/ 177 h 177"/>
                <a:gd name="T4" fmla="*/ 249 w 538"/>
                <a:gd name="T5" fmla="*/ 52 h 177"/>
                <a:gd name="T6" fmla="*/ 287 w 538"/>
                <a:gd name="T7" fmla="*/ 50 h 177"/>
                <a:gd name="T8" fmla="*/ 507 w 538"/>
                <a:gd name="T9" fmla="*/ 177 h 177"/>
                <a:gd name="T10" fmla="*/ 525 w 538"/>
                <a:gd name="T11" fmla="*/ 167 h 177"/>
                <a:gd name="T12" fmla="*/ 528 w 538"/>
                <a:gd name="T13" fmla="*/ 145 h 177"/>
                <a:gd name="T14" fmla="*/ 287 w 538"/>
                <a:gd name="T15" fmla="*/ 5 h 177"/>
                <a:gd name="T16" fmla="*/ 249 w 538"/>
                <a:gd name="T17" fmla="*/ 7 h 177"/>
                <a:gd name="T18" fmla="*/ 13 w 538"/>
                <a:gd name="T19" fmla="*/ 143 h 177"/>
                <a:gd name="T20" fmla="*/ 10 w 538"/>
                <a:gd name="T21" fmla="*/ 165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8" h="177">
                  <a:moveTo>
                    <a:pt x="10" y="165"/>
                  </a:moveTo>
                  <a:cubicBezTo>
                    <a:pt x="31" y="177"/>
                    <a:pt x="31" y="177"/>
                    <a:pt x="31" y="177"/>
                  </a:cubicBezTo>
                  <a:cubicBezTo>
                    <a:pt x="249" y="52"/>
                    <a:pt x="249" y="52"/>
                    <a:pt x="249" y="52"/>
                  </a:cubicBezTo>
                  <a:cubicBezTo>
                    <a:pt x="260" y="45"/>
                    <a:pt x="277" y="45"/>
                    <a:pt x="287" y="50"/>
                  </a:cubicBezTo>
                  <a:cubicBezTo>
                    <a:pt x="507" y="177"/>
                    <a:pt x="507" y="177"/>
                    <a:pt x="507" y="177"/>
                  </a:cubicBezTo>
                  <a:cubicBezTo>
                    <a:pt x="525" y="167"/>
                    <a:pt x="525" y="167"/>
                    <a:pt x="525" y="167"/>
                  </a:cubicBezTo>
                  <a:cubicBezTo>
                    <a:pt x="537" y="160"/>
                    <a:pt x="538" y="150"/>
                    <a:pt x="528" y="145"/>
                  </a:cubicBezTo>
                  <a:cubicBezTo>
                    <a:pt x="287" y="5"/>
                    <a:pt x="287" y="5"/>
                    <a:pt x="287" y="5"/>
                  </a:cubicBezTo>
                  <a:cubicBezTo>
                    <a:pt x="277" y="0"/>
                    <a:pt x="260" y="0"/>
                    <a:pt x="249" y="7"/>
                  </a:cubicBezTo>
                  <a:cubicBezTo>
                    <a:pt x="13" y="143"/>
                    <a:pt x="13" y="143"/>
                    <a:pt x="13" y="143"/>
                  </a:cubicBezTo>
                  <a:cubicBezTo>
                    <a:pt x="2" y="150"/>
                    <a:pt x="0" y="159"/>
                    <a:pt x="10" y="165"/>
                  </a:cubicBezTo>
                  <a:close/>
                </a:path>
              </a:pathLst>
            </a:custGeom>
            <a:solidFill>
              <a:srgbClr val="42E8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6" name="Freeform 90">
              <a:extLst>
                <a:ext uri="{FF2B5EF4-FFF2-40B4-BE49-F238E27FC236}">
                  <a16:creationId xmlns:a16="http://schemas.microsoft.com/office/drawing/2014/main" xmlns="" id="{C63D826E-5E90-4F6D-88F7-EA5A08B904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42017" y="4267200"/>
              <a:ext cx="2168525" cy="1239838"/>
            </a:xfrm>
            <a:custGeom>
              <a:avLst/>
              <a:gdLst>
                <a:gd name="T0" fmla="*/ 270 w 538"/>
                <a:gd name="T1" fmla="*/ 0 h 307"/>
                <a:gd name="T2" fmla="*/ 249 w 538"/>
                <a:gd name="T3" fmla="*/ 6 h 307"/>
                <a:gd name="T4" fmla="*/ 13 w 538"/>
                <a:gd name="T5" fmla="*/ 142 h 307"/>
                <a:gd name="T6" fmla="*/ 10 w 538"/>
                <a:gd name="T7" fmla="*/ 164 h 307"/>
                <a:gd name="T8" fmla="*/ 251 w 538"/>
                <a:gd name="T9" fmla="*/ 303 h 307"/>
                <a:gd name="T10" fmla="*/ 268 w 538"/>
                <a:gd name="T11" fmla="*/ 307 h 307"/>
                <a:gd name="T12" fmla="*/ 290 w 538"/>
                <a:gd name="T13" fmla="*/ 302 h 307"/>
                <a:gd name="T14" fmla="*/ 525 w 538"/>
                <a:gd name="T15" fmla="*/ 166 h 307"/>
                <a:gd name="T16" fmla="*/ 528 w 538"/>
                <a:gd name="T17" fmla="*/ 144 h 307"/>
                <a:gd name="T18" fmla="*/ 287 w 538"/>
                <a:gd name="T19" fmla="*/ 4 h 307"/>
                <a:gd name="T20" fmla="*/ 270 w 538"/>
                <a:gd name="T21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8" h="307">
                  <a:moveTo>
                    <a:pt x="270" y="0"/>
                  </a:moveTo>
                  <a:cubicBezTo>
                    <a:pt x="263" y="0"/>
                    <a:pt x="255" y="2"/>
                    <a:pt x="249" y="6"/>
                  </a:cubicBezTo>
                  <a:cubicBezTo>
                    <a:pt x="13" y="142"/>
                    <a:pt x="13" y="142"/>
                    <a:pt x="13" y="142"/>
                  </a:cubicBezTo>
                  <a:cubicBezTo>
                    <a:pt x="2" y="149"/>
                    <a:pt x="0" y="158"/>
                    <a:pt x="10" y="164"/>
                  </a:cubicBezTo>
                  <a:cubicBezTo>
                    <a:pt x="251" y="303"/>
                    <a:pt x="251" y="303"/>
                    <a:pt x="251" y="303"/>
                  </a:cubicBezTo>
                  <a:cubicBezTo>
                    <a:pt x="256" y="306"/>
                    <a:pt x="262" y="307"/>
                    <a:pt x="268" y="307"/>
                  </a:cubicBezTo>
                  <a:cubicBezTo>
                    <a:pt x="275" y="307"/>
                    <a:pt x="283" y="305"/>
                    <a:pt x="290" y="302"/>
                  </a:cubicBezTo>
                  <a:cubicBezTo>
                    <a:pt x="525" y="166"/>
                    <a:pt x="525" y="166"/>
                    <a:pt x="525" y="166"/>
                  </a:cubicBezTo>
                  <a:cubicBezTo>
                    <a:pt x="537" y="159"/>
                    <a:pt x="538" y="149"/>
                    <a:pt x="528" y="144"/>
                  </a:cubicBezTo>
                  <a:cubicBezTo>
                    <a:pt x="287" y="4"/>
                    <a:pt x="287" y="4"/>
                    <a:pt x="287" y="4"/>
                  </a:cubicBezTo>
                  <a:cubicBezTo>
                    <a:pt x="282" y="2"/>
                    <a:pt x="276" y="0"/>
                    <a:pt x="270" y="0"/>
                  </a:cubicBezTo>
                </a:path>
              </a:pathLst>
            </a:custGeom>
            <a:gradFill>
              <a:gsLst>
                <a:gs pos="22000">
                  <a:srgbClr val="180D5B">
                    <a:alpha val="34000"/>
                  </a:srgbClr>
                </a:gs>
                <a:gs pos="100000">
                  <a:srgbClr val="42E8E0">
                    <a:alpha val="74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  <p:sp>
          <p:nvSpPr>
            <p:cNvPr id="247" name="任意多边形: 形状 246">
              <a:extLst>
                <a:ext uri="{FF2B5EF4-FFF2-40B4-BE49-F238E27FC236}">
                  <a16:creationId xmlns:a16="http://schemas.microsoft.com/office/drawing/2014/main" xmlns="" id="{A1430432-40EA-4925-AA20-F60AF99BA0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78938" y="3259138"/>
              <a:ext cx="120650" cy="2243743"/>
            </a:xfrm>
            <a:custGeom>
              <a:avLst/>
              <a:gdLst>
                <a:gd name="connsiteX0" fmla="*/ 33514 w 120650"/>
                <a:gd name="connsiteY0" fmla="*/ 0 h 2243743"/>
                <a:gd name="connsiteX1" fmla="*/ 56974 w 120650"/>
                <a:gd name="connsiteY1" fmla="*/ 6605 h 2243743"/>
                <a:gd name="connsiteX2" fmla="*/ 63676 w 120650"/>
                <a:gd name="connsiteY2" fmla="*/ 9908 h 2243743"/>
                <a:gd name="connsiteX3" fmla="*/ 120650 w 120650"/>
                <a:gd name="connsiteY3" fmla="*/ 115587 h 2243743"/>
                <a:gd name="connsiteX4" fmla="*/ 120650 w 120650"/>
                <a:gd name="connsiteY4" fmla="*/ 2080273 h 2243743"/>
                <a:gd name="connsiteX5" fmla="*/ 120650 w 120650"/>
                <a:gd name="connsiteY5" fmla="*/ 2177592 h 2243743"/>
                <a:gd name="connsiteX6" fmla="*/ 0 w 120650"/>
                <a:gd name="connsiteY6" fmla="*/ 2243743 h 2243743"/>
                <a:gd name="connsiteX7" fmla="*/ 0 w 120650"/>
                <a:gd name="connsiteY7" fmla="*/ 2132585 h 2243743"/>
                <a:gd name="connsiteX8" fmla="*/ 0 w 120650"/>
                <a:gd name="connsiteY8" fmla="*/ 46235 h 2243743"/>
                <a:gd name="connsiteX9" fmla="*/ 33514 w 120650"/>
                <a:gd name="connsiteY9" fmla="*/ 0 h 2243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650" h="2243743">
                  <a:moveTo>
                    <a:pt x="33514" y="0"/>
                  </a:moveTo>
                  <a:cubicBezTo>
                    <a:pt x="40217" y="0"/>
                    <a:pt x="46919" y="0"/>
                    <a:pt x="56974" y="6605"/>
                  </a:cubicBezTo>
                  <a:cubicBezTo>
                    <a:pt x="56974" y="6605"/>
                    <a:pt x="56974" y="6605"/>
                    <a:pt x="63676" y="9908"/>
                  </a:cubicBezTo>
                  <a:cubicBezTo>
                    <a:pt x="97190" y="26420"/>
                    <a:pt x="120650" y="75957"/>
                    <a:pt x="120650" y="115587"/>
                  </a:cubicBezTo>
                  <a:cubicBezTo>
                    <a:pt x="120650" y="115587"/>
                    <a:pt x="120650" y="115587"/>
                    <a:pt x="120650" y="2080273"/>
                  </a:cubicBezTo>
                  <a:lnTo>
                    <a:pt x="120650" y="2177592"/>
                  </a:lnTo>
                  <a:lnTo>
                    <a:pt x="0" y="2243743"/>
                  </a:lnTo>
                  <a:lnTo>
                    <a:pt x="0" y="2132585"/>
                  </a:lnTo>
                  <a:cubicBezTo>
                    <a:pt x="0" y="1834535"/>
                    <a:pt x="0" y="1238435"/>
                    <a:pt x="0" y="46235"/>
                  </a:cubicBezTo>
                  <a:cubicBezTo>
                    <a:pt x="0" y="16513"/>
                    <a:pt x="13406" y="0"/>
                    <a:pt x="33514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245" name="任意多边形: 形状 244">
              <a:extLst>
                <a:ext uri="{FF2B5EF4-FFF2-40B4-BE49-F238E27FC236}">
                  <a16:creationId xmlns:a16="http://schemas.microsoft.com/office/drawing/2014/main" xmlns="" id="{20D60DA0-3304-4EAA-A6B3-B1D71DBAC6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01188" y="3767138"/>
              <a:ext cx="119063" cy="1621772"/>
            </a:xfrm>
            <a:custGeom>
              <a:avLst/>
              <a:gdLst>
                <a:gd name="connsiteX0" fmla="*/ 33073 w 119063"/>
                <a:gd name="connsiteY0" fmla="*/ 0 h 1621772"/>
                <a:gd name="connsiteX1" fmla="*/ 56224 w 119063"/>
                <a:gd name="connsiteY1" fmla="*/ 6607 h 1621772"/>
                <a:gd name="connsiteX2" fmla="*/ 66146 w 119063"/>
                <a:gd name="connsiteY2" fmla="*/ 9910 h 1621772"/>
                <a:gd name="connsiteX3" fmla="*/ 119063 w 119063"/>
                <a:gd name="connsiteY3" fmla="*/ 115614 h 1621772"/>
                <a:gd name="connsiteX4" fmla="*/ 119063 w 119063"/>
                <a:gd name="connsiteY4" fmla="*/ 1458860 h 1621772"/>
                <a:gd name="connsiteX5" fmla="*/ 119063 w 119063"/>
                <a:gd name="connsiteY5" fmla="*/ 1553686 h 1621772"/>
                <a:gd name="connsiteX6" fmla="*/ 0 w 119063"/>
                <a:gd name="connsiteY6" fmla="*/ 1621772 h 1621772"/>
                <a:gd name="connsiteX7" fmla="*/ 0 w 119063"/>
                <a:gd name="connsiteY7" fmla="*/ 1561802 h 1621772"/>
                <a:gd name="connsiteX8" fmla="*/ 0 w 119063"/>
                <a:gd name="connsiteY8" fmla="*/ 46246 h 1621772"/>
                <a:gd name="connsiteX9" fmla="*/ 33073 w 119063"/>
                <a:gd name="connsiteY9" fmla="*/ 0 h 1621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063" h="1621772">
                  <a:moveTo>
                    <a:pt x="33073" y="0"/>
                  </a:moveTo>
                  <a:cubicBezTo>
                    <a:pt x="39688" y="0"/>
                    <a:pt x="49610" y="0"/>
                    <a:pt x="56224" y="6607"/>
                  </a:cubicBezTo>
                  <a:cubicBezTo>
                    <a:pt x="56224" y="6607"/>
                    <a:pt x="56224" y="6607"/>
                    <a:pt x="66146" y="9910"/>
                  </a:cubicBezTo>
                  <a:cubicBezTo>
                    <a:pt x="95912" y="26426"/>
                    <a:pt x="119063" y="75975"/>
                    <a:pt x="119063" y="115614"/>
                  </a:cubicBezTo>
                  <a:cubicBezTo>
                    <a:pt x="119063" y="115614"/>
                    <a:pt x="119063" y="115614"/>
                    <a:pt x="119063" y="1458860"/>
                  </a:cubicBezTo>
                  <a:lnTo>
                    <a:pt x="119063" y="1553686"/>
                  </a:lnTo>
                  <a:lnTo>
                    <a:pt x="0" y="1621772"/>
                  </a:lnTo>
                  <a:lnTo>
                    <a:pt x="0" y="1561802"/>
                  </a:lnTo>
                  <a:cubicBezTo>
                    <a:pt x="0" y="1268090"/>
                    <a:pt x="0" y="798150"/>
                    <a:pt x="0" y="46246"/>
                  </a:cubicBezTo>
                  <a:cubicBezTo>
                    <a:pt x="0" y="16516"/>
                    <a:pt x="16537" y="0"/>
                    <a:pt x="33073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241" name="任意多边形: 形状 240">
              <a:extLst>
                <a:ext uri="{FF2B5EF4-FFF2-40B4-BE49-F238E27FC236}">
                  <a16:creationId xmlns:a16="http://schemas.microsoft.com/office/drawing/2014/main" xmlns="" id="{5F215D2E-5F33-46B1-BF06-9545891E75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26613" y="4365625"/>
              <a:ext cx="115888" cy="874224"/>
            </a:xfrm>
            <a:custGeom>
              <a:avLst/>
              <a:gdLst>
                <a:gd name="connsiteX0" fmla="*/ 33111 w 115888"/>
                <a:gd name="connsiteY0" fmla="*/ 0 h 874224"/>
                <a:gd name="connsiteX1" fmla="*/ 52977 w 115888"/>
                <a:gd name="connsiteY1" fmla="*/ 6602 h 874224"/>
                <a:gd name="connsiteX2" fmla="*/ 62911 w 115888"/>
                <a:gd name="connsiteY2" fmla="*/ 13203 h 874224"/>
                <a:gd name="connsiteX3" fmla="*/ 115888 w 115888"/>
                <a:gd name="connsiteY3" fmla="*/ 118823 h 874224"/>
                <a:gd name="connsiteX4" fmla="*/ 115888 w 115888"/>
                <a:gd name="connsiteY4" fmla="*/ 620757 h 874224"/>
                <a:gd name="connsiteX5" fmla="*/ 115888 w 115888"/>
                <a:gd name="connsiteY5" fmla="*/ 825103 h 874224"/>
                <a:gd name="connsiteX6" fmla="*/ 26514 w 115888"/>
                <a:gd name="connsiteY6" fmla="*/ 874224 h 874224"/>
                <a:gd name="connsiteX7" fmla="*/ 15314 w 115888"/>
                <a:gd name="connsiteY7" fmla="*/ 861465 h 874224"/>
                <a:gd name="connsiteX8" fmla="*/ 0 w 115888"/>
                <a:gd name="connsiteY8" fmla="*/ 798753 h 874224"/>
                <a:gd name="connsiteX9" fmla="*/ 0 w 115888"/>
                <a:gd name="connsiteY9" fmla="*/ 49510 h 874224"/>
                <a:gd name="connsiteX10" fmla="*/ 33111 w 115888"/>
                <a:gd name="connsiteY10" fmla="*/ 0 h 874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888" h="874224">
                  <a:moveTo>
                    <a:pt x="33111" y="0"/>
                  </a:moveTo>
                  <a:cubicBezTo>
                    <a:pt x="39733" y="0"/>
                    <a:pt x="46355" y="3301"/>
                    <a:pt x="52977" y="6602"/>
                  </a:cubicBezTo>
                  <a:cubicBezTo>
                    <a:pt x="52977" y="6602"/>
                    <a:pt x="52977" y="6602"/>
                    <a:pt x="62911" y="13203"/>
                  </a:cubicBezTo>
                  <a:cubicBezTo>
                    <a:pt x="92710" y="29706"/>
                    <a:pt x="115888" y="75915"/>
                    <a:pt x="115888" y="118823"/>
                  </a:cubicBezTo>
                  <a:cubicBezTo>
                    <a:pt x="115888" y="118823"/>
                    <a:pt x="115888" y="118823"/>
                    <a:pt x="115888" y="620757"/>
                  </a:cubicBezTo>
                  <a:lnTo>
                    <a:pt x="115888" y="825103"/>
                  </a:lnTo>
                  <a:lnTo>
                    <a:pt x="26514" y="874224"/>
                  </a:lnTo>
                  <a:lnTo>
                    <a:pt x="15314" y="861465"/>
                  </a:lnTo>
                  <a:cubicBezTo>
                    <a:pt x="5795" y="842486"/>
                    <a:pt x="0" y="820207"/>
                    <a:pt x="0" y="798753"/>
                  </a:cubicBezTo>
                  <a:cubicBezTo>
                    <a:pt x="0" y="798753"/>
                    <a:pt x="0" y="798753"/>
                    <a:pt x="0" y="49510"/>
                  </a:cubicBezTo>
                  <a:cubicBezTo>
                    <a:pt x="0" y="19804"/>
                    <a:pt x="13244" y="0"/>
                    <a:pt x="33111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239" name="任意多边形: 形状 238">
              <a:extLst>
                <a:ext uri="{FF2B5EF4-FFF2-40B4-BE49-F238E27FC236}">
                  <a16:creationId xmlns:a16="http://schemas.microsoft.com/office/drawing/2014/main" xmlns="" id="{3999E84D-AA32-4328-8EB1-E150383BC4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5688" y="4695825"/>
              <a:ext cx="119063" cy="414899"/>
            </a:xfrm>
            <a:custGeom>
              <a:avLst/>
              <a:gdLst>
                <a:gd name="connsiteX0" fmla="*/ 33073 w 119063"/>
                <a:gd name="connsiteY0" fmla="*/ 0 h 414899"/>
                <a:gd name="connsiteX1" fmla="*/ 56224 w 119063"/>
                <a:gd name="connsiteY1" fmla="*/ 6605 h 414899"/>
                <a:gd name="connsiteX2" fmla="*/ 62839 w 119063"/>
                <a:gd name="connsiteY2" fmla="*/ 9908 h 414899"/>
                <a:gd name="connsiteX3" fmla="*/ 119063 w 119063"/>
                <a:gd name="connsiteY3" fmla="*/ 115586 h 414899"/>
                <a:gd name="connsiteX4" fmla="*/ 119063 w 119063"/>
                <a:gd name="connsiteY4" fmla="*/ 310277 h 414899"/>
                <a:gd name="connsiteX5" fmla="*/ 119063 w 119063"/>
                <a:gd name="connsiteY5" fmla="*/ 363731 h 414899"/>
                <a:gd name="connsiteX6" fmla="*/ 29159 w 119063"/>
                <a:gd name="connsiteY6" fmla="*/ 414899 h 414899"/>
                <a:gd name="connsiteX7" fmla="*/ 16950 w 119063"/>
                <a:gd name="connsiteY7" fmla="*/ 397121 h 414899"/>
                <a:gd name="connsiteX8" fmla="*/ 0 w 119063"/>
                <a:gd name="connsiteY8" fmla="*/ 336851 h 414899"/>
                <a:gd name="connsiteX9" fmla="*/ 0 w 119063"/>
                <a:gd name="connsiteY9" fmla="*/ 49537 h 414899"/>
                <a:gd name="connsiteX10" fmla="*/ 33073 w 119063"/>
                <a:gd name="connsiteY10" fmla="*/ 0 h 41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063" h="414899">
                  <a:moveTo>
                    <a:pt x="33073" y="0"/>
                  </a:moveTo>
                  <a:cubicBezTo>
                    <a:pt x="39688" y="0"/>
                    <a:pt x="49610" y="3303"/>
                    <a:pt x="56224" y="6605"/>
                  </a:cubicBezTo>
                  <a:cubicBezTo>
                    <a:pt x="56224" y="6605"/>
                    <a:pt x="56224" y="6605"/>
                    <a:pt x="62839" y="9908"/>
                  </a:cubicBezTo>
                  <a:cubicBezTo>
                    <a:pt x="95912" y="29722"/>
                    <a:pt x="119063" y="75957"/>
                    <a:pt x="119063" y="115586"/>
                  </a:cubicBezTo>
                  <a:cubicBezTo>
                    <a:pt x="119063" y="115586"/>
                    <a:pt x="119063" y="115586"/>
                    <a:pt x="119063" y="310277"/>
                  </a:cubicBezTo>
                  <a:lnTo>
                    <a:pt x="119063" y="363731"/>
                  </a:lnTo>
                  <a:lnTo>
                    <a:pt x="29159" y="414899"/>
                  </a:lnTo>
                  <a:lnTo>
                    <a:pt x="16950" y="397121"/>
                  </a:lnTo>
                  <a:cubicBezTo>
                    <a:pt x="6615" y="378132"/>
                    <a:pt x="0" y="356666"/>
                    <a:pt x="0" y="336851"/>
                  </a:cubicBezTo>
                  <a:cubicBezTo>
                    <a:pt x="0" y="336851"/>
                    <a:pt x="0" y="336851"/>
                    <a:pt x="0" y="49537"/>
                  </a:cubicBezTo>
                  <a:cubicBezTo>
                    <a:pt x="0" y="16513"/>
                    <a:pt x="13229" y="0"/>
                    <a:pt x="33073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248" name="任意多边形: 形状 247">
              <a:extLst>
                <a:ext uri="{FF2B5EF4-FFF2-40B4-BE49-F238E27FC236}">
                  <a16:creationId xmlns:a16="http://schemas.microsoft.com/office/drawing/2014/main" xmlns="" id="{E2DF0AA1-2C0A-4E2E-99B1-A1EB47B770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56822" y="3261347"/>
              <a:ext cx="120650" cy="2243743"/>
            </a:xfrm>
            <a:custGeom>
              <a:avLst/>
              <a:gdLst>
                <a:gd name="connsiteX0" fmla="*/ 33514 w 120650"/>
                <a:gd name="connsiteY0" fmla="*/ 0 h 2243743"/>
                <a:gd name="connsiteX1" fmla="*/ 56974 w 120650"/>
                <a:gd name="connsiteY1" fmla="*/ 6605 h 2243743"/>
                <a:gd name="connsiteX2" fmla="*/ 63676 w 120650"/>
                <a:gd name="connsiteY2" fmla="*/ 9908 h 2243743"/>
                <a:gd name="connsiteX3" fmla="*/ 120650 w 120650"/>
                <a:gd name="connsiteY3" fmla="*/ 115587 h 2243743"/>
                <a:gd name="connsiteX4" fmla="*/ 120650 w 120650"/>
                <a:gd name="connsiteY4" fmla="*/ 2080273 h 2243743"/>
                <a:gd name="connsiteX5" fmla="*/ 120650 w 120650"/>
                <a:gd name="connsiteY5" fmla="*/ 2177592 h 2243743"/>
                <a:gd name="connsiteX6" fmla="*/ 0 w 120650"/>
                <a:gd name="connsiteY6" fmla="*/ 2243743 h 2243743"/>
                <a:gd name="connsiteX7" fmla="*/ 0 w 120650"/>
                <a:gd name="connsiteY7" fmla="*/ 2132585 h 2243743"/>
                <a:gd name="connsiteX8" fmla="*/ 0 w 120650"/>
                <a:gd name="connsiteY8" fmla="*/ 46235 h 2243743"/>
                <a:gd name="connsiteX9" fmla="*/ 33514 w 120650"/>
                <a:gd name="connsiteY9" fmla="*/ 0 h 2243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650" h="2243743">
                  <a:moveTo>
                    <a:pt x="33514" y="0"/>
                  </a:moveTo>
                  <a:cubicBezTo>
                    <a:pt x="40217" y="0"/>
                    <a:pt x="46919" y="0"/>
                    <a:pt x="56974" y="6605"/>
                  </a:cubicBezTo>
                  <a:cubicBezTo>
                    <a:pt x="56974" y="6605"/>
                    <a:pt x="56974" y="6605"/>
                    <a:pt x="63676" y="9908"/>
                  </a:cubicBezTo>
                  <a:cubicBezTo>
                    <a:pt x="97190" y="26420"/>
                    <a:pt x="120650" y="75957"/>
                    <a:pt x="120650" y="115587"/>
                  </a:cubicBezTo>
                  <a:cubicBezTo>
                    <a:pt x="120650" y="115587"/>
                    <a:pt x="120650" y="115587"/>
                    <a:pt x="120650" y="2080273"/>
                  </a:cubicBezTo>
                  <a:lnTo>
                    <a:pt x="120650" y="2177592"/>
                  </a:lnTo>
                  <a:lnTo>
                    <a:pt x="0" y="2243743"/>
                  </a:lnTo>
                  <a:lnTo>
                    <a:pt x="0" y="2132585"/>
                  </a:lnTo>
                  <a:cubicBezTo>
                    <a:pt x="0" y="1834535"/>
                    <a:pt x="0" y="1238435"/>
                    <a:pt x="0" y="46235"/>
                  </a:cubicBezTo>
                  <a:cubicBezTo>
                    <a:pt x="0" y="16513"/>
                    <a:pt x="13406" y="0"/>
                    <a:pt x="33514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249" name="任意多边形: 形状 248">
              <a:extLst>
                <a:ext uri="{FF2B5EF4-FFF2-40B4-BE49-F238E27FC236}">
                  <a16:creationId xmlns:a16="http://schemas.microsoft.com/office/drawing/2014/main" xmlns="" id="{93F95DFF-692A-4154-AB5C-0BEB1715CA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836159" y="3769347"/>
              <a:ext cx="119063" cy="1621772"/>
            </a:xfrm>
            <a:custGeom>
              <a:avLst/>
              <a:gdLst>
                <a:gd name="connsiteX0" fmla="*/ 33073 w 119063"/>
                <a:gd name="connsiteY0" fmla="*/ 0 h 1621772"/>
                <a:gd name="connsiteX1" fmla="*/ 56224 w 119063"/>
                <a:gd name="connsiteY1" fmla="*/ 6607 h 1621772"/>
                <a:gd name="connsiteX2" fmla="*/ 66146 w 119063"/>
                <a:gd name="connsiteY2" fmla="*/ 9910 h 1621772"/>
                <a:gd name="connsiteX3" fmla="*/ 119063 w 119063"/>
                <a:gd name="connsiteY3" fmla="*/ 115614 h 1621772"/>
                <a:gd name="connsiteX4" fmla="*/ 119063 w 119063"/>
                <a:gd name="connsiteY4" fmla="*/ 1458860 h 1621772"/>
                <a:gd name="connsiteX5" fmla="*/ 119063 w 119063"/>
                <a:gd name="connsiteY5" fmla="*/ 1553686 h 1621772"/>
                <a:gd name="connsiteX6" fmla="*/ 0 w 119063"/>
                <a:gd name="connsiteY6" fmla="*/ 1621772 h 1621772"/>
                <a:gd name="connsiteX7" fmla="*/ 0 w 119063"/>
                <a:gd name="connsiteY7" fmla="*/ 1561802 h 1621772"/>
                <a:gd name="connsiteX8" fmla="*/ 0 w 119063"/>
                <a:gd name="connsiteY8" fmla="*/ 46246 h 1621772"/>
                <a:gd name="connsiteX9" fmla="*/ 33073 w 119063"/>
                <a:gd name="connsiteY9" fmla="*/ 0 h 1621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063" h="1621772">
                  <a:moveTo>
                    <a:pt x="33073" y="0"/>
                  </a:moveTo>
                  <a:cubicBezTo>
                    <a:pt x="39688" y="0"/>
                    <a:pt x="49610" y="0"/>
                    <a:pt x="56224" y="6607"/>
                  </a:cubicBezTo>
                  <a:cubicBezTo>
                    <a:pt x="56224" y="6607"/>
                    <a:pt x="56224" y="6607"/>
                    <a:pt x="66146" y="9910"/>
                  </a:cubicBezTo>
                  <a:cubicBezTo>
                    <a:pt x="95912" y="26426"/>
                    <a:pt x="119063" y="75975"/>
                    <a:pt x="119063" y="115614"/>
                  </a:cubicBezTo>
                  <a:cubicBezTo>
                    <a:pt x="119063" y="115614"/>
                    <a:pt x="119063" y="115614"/>
                    <a:pt x="119063" y="1458860"/>
                  </a:cubicBezTo>
                  <a:lnTo>
                    <a:pt x="119063" y="1553686"/>
                  </a:lnTo>
                  <a:lnTo>
                    <a:pt x="0" y="1621772"/>
                  </a:lnTo>
                  <a:lnTo>
                    <a:pt x="0" y="1561802"/>
                  </a:lnTo>
                  <a:cubicBezTo>
                    <a:pt x="0" y="1268090"/>
                    <a:pt x="0" y="798150"/>
                    <a:pt x="0" y="46246"/>
                  </a:cubicBezTo>
                  <a:cubicBezTo>
                    <a:pt x="0" y="16516"/>
                    <a:pt x="16537" y="0"/>
                    <a:pt x="33073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250" name="任意多边形: 形状 249">
              <a:extLst>
                <a:ext uri="{FF2B5EF4-FFF2-40B4-BE49-F238E27FC236}">
                  <a16:creationId xmlns:a16="http://schemas.microsoft.com/office/drawing/2014/main" xmlns="" id="{12DE8761-93A2-4BA5-96ED-CBDB609E5A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613909" y="4367834"/>
              <a:ext cx="115888" cy="874224"/>
            </a:xfrm>
            <a:custGeom>
              <a:avLst/>
              <a:gdLst>
                <a:gd name="connsiteX0" fmla="*/ 33111 w 115888"/>
                <a:gd name="connsiteY0" fmla="*/ 0 h 874224"/>
                <a:gd name="connsiteX1" fmla="*/ 52977 w 115888"/>
                <a:gd name="connsiteY1" fmla="*/ 6602 h 874224"/>
                <a:gd name="connsiteX2" fmla="*/ 62911 w 115888"/>
                <a:gd name="connsiteY2" fmla="*/ 13203 h 874224"/>
                <a:gd name="connsiteX3" fmla="*/ 115888 w 115888"/>
                <a:gd name="connsiteY3" fmla="*/ 118823 h 874224"/>
                <a:gd name="connsiteX4" fmla="*/ 115888 w 115888"/>
                <a:gd name="connsiteY4" fmla="*/ 620757 h 874224"/>
                <a:gd name="connsiteX5" fmla="*/ 115888 w 115888"/>
                <a:gd name="connsiteY5" fmla="*/ 825103 h 874224"/>
                <a:gd name="connsiteX6" fmla="*/ 26514 w 115888"/>
                <a:gd name="connsiteY6" fmla="*/ 874224 h 874224"/>
                <a:gd name="connsiteX7" fmla="*/ 15314 w 115888"/>
                <a:gd name="connsiteY7" fmla="*/ 861465 h 874224"/>
                <a:gd name="connsiteX8" fmla="*/ 0 w 115888"/>
                <a:gd name="connsiteY8" fmla="*/ 798753 h 874224"/>
                <a:gd name="connsiteX9" fmla="*/ 0 w 115888"/>
                <a:gd name="connsiteY9" fmla="*/ 49510 h 874224"/>
                <a:gd name="connsiteX10" fmla="*/ 33111 w 115888"/>
                <a:gd name="connsiteY10" fmla="*/ 0 h 874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888" h="874224">
                  <a:moveTo>
                    <a:pt x="33111" y="0"/>
                  </a:moveTo>
                  <a:cubicBezTo>
                    <a:pt x="39733" y="0"/>
                    <a:pt x="46355" y="3301"/>
                    <a:pt x="52977" y="6602"/>
                  </a:cubicBezTo>
                  <a:cubicBezTo>
                    <a:pt x="52977" y="6602"/>
                    <a:pt x="52977" y="6602"/>
                    <a:pt x="62911" y="13203"/>
                  </a:cubicBezTo>
                  <a:cubicBezTo>
                    <a:pt x="92710" y="29706"/>
                    <a:pt x="115888" y="75915"/>
                    <a:pt x="115888" y="118823"/>
                  </a:cubicBezTo>
                  <a:cubicBezTo>
                    <a:pt x="115888" y="118823"/>
                    <a:pt x="115888" y="118823"/>
                    <a:pt x="115888" y="620757"/>
                  </a:cubicBezTo>
                  <a:lnTo>
                    <a:pt x="115888" y="825103"/>
                  </a:lnTo>
                  <a:lnTo>
                    <a:pt x="26514" y="874224"/>
                  </a:lnTo>
                  <a:lnTo>
                    <a:pt x="15314" y="861465"/>
                  </a:lnTo>
                  <a:cubicBezTo>
                    <a:pt x="5795" y="842486"/>
                    <a:pt x="0" y="820207"/>
                    <a:pt x="0" y="798753"/>
                  </a:cubicBezTo>
                  <a:cubicBezTo>
                    <a:pt x="0" y="798753"/>
                    <a:pt x="0" y="798753"/>
                    <a:pt x="0" y="49510"/>
                  </a:cubicBezTo>
                  <a:cubicBezTo>
                    <a:pt x="0" y="19804"/>
                    <a:pt x="13244" y="0"/>
                    <a:pt x="33111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251" name="任意多边形: 形状 250">
              <a:extLst>
                <a:ext uri="{FF2B5EF4-FFF2-40B4-BE49-F238E27FC236}">
                  <a16:creationId xmlns:a16="http://schemas.microsoft.com/office/drawing/2014/main" xmlns="" id="{31E777D3-0C18-4121-89DC-F8148821A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91659" y="4698034"/>
              <a:ext cx="119063" cy="414899"/>
            </a:xfrm>
            <a:custGeom>
              <a:avLst/>
              <a:gdLst>
                <a:gd name="connsiteX0" fmla="*/ 33073 w 119063"/>
                <a:gd name="connsiteY0" fmla="*/ 0 h 414899"/>
                <a:gd name="connsiteX1" fmla="*/ 56224 w 119063"/>
                <a:gd name="connsiteY1" fmla="*/ 6605 h 414899"/>
                <a:gd name="connsiteX2" fmla="*/ 62839 w 119063"/>
                <a:gd name="connsiteY2" fmla="*/ 9908 h 414899"/>
                <a:gd name="connsiteX3" fmla="*/ 119063 w 119063"/>
                <a:gd name="connsiteY3" fmla="*/ 115586 h 414899"/>
                <a:gd name="connsiteX4" fmla="*/ 119063 w 119063"/>
                <a:gd name="connsiteY4" fmla="*/ 310277 h 414899"/>
                <a:gd name="connsiteX5" fmla="*/ 119063 w 119063"/>
                <a:gd name="connsiteY5" fmla="*/ 363731 h 414899"/>
                <a:gd name="connsiteX6" fmla="*/ 29159 w 119063"/>
                <a:gd name="connsiteY6" fmla="*/ 414899 h 414899"/>
                <a:gd name="connsiteX7" fmla="*/ 16950 w 119063"/>
                <a:gd name="connsiteY7" fmla="*/ 397121 h 414899"/>
                <a:gd name="connsiteX8" fmla="*/ 0 w 119063"/>
                <a:gd name="connsiteY8" fmla="*/ 336851 h 414899"/>
                <a:gd name="connsiteX9" fmla="*/ 0 w 119063"/>
                <a:gd name="connsiteY9" fmla="*/ 49537 h 414899"/>
                <a:gd name="connsiteX10" fmla="*/ 33073 w 119063"/>
                <a:gd name="connsiteY10" fmla="*/ 0 h 41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063" h="414899">
                  <a:moveTo>
                    <a:pt x="33073" y="0"/>
                  </a:moveTo>
                  <a:cubicBezTo>
                    <a:pt x="39688" y="0"/>
                    <a:pt x="49610" y="3303"/>
                    <a:pt x="56224" y="6605"/>
                  </a:cubicBezTo>
                  <a:cubicBezTo>
                    <a:pt x="56224" y="6605"/>
                    <a:pt x="56224" y="6605"/>
                    <a:pt x="62839" y="9908"/>
                  </a:cubicBezTo>
                  <a:cubicBezTo>
                    <a:pt x="95912" y="29722"/>
                    <a:pt x="119063" y="75957"/>
                    <a:pt x="119063" y="115586"/>
                  </a:cubicBezTo>
                  <a:cubicBezTo>
                    <a:pt x="119063" y="115586"/>
                    <a:pt x="119063" y="115586"/>
                    <a:pt x="119063" y="310277"/>
                  </a:cubicBezTo>
                  <a:lnTo>
                    <a:pt x="119063" y="363731"/>
                  </a:lnTo>
                  <a:lnTo>
                    <a:pt x="29159" y="414899"/>
                  </a:lnTo>
                  <a:lnTo>
                    <a:pt x="16950" y="397121"/>
                  </a:lnTo>
                  <a:cubicBezTo>
                    <a:pt x="6615" y="378132"/>
                    <a:pt x="0" y="356666"/>
                    <a:pt x="0" y="336851"/>
                  </a:cubicBezTo>
                  <a:cubicBezTo>
                    <a:pt x="0" y="336851"/>
                    <a:pt x="0" y="336851"/>
                    <a:pt x="0" y="49537"/>
                  </a:cubicBezTo>
                  <a:cubicBezTo>
                    <a:pt x="0" y="16513"/>
                    <a:pt x="13229" y="0"/>
                    <a:pt x="33073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246" name="Freeform 106">
              <a:extLst>
                <a:ext uri="{FF2B5EF4-FFF2-40B4-BE49-F238E27FC236}">
                  <a16:creationId xmlns:a16="http://schemas.microsoft.com/office/drawing/2014/main" xmlns="" id="{4E1033CC-A13D-4768-92B6-DDBAE3D7D4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55909" y="2437995"/>
              <a:ext cx="1951037" cy="3057525"/>
            </a:xfrm>
            <a:custGeom>
              <a:avLst/>
              <a:gdLst>
                <a:gd name="T0" fmla="*/ 531 w 531"/>
                <a:gd name="T1" fmla="*/ 0 h 835"/>
                <a:gd name="T2" fmla="*/ 0 w 531"/>
                <a:gd name="T3" fmla="*/ 0 h 835"/>
                <a:gd name="T4" fmla="*/ 0 w 531"/>
                <a:gd name="T5" fmla="*/ 682 h 835"/>
                <a:gd name="T6" fmla="*/ 0 w 531"/>
                <a:gd name="T7" fmla="*/ 682 h 835"/>
                <a:gd name="T8" fmla="*/ 6 w 531"/>
                <a:gd name="T9" fmla="*/ 692 h 835"/>
                <a:gd name="T10" fmla="*/ 248 w 531"/>
                <a:gd name="T11" fmla="*/ 831 h 835"/>
                <a:gd name="T12" fmla="*/ 264 w 531"/>
                <a:gd name="T13" fmla="*/ 835 h 835"/>
                <a:gd name="T14" fmla="*/ 286 w 531"/>
                <a:gd name="T15" fmla="*/ 830 h 835"/>
                <a:gd name="T16" fmla="*/ 522 w 531"/>
                <a:gd name="T17" fmla="*/ 693 h 835"/>
                <a:gd name="T18" fmla="*/ 531 w 531"/>
                <a:gd name="T19" fmla="*/ 682 h 835"/>
                <a:gd name="T20" fmla="*/ 531 w 531"/>
                <a:gd name="T21" fmla="*/ 682 h 835"/>
                <a:gd name="T22" fmla="*/ 531 w 531"/>
                <a:gd name="T23" fmla="*/ 0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31" h="835">
                  <a:moveTo>
                    <a:pt x="53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685"/>
                    <a:pt x="2" y="689"/>
                    <a:pt x="6" y="692"/>
                  </a:cubicBezTo>
                  <a:cubicBezTo>
                    <a:pt x="248" y="831"/>
                    <a:pt x="248" y="831"/>
                    <a:pt x="248" y="831"/>
                  </a:cubicBezTo>
                  <a:cubicBezTo>
                    <a:pt x="252" y="834"/>
                    <a:pt x="258" y="835"/>
                    <a:pt x="264" y="835"/>
                  </a:cubicBezTo>
                  <a:cubicBezTo>
                    <a:pt x="272" y="835"/>
                    <a:pt x="280" y="833"/>
                    <a:pt x="286" y="830"/>
                  </a:cubicBezTo>
                  <a:cubicBezTo>
                    <a:pt x="522" y="693"/>
                    <a:pt x="522" y="693"/>
                    <a:pt x="522" y="693"/>
                  </a:cubicBezTo>
                  <a:cubicBezTo>
                    <a:pt x="528" y="690"/>
                    <a:pt x="531" y="686"/>
                    <a:pt x="531" y="682"/>
                  </a:cubicBezTo>
                  <a:cubicBezTo>
                    <a:pt x="531" y="682"/>
                    <a:pt x="531" y="682"/>
                    <a:pt x="531" y="682"/>
                  </a:cubicBezTo>
                  <a:cubicBezTo>
                    <a:pt x="531" y="0"/>
                    <a:pt x="531" y="0"/>
                    <a:pt x="531" y="0"/>
                  </a:cubicBezTo>
                </a:path>
              </a:pathLst>
            </a:custGeom>
            <a:gradFill>
              <a:gsLst>
                <a:gs pos="100000">
                  <a:srgbClr val="42E6E0">
                    <a:alpha val="20000"/>
                  </a:srgbClr>
                </a:gs>
                <a:gs pos="0">
                  <a:srgbClr val="180D5B">
                    <a:alpha val="5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</p:grp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943403" y="4071055"/>
            <a:ext cx="2340818" cy="296271"/>
          </a:xfrm>
          <a:prstGeom prst="roundRect">
            <a:avLst>
              <a:gd name="adj" fmla="val 50000"/>
            </a:avLst>
          </a:prstGeom>
          <a:ln>
            <a:solidFill>
              <a:schemeClr val="bg1"/>
            </a:solidFill>
          </a:ln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43402" y="4533176"/>
            <a:ext cx="508759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xmlns="" id="{AF43A69A-C441-46B2-A04C-833C041584CC}"/>
              </a:ext>
            </a:extLst>
          </p:cNvPr>
          <p:cNvSpPr/>
          <p:nvPr userDrawn="1"/>
        </p:nvSpPr>
        <p:spPr>
          <a:xfrm>
            <a:off x="-1117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457956" y="2573757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459072" y="3469107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xmlns="" id="{EDFAD072-98A3-4A9A-A57D-A2BBD0C400AF}"/>
              </a:ext>
            </a:extLst>
          </p:cNvPr>
          <p:cNvGrpSpPr/>
          <p:nvPr userDrawn="1"/>
        </p:nvGrpSpPr>
        <p:grpSpPr>
          <a:xfrm flipH="1">
            <a:off x="347887" y="1993644"/>
            <a:ext cx="7140148" cy="3966548"/>
            <a:chOff x="4656138" y="2437995"/>
            <a:chExt cx="6846887" cy="3803634"/>
          </a:xfrm>
        </p:grpSpPr>
        <p:sp>
          <p:nvSpPr>
            <p:cNvPr id="6" name="椭圆 5">
              <a:extLst>
                <a:ext uri="{FF2B5EF4-FFF2-40B4-BE49-F238E27FC236}">
                  <a16:creationId xmlns:a16="http://schemas.microsoft.com/office/drawing/2014/main" xmlns="" id="{01FEC273-3D18-48A3-8E14-F2C2E0EA1388}"/>
                </a:ext>
              </a:extLst>
            </p:cNvPr>
            <p:cNvSpPr/>
            <p:nvPr userDrawn="1"/>
          </p:nvSpPr>
          <p:spPr>
            <a:xfrm>
              <a:off x="9791994" y="5509651"/>
              <a:ext cx="564315" cy="317874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17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椭圆 6">
              <a:extLst>
                <a:ext uri="{FF2B5EF4-FFF2-40B4-BE49-F238E27FC236}">
                  <a16:creationId xmlns:a16="http://schemas.microsoft.com/office/drawing/2014/main" xmlns="" id="{E5B24915-2C92-4794-B49D-726193F73647}"/>
                </a:ext>
              </a:extLst>
            </p:cNvPr>
            <p:cNvSpPr/>
            <p:nvPr userDrawn="1"/>
          </p:nvSpPr>
          <p:spPr>
            <a:xfrm>
              <a:off x="8951536" y="5923755"/>
              <a:ext cx="564315" cy="317874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17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xmlns="" id="{A23F1A1F-8473-4CAC-8B68-2ECBFEBF8864}"/>
                </a:ext>
              </a:extLst>
            </p:cNvPr>
            <p:cNvSpPr/>
            <p:nvPr userDrawn="1"/>
          </p:nvSpPr>
          <p:spPr>
            <a:xfrm>
              <a:off x="7681196" y="5266157"/>
              <a:ext cx="564315" cy="317874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17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xmlns="" id="{4E18F4E0-9855-455A-9AB4-8E45971C61FF}"/>
                </a:ext>
              </a:extLst>
            </p:cNvPr>
            <p:cNvSpPr/>
            <p:nvPr userDrawn="1"/>
          </p:nvSpPr>
          <p:spPr>
            <a:xfrm>
              <a:off x="6269331" y="5704329"/>
              <a:ext cx="564315" cy="317874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20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30A201A1-80D9-4DA8-A881-55B80110B5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56138" y="4818063"/>
              <a:ext cx="6846887" cy="1335087"/>
            </a:xfrm>
            <a:custGeom>
              <a:avLst/>
              <a:gdLst>
                <a:gd name="T0" fmla="*/ 2059 w 2076"/>
                <a:gd name="T1" fmla="*/ 0 h 404"/>
                <a:gd name="T2" fmla="*/ 2053 w 2076"/>
                <a:gd name="T3" fmla="*/ 2 h 404"/>
                <a:gd name="T4" fmla="*/ 1420 w 2076"/>
                <a:gd name="T5" fmla="*/ 368 h 404"/>
                <a:gd name="T6" fmla="*/ 1388 w 2076"/>
                <a:gd name="T7" fmla="*/ 376 h 404"/>
                <a:gd name="T8" fmla="*/ 1357 w 2076"/>
                <a:gd name="T9" fmla="*/ 368 h 404"/>
                <a:gd name="T10" fmla="*/ 949 w 2076"/>
                <a:gd name="T11" fmla="*/ 132 h 404"/>
                <a:gd name="T12" fmla="*/ 903 w 2076"/>
                <a:gd name="T13" fmla="*/ 120 h 404"/>
                <a:gd name="T14" fmla="*/ 858 w 2076"/>
                <a:gd name="T15" fmla="*/ 132 h 404"/>
                <a:gd name="T16" fmla="*/ 521 w 2076"/>
                <a:gd name="T17" fmla="*/ 326 h 404"/>
                <a:gd name="T18" fmla="*/ 490 w 2076"/>
                <a:gd name="T19" fmla="*/ 335 h 404"/>
                <a:gd name="T20" fmla="*/ 459 w 2076"/>
                <a:gd name="T21" fmla="*/ 326 h 404"/>
                <a:gd name="T22" fmla="*/ 23 w 2076"/>
                <a:gd name="T23" fmla="*/ 75 h 404"/>
                <a:gd name="T24" fmla="*/ 16 w 2076"/>
                <a:gd name="T25" fmla="*/ 73 h 404"/>
                <a:gd name="T26" fmla="*/ 4 w 2076"/>
                <a:gd name="T27" fmla="*/ 80 h 404"/>
                <a:gd name="T28" fmla="*/ 9 w 2076"/>
                <a:gd name="T29" fmla="*/ 99 h 404"/>
                <a:gd name="T30" fmla="*/ 445 w 2076"/>
                <a:gd name="T31" fmla="*/ 351 h 404"/>
                <a:gd name="T32" fmla="*/ 490 w 2076"/>
                <a:gd name="T33" fmla="*/ 363 h 404"/>
                <a:gd name="T34" fmla="*/ 535 w 2076"/>
                <a:gd name="T35" fmla="*/ 351 h 404"/>
                <a:gd name="T36" fmla="*/ 872 w 2076"/>
                <a:gd name="T37" fmla="*/ 156 h 404"/>
                <a:gd name="T38" fmla="*/ 903 w 2076"/>
                <a:gd name="T39" fmla="*/ 148 h 404"/>
                <a:gd name="T40" fmla="*/ 935 w 2076"/>
                <a:gd name="T41" fmla="*/ 156 h 404"/>
                <a:gd name="T42" fmla="*/ 1343 w 2076"/>
                <a:gd name="T43" fmla="*/ 392 h 404"/>
                <a:gd name="T44" fmla="*/ 1388 w 2076"/>
                <a:gd name="T45" fmla="*/ 404 h 404"/>
                <a:gd name="T46" fmla="*/ 1434 w 2076"/>
                <a:gd name="T47" fmla="*/ 392 h 404"/>
                <a:gd name="T48" fmla="*/ 2067 w 2076"/>
                <a:gd name="T49" fmla="*/ 26 h 404"/>
                <a:gd name="T50" fmla="*/ 2072 w 2076"/>
                <a:gd name="T51" fmla="*/ 7 h 404"/>
                <a:gd name="T52" fmla="*/ 2059 w 2076"/>
                <a:gd name="T53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76" h="404">
                  <a:moveTo>
                    <a:pt x="2059" y="0"/>
                  </a:moveTo>
                  <a:cubicBezTo>
                    <a:pt x="2057" y="0"/>
                    <a:pt x="2055" y="1"/>
                    <a:pt x="2053" y="2"/>
                  </a:cubicBezTo>
                  <a:cubicBezTo>
                    <a:pt x="1420" y="368"/>
                    <a:pt x="1420" y="368"/>
                    <a:pt x="1420" y="368"/>
                  </a:cubicBezTo>
                  <a:cubicBezTo>
                    <a:pt x="1410" y="373"/>
                    <a:pt x="1399" y="376"/>
                    <a:pt x="1388" y="376"/>
                  </a:cubicBezTo>
                  <a:cubicBezTo>
                    <a:pt x="1378" y="376"/>
                    <a:pt x="1367" y="373"/>
                    <a:pt x="1357" y="368"/>
                  </a:cubicBezTo>
                  <a:cubicBezTo>
                    <a:pt x="949" y="132"/>
                    <a:pt x="949" y="132"/>
                    <a:pt x="949" y="132"/>
                  </a:cubicBezTo>
                  <a:cubicBezTo>
                    <a:pt x="935" y="124"/>
                    <a:pt x="919" y="120"/>
                    <a:pt x="903" y="120"/>
                  </a:cubicBezTo>
                  <a:cubicBezTo>
                    <a:pt x="888" y="120"/>
                    <a:pt x="872" y="124"/>
                    <a:pt x="858" y="132"/>
                  </a:cubicBezTo>
                  <a:cubicBezTo>
                    <a:pt x="521" y="326"/>
                    <a:pt x="521" y="326"/>
                    <a:pt x="521" y="326"/>
                  </a:cubicBezTo>
                  <a:cubicBezTo>
                    <a:pt x="511" y="332"/>
                    <a:pt x="501" y="335"/>
                    <a:pt x="490" y="335"/>
                  </a:cubicBezTo>
                  <a:cubicBezTo>
                    <a:pt x="479" y="335"/>
                    <a:pt x="468" y="332"/>
                    <a:pt x="459" y="326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1" y="74"/>
                    <a:pt x="19" y="73"/>
                    <a:pt x="16" y="73"/>
                  </a:cubicBezTo>
                  <a:cubicBezTo>
                    <a:pt x="11" y="73"/>
                    <a:pt x="7" y="76"/>
                    <a:pt x="4" y="80"/>
                  </a:cubicBezTo>
                  <a:cubicBezTo>
                    <a:pt x="0" y="87"/>
                    <a:pt x="3" y="95"/>
                    <a:pt x="9" y="99"/>
                  </a:cubicBezTo>
                  <a:cubicBezTo>
                    <a:pt x="445" y="351"/>
                    <a:pt x="445" y="351"/>
                    <a:pt x="445" y="351"/>
                  </a:cubicBezTo>
                  <a:cubicBezTo>
                    <a:pt x="459" y="359"/>
                    <a:pt x="474" y="363"/>
                    <a:pt x="490" y="363"/>
                  </a:cubicBezTo>
                  <a:cubicBezTo>
                    <a:pt x="506" y="363"/>
                    <a:pt x="521" y="359"/>
                    <a:pt x="535" y="351"/>
                  </a:cubicBezTo>
                  <a:cubicBezTo>
                    <a:pt x="872" y="156"/>
                    <a:pt x="872" y="156"/>
                    <a:pt x="872" y="156"/>
                  </a:cubicBezTo>
                  <a:cubicBezTo>
                    <a:pt x="882" y="150"/>
                    <a:pt x="893" y="148"/>
                    <a:pt x="903" y="148"/>
                  </a:cubicBezTo>
                  <a:cubicBezTo>
                    <a:pt x="914" y="148"/>
                    <a:pt x="925" y="150"/>
                    <a:pt x="935" y="156"/>
                  </a:cubicBezTo>
                  <a:cubicBezTo>
                    <a:pt x="1343" y="392"/>
                    <a:pt x="1343" y="392"/>
                    <a:pt x="1343" y="392"/>
                  </a:cubicBezTo>
                  <a:cubicBezTo>
                    <a:pt x="1357" y="400"/>
                    <a:pt x="1373" y="404"/>
                    <a:pt x="1388" y="404"/>
                  </a:cubicBezTo>
                  <a:cubicBezTo>
                    <a:pt x="1404" y="404"/>
                    <a:pt x="1420" y="400"/>
                    <a:pt x="1434" y="392"/>
                  </a:cubicBezTo>
                  <a:cubicBezTo>
                    <a:pt x="2067" y="26"/>
                    <a:pt x="2067" y="26"/>
                    <a:pt x="2067" y="26"/>
                  </a:cubicBezTo>
                  <a:cubicBezTo>
                    <a:pt x="2073" y="23"/>
                    <a:pt x="2076" y="14"/>
                    <a:pt x="2072" y="7"/>
                  </a:cubicBezTo>
                  <a:cubicBezTo>
                    <a:pt x="2069" y="3"/>
                    <a:pt x="2064" y="0"/>
                    <a:pt x="2059" y="0"/>
                  </a:cubicBezTo>
                </a:path>
              </a:pathLst>
            </a:custGeom>
            <a:gradFill>
              <a:gsLst>
                <a:gs pos="74000">
                  <a:srgbClr val="2D7C9E">
                    <a:alpha val="50000"/>
                  </a:srgbClr>
                </a:gs>
                <a:gs pos="37000">
                  <a:srgbClr val="41E4DE">
                    <a:alpha val="50000"/>
                  </a:srgbClr>
                </a:gs>
                <a:gs pos="0">
                  <a:srgbClr val="19145F">
                    <a:alpha val="50000"/>
                  </a:srgbClr>
                </a:gs>
                <a:gs pos="100000">
                  <a:srgbClr val="19125E">
                    <a:alpha val="50000"/>
                  </a:srgbClr>
                </a:gs>
              </a:gsLst>
              <a:lin ang="0" scaled="0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1F3FC629-F814-44C8-848B-3A13EF052D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40638" y="3989388"/>
              <a:ext cx="3186112" cy="1830387"/>
            </a:xfrm>
            <a:custGeom>
              <a:avLst/>
              <a:gdLst>
                <a:gd name="T0" fmla="*/ 483 w 966"/>
                <a:gd name="T1" fmla="*/ 466 h 554"/>
                <a:gd name="T2" fmla="*/ 157 w 966"/>
                <a:gd name="T3" fmla="*/ 277 h 554"/>
                <a:gd name="T4" fmla="*/ 483 w 966"/>
                <a:gd name="T5" fmla="*/ 89 h 554"/>
                <a:gd name="T6" fmla="*/ 810 w 966"/>
                <a:gd name="T7" fmla="*/ 277 h 554"/>
                <a:gd name="T8" fmla="*/ 483 w 966"/>
                <a:gd name="T9" fmla="*/ 466 h 554"/>
                <a:gd name="T10" fmla="*/ 483 w 966"/>
                <a:gd name="T11" fmla="*/ 48 h 554"/>
                <a:gd name="T12" fmla="*/ 472 w 966"/>
                <a:gd name="T13" fmla="*/ 51 h 554"/>
                <a:gd name="T14" fmla="*/ 82 w 966"/>
                <a:gd name="T15" fmla="*/ 276 h 554"/>
                <a:gd name="T16" fmla="*/ 81 w 966"/>
                <a:gd name="T17" fmla="*/ 277 h 554"/>
                <a:gd name="T18" fmla="*/ 82 w 966"/>
                <a:gd name="T19" fmla="*/ 278 h 554"/>
                <a:gd name="T20" fmla="*/ 472 w 966"/>
                <a:gd name="T21" fmla="*/ 503 h 554"/>
                <a:gd name="T22" fmla="*/ 472 w 966"/>
                <a:gd name="T23" fmla="*/ 503 h 554"/>
                <a:gd name="T24" fmla="*/ 483 w 966"/>
                <a:gd name="T25" fmla="*/ 506 h 554"/>
                <a:gd name="T26" fmla="*/ 494 w 966"/>
                <a:gd name="T27" fmla="*/ 503 h 554"/>
                <a:gd name="T28" fmla="*/ 884 w 966"/>
                <a:gd name="T29" fmla="*/ 278 h 554"/>
                <a:gd name="T30" fmla="*/ 885 w 966"/>
                <a:gd name="T31" fmla="*/ 277 h 554"/>
                <a:gd name="T32" fmla="*/ 884 w 966"/>
                <a:gd name="T33" fmla="*/ 276 h 554"/>
                <a:gd name="T34" fmla="*/ 494 w 966"/>
                <a:gd name="T35" fmla="*/ 51 h 554"/>
                <a:gd name="T36" fmla="*/ 483 w 966"/>
                <a:gd name="T37" fmla="*/ 48 h 554"/>
                <a:gd name="T38" fmla="*/ 483 w 966"/>
                <a:gd name="T39" fmla="*/ 518 h 554"/>
                <a:gd name="T40" fmla="*/ 466 w 966"/>
                <a:gd name="T41" fmla="*/ 514 h 554"/>
                <a:gd name="T42" fmla="*/ 466 w 966"/>
                <a:gd name="T43" fmla="*/ 514 h 554"/>
                <a:gd name="T44" fmla="*/ 76 w 966"/>
                <a:gd name="T45" fmla="*/ 289 h 554"/>
                <a:gd name="T46" fmla="*/ 69 w 966"/>
                <a:gd name="T47" fmla="*/ 277 h 554"/>
                <a:gd name="T48" fmla="*/ 76 w 966"/>
                <a:gd name="T49" fmla="*/ 266 h 554"/>
                <a:gd name="T50" fmla="*/ 466 w 966"/>
                <a:gd name="T51" fmla="*/ 41 h 554"/>
                <a:gd name="T52" fmla="*/ 483 w 966"/>
                <a:gd name="T53" fmla="*/ 36 h 554"/>
                <a:gd name="T54" fmla="*/ 500 w 966"/>
                <a:gd name="T55" fmla="*/ 41 h 554"/>
                <a:gd name="T56" fmla="*/ 890 w 966"/>
                <a:gd name="T57" fmla="*/ 266 h 554"/>
                <a:gd name="T58" fmla="*/ 897 w 966"/>
                <a:gd name="T59" fmla="*/ 277 h 554"/>
                <a:gd name="T60" fmla="*/ 890 w 966"/>
                <a:gd name="T61" fmla="*/ 289 h 554"/>
                <a:gd name="T62" fmla="*/ 500 w 966"/>
                <a:gd name="T63" fmla="*/ 514 h 554"/>
                <a:gd name="T64" fmla="*/ 483 w 966"/>
                <a:gd name="T65" fmla="*/ 518 h 554"/>
                <a:gd name="T66" fmla="*/ 483 w 966"/>
                <a:gd name="T67" fmla="*/ 0 h 554"/>
                <a:gd name="T68" fmla="*/ 462 w 966"/>
                <a:gd name="T69" fmla="*/ 6 h 554"/>
                <a:gd name="T70" fmla="*/ 7 w 966"/>
                <a:gd name="T71" fmla="*/ 269 h 554"/>
                <a:gd name="T72" fmla="*/ 7 w 966"/>
                <a:gd name="T73" fmla="*/ 286 h 554"/>
                <a:gd name="T74" fmla="*/ 462 w 966"/>
                <a:gd name="T75" fmla="*/ 548 h 554"/>
                <a:gd name="T76" fmla="*/ 483 w 966"/>
                <a:gd name="T77" fmla="*/ 554 h 554"/>
                <a:gd name="T78" fmla="*/ 505 w 966"/>
                <a:gd name="T79" fmla="*/ 548 h 554"/>
                <a:gd name="T80" fmla="*/ 960 w 966"/>
                <a:gd name="T81" fmla="*/ 286 h 554"/>
                <a:gd name="T82" fmla="*/ 960 w 966"/>
                <a:gd name="T83" fmla="*/ 269 h 554"/>
                <a:gd name="T84" fmla="*/ 505 w 966"/>
                <a:gd name="T85" fmla="*/ 6 h 554"/>
                <a:gd name="T86" fmla="*/ 483 w 966"/>
                <a:gd name="T87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6" h="554">
                  <a:moveTo>
                    <a:pt x="483" y="466"/>
                  </a:moveTo>
                  <a:cubicBezTo>
                    <a:pt x="157" y="277"/>
                    <a:pt x="157" y="277"/>
                    <a:pt x="157" y="277"/>
                  </a:cubicBezTo>
                  <a:cubicBezTo>
                    <a:pt x="483" y="89"/>
                    <a:pt x="483" y="89"/>
                    <a:pt x="483" y="89"/>
                  </a:cubicBezTo>
                  <a:cubicBezTo>
                    <a:pt x="810" y="277"/>
                    <a:pt x="810" y="277"/>
                    <a:pt x="810" y="277"/>
                  </a:cubicBezTo>
                  <a:cubicBezTo>
                    <a:pt x="483" y="466"/>
                    <a:pt x="483" y="466"/>
                    <a:pt x="483" y="466"/>
                  </a:cubicBezTo>
                  <a:moveTo>
                    <a:pt x="483" y="48"/>
                  </a:moveTo>
                  <a:cubicBezTo>
                    <a:pt x="479" y="48"/>
                    <a:pt x="475" y="49"/>
                    <a:pt x="472" y="51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277"/>
                    <a:pt x="81" y="277"/>
                    <a:pt x="81" y="277"/>
                  </a:cubicBezTo>
                  <a:cubicBezTo>
                    <a:pt x="81" y="278"/>
                    <a:pt x="82" y="278"/>
                    <a:pt x="82" y="278"/>
                  </a:cubicBezTo>
                  <a:cubicBezTo>
                    <a:pt x="472" y="503"/>
                    <a:pt x="472" y="503"/>
                    <a:pt x="472" y="503"/>
                  </a:cubicBezTo>
                  <a:cubicBezTo>
                    <a:pt x="472" y="503"/>
                    <a:pt x="472" y="503"/>
                    <a:pt x="472" y="503"/>
                  </a:cubicBezTo>
                  <a:cubicBezTo>
                    <a:pt x="475" y="505"/>
                    <a:pt x="479" y="506"/>
                    <a:pt x="483" y="506"/>
                  </a:cubicBezTo>
                  <a:cubicBezTo>
                    <a:pt x="487" y="506"/>
                    <a:pt x="491" y="505"/>
                    <a:pt x="494" y="503"/>
                  </a:cubicBezTo>
                  <a:cubicBezTo>
                    <a:pt x="884" y="278"/>
                    <a:pt x="884" y="278"/>
                    <a:pt x="884" y="278"/>
                  </a:cubicBezTo>
                  <a:cubicBezTo>
                    <a:pt x="885" y="278"/>
                    <a:pt x="885" y="278"/>
                    <a:pt x="885" y="277"/>
                  </a:cubicBezTo>
                  <a:cubicBezTo>
                    <a:pt x="885" y="277"/>
                    <a:pt x="885" y="277"/>
                    <a:pt x="884" y="276"/>
                  </a:cubicBezTo>
                  <a:cubicBezTo>
                    <a:pt x="494" y="51"/>
                    <a:pt x="494" y="51"/>
                    <a:pt x="494" y="51"/>
                  </a:cubicBezTo>
                  <a:cubicBezTo>
                    <a:pt x="491" y="49"/>
                    <a:pt x="487" y="48"/>
                    <a:pt x="483" y="48"/>
                  </a:cubicBezTo>
                  <a:moveTo>
                    <a:pt x="483" y="518"/>
                  </a:moveTo>
                  <a:cubicBezTo>
                    <a:pt x="477" y="518"/>
                    <a:pt x="471" y="517"/>
                    <a:pt x="466" y="514"/>
                  </a:cubicBezTo>
                  <a:cubicBezTo>
                    <a:pt x="466" y="514"/>
                    <a:pt x="466" y="514"/>
                    <a:pt x="466" y="514"/>
                  </a:cubicBezTo>
                  <a:cubicBezTo>
                    <a:pt x="76" y="289"/>
                    <a:pt x="76" y="289"/>
                    <a:pt x="76" y="289"/>
                  </a:cubicBezTo>
                  <a:cubicBezTo>
                    <a:pt x="72" y="286"/>
                    <a:pt x="69" y="282"/>
                    <a:pt x="69" y="277"/>
                  </a:cubicBezTo>
                  <a:cubicBezTo>
                    <a:pt x="69" y="273"/>
                    <a:pt x="72" y="268"/>
                    <a:pt x="76" y="266"/>
                  </a:cubicBezTo>
                  <a:cubicBezTo>
                    <a:pt x="466" y="41"/>
                    <a:pt x="466" y="41"/>
                    <a:pt x="466" y="41"/>
                  </a:cubicBezTo>
                  <a:cubicBezTo>
                    <a:pt x="471" y="38"/>
                    <a:pt x="477" y="36"/>
                    <a:pt x="483" y="36"/>
                  </a:cubicBezTo>
                  <a:cubicBezTo>
                    <a:pt x="489" y="36"/>
                    <a:pt x="495" y="38"/>
                    <a:pt x="500" y="41"/>
                  </a:cubicBezTo>
                  <a:cubicBezTo>
                    <a:pt x="890" y="266"/>
                    <a:pt x="890" y="266"/>
                    <a:pt x="890" y="266"/>
                  </a:cubicBezTo>
                  <a:cubicBezTo>
                    <a:pt x="894" y="268"/>
                    <a:pt x="897" y="273"/>
                    <a:pt x="897" y="277"/>
                  </a:cubicBezTo>
                  <a:cubicBezTo>
                    <a:pt x="897" y="282"/>
                    <a:pt x="894" y="286"/>
                    <a:pt x="890" y="289"/>
                  </a:cubicBezTo>
                  <a:cubicBezTo>
                    <a:pt x="500" y="514"/>
                    <a:pt x="500" y="514"/>
                    <a:pt x="500" y="514"/>
                  </a:cubicBezTo>
                  <a:cubicBezTo>
                    <a:pt x="495" y="517"/>
                    <a:pt x="489" y="518"/>
                    <a:pt x="483" y="518"/>
                  </a:cubicBezTo>
                  <a:moveTo>
                    <a:pt x="483" y="0"/>
                  </a:moveTo>
                  <a:cubicBezTo>
                    <a:pt x="476" y="0"/>
                    <a:pt x="468" y="2"/>
                    <a:pt x="462" y="6"/>
                  </a:cubicBezTo>
                  <a:cubicBezTo>
                    <a:pt x="7" y="269"/>
                    <a:pt x="7" y="269"/>
                    <a:pt x="7" y="269"/>
                  </a:cubicBezTo>
                  <a:cubicBezTo>
                    <a:pt x="0" y="273"/>
                    <a:pt x="0" y="282"/>
                    <a:pt x="7" y="286"/>
                  </a:cubicBezTo>
                  <a:cubicBezTo>
                    <a:pt x="462" y="548"/>
                    <a:pt x="462" y="548"/>
                    <a:pt x="462" y="548"/>
                  </a:cubicBezTo>
                  <a:cubicBezTo>
                    <a:pt x="468" y="552"/>
                    <a:pt x="476" y="554"/>
                    <a:pt x="483" y="554"/>
                  </a:cubicBezTo>
                  <a:cubicBezTo>
                    <a:pt x="491" y="554"/>
                    <a:pt x="498" y="552"/>
                    <a:pt x="505" y="548"/>
                  </a:cubicBezTo>
                  <a:cubicBezTo>
                    <a:pt x="960" y="286"/>
                    <a:pt x="960" y="286"/>
                    <a:pt x="960" y="286"/>
                  </a:cubicBezTo>
                  <a:cubicBezTo>
                    <a:pt x="966" y="282"/>
                    <a:pt x="966" y="273"/>
                    <a:pt x="960" y="269"/>
                  </a:cubicBezTo>
                  <a:cubicBezTo>
                    <a:pt x="505" y="6"/>
                    <a:pt x="505" y="6"/>
                    <a:pt x="505" y="6"/>
                  </a:cubicBezTo>
                  <a:cubicBezTo>
                    <a:pt x="498" y="2"/>
                    <a:pt x="491" y="0"/>
                    <a:pt x="483" y="0"/>
                  </a:cubicBezTo>
                </a:path>
              </a:pathLst>
            </a:custGeom>
            <a:solidFill>
              <a:srgbClr val="5E5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DC71528E-8757-4884-83C1-214745F9F2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869238" y="4108450"/>
              <a:ext cx="2730500" cy="1592262"/>
            </a:xfrm>
            <a:custGeom>
              <a:avLst/>
              <a:gdLst>
                <a:gd name="T0" fmla="*/ 403 w 828"/>
                <a:gd name="T1" fmla="*/ 467 h 482"/>
                <a:gd name="T2" fmla="*/ 13 w 828"/>
                <a:gd name="T3" fmla="*/ 242 h 482"/>
                <a:gd name="T4" fmla="*/ 12 w 828"/>
                <a:gd name="T5" fmla="*/ 241 h 482"/>
                <a:gd name="T6" fmla="*/ 13 w 828"/>
                <a:gd name="T7" fmla="*/ 240 h 482"/>
                <a:gd name="T8" fmla="*/ 403 w 828"/>
                <a:gd name="T9" fmla="*/ 15 h 482"/>
                <a:gd name="T10" fmla="*/ 414 w 828"/>
                <a:gd name="T11" fmla="*/ 12 h 482"/>
                <a:gd name="T12" fmla="*/ 425 w 828"/>
                <a:gd name="T13" fmla="*/ 15 h 482"/>
                <a:gd name="T14" fmla="*/ 815 w 828"/>
                <a:gd name="T15" fmla="*/ 240 h 482"/>
                <a:gd name="T16" fmla="*/ 816 w 828"/>
                <a:gd name="T17" fmla="*/ 241 h 482"/>
                <a:gd name="T18" fmla="*/ 815 w 828"/>
                <a:gd name="T19" fmla="*/ 242 h 482"/>
                <a:gd name="T20" fmla="*/ 425 w 828"/>
                <a:gd name="T21" fmla="*/ 467 h 482"/>
                <a:gd name="T22" fmla="*/ 414 w 828"/>
                <a:gd name="T23" fmla="*/ 470 h 482"/>
                <a:gd name="T24" fmla="*/ 403 w 828"/>
                <a:gd name="T25" fmla="*/ 467 h 482"/>
                <a:gd name="T26" fmla="*/ 403 w 828"/>
                <a:gd name="T27" fmla="*/ 467 h 482"/>
                <a:gd name="T28" fmla="*/ 414 w 828"/>
                <a:gd name="T29" fmla="*/ 0 h 482"/>
                <a:gd name="T30" fmla="*/ 397 w 828"/>
                <a:gd name="T31" fmla="*/ 5 h 482"/>
                <a:gd name="T32" fmla="*/ 7 w 828"/>
                <a:gd name="T33" fmla="*/ 230 h 482"/>
                <a:gd name="T34" fmla="*/ 0 w 828"/>
                <a:gd name="T35" fmla="*/ 241 h 482"/>
                <a:gd name="T36" fmla="*/ 7 w 828"/>
                <a:gd name="T37" fmla="*/ 253 h 482"/>
                <a:gd name="T38" fmla="*/ 397 w 828"/>
                <a:gd name="T39" fmla="*/ 478 h 482"/>
                <a:gd name="T40" fmla="*/ 397 w 828"/>
                <a:gd name="T41" fmla="*/ 478 h 482"/>
                <a:gd name="T42" fmla="*/ 414 w 828"/>
                <a:gd name="T43" fmla="*/ 482 h 482"/>
                <a:gd name="T44" fmla="*/ 431 w 828"/>
                <a:gd name="T45" fmla="*/ 478 h 482"/>
                <a:gd name="T46" fmla="*/ 821 w 828"/>
                <a:gd name="T47" fmla="*/ 253 h 482"/>
                <a:gd name="T48" fmla="*/ 828 w 828"/>
                <a:gd name="T49" fmla="*/ 241 h 482"/>
                <a:gd name="T50" fmla="*/ 821 w 828"/>
                <a:gd name="T51" fmla="*/ 230 h 482"/>
                <a:gd name="T52" fmla="*/ 431 w 828"/>
                <a:gd name="T53" fmla="*/ 5 h 482"/>
                <a:gd name="T54" fmla="*/ 414 w 828"/>
                <a:gd name="T55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28" h="482">
                  <a:moveTo>
                    <a:pt x="403" y="467"/>
                  </a:moveTo>
                  <a:cubicBezTo>
                    <a:pt x="13" y="242"/>
                    <a:pt x="13" y="242"/>
                    <a:pt x="13" y="242"/>
                  </a:cubicBezTo>
                  <a:cubicBezTo>
                    <a:pt x="13" y="242"/>
                    <a:pt x="12" y="242"/>
                    <a:pt x="12" y="241"/>
                  </a:cubicBezTo>
                  <a:cubicBezTo>
                    <a:pt x="12" y="241"/>
                    <a:pt x="13" y="241"/>
                    <a:pt x="13" y="240"/>
                  </a:cubicBezTo>
                  <a:cubicBezTo>
                    <a:pt x="403" y="15"/>
                    <a:pt x="403" y="15"/>
                    <a:pt x="403" y="15"/>
                  </a:cubicBezTo>
                  <a:cubicBezTo>
                    <a:pt x="406" y="13"/>
                    <a:pt x="410" y="12"/>
                    <a:pt x="414" y="12"/>
                  </a:cubicBezTo>
                  <a:cubicBezTo>
                    <a:pt x="418" y="12"/>
                    <a:pt x="422" y="13"/>
                    <a:pt x="425" y="15"/>
                  </a:cubicBezTo>
                  <a:cubicBezTo>
                    <a:pt x="815" y="240"/>
                    <a:pt x="815" y="240"/>
                    <a:pt x="815" y="240"/>
                  </a:cubicBezTo>
                  <a:cubicBezTo>
                    <a:pt x="816" y="241"/>
                    <a:pt x="816" y="241"/>
                    <a:pt x="816" y="241"/>
                  </a:cubicBezTo>
                  <a:cubicBezTo>
                    <a:pt x="816" y="242"/>
                    <a:pt x="816" y="242"/>
                    <a:pt x="815" y="242"/>
                  </a:cubicBezTo>
                  <a:cubicBezTo>
                    <a:pt x="425" y="467"/>
                    <a:pt x="425" y="467"/>
                    <a:pt x="425" y="467"/>
                  </a:cubicBezTo>
                  <a:cubicBezTo>
                    <a:pt x="422" y="469"/>
                    <a:pt x="418" y="470"/>
                    <a:pt x="414" y="470"/>
                  </a:cubicBezTo>
                  <a:cubicBezTo>
                    <a:pt x="410" y="470"/>
                    <a:pt x="406" y="469"/>
                    <a:pt x="403" y="467"/>
                  </a:cubicBezTo>
                  <a:cubicBezTo>
                    <a:pt x="403" y="467"/>
                    <a:pt x="403" y="467"/>
                    <a:pt x="403" y="467"/>
                  </a:cubicBezTo>
                  <a:moveTo>
                    <a:pt x="414" y="0"/>
                  </a:moveTo>
                  <a:cubicBezTo>
                    <a:pt x="408" y="0"/>
                    <a:pt x="402" y="2"/>
                    <a:pt x="397" y="5"/>
                  </a:cubicBezTo>
                  <a:cubicBezTo>
                    <a:pt x="7" y="230"/>
                    <a:pt x="7" y="230"/>
                    <a:pt x="7" y="230"/>
                  </a:cubicBezTo>
                  <a:cubicBezTo>
                    <a:pt x="3" y="232"/>
                    <a:pt x="0" y="237"/>
                    <a:pt x="0" y="241"/>
                  </a:cubicBezTo>
                  <a:cubicBezTo>
                    <a:pt x="0" y="246"/>
                    <a:pt x="3" y="250"/>
                    <a:pt x="7" y="253"/>
                  </a:cubicBezTo>
                  <a:cubicBezTo>
                    <a:pt x="397" y="478"/>
                    <a:pt x="397" y="478"/>
                    <a:pt x="397" y="478"/>
                  </a:cubicBezTo>
                  <a:cubicBezTo>
                    <a:pt x="397" y="478"/>
                    <a:pt x="397" y="478"/>
                    <a:pt x="397" y="478"/>
                  </a:cubicBezTo>
                  <a:cubicBezTo>
                    <a:pt x="402" y="481"/>
                    <a:pt x="408" y="482"/>
                    <a:pt x="414" y="482"/>
                  </a:cubicBezTo>
                  <a:cubicBezTo>
                    <a:pt x="420" y="482"/>
                    <a:pt x="426" y="481"/>
                    <a:pt x="431" y="478"/>
                  </a:cubicBezTo>
                  <a:cubicBezTo>
                    <a:pt x="821" y="253"/>
                    <a:pt x="821" y="253"/>
                    <a:pt x="821" y="253"/>
                  </a:cubicBezTo>
                  <a:cubicBezTo>
                    <a:pt x="825" y="250"/>
                    <a:pt x="828" y="246"/>
                    <a:pt x="828" y="241"/>
                  </a:cubicBezTo>
                  <a:cubicBezTo>
                    <a:pt x="828" y="237"/>
                    <a:pt x="825" y="232"/>
                    <a:pt x="821" y="230"/>
                  </a:cubicBezTo>
                  <a:cubicBezTo>
                    <a:pt x="431" y="5"/>
                    <a:pt x="431" y="5"/>
                    <a:pt x="431" y="5"/>
                  </a:cubicBezTo>
                  <a:cubicBezTo>
                    <a:pt x="426" y="2"/>
                    <a:pt x="420" y="0"/>
                    <a:pt x="414" y="0"/>
                  </a:cubicBezTo>
                </a:path>
              </a:pathLst>
            </a:custGeom>
            <a:gradFill>
              <a:gsLst>
                <a:gs pos="74000">
                  <a:srgbClr val="2D7C9E">
                    <a:alpha val="74000"/>
                  </a:srgbClr>
                </a:gs>
                <a:gs pos="37000">
                  <a:srgbClr val="41E4DE">
                    <a:alpha val="71000"/>
                  </a:srgbClr>
                </a:gs>
                <a:gs pos="0">
                  <a:srgbClr val="19145F"/>
                </a:gs>
                <a:gs pos="100000">
                  <a:srgbClr val="19125E">
                    <a:alpha val="82000"/>
                  </a:srgbClr>
                </a:gs>
              </a:gsLst>
              <a:lin ang="12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ED5565D2-665C-4D02-AF53-29AFF656BF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58163" y="4283075"/>
              <a:ext cx="2154237" cy="1246187"/>
            </a:xfrm>
            <a:custGeom>
              <a:avLst/>
              <a:gdLst>
                <a:gd name="T0" fmla="*/ 678 w 1357"/>
                <a:gd name="T1" fmla="*/ 0 h 785"/>
                <a:gd name="T2" fmla="*/ 0 w 1357"/>
                <a:gd name="T3" fmla="*/ 391 h 785"/>
                <a:gd name="T4" fmla="*/ 678 w 1357"/>
                <a:gd name="T5" fmla="*/ 785 h 785"/>
                <a:gd name="T6" fmla="*/ 1357 w 1357"/>
                <a:gd name="T7" fmla="*/ 391 h 785"/>
                <a:gd name="T8" fmla="*/ 678 w 1357"/>
                <a:gd name="T9" fmla="*/ 0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7" h="785">
                  <a:moveTo>
                    <a:pt x="678" y="0"/>
                  </a:moveTo>
                  <a:lnTo>
                    <a:pt x="0" y="391"/>
                  </a:lnTo>
                  <a:lnTo>
                    <a:pt x="678" y="785"/>
                  </a:lnTo>
                  <a:lnTo>
                    <a:pt x="1357" y="391"/>
                  </a:lnTo>
                  <a:lnTo>
                    <a:pt x="678" y="0"/>
                  </a:lnTo>
                  <a:close/>
                </a:path>
              </a:pathLst>
            </a:custGeom>
            <a:solidFill>
              <a:srgbClr val="100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8470F6EC-9358-4962-9498-35900AC547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58163" y="4283075"/>
              <a:ext cx="2154237" cy="1246187"/>
            </a:xfrm>
            <a:custGeom>
              <a:avLst/>
              <a:gdLst>
                <a:gd name="T0" fmla="*/ 678 w 1357"/>
                <a:gd name="T1" fmla="*/ 0 h 785"/>
                <a:gd name="T2" fmla="*/ 0 w 1357"/>
                <a:gd name="T3" fmla="*/ 391 h 785"/>
                <a:gd name="T4" fmla="*/ 678 w 1357"/>
                <a:gd name="T5" fmla="*/ 785 h 785"/>
                <a:gd name="T6" fmla="*/ 1357 w 1357"/>
                <a:gd name="T7" fmla="*/ 391 h 785"/>
                <a:gd name="T8" fmla="*/ 678 w 1357"/>
                <a:gd name="T9" fmla="*/ 0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7" h="785">
                  <a:moveTo>
                    <a:pt x="678" y="0"/>
                  </a:moveTo>
                  <a:lnTo>
                    <a:pt x="0" y="391"/>
                  </a:lnTo>
                  <a:lnTo>
                    <a:pt x="678" y="785"/>
                  </a:lnTo>
                  <a:lnTo>
                    <a:pt x="1357" y="391"/>
                  </a:lnTo>
                  <a:lnTo>
                    <a:pt x="67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Freeform 55">
              <a:extLst>
                <a:ext uri="{FF2B5EF4-FFF2-40B4-BE49-F238E27FC236}">
                  <a16:creationId xmlns:a16="http://schemas.microsoft.com/office/drawing/2014/main" xmlns="" id="{1B8B1E90-E8E6-474C-A9F4-D613AE0CAB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3861" y="5810250"/>
              <a:ext cx="88900" cy="79375"/>
            </a:xfrm>
            <a:custGeom>
              <a:avLst/>
              <a:gdLst>
                <a:gd name="T0" fmla="*/ 13 w 27"/>
                <a:gd name="T1" fmla="*/ 0 h 24"/>
                <a:gd name="T2" fmla="*/ 7 w 27"/>
                <a:gd name="T3" fmla="*/ 2 h 24"/>
                <a:gd name="T4" fmla="*/ 3 w 27"/>
                <a:gd name="T5" fmla="*/ 18 h 24"/>
                <a:gd name="T6" fmla="*/ 13 w 27"/>
                <a:gd name="T7" fmla="*/ 24 h 24"/>
                <a:gd name="T8" fmla="*/ 19 w 27"/>
                <a:gd name="T9" fmla="*/ 22 h 24"/>
                <a:gd name="T10" fmla="*/ 23 w 27"/>
                <a:gd name="T11" fmla="*/ 6 h 24"/>
                <a:gd name="T12" fmla="*/ 13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3" y="0"/>
                  </a:moveTo>
                  <a:cubicBezTo>
                    <a:pt x="11" y="0"/>
                    <a:pt x="9" y="1"/>
                    <a:pt x="7" y="2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2"/>
                    <a:pt x="9" y="24"/>
                    <a:pt x="13" y="24"/>
                  </a:cubicBezTo>
                  <a:cubicBezTo>
                    <a:pt x="15" y="24"/>
                    <a:pt x="17" y="23"/>
                    <a:pt x="19" y="22"/>
                  </a:cubicBezTo>
                  <a:cubicBezTo>
                    <a:pt x="25" y="19"/>
                    <a:pt x="27" y="12"/>
                    <a:pt x="23" y="6"/>
                  </a:cubicBezTo>
                  <a:cubicBezTo>
                    <a:pt x="21" y="3"/>
                    <a:pt x="17" y="0"/>
                    <a:pt x="13" y="0"/>
                  </a:cubicBezTo>
                </a:path>
              </a:pathLst>
            </a:custGeom>
            <a:solidFill>
              <a:srgbClr val="42E8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56">
              <a:extLst>
                <a:ext uri="{FF2B5EF4-FFF2-40B4-BE49-F238E27FC236}">
                  <a16:creationId xmlns:a16="http://schemas.microsoft.com/office/drawing/2014/main" xmlns="" id="{069847D9-8534-4608-A15D-B6E42ACE98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05936" y="5756275"/>
              <a:ext cx="88900" cy="79375"/>
            </a:xfrm>
            <a:custGeom>
              <a:avLst/>
              <a:gdLst>
                <a:gd name="T0" fmla="*/ 14 w 27"/>
                <a:gd name="T1" fmla="*/ 0 h 24"/>
                <a:gd name="T2" fmla="*/ 8 w 27"/>
                <a:gd name="T3" fmla="*/ 2 h 24"/>
                <a:gd name="T4" fmla="*/ 3 w 27"/>
                <a:gd name="T5" fmla="*/ 18 h 24"/>
                <a:gd name="T6" fmla="*/ 14 w 27"/>
                <a:gd name="T7" fmla="*/ 24 h 24"/>
                <a:gd name="T8" fmla="*/ 19 w 27"/>
                <a:gd name="T9" fmla="*/ 22 h 24"/>
                <a:gd name="T10" fmla="*/ 24 w 27"/>
                <a:gd name="T11" fmla="*/ 6 h 24"/>
                <a:gd name="T12" fmla="*/ 14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4" y="0"/>
                  </a:moveTo>
                  <a:cubicBezTo>
                    <a:pt x="12" y="0"/>
                    <a:pt x="10" y="1"/>
                    <a:pt x="8" y="2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2"/>
                    <a:pt x="9" y="24"/>
                    <a:pt x="14" y="24"/>
                  </a:cubicBezTo>
                  <a:cubicBezTo>
                    <a:pt x="16" y="24"/>
                    <a:pt x="18" y="23"/>
                    <a:pt x="19" y="22"/>
                  </a:cubicBezTo>
                  <a:cubicBezTo>
                    <a:pt x="25" y="19"/>
                    <a:pt x="27" y="12"/>
                    <a:pt x="24" y="6"/>
                  </a:cubicBezTo>
                  <a:cubicBezTo>
                    <a:pt x="22" y="2"/>
                    <a:pt x="18" y="0"/>
                    <a:pt x="14" y="0"/>
                  </a:cubicBezTo>
                </a:path>
              </a:pathLst>
            </a:custGeom>
            <a:solidFill>
              <a:srgbClr val="4BC8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Freeform 57">
              <a:extLst>
                <a:ext uri="{FF2B5EF4-FFF2-40B4-BE49-F238E27FC236}">
                  <a16:creationId xmlns:a16="http://schemas.microsoft.com/office/drawing/2014/main" xmlns="" id="{48EC9D43-F746-48CA-9F08-8E6CB81079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1186" y="5702300"/>
              <a:ext cx="85725" cy="77787"/>
            </a:xfrm>
            <a:custGeom>
              <a:avLst/>
              <a:gdLst>
                <a:gd name="T0" fmla="*/ 13 w 26"/>
                <a:gd name="T1" fmla="*/ 0 h 23"/>
                <a:gd name="T2" fmla="*/ 7 w 26"/>
                <a:gd name="T3" fmla="*/ 1 h 23"/>
                <a:gd name="T4" fmla="*/ 3 w 26"/>
                <a:gd name="T5" fmla="*/ 18 h 23"/>
                <a:gd name="T6" fmla="*/ 13 w 26"/>
                <a:gd name="T7" fmla="*/ 23 h 23"/>
                <a:gd name="T8" fmla="*/ 19 w 26"/>
                <a:gd name="T9" fmla="*/ 22 h 23"/>
                <a:gd name="T10" fmla="*/ 23 w 26"/>
                <a:gd name="T11" fmla="*/ 6 h 23"/>
                <a:gd name="T12" fmla="*/ 13 w 26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3">
                  <a:moveTo>
                    <a:pt x="13" y="0"/>
                  </a:moveTo>
                  <a:cubicBezTo>
                    <a:pt x="11" y="0"/>
                    <a:pt x="9" y="0"/>
                    <a:pt x="7" y="1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1"/>
                    <a:pt x="9" y="23"/>
                    <a:pt x="13" y="23"/>
                  </a:cubicBezTo>
                  <a:cubicBezTo>
                    <a:pt x="15" y="23"/>
                    <a:pt x="17" y="23"/>
                    <a:pt x="19" y="22"/>
                  </a:cubicBezTo>
                  <a:cubicBezTo>
                    <a:pt x="24" y="19"/>
                    <a:pt x="26" y="12"/>
                    <a:pt x="23" y="6"/>
                  </a:cubicBezTo>
                  <a:cubicBezTo>
                    <a:pt x="21" y="2"/>
                    <a:pt x="17" y="0"/>
                    <a:pt x="13" y="0"/>
                  </a:cubicBezTo>
                </a:path>
              </a:pathLst>
            </a:custGeom>
            <a:solidFill>
              <a:srgbClr val="56AFC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Freeform 58">
              <a:extLst>
                <a:ext uri="{FF2B5EF4-FFF2-40B4-BE49-F238E27FC236}">
                  <a16:creationId xmlns:a16="http://schemas.microsoft.com/office/drawing/2014/main" xmlns="" id="{54203647-D14B-459B-A874-D5CE3FF3B5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3261" y="5649912"/>
              <a:ext cx="90488" cy="76200"/>
            </a:xfrm>
            <a:custGeom>
              <a:avLst/>
              <a:gdLst>
                <a:gd name="T0" fmla="*/ 13 w 27"/>
                <a:gd name="T1" fmla="*/ 0 h 23"/>
                <a:gd name="T2" fmla="*/ 8 w 27"/>
                <a:gd name="T3" fmla="*/ 1 h 23"/>
                <a:gd name="T4" fmla="*/ 3 w 27"/>
                <a:gd name="T5" fmla="*/ 17 h 23"/>
                <a:gd name="T6" fmla="*/ 13 w 27"/>
                <a:gd name="T7" fmla="*/ 23 h 23"/>
                <a:gd name="T8" fmla="*/ 19 w 27"/>
                <a:gd name="T9" fmla="*/ 22 h 23"/>
                <a:gd name="T10" fmla="*/ 24 w 27"/>
                <a:gd name="T11" fmla="*/ 6 h 23"/>
                <a:gd name="T12" fmla="*/ 13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3" y="0"/>
                  </a:moveTo>
                  <a:cubicBezTo>
                    <a:pt x="11" y="0"/>
                    <a:pt x="9" y="0"/>
                    <a:pt x="8" y="1"/>
                  </a:cubicBezTo>
                  <a:cubicBezTo>
                    <a:pt x="2" y="4"/>
                    <a:pt x="0" y="12"/>
                    <a:pt x="3" y="17"/>
                  </a:cubicBezTo>
                  <a:cubicBezTo>
                    <a:pt x="5" y="21"/>
                    <a:pt x="9" y="23"/>
                    <a:pt x="13" y="23"/>
                  </a:cubicBezTo>
                  <a:cubicBezTo>
                    <a:pt x="15" y="23"/>
                    <a:pt x="17" y="23"/>
                    <a:pt x="19" y="22"/>
                  </a:cubicBezTo>
                  <a:cubicBezTo>
                    <a:pt x="25" y="19"/>
                    <a:pt x="27" y="11"/>
                    <a:pt x="24" y="6"/>
                  </a:cubicBezTo>
                  <a:cubicBezTo>
                    <a:pt x="22" y="2"/>
                    <a:pt x="18" y="0"/>
                    <a:pt x="13" y="0"/>
                  </a:cubicBezTo>
                </a:path>
              </a:pathLst>
            </a:custGeom>
            <a:solidFill>
              <a:srgbClr val="629CB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Freeform 59">
              <a:extLst>
                <a:ext uri="{FF2B5EF4-FFF2-40B4-BE49-F238E27FC236}">
                  <a16:creationId xmlns:a16="http://schemas.microsoft.com/office/drawing/2014/main" xmlns="" id="{08820E61-22DB-4B15-9C62-34AE5ADA75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6924" y="5595937"/>
              <a:ext cx="88900" cy="76200"/>
            </a:xfrm>
            <a:custGeom>
              <a:avLst/>
              <a:gdLst>
                <a:gd name="T0" fmla="*/ 14 w 27"/>
                <a:gd name="T1" fmla="*/ 0 h 23"/>
                <a:gd name="T2" fmla="*/ 8 w 27"/>
                <a:gd name="T3" fmla="*/ 1 h 23"/>
                <a:gd name="T4" fmla="*/ 4 w 27"/>
                <a:gd name="T5" fmla="*/ 17 h 23"/>
                <a:gd name="T6" fmla="*/ 14 w 27"/>
                <a:gd name="T7" fmla="*/ 23 h 23"/>
                <a:gd name="T8" fmla="*/ 20 w 27"/>
                <a:gd name="T9" fmla="*/ 22 h 23"/>
                <a:gd name="T10" fmla="*/ 24 w 27"/>
                <a:gd name="T11" fmla="*/ 5 h 23"/>
                <a:gd name="T12" fmla="*/ 14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4" y="0"/>
                  </a:moveTo>
                  <a:cubicBezTo>
                    <a:pt x="12" y="0"/>
                    <a:pt x="10" y="0"/>
                    <a:pt x="8" y="1"/>
                  </a:cubicBezTo>
                  <a:cubicBezTo>
                    <a:pt x="2" y="4"/>
                    <a:pt x="0" y="11"/>
                    <a:pt x="4" y="17"/>
                  </a:cubicBezTo>
                  <a:cubicBezTo>
                    <a:pt x="6" y="21"/>
                    <a:pt x="10" y="23"/>
                    <a:pt x="14" y="23"/>
                  </a:cubicBezTo>
                  <a:cubicBezTo>
                    <a:pt x="16" y="23"/>
                    <a:pt x="18" y="23"/>
                    <a:pt x="20" y="22"/>
                  </a:cubicBezTo>
                  <a:cubicBezTo>
                    <a:pt x="25" y="18"/>
                    <a:pt x="27" y="11"/>
                    <a:pt x="24" y="5"/>
                  </a:cubicBezTo>
                  <a:cubicBezTo>
                    <a:pt x="22" y="2"/>
                    <a:pt x="18" y="0"/>
                    <a:pt x="14" y="0"/>
                  </a:cubicBezTo>
                </a:path>
              </a:pathLst>
            </a:custGeom>
            <a:solidFill>
              <a:srgbClr val="42669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60">
              <a:extLst>
                <a:ext uri="{FF2B5EF4-FFF2-40B4-BE49-F238E27FC236}">
                  <a16:creationId xmlns:a16="http://schemas.microsoft.com/office/drawing/2014/main" xmlns="" id="{AEDA835B-253D-49A4-AD92-D38F3FD8A5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2174" y="5538787"/>
              <a:ext cx="88900" cy="80962"/>
            </a:xfrm>
            <a:custGeom>
              <a:avLst/>
              <a:gdLst>
                <a:gd name="T0" fmla="*/ 13 w 27"/>
                <a:gd name="T1" fmla="*/ 0 h 24"/>
                <a:gd name="T2" fmla="*/ 8 w 27"/>
                <a:gd name="T3" fmla="*/ 2 h 24"/>
                <a:gd name="T4" fmla="*/ 3 w 27"/>
                <a:gd name="T5" fmla="*/ 18 h 24"/>
                <a:gd name="T6" fmla="*/ 13 w 27"/>
                <a:gd name="T7" fmla="*/ 24 h 24"/>
                <a:gd name="T8" fmla="*/ 19 w 27"/>
                <a:gd name="T9" fmla="*/ 22 h 24"/>
                <a:gd name="T10" fmla="*/ 24 w 27"/>
                <a:gd name="T11" fmla="*/ 6 h 24"/>
                <a:gd name="T12" fmla="*/ 13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3" y="0"/>
                  </a:moveTo>
                  <a:cubicBezTo>
                    <a:pt x="11" y="0"/>
                    <a:pt x="9" y="1"/>
                    <a:pt x="8" y="2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2"/>
                    <a:pt x="9" y="24"/>
                    <a:pt x="13" y="24"/>
                  </a:cubicBezTo>
                  <a:cubicBezTo>
                    <a:pt x="15" y="24"/>
                    <a:pt x="17" y="23"/>
                    <a:pt x="19" y="22"/>
                  </a:cubicBezTo>
                  <a:cubicBezTo>
                    <a:pt x="25" y="19"/>
                    <a:pt x="27" y="12"/>
                    <a:pt x="24" y="6"/>
                  </a:cubicBezTo>
                  <a:cubicBezTo>
                    <a:pt x="21" y="2"/>
                    <a:pt x="17" y="0"/>
                    <a:pt x="13" y="0"/>
                  </a:cubicBezTo>
                </a:path>
              </a:pathLst>
            </a:custGeom>
            <a:solidFill>
              <a:srgbClr val="42669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61">
              <a:extLst>
                <a:ext uri="{FF2B5EF4-FFF2-40B4-BE49-F238E27FC236}">
                  <a16:creationId xmlns:a16="http://schemas.microsoft.com/office/drawing/2014/main" xmlns="" id="{EAAF6E4C-9F9A-49F1-8348-DF7768563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63161" y="5372100"/>
              <a:ext cx="88900" cy="77787"/>
            </a:xfrm>
            <a:custGeom>
              <a:avLst/>
              <a:gdLst>
                <a:gd name="T0" fmla="*/ 14 w 27"/>
                <a:gd name="T1" fmla="*/ 0 h 23"/>
                <a:gd name="T2" fmla="*/ 8 w 27"/>
                <a:gd name="T3" fmla="*/ 1 h 23"/>
                <a:gd name="T4" fmla="*/ 4 w 27"/>
                <a:gd name="T5" fmla="*/ 17 h 23"/>
                <a:gd name="T6" fmla="*/ 14 w 27"/>
                <a:gd name="T7" fmla="*/ 23 h 23"/>
                <a:gd name="T8" fmla="*/ 20 w 27"/>
                <a:gd name="T9" fmla="*/ 22 h 23"/>
                <a:gd name="T10" fmla="*/ 24 w 27"/>
                <a:gd name="T11" fmla="*/ 6 h 23"/>
                <a:gd name="T12" fmla="*/ 14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4" y="0"/>
                  </a:moveTo>
                  <a:cubicBezTo>
                    <a:pt x="12" y="0"/>
                    <a:pt x="10" y="0"/>
                    <a:pt x="8" y="1"/>
                  </a:cubicBezTo>
                  <a:cubicBezTo>
                    <a:pt x="2" y="5"/>
                    <a:pt x="0" y="12"/>
                    <a:pt x="4" y="17"/>
                  </a:cubicBezTo>
                  <a:cubicBezTo>
                    <a:pt x="6" y="21"/>
                    <a:pt x="10" y="23"/>
                    <a:pt x="14" y="23"/>
                  </a:cubicBezTo>
                  <a:cubicBezTo>
                    <a:pt x="16" y="23"/>
                    <a:pt x="18" y="23"/>
                    <a:pt x="20" y="22"/>
                  </a:cubicBezTo>
                  <a:cubicBezTo>
                    <a:pt x="25" y="19"/>
                    <a:pt x="27" y="11"/>
                    <a:pt x="24" y="6"/>
                  </a:cubicBezTo>
                  <a:cubicBezTo>
                    <a:pt x="22" y="2"/>
                    <a:pt x="18" y="0"/>
                    <a:pt x="14" y="0"/>
                  </a:cubicBezTo>
                </a:path>
              </a:pathLst>
            </a:custGeom>
            <a:solidFill>
              <a:srgbClr val="42E8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62">
              <a:extLst>
                <a:ext uri="{FF2B5EF4-FFF2-40B4-BE49-F238E27FC236}">
                  <a16:creationId xmlns:a16="http://schemas.microsoft.com/office/drawing/2014/main" xmlns="" id="{0347101B-1CD1-4977-A202-28F12251DD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1086" y="5426075"/>
              <a:ext cx="88900" cy="79375"/>
            </a:xfrm>
            <a:custGeom>
              <a:avLst/>
              <a:gdLst>
                <a:gd name="T0" fmla="*/ 13 w 27"/>
                <a:gd name="T1" fmla="*/ 0 h 24"/>
                <a:gd name="T2" fmla="*/ 8 w 27"/>
                <a:gd name="T3" fmla="*/ 2 h 24"/>
                <a:gd name="T4" fmla="*/ 3 w 27"/>
                <a:gd name="T5" fmla="*/ 18 h 24"/>
                <a:gd name="T6" fmla="*/ 13 w 27"/>
                <a:gd name="T7" fmla="*/ 24 h 24"/>
                <a:gd name="T8" fmla="*/ 19 w 27"/>
                <a:gd name="T9" fmla="*/ 22 h 24"/>
                <a:gd name="T10" fmla="*/ 24 w 27"/>
                <a:gd name="T11" fmla="*/ 6 h 24"/>
                <a:gd name="T12" fmla="*/ 13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3" y="0"/>
                  </a:moveTo>
                  <a:cubicBezTo>
                    <a:pt x="11" y="0"/>
                    <a:pt x="9" y="1"/>
                    <a:pt x="8" y="2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1"/>
                    <a:pt x="9" y="24"/>
                    <a:pt x="13" y="24"/>
                  </a:cubicBezTo>
                  <a:cubicBezTo>
                    <a:pt x="15" y="24"/>
                    <a:pt x="17" y="23"/>
                    <a:pt x="19" y="22"/>
                  </a:cubicBezTo>
                  <a:cubicBezTo>
                    <a:pt x="25" y="19"/>
                    <a:pt x="27" y="12"/>
                    <a:pt x="24" y="6"/>
                  </a:cubicBezTo>
                  <a:cubicBezTo>
                    <a:pt x="21" y="2"/>
                    <a:pt x="17" y="0"/>
                    <a:pt x="13" y="0"/>
                  </a:cubicBezTo>
                </a:path>
              </a:pathLst>
            </a:custGeom>
            <a:solidFill>
              <a:srgbClr val="4BC8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63">
              <a:extLst>
                <a:ext uri="{FF2B5EF4-FFF2-40B4-BE49-F238E27FC236}">
                  <a16:creationId xmlns:a16="http://schemas.microsoft.com/office/drawing/2014/main" xmlns="" id="{A65CBAA9-9DF4-4F79-A533-CE5F4A3231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74249" y="5480050"/>
              <a:ext cx="88900" cy="79375"/>
            </a:xfrm>
            <a:custGeom>
              <a:avLst/>
              <a:gdLst>
                <a:gd name="T0" fmla="*/ 14 w 27"/>
                <a:gd name="T1" fmla="*/ 0 h 24"/>
                <a:gd name="T2" fmla="*/ 8 w 27"/>
                <a:gd name="T3" fmla="*/ 2 h 24"/>
                <a:gd name="T4" fmla="*/ 4 w 27"/>
                <a:gd name="T5" fmla="*/ 18 h 24"/>
                <a:gd name="T6" fmla="*/ 14 w 27"/>
                <a:gd name="T7" fmla="*/ 24 h 24"/>
                <a:gd name="T8" fmla="*/ 20 w 27"/>
                <a:gd name="T9" fmla="*/ 22 h 24"/>
                <a:gd name="T10" fmla="*/ 24 w 27"/>
                <a:gd name="T11" fmla="*/ 6 h 24"/>
                <a:gd name="T12" fmla="*/ 14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4" y="0"/>
                  </a:moveTo>
                  <a:cubicBezTo>
                    <a:pt x="12" y="0"/>
                    <a:pt x="10" y="1"/>
                    <a:pt x="8" y="2"/>
                  </a:cubicBezTo>
                  <a:cubicBezTo>
                    <a:pt x="2" y="5"/>
                    <a:pt x="0" y="12"/>
                    <a:pt x="4" y="18"/>
                  </a:cubicBezTo>
                  <a:cubicBezTo>
                    <a:pt x="6" y="22"/>
                    <a:pt x="10" y="24"/>
                    <a:pt x="14" y="24"/>
                  </a:cubicBezTo>
                  <a:cubicBezTo>
                    <a:pt x="16" y="24"/>
                    <a:pt x="18" y="23"/>
                    <a:pt x="20" y="22"/>
                  </a:cubicBezTo>
                  <a:cubicBezTo>
                    <a:pt x="25" y="19"/>
                    <a:pt x="27" y="12"/>
                    <a:pt x="24" y="6"/>
                  </a:cubicBezTo>
                  <a:cubicBezTo>
                    <a:pt x="22" y="2"/>
                    <a:pt x="18" y="0"/>
                    <a:pt x="14" y="0"/>
                  </a:cubicBezTo>
                </a:path>
              </a:pathLst>
            </a:custGeom>
            <a:solidFill>
              <a:srgbClr val="457EA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64">
              <a:extLst>
                <a:ext uri="{FF2B5EF4-FFF2-40B4-BE49-F238E27FC236}">
                  <a16:creationId xmlns:a16="http://schemas.microsoft.com/office/drawing/2014/main" xmlns="" id="{306AC6B0-8C0B-470D-9853-86D766DEA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23561" y="5372100"/>
              <a:ext cx="88900" cy="77787"/>
            </a:xfrm>
            <a:custGeom>
              <a:avLst/>
              <a:gdLst>
                <a:gd name="T0" fmla="*/ 13 w 27"/>
                <a:gd name="T1" fmla="*/ 0 h 23"/>
                <a:gd name="T2" fmla="*/ 3 w 27"/>
                <a:gd name="T3" fmla="*/ 5 h 23"/>
                <a:gd name="T4" fmla="*/ 8 w 27"/>
                <a:gd name="T5" fmla="*/ 22 h 23"/>
                <a:gd name="T6" fmla="*/ 13 w 27"/>
                <a:gd name="T7" fmla="*/ 23 h 23"/>
                <a:gd name="T8" fmla="*/ 24 w 27"/>
                <a:gd name="T9" fmla="*/ 17 h 23"/>
                <a:gd name="T10" fmla="*/ 19 w 27"/>
                <a:gd name="T11" fmla="*/ 1 h 23"/>
                <a:gd name="T12" fmla="*/ 13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3" y="0"/>
                  </a:moveTo>
                  <a:cubicBezTo>
                    <a:pt x="9" y="0"/>
                    <a:pt x="5" y="2"/>
                    <a:pt x="3" y="5"/>
                  </a:cubicBezTo>
                  <a:cubicBezTo>
                    <a:pt x="0" y="11"/>
                    <a:pt x="2" y="18"/>
                    <a:pt x="8" y="22"/>
                  </a:cubicBezTo>
                  <a:cubicBezTo>
                    <a:pt x="9" y="23"/>
                    <a:pt x="11" y="23"/>
                    <a:pt x="13" y="23"/>
                  </a:cubicBezTo>
                  <a:cubicBezTo>
                    <a:pt x="18" y="23"/>
                    <a:pt x="21" y="21"/>
                    <a:pt x="24" y="17"/>
                  </a:cubicBezTo>
                  <a:cubicBezTo>
                    <a:pt x="27" y="11"/>
                    <a:pt x="25" y="4"/>
                    <a:pt x="19" y="1"/>
                  </a:cubicBezTo>
                  <a:cubicBezTo>
                    <a:pt x="17" y="0"/>
                    <a:pt x="15" y="0"/>
                    <a:pt x="13" y="0"/>
                  </a:cubicBezTo>
                </a:path>
              </a:pathLst>
            </a:custGeom>
            <a:solidFill>
              <a:srgbClr val="42E8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65">
              <a:extLst>
                <a:ext uri="{FF2B5EF4-FFF2-40B4-BE49-F238E27FC236}">
                  <a16:creationId xmlns:a16="http://schemas.microsoft.com/office/drawing/2014/main" xmlns="" id="{D8CA5445-3AAF-46BA-84D0-F11755E0E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5636" y="5426075"/>
              <a:ext cx="88900" cy="76200"/>
            </a:xfrm>
            <a:custGeom>
              <a:avLst/>
              <a:gdLst>
                <a:gd name="T0" fmla="*/ 14 w 27"/>
                <a:gd name="T1" fmla="*/ 0 h 23"/>
                <a:gd name="T2" fmla="*/ 4 w 27"/>
                <a:gd name="T3" fmla="*/ 6 h 23"/>
                <a:gd name="T4" fmla="*/ 8 w 27"/>
                <a:gd name="T5" fmla="*/ 22 h 23"/>
                <a:gd name="T6" fmla="*/ 14 w 27"/>
                <a:gd name="T7" fmla="*/ 23 h 23"/>
                <a:gd name="T8" fmla="*/ 24 w 27"/>
                <a:gd name="T9" fmla="*/ 17 h 23"/>
                <a:gd name="T10" fmla="*/ 20 w 27"/>
                <a:gd name="T11" fmla="*/ 1 h 23"/>
                <a:gd name="T12" fmla="*/ 14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4" y="0"/>
                  </a:moveTo>
                  <a:cubicBezTo>
                    <a:pt x="10" y="0"/>
                    <a:pt x="6" y="2"/>
                    <a:pt x="4" y="6"/>
                  </a:cubicBezTo>
                  <a:cubicBezTo>
                    <a:pt x="0" y="11"/>
                    <a:pt x="2" y="19"/>
                    <a:pt x="8" y="22"/>
                  </a:cubicBezTo>
                  <a:cubicBezTo>
                    <a:pt x="10" y="23"/>
                    <a:pt x="12" y="23"/>
                    <a:pt x="14" y="23"/>
                  </a:cubicBezTo>
                  <a:cubicBezTo>
                    <a:pt x="18" y="23"/>
                    <a:pt x="22" y="21"/>
                    <a:pt x="24" y="17"/>
                  </a:cubicBezTo>
                  <a:cubicBezTo>
                    <a:pt x="27" y="12"/>
                    <a:pt x="25" y="5"/>
                    <a:pt x="20" y="1"/>
                  </a:cubicBezTo>
                  <a:cubicBezTo>
                    <a:pt x="18" y="0"/>
                    <a:pt x="16" y="0"/>
                    <a:pt x="14" y="0"/>
                  </a:cubicBezTo>
                </a:path>
              </a:pathLst>
            </a:custGeom>
            <a:solidFill>
              <a:srgbClr val="4BC8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66">
              <a:extLst>
                <a:ext uri="{FF2B5EF4-FFF2-40B4-BE49-F238E27FC236}">
                  <a16:creationId xmlns:a16="http://schemas.microsoft.com/office/drawing/2014/main" xmlns="" id="{6E0F6EDD-9620-4A0A-9E52-85896B6B3E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10886" y="5480050"/>
              <a:ext cx="88900" cy="79375"/>
            </a:xfrm>
            <a:custGeom>
              <a:avLst/>
              <a:gdLst>
                <a:gd name="T0" fmla="*/ 13 w 27"/>
                <a:gd name="T1" fmla="*/ 0 h 24"/>
                <a:gd name="T2" fmla="*/ 3 w 27"/>
                <a:gd name="T3" fmla="*/ 6 h 24"/>
                <a:gd name="T4" fmla="*/ 8 w 27"/>
                <a:gd name="T5" fmla="*/ 22 h 24"/>
                <a:gd name="T6" fmla="*/ 13 w 27"/>
                <a:gd name="T7" fmla="*/ 24 h 24"/>
                <a:gd name="T8" fmla="*/ 24 w 27"/>
                <a:gd name="T9" fmla="*/ 18 h 24"/>
                <a:gd name="T10" fmla="*/ 19 w 27"/>
                <a:gd name="T11" fmla="*/ 2 h 24"/>
                <a:gd name="T12" fmla="*/ 13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3" y="0"/>
                  </a:moveTo>
                  <a:cubicBezTo>
                    <a:pt x="9" y="0"/>
                    <a:pt x="5" y="2"/>
                    <a:pt x="3" y="6"/>
                  </a:cubicBezTo>
                  <a:cubicBezTo>
                    <a:pt x="0" y="12"/>
                    <a:pt x="2" y="19"/>
                    <a:pt x="8" y="22"/>
                  </a:cubicBezTo>
                  <a:cubicBezTo>
                    <a:pt x="9" y="23"/>
                    <a:pt x="11" y="24"/>
                    <a:pt x="13" y="24"/>
                  </a:cubicBezTo>
                  <a:cubicBezTo>
                    <a:pt x="17" y="24"/>
                    <a:pt x="21" y="21"/>
                    <a:pt x="24" y="18"/>
                  </a:cubicBezTo>
                  <a:cubicBezTo>
                    <a:pt x="27" y="12"/>
                    <a:pt x="25" y="5"/>
                    <a:pt x="19" y="2"/>
                  </a:cubicBezTo>
                  <a:cubicBezTo>
                    <a:pt x="17" y="0"/>
                    <a:pt x="15" y="0"/>
                    <a:pt x="13" y="0"/>
                  </a:cubicBezTo>
                </a:path>
              </a:pathLst>
            </a:custGeom>
            <a:solidFill>
              <a:srgbClr val="56AFC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Freeform 67">
              <a:extLst>
                <a:ext uri="{FF2B5EF4-FFF2-40B4-BE49-F238E27FC236}">
                  <a16:creationId xmlns:a16="http://schemas.microsoft.com/office/drawing/2014/main" xmlns="" id="{2B23DE40-FEA9-419A-A012-944D8879A7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4549" y="5532437"/>
              <a:ext cx="88900" cy="80962"/>
            </a:xfrm>
            <a:custGeom>
              <a:avLst/>
              <a:gdLst>
                <a:gd name="T0" fmla="*/ 14 w 27"/>
                <a:gd name="T1" fmla="*/ 0 h 24"/>
                <a:gd name="T2" fmla="*/ 4 w 27"/>
                <a:gd name="T3" fmla="*/ 6 h 24"/>
                <a:gd name="T4" fmla="*/ 8 w 27"/>
                <a:gd name="T5" fmla="*/ 22 h 24"/>
                <a:gd name="T6" fmla="*/ 14 w 27"/>
                <a:gd name="T7" fmla="*/ 24 h 24"/>
                <a:gd name="T8" fmla="*/ 24 w 27"/>
                <a:gd name="T9" fmla="*/ 18 h 24"/>
                <a:gd name="T10" fmla="*/ 20 w 27"/>
                <a:gd name="T11" fmla="*/ 2 h 24"/>
                <a:gd name="T12" fmla="*/ 14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4" y="0"/>
                  </a:moveTo>
                  <a:cubicBezTo>
                    <a:pt x="10" y="0"/>
                    <a:pt x="6" y="2"/>
                    <a:pt x="4" y="6"/>
                  </a:cubicBezTo>
                  <a:cubicBezTo>
                    <a:pt x="0" y="12"/>
                    <a:pt x="2" y="19"/>
                    <a:pt x="8" y="22"/>
                  </a:cubicBezTo>
                  <a:cubicBezTo>
                    <a:pt x="10" y="23"/>
                    <a:pt x="12" y="24"/>
                    <a:pt x="14" y="24"/>
                  </a:cubicBezTo>
                  <a:cubicBezTo>
                    <a:pt x="18" y="24"/>
                    <a:pt x="22" y="22"/>
                    <a:pt x="24" y="18"/>
                  </a:cubicBezTo>
                  <a:cubicBezTo>
                    <a:pt x="27" y="12"/>
                    <a:pt x="25" y="5"/>
                    <a:pt x="20" y="2"/>
                  </a:cubicBezTo>
                  <a:cubicBezTo>
                    <a:pt x="18" y="1"/>
                    <a:pt x="16" y="0"/>
                    <a:pt x="14" y="0"/>
                  </a:cubicBezTo>
                </a:path>
              </a:pathLst>
            </a:custGeom>
            <a:solidFill>
              <a:srgbClr val="6E8E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68">
              <a:extLst>
                <a:ext uri="{FF2B5EF4-FFF2-40B4-BE49-F238E27FC236}">
                  <a16:creationId xmlns:a16="http://schemas.microsoft.com/office/drawing/2014/main" xmlns="" id="{467CDEB9-2068-43B0-9F98-13F176B669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9799" y="5586412"/>
              <a:ext cx="88900" cy="79375"/>
            </a:xfrm>
            <a:custGeom>
              <a:avLst/>
              <a:gdLst>
                <a:gd name="T0" fmla="*/ 13 w 27"/>
                <a:gd name="T1" fmla="*/ 0 h 24"/>
                <a:gd name="T2" fmla="*/ 3 w 27"/>
                <a:gd name="T3" fmla="*/ 6 h 24"/>
                <a:gd name="T4" fmla="*/ 7 w 27"/>
                <a:gd name="T5" fmla="*/ 22 h 24"/>
                <a:gd name="T6" fmla="*/ 13 w 27"/>
                <a:gd name="T7" fmla="*/ 24 h 24"/>
                <a:gd name="T8" fmla="*/ 24 w 27"/>
                <a:gd name="T9" fmla="*/ 18 h 24"/>
                <a:gd name="T10" fmla="*/ 19 w 27"/>
                <a:gd name="T11" fmla="*/ 2 h 24"/>
                <a:gd name="T12" fmla="*/ 13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3" y="0"/>
                  </a:moveTo>
                  <a:cubicBezTo>
                    <a:pt x="9" y="0"/>
                    <a:pt x="5" y="3"/>
                    <a:pt x="3" y="6"/>
                  </a:cubicBezTo>
                  <a:cubicBezTo>
                    <a:pt x="0" y="12"/>
                    <a:pt x="2" y="19"/>
                    <a:pt x="7" y="22"/>
                  </a:cubicBezTo>
                  <a:cubicBezTo>
                    <a:pt x="9" y="23"/>
                    <a:pt x="11" y="24"/>
                    <a:pt x="13" y="24"/>
                  </a:cubicBezTo>
                  <a:cubicBezTo>
                    <a:pt x="17" y="24"/>
                    <a:pt x="21" y="22"/>
                    <a:pt x="24" y="18"/>
                  </a:cubicBezTo>
                  <a:cubicBezTo>
                    <a:pt x="27" y="12"/>
                    <a:pt x="25" y="5"/>
                    <a:pt x="19" y="2"/>
                  </a:cubicBezTo>
                  <a:cubicBezTo>
                    <a:pt x="17" y="1"/>
                    <a:pt x="15" y="0"/>
                    <a:pt x="13" y="0"/>
                  </a:cubicBezTo>
                </a:path>
              </a:pathLst>
            </a:custGeom>
            <a:solidFill>
              <a:srgbClr val="7C87A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71">
              <a:extLst>
                <a:ext uri="{FF2B5EF4-FFF2-40B4-BE49-F238E27FC236}">
                  <a16:creationId xmlns:a16="http://schemas.microsoft.com/office/drawing/2014/main" xmlns="" id="{2BA56708-F51B-4820-B39A-C5A8772A9E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45911" y="5972175"/>
              <a:ext cx="90488" cy="80962"/>
            </a:xfrm>
            <a:custGeom>
              <a:avLst/>
              <a:gdLst>
                <a:gd name="T0" fmla="*/ 14 w 27"/>
                <a:gd name="T1" fmla="*/ 0 h 24"/>
                <a:gd name="T2" fmla="*/ 3 w 27"/>
                <a:gd name="T3" fmla="*/ 6 h 24"/>
                <a:gd name="T4" fmla="*/ 8 w 27"/>
                <a:gd name="T5" fmla="*/ 22 h 24"/>
                <a:gd name="T6" fmla="*/ 14 w 27"/>
                <a:gd name="T7" fmla="*/ 24 h 24"/>
                <a:gd name="T8" fmla="*/ 24 w 27"/>
                <a:gd name="T9" fmla="*/ 18 h 24"/>
                <a:gd name="T10" fmla="*/ 20 w 27"/>
                <a:gd name="T11" fmla="*/ 2 h 24"/>
                <a:gd name="T12" fmla="*/ 14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4" y="0"/>
                  </a:moveTo>
                  <a:cubicBezTo>
                    <a:pt x="10" y="0"/>
                    <a:pt x="6" y="2"/>
                    <a:pt x="3" y="6"/>
                  </a:cubicBezTo>
                  <a:cubicBezTo>
                    <a:pt x="0" y="12"/>
                    <a:pt x="2" y="19"/>
                    <a:pt x="8" y="22"/>
                  </a:cubicBezTo>
                  <a:cubicBezTo>
                    <a:pt x="10" y="23"/>
                    <a:pt x="12" y="24"/>
                    <a:pt x="14" y="24"/>
                  </a:cubicBezTo>
                  <a:cubicBezTo>
                    <a:pt x="18" y="24"/>
                    <a:pt x="22" y="21"/>
                    <a:pt x="24" y="18"/>
                  </a:cubicBezTo>
                  <a:cubicBezTo>
                    <a:pt x="27" y="12"/>
                    <a:pt x="25" y="5"/>
                    <a:pt x="20" y="2"/>
                  </a:cubicBezTo>
                  <a:cubicBezTo>
                    <a:pt x="18" y="1"/>
                    <a:pt x="16" y="0"/>
                    <a:pt x="14" y="0"/>
                  </a:cubicBezTo>
                </a:path>
              </a:pathLst>
            </a:custGeom>
            <a:solidFill>
              <a:srgbClr val="42E8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Freeform 72">
              <a:extLst>
                <a:ext uri="{FF2B5EF4-FFF2-40B4-BE49-F238E27FC236}">
                  <a16:creationId xmlns:a16="http://schemas.microsoft.com/office/drawing/2014/main" xmlns="" id="{3A242F8D-27D2-48B9-B89B-292D52ED31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53836" y="5919787"/>
              <a:ext cx="88900" cy="76200"/>
            </a:xfrm>
            <a:custGeom>
              <a:avLst/>
              <a:gdLst>
                <a:gd name="T0" fmla="*/ 13 w 27"/>
                <a:gd name="T1" fmla="*/ 0 h 23"/>
                <a:gd name="T2" fmla="*/ 3 w 27"/>
                <a:gd name="T3" fmla="*/ 6 h 23"/>
                <a:gd name="T4" fmla="*/ 7 w 27"/>
                <a:gd name="T5" fmla="*/ 22 h 23"/>
                <a:gd name="T6" fmla="*/ 13 w 27"/>
                <a:gd name="T7" fmla="*/ 23 h 23"/>
                <a:gd name="T8" fmla="*/ 23 w 27"/>
                <a:gd name="T9" fmla="*/ 17 h 23"/>
                <a:gd name="T10" fmla="*/ 19 w 27"/>
                <a:gd name="T11" fmla="*/ 1 h 23"/>
                <a:gd name="T12" fmla="*/ 13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3" y="0"/>
                  </a:moveTo>
                  <a:cubicBezTo>
                    <a:pt x="9" y="0"/>
                    <a:pt x="5" y="2"/>
                    <a:pt x="3" y="6"/>
                  </a:cubicBezTo>
                  <a:cubicBezTo>
                    <a:pt x="0" y="11"/>
                    <a:pt x="2" y="18"/>
                    <a:pt x="7" y="22"/>
                  </a:cubicBezTo>
                  <a:cubicBezTo>
                    <a:pt x="9" y="23"/>
                    <a:pt x="11" y="23"/>
                    <a:pt x="13" y="23"/>
                  </a:cubicBezTo>
                  <a:cubicBezTo>
                    <a:pt x="17" y="23"/>
                    <a:pt x="21" y="21"/>
                    <a:pt x="23" y="17"/>
                  </a:cubicBezTo>
                  <a:cubicBezTo>
                    <a:pt x="27" y="12"/>
                    <a:pt x="25" y="5"/>
                    <a:pt x="19" y="1"/>
                  </a:cubicBezTo>
                  <a:cubicBezTo>
                    <a:pt x="17" y="0"/>
                    <a:pt x="15" y="0"/>
                    <a:pt x="13" y="0"/>
                  </a:cubicBezTo>
                </a:path>
              </a:pathLst>
            </a:custGeom>
            <a:solidFill>
              <a:srgbClr val="4BC8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Freeform 73">
              <a:extLst>
                <a:ext uri="{FF2B5EF4-FFF2-40B4-BE49-F238E27FC236}">
                  <a16:creationId xmlns:a16="http://schemas.microsoft.com/office/drawing/2014/main" xmlns="" id="{2B847F8F-E746-4ABE-9736-9BBD73E82F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58586" y="5862637"/>
              <a:ext cx="88900" cy="80962"/>
            </a:xfrm>
            <a:custGeom>
              <a:avLst/>
              <a:gdLst>
                <a:gd name="T0" fmla="*/ 14 w 27"/>
                <a:gd name="T1" fmla="*/ 0 h 24"/>
                <a:gd name="T2" fmla="*/ 4 w 27"/>
                <a:gd name="T3" fmla="*/ 6 h 24"/>
                <a:gd name="T4" fmla="*/ 8 w 27"/>
                <a:gd name="T5" fmla="*/ 22 h 24"/>
                <a:gd name="T6" fmla="*/ 14 w 27"/>
                <a:gd name="T7" fmla="*/ 24 h 24"/>
                <a:gd name="T8" fmla="*/ 24 w 27"/>
                <a:gd name="T9" fmla="*/ 18 h 24"/>
                <a:gd name="T10" fmla="*/ 20 w 27"/>
                <a:gd name="T11" fmla="*/ 2 h 24"/>
                <a:gd name="T12" fmla="*/ 14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4" y="0"/>
                  </a:moveTo>
                  <a:cubicBezTo>
                    <a:pt x="10" y="0"/>
                    <a:pt x="6" y="2"/>
                    <a:pt x="4" y="6"/>
                  </a:cubicBezTo>
                  <a:cubicBezTo>
                    <a:pt x="0" y="12"/>
                    <a:pt x="2" y="19"/>
                    <a:pt x="8" y="22"/>
                  </a:cubicBezTo>
                  <a:cubicBezTo>
                    <a:pt x="10" y="23"/>
                    <a:pt x="12" y="24"/>
                    <a:pt x="14" y="24"/>
                  </a:cubicBezTo>
                  <a:cubicBezTo>
                    <a:pt x="18" y="24"/>
                    <a:pt x="22" y="22"/>
                    <a:pt x="24" y="18"/>
                  </a:cubicBezTo>
                  <a:cubicBezTo>
                    <a:pt x="27" y="12"/>
                    <a:pt x="25" y="5"/>
                    <a:pt x="20" y="2"/>
                  </a:cubicBezTo>
                  <a:cubicBezTo>
                    <a:pt x="18" y="1"/>
                    <a:pt x="16" y="0"/>
                    <a:pt x="14" y="0"/>
                  </a:cubicBezTo>
                </a:path>
              </a:pathLst>
            </a:custGeom>
            <a:solidFill>
              <a:srgbClr val="56AFC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Freeform 74">
              <a:extLst>
                <a:ext uri="{FF2B5EF4-FFF2-40B4-BE49-F238E27FC236}">
                  <a16:creationId xmlns:a16="http://schemas.microsoft.com/office/drawing/2014/main" xmlns="" id="{F9BFC2B0-E8DC-476C-8440-1E265F6C55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66511" y="5810250"/>
              <a:ext cx="88900" cy="76200"/>
            </a:xfrm>
            <a:custGeom>
              <a:avLst/>
              <a:gdLst>
                <a:gd name="T0" fmla="*/ 14 w 27"/>
                <a:gd name="T1" fmla="*/ 0 h 23"/>
                <a:gd name="T2" fmla="*/ 3 w 27"/>
                <a:gd name="T3" fmla="*/ 6 h 23"/>
                <a:gd name="T4" fmla="*/ 8 w 27"/>
                <a:gd name="T5" fmla="*/ 22 h 23"/>
                <a:gd name="T6" fmla="*/ 14 w 27"/>
                <a:gd name="T7" fmla="*/ 23 h 23"/>
                <a:gd name="T8" fmla="*/ 24 w 27"/>
                <a:gd name="T9" fmla="*/ 18 h 23"/>
                <a:gd name="T10" fmla="*/ 19 w 27"/>
                <a:gd name="T11" fmla="*/ 2 h 23"/>
                <a:gd name="T12" fmla="*/ 14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4" y="0"/>
                  </a:moveTo>
                  <a:cubicBezTo>
                    <a:pt x="10" y="0"/>
                    <a:pt x="6" y="2"/>
                    <a:pt x="3" y="6"/>
                  </a:cubicBezTo>
                  <a:cubicBezTo>
                    <a:pt x="0" y="11"/>
                    <a:pt x="2" y="19"/>
                    <a:pt x="8" y="22"/>
                  </a:cubicBezTo>
                  <a:cubicBezTo>
                    <a:pt x="10" y="23"/>
                    <a:pt x="12" y="23"/>
                    <a:pt x="14" y="23"/>
                  </a:cubicBezTo>
                  <a:cubicBezTo>
                    <a:pt x="18" y="23"/>
                    <a:pt x="22" y="21"/>
                    <a:pt x="24" y="18"/>
                  </a:cubicBezTo>
                  <a:cubicBezTo>
                    <a:pt x="27" y="12"/>
                    <a:pt x="25" y="5"/>
                    <a:pt x="19" y="2"/>
                  </a:cubicBezTo>
                  <a:cubicBezTo>
                    <a:pt x="18" y="0"/>
                    <a:pt x="16" y="0"/>
                    <a:pt x="14" y="0"/>
                  </a:cubicBezTo>
                </a:path>
              </a:pathLst>
            </a:custGeom>
            <a:solidFill>
              <a:srgbClr val="629CB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Freeform 75">
              <a:extLst>
                <a:ext uri="{FF2B5EF4-FFF2-40B4-BE49-F238E27FC236}">
                  <a16:creationId xmlns:a16="http://schemas.microsoft.com/office/drawing/2014/main" xmlns="" id="{F68124A6-7643-4752-A093-522E178E22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72849" y="5756275"/>
              <a:ext cx="90488" cy="76200"/>
            </a:xfrm>
            <a:custGeom>
              <a:avLst/>
              <a:gdLst>
                <a:gd name="T0" fmla="*/ 13 w 27"/>
                <a:gd name="T1" fmla="*/ 0 h 23"/>
                <a:gd name="T2" fmla="*/ 3 w 27"/>
                <a:gd name="T3" fmla="*/ 5 h 23"/>
                <a:gd name="T4" fmla="*/ 7 w 27"/>
                <a:gd name="T5" fmla="*/ 22 h 23"/>
                <a:gd name="T6" fmla="*/ 13 w 27"/>
                <a:gd name="T7" fmla="*/ 23 h 23"/>
                <a:gd name="T8" fmla="*/ 23 w 27"/>
                <a:gd name="T9" fmla="*/ 17 h 23"/>
                <a:gd name="T10" fmla="*/ 19 w 27"/>
                <a:gd name="T11" fmla="*/ 1 h 23"/>
                <a:gd name="T12" fmla="*/ 13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3" y="0"/>
                  </a:moveTo>
                  <a:cubicBezTo>
                    <a:pt x="9" y="0"/>
                    <a:pt x="5" y="2"/>
                    <a:pt x="3" y="5"/>
                  </a:cubicBezTo>
                  <a:cubicBezTo>
                    <a:pt x="0" y="11"/>
                    <a:pt x="2" y="18"/>
                    <a:pt x="7" y="22"/>
                  </a:cubicBezTo>
                  <a:cubicBezTo>
                    <a:pt x="9" y="23"/>
                    <a:pt x="11" y="23"/>
                    <a:pt x="13" y="23"/>
                  </a:cubicBezTo>
                  <a:cubicBezTo>
                    <a:pt x="17" y="23"/>
                    <a:pt x="21" y="21"/>
                    <a:pt x="23" y="17"/>
                  </a:cubicBezTo>
                  <a:cubicBezTo>
                    <a:pt x="27" y="12"/>
                    <a:pt x="25" y="4"/>
                    <a:pt x="19" y="1"/>
                  </a:cubicBezTo>
                  <a:cubicBezTo>
                    <a:pt x="17" y="0"/>
                    <a:pt x="15" y="0"/>
                    <a:pt x="13" y="0"/>
                  </a:cubicBezTo>
                </a:path>
              </a:pathLst>
            </a:custGeom>
            <a:solidFill>
              <a:srgbClr val="6E8E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Freeform 77">
              <a:extLst>
                <a:ext uri="{FF2B5EF4-FFF2-40B4-BE49-F238E27FC236}">
                  <a16:creationId xmlns:a16="http://schemas.microsoft.com/office/drawing/2014/main" xmlns="" id="{7479CF2F-F825-4ED9-8980-9CDC581AD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7124" y="5699125"/>
              <a:ext cx="79375" cy="73025"/>
            </a:xfrm>
            <a:custGeom>
              <a:avLst/>
              <a:gdLst>
                <a:gd name="T0" fmla="*/ 11 w 24"/>
                <a:gd name="T1" fmla="*/ 0 h 22"/>
                <a:gd name="T2" fmla="*/ 6 w 24"/>
                <a:gd name="T3" fmla="*/ 1 h 22"/>
                <a:gd name="T4" fmla="*/ 3 w 24"/>
                <a:gd name="T5" fmla="*/ 5 h 22"/>
                <a:gd name="T6" fmla="*/ 7 w 24"/>
                <a:gd name="T7" fmla="*/ 21 h 22"/>
                <a:gd name="T8" fmla="*/ 13 w 24"/>
                <a:gd name="T9" fmla="*/ 22 h 22"/>
                <a:gd name="T10" fmla="*/ 18 w 24"/>
                <a:gd name="T11" fmla="*/ 21 h 22"/>
                <a:gd name="T12" fmla="*/ 21 w 24"/>
                <a:gd name="T13" fmla="*/ 18 h 22"/>
                <a:gd name="T14" fmla="*/ 17 w 24"/>
                <a:gd name="T15" fmla="*/ 2 h 22"/>
                <a:gd name="T16" fmla="*/ 11 w 24"/>
                <a:gd name="T1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2">
                  <a:moveTo>
                    <a:pt x="11" y="0"/>
                  </a:moveTo>
                  <a:cubicBezTo>
                    <a:pt x="9" y="0"/>
                    <a:pt x="8" y="0"/>
                    <a:pt x="6" y="1"/>
                  </a:cubicBezTo>
                  <a:cubicBezTo>
                    <a:pt x="5" y="2"/>
                    <a:pt x="4" y="3"/>
                    <a:pt x="3" y="5"/>
                  </a:cubicBezTo>
                  <a:cubicBezTo>
                    <a:pt x="0" y="10"/>
                    <a:pt x="2" y="18"/>
                    <a:pt x="7" y="21"/>
                  </a:cubicBezTo>
                  <a:cubicBezTo>
                    <a:pt x="9" y="22"/>
                    <a:pt x="11" y="22"/>
                    <a:pt x="13" y="22"/>
                  </a:cubicBezTo>
                  <a:cubicBezTo>
                    <a:pt x="15" y="22"/>
                    <a:pt x="16" y="22"/>
                    <a:pt x="18" y="21"/>
                  </a:cubicBezTo>
                  <a:cubicBezTo>
                    <a:pt x="19" y="21"/>
                    <a:pt x="20" y="19"/>
                    <a:pt x="21" y="18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5" y="1"/>
                    <a:pt x="13" y="0"/>
                    <a:pt x="11" y="0"/>
                  </a:cubicBezTo>
                </a:path>
              </a:pathLst>
            </a:custGeom>
            <a:solidFill>
              <a:srgbClr val="7C87A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Freeform 79">
              <a:extLst>
                <a:ext uri="{FF2B5EF4-FFF2-40B4-BE49-F238E27FC236}">
                  <a16:creationId xmlns:a16="http://schemas.microsoft.com/office/drawing/2014/main" xmlns="" id="{E2AC8F3E-E460-4D8E-A14F-DE4BCDA07A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91874" y="5646737"/>
              <a:ext cx="82550" cy="73025"/>
            </a:xfrm>
            <a:custGeom>
              <a:avLst/>
              <a:gdLst>
                <a:gd name="T0" fmla="*/ 11 w 25"/>
                <a:gd name="T1" fmla="*/ 0 h 22"/>
                <a:gd name="T2" fmla="*/ 7 w 25"/>
                <a:gd name="T3" fmla="*/ 1 h 22"/>
                <a:gd name="T4" fmla="*/ 4 w 25"/>
                <a:gd name="T5" fmla="*/ 5 h 22"/>
                <a:gd name="T6" fmla="*/ 8 w 25"/>
                <a:gd name="T7" fmla="*/ 21 h 22"/>
                <a:gd name="T8" fmla="*/ 14 w 25"/>
                <a:gd name="T9" fmla="*/ 22 h 22"/>
                <a:gd name="T10" fmla="*/ 18 w 25"/>
                <a:gd name="T11" fmla="*/ 21 h 22"/>
                <a:gd name="T12" fmla="*/ 22 w 25"/>
                <a:gd name="T13" fmla="*/ 17 h 22"/>
                <a:gd name="T14" fmla="*/ 17 w 25"/>
                <a:gd name="T15" fmla="*/ 1 h 22"/>
                <a:gd name="T16" fmla="*/ 11 w 25"/>
                <a:gd name="T1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2">
                  <a:moveTo>
                    <a:pt x="11" y="0"/>
                  </a:moveTo>
                  <a:cubicBezTo>
                    <a:pt x="10" y="0"/>
                    <a:pt x="9" y="0"/>
                    <a:pt x="7" y="1"/>
                  </a:cubicBezTo>
                  <a:cubicBezTo>
                    <a:pt x="6" y="2"/>
                    <a:pt x="4" y="3"/>
                    <a:pt x="4" y="5"/>
                  </a:cubicBezTo>
                  <a:cubicBezTo>
                    <a:pt x="0" y="10"/>
                    <a:pt x="2" y="17"/>
                    <a:pt x="8" y="21"/>
                  </a:cubicBezTo>
                  <a:cubicBezTo>
                    <a:pt x="10" y="22"/>
                    <a:pt x="12" y="22"/>
                    <a:pt x="14" y="22"/>
                  </a:cubicBezTo>
                  <a:cubicBezTo>
                    <a:pt x="15" y="22"/>
                    <a:pt x="17" y="22"/>
                    <a:pt x="18" y="21"/>
                  </a:cubicBezTo>
                  <a:cubicBezTo>
                    <a:pt x="19" y="20"/>
                    <a:pt x="21" y="19"/>
                    <a:pt x="22" y="17"/>
                  </a:cubicBezTo>
                  <a:cubicBezTo>
                    <a:pt x="25" y="12"/>
                    <a:pt x="23" y="5"/>
                    <a:pt x="17" y="1"/>
                  </a:cubicBezTo>
                  <a:cubicBezTo>
                    <a:pt x="15" y="0"/>
                    <a:pt x="13" y="0"/>
                    <a:pt x="11" y="0"/>
                  </a:cubicBezTo>
                </a:path>
              </a:pathLst>
            </a:custGeom>
            <a:solidFill>
              <a:srgbClr val="5149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" name="Freeform 80">
              <a:extLst>
                <a:ext uri="{FF2B5EF4-FFF2-40B4-BE49-F238E27FC236}">
                  <a16:creationId xmlns:a16="http://schemas.microsoft.com/office/drawing/2014/main" xmlns="" id="{877DA411-2751-44F2-A7EE-AA70CF8BCC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30174" y="5626100"/>
              <a:ext cx="88900" cy="76200"/>
            </a:xfrm>
            <a:custGeom>
              <a:avLst/>
              <a:gdLst>
                <a:gd name="T0" fmla="*/ 13 w 27"/>
                <a:gd name="T1" fmla="*/ 0 h 23"/>
                <a:gd name="T2" fmla="*/ 8 w 27"/>
                <a:gd name="T3" fmla="*/ 1 h 23"/>
                <a:gd name="T4" fmla="*/ 3 w 27"/>
                <a:gd name="T5" fmla="*/ 17 h 23"/>
                <a:gd name="T6" fmla="*/ 13 w 27"/>
                <a:gd name="T7" fmla="*/ 23 h 23"/>
                <a:gd name="T8" fmla="*/ 19 w 27"/>
                <a:gd name="T9" fmla="*/ 22 h 23"/>
                <a:gd name="T10" fmla="*/ 24 w 27"/>
                <a:gd name="T11" fmla="*/ 6 h 23"/>
                <a:gd name="T12" fmla="*/ 13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3" y="0"/>
                  </a:moveTo>
                  <a:cubicBezTo>
                    <a:pt x="11" y="0"/>
                    <a:pt x="9" y="0"/>
                    <a:pt x="8" y="1"/>
                  </a:cubicBezTo>
                  <a:cubicBezTo>
                    <a:pt x="2" y="5"/>
                    <a:pt x="0" y="12"/>
                    <a:pt x="3" y="17"/>
                  </a:cubicBezTo>
                  <a:cubicBezTo>
                    <a:pt x="5" y="21"/>
                    <a:pt x="9" y="23"/>
                    <a:pt x="13" y="23"/>
                  </a:cubicBezTo>
                  <a:cubicBezTo>
                    <a:pt x="15" y="23"/>
                    <a:pt x="17" y="23"/>
                    <a:pt x="19" y="22"/>
                  </a:cubicBezTo>
                  <a:cubicBezTo>
                    <a:pt x="25" y="19"/>
                    <a:pt x="27" y="11"/>
                    <a:pt x="24" y="6"/>
                  </a:cubicBezTo>
                  <a:cubicBezTo>
                    <a:pt x="21" y="2"/>
                    <a:pt x="18" y="0"/>
                    <a:pt x="13" y="0"/>
                  </a:cubicBezTo>
                </a:path>
              </a:pathLst>
            </a:custGeom>
            <a:solidFill>
              <a:srgbClr val="42E8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Freeform 81">
              <a:extLst>
                <a:ext uri="{FF2B5EF4-FFF2-40B4-BE49-F238E27FC236}">
                  <a16:creationId xmlns:a16="http://schemas.microsoft.com/office/drawing/2014/main" xmlns="" id="{08C14B30-69E1-436F-9656-9A670ED0AF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2249" y="5568950"/>
              <a:ext cx="88900" cy="80962"/>
            </a:xfrm>
            <a:custGeom>
              <a:avLst/>
              <a:gdLst>
                <a:gd name="T0" fmla="*/ 14 w 27"/>
                <a:gd name="T1" fmla="*/ 0 h 24"/>
                <a:gd name="T2" fmla="*/ 8 w 27"/>
                <a:gd name="T3" fmla="*/ 2 h 24"/>
                <a:gd name="T4" fmla="*/ 4 w 27"/>
                <a:gd name="T5" fmla="*/ 18 h 24"/>
                <a:gd name="T6" fmla="*/ 14 w 27"/>
                <a:gd name="T7" fmla="*/ 24 h 24"/>
                <a:gd name="T8" fmla="*/ 20 w 27"/>
                <a:gd name="T9" fmla="*/ 22 h 24"/>
                <a:gd name="T10" fmla="*/ 24 w 27"/>
                <a:gd name="T11" fmla="*/ 6 h 24"/>
                <a:gd name="T12" fmla="*/ 14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4" y="0"/>
                  </a:moveTo>
                  <a:cubicBezTo>
                    <a:pt x="12" y="0"/>
                    <a:pt x="10" y="1"/>
                    <a:pt x="8" y="2"/>
                  </a:cubicBezTo>
                  <a:cubicBezTo>
                    <a:pt x="2" y="5"/>
                    <a:pt x="0" y="12"/>
                    <a:pt x="4" y="18"/>
                  </a:cubicBezTo>
                  <a:cubicBezTo>
                    <a:pt x="6" y="22"/>
                    <a:pt x="10" y="24"/>
                    <a:pt x="14" y="24"/>
                  </a:cubicBezTo>
                  <a:cubicBezTo>
                    <a:pt x="16" y="24"/>
                    <a:pt x="18" y="23"/>
                    <a:pt x="20" y="22"/>
                  </a:cubicBezTo>
                  <a:cubicBezTo>
                    <a:pt x="25" y="19"/>
                    <a:pt x="27" y="12"/>
                    <a:pt x="24" y="6"/>
                  </a:cubicBezTo>
                  <a:cubicBezTo>
                    <a:pt x="22" y="3"/>
                    <a:pt x="18" y="0"/>
                    <a:pt x="14" y="0"/>
                  </a:cubicBezTo>
                </a:path>
              </a:pathLst>
            </a:custGeom>
            <a:solidFill>
              <a:srgbClr val="4BC8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Freeform 82">
              <a:extLst>
                <a:ext uri="{FF2B5EF4-FFF2-40B4-BE49-F238E27FC236}">
                  <a16:creationId xmlns:a16="http://schemas.microsoft.com/office/drawing/2014/main" xmlns="" id="{81AB594C-8CCA-4332-AD1F-2ABC1E9301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17499" y="5516562"/>
              <a:ext cx="88900" cy="79375"/>
            </a:xfrm>
            <a:custGeom>
              <a:avLst/>
              <a:gdLst>
                <a:gd name="T0" fmla="*/ 13 w 27"/>
                <a:gd name="T1" fmla="*/ 0 h 24"/>
                <a:gd name="T2" fmla="*/ 7 w 27"/>
                <a:gd name="T3" fmla="*/ 2 h 24"/>
                <a:gd name="T4" fmla="*/ 3 w 27"/>
                <a:gd name="T5" fmla="*/ 18 h 24"/>
                <a:gd name="T6" fmla="*/ 13 w 27"/>
                <a:gd name="T7" fmla="*/ 24 h 24"/>
                <a:gd name="T8" fmla="*/ 19 w 27"/>
                <a:gd name="T9" fmla="*/ 22 h 24"/>
                <a:gd name="T10" fmla="*/ 23 w 27"/>
                <a:gd name="T11" fmla="*/ 6 h 24"/>
                <a:gd name="T12" fmla="*/ 13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3" y="0"/>
                  </a:moveTo>
                  <a:cubicBezTo>
                    <a:pt x="11" y="0"/>
                    <a:pt x="9" y="1"/>
                    <a:pt x="7" y="2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1"/>
                    <a:pt x="9" y="24"/>
                    <a:pt x="13" y="24"/>
                  </a:cubicBezTo>
                  <a:cubicBezTo>
                    <a:pt x="15" y="24"/>
                    <a:pt x="17" y="23"/>
                    <a:pt x="19" y="22"/>
                  </a:cubicBezTo>
                  <a:cubicBezTo>
                    <a:pt x="25" y="19"/>
                    <a:pt x="27" y="12"/>
                    <a:pt x="23" y="6"/>
                  </a:cubicBezTo>
                  <a:cubicBezTo>
                    <a:pt x="21" y="2"/>
                    <a:pt x="17" y="0"/>
                    <a:pt x="13" y="0"/>
                  </a:cubicBezTo>
                </a:path>
              </a:pathLst>
            </a:custGeom>
            <a:solidFill>
              <a:srgbClr val="56AFC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" name="Freeform 83">
              <a:extLst>
                <a:ext uri="{FF2B5EF4-FFF2-40B4-BE49-F238E27FC236}">
                  <a16:creationId xmlns:a16="http://schemas.microsoft.com/office/drawing/2014/main" xmlns="" id="{F5473C86-4E85-479B-A4DF-0AE3B70A98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09574" y="5462587"/>
              <a:ext cx="88900" cy="76200"/>
            </a:xfrm>
            <a:custGeom>
              <a:avLst/>
              <a:gdLst>
                <a:gd name="T0" fmla="*/ 14 w 27"/>
                <a:gd name="T1" fmla="*/ 0 h 23"/>
                <a:gd name="T2" fmla="*/ 8 w 27"/>
                <a:gd name="T3" fmla="*/ 1 h 23"/>
                <a:gd name="T4" fmla="*/ 3 w 27"/>
                <a:gd name="T5" fmla="*/ 17 h 23"/>
                <a:gd name="T6" fmla="*/ 14 w 27"/>
                <a:gd name="T7" fmla="*/ 23 h 23"/>
                <a:gd name="T8" fmla="*/ 19 w 27"/>
                <a:gd name="T9" fmla="*/ 22 h 23"/>
                <a:gd name="T10" fmla="*/ 24 w 27"/>
                <a:gd name="T11" fmla="*/ 6 h 23"/>
                <a:gd name="T12" fmla="*/ 14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4" y="0"/>
                  </a:moveTo>
                  <a:cubicBezTo>
                    <a:pt x="12" y="0"/>
                    <a:pt x="10" y="0"/>
                    <a:pt x="8" y="1"/>
                  </a:cubicBezTo>
                  <a:cubicBezTo>
                    <a:pt x="2" y="5"/>
                    <a:pt x="0" y="12"/>
                    <a:pt x="3" y="17"/>
                  </a:cubicBezTo>
                  <a:cubicBezTo>
                    <a:pt x="6" y="21"/>
                    <a:pt x="10" y="23"/>
                    <a:pt x="14" y="23"/>
                  </a:cubicBezTo>
                  <a:cubicBezTo>
                    <a:pt x="16" y="23"/>
                    <a:pt x="18" y="23"/>
                    <a:pt x="19" y="22"/>
                  </a:cubicBezTo>
                  <a:cubicBezTo>
                    <a:pt x="25" y="18"/>
                    <a:pt x="27" y="11"/>
                    <a:pt x="24" y="6"/>
                  </a:cubicBezTo>
                  <a:cubicBezTo>
                    <a:pt x="22" y="2"/>
                    <a:pt x="18" y="0"/>
                    <a:pt x="14" y="0"/>
                  </a:cubicBezTo>
                </a:path>
              </a:pathLst>
            </a:custGeom>
            <a:solidFill>
              <a:srgbClr val="629CB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" name="Freeform 84">
              <a:extLst>
                <a:ext uri="{FF2B5EF4-FFF2-40B4-BE49-F238E27FC236}">
                  <a16:creationId xmlns:a16="http://schemas.microsoft.com/office/drawing/2014/main" xmlns="" id="{939CD653-6F1F-4C21-B0AD-212B0C319E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06411" y="5405437"/>
              <a:ext cx="85725" cy="80962"/>
            </a:xfrm>
            <a:custGeom>
              <a:avLst/>
              <a:gdLst>
                <a:gd name="T0" fmla="*/ 13 w 26"/>
                <a:gd name="T1" fmla="*/ 0 h 24"/>
                <a:gd name="T2" fmla="*/ 7 w 26"/>
                <a:gd name="T3" fmla="*/ 2 h 24"/>
                <a:gd name="T4" fmla="*/ 3 w 26"/>
                <a:gd name="T5" fmla="*/ 18 h 24"/>
                <a:gd name="T6" fmla="*/ 13 w 26"/>
                <a:gd name="T7" fmla="*/ 24 h 24"/>
                <a:gd name="T8" fmla="*/ 19 w 26"/>
                <a:gd name="T9" fmla="*/ 22 h 24"/>
                <a:gd name="T10" fmla="*/ 23 w 26"/>
                <a:gd name="T11" fmla="*/ 6 h 24"/>
                <a:gd name="T12" fmla="*/ 13 w 26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4">
                  <a:moveTo>
                    <a:pt x="13" y="0"/>
                  </a:moveTo>
                  <a:cubicBezTo>
                    <a:pt x="11" y="0"/>
                    <a:pt x="9" y="1"/>
                    <a:pt x="7" y="2"/>
                  </a:cubicBezTo>
                  <a:cubicBezTo>
                    <a:pt x="1" y="5"/>
                    <a:pt x="0" y="12"/>
                    <a:pt x="3" y="18"/>
                  </a:cubicBezTo>
                  <a:cubicBezTo>
                    <a:pt x="5" y="22"/>
                    <a:pt x="9" y="24"/>
                    <a:pt x="13" y="24"/>
                  </a:cubicBezTo>
                  <a:cubicBezTo>
                    <a:pt x="15" y="24"/>
                    <a:pt x="17" y="23"/>
                    <a:pt x="19" y="22"/>
                  </a:cubicBezTo>
                  <a:cubicBezTo>
                    <a:pt x="24" y="19"/>
                    <a:pt x="26" y="12"/>
                    <a:pt x="23" y="6"/>
                  </a:cubicBezTo>
                  <a:cubicBezTo>
                    <a:pt x="21" y="2"/>
                    <a:pt x="17" y="0"/>
                    <a:pt x="13" y="0"/>
                  </a:cubicBezTo>
                </a:path>
              </a:pathLst>
            </a:custGeom>
            <a:solidFill>
              <a:srgbClr val="6E8E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" name="Freeform 85">
              <a:extLst>
                <a:ext uri="{FF2B5EF4-FFF2-40B4-BE49-F238E27FC236}">
                  <a16:creationId xmlns:a16="http://schemas.microsoft.com/office/drawing/2014/main" xmlns="" id="{F3EE7AF8-F12B-4F2A-ADA4-D05657515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98486" y="5353050"/>
              <a:ext cx="88900" cy="76200"/>
            </a:xfrm>
            <a:custGeom>
              <a:avLst/>
              <a:gdLst>
                <a:gd name="T0" fmla="*/ 13 w 27"/>
                <a:gd name="T1" fmla="*/ 0 h 23"/>
                <a:gd name="T2" fmla="*/ 7 w 27"/>
                <a:gd name="T3" fmla="*/ 2 h 23"/>
                <a:gd name="T4" fmla="*/ 3 w 27"/>
                <a:gd name="T5" fmla="*/ 18 h 23"/>
                <a:gd name="T6" fmla="*/ 13 w 27"/>
                <a:gd name="T7" fmla="*/ 23 h 23"/>
                <a:gd name="T8" fmla="*/ 19 w 27"/>
                <a:gd name="T9" fmla="*/ 22 h 23"/>
                <a:gd name="T10" fmla="*/ 24 w 27"/>
                <a:gd name="T11" fmla="*/ 6 h 23"/>
                <a:gd name="T12" fmla="*/ 13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3" y="0"/>
                  </a:moveTo>
                  <a:cubicBezTo>
                    <a:pt x="11" y="0"/>
                    <a:pt x="9" y="0"/>
                    <a:pt x="7" y="2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1"/>
                    <a:pt x="9" y="23"/>
                    <a:pt x="13" y="23"/>
                  </a:cubicBezTo>
                  <a:cubicBezTo>
                    <a:pt x="15" y="23"/>
                    <a:pt x="17" y="23"/>
                    <a:pt x="19" y="22"/>
                  </a:cubicBezTo>
                  <a:cubicBezTo>
                    <a:pt x="25" y="19"/>
                    <a:pt x="27" y="11"/>
                    <a:pt x="24" y="6"/>
                  </a:cubicBezTo>
                  <a:cubicBezTo>
                    <a:pt x="21" y="2"/>
                    <a:pt x="17" y="0"/>
                    <a:pt x="13" y="0"/>
                  </a:cubicBezTo>
                </a:path>
              </a:pathLst>
            </a:custGeom>
            <a:solidFill>
              <a:srgbClr val="7C87A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" name="Freeform 86">
              <a:extLst>
                <a:ext uri="{FF2B5EF4-FFF2-40B4-BE49-F238E27FC236}">
                  <a16:creationId xmlns:a16="http://schemas.microsoft.com/office/drawing/2014/main" xmlns="" id="{40F9DFFF-4CD4-43CD-AB17-5E0589E608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90561" y="5299075"/>
              <a:ext cx="88900" cy="76200"/>
            </a:xfrm>
            <a:custGeom>
              <a:avLst/>
              <a:gdLst>
                <a:gd name="T0" fmla="*/ 14 w 27"/>
                <a:gd name="T1" fmla="*/ 0 h 23"/>
                <a:gd name="T2" fmla="*/ 8 w 27"/>
                <a:gd name="T3" fmla="*/ 1 h 23"/>
                <a:gd name="T4" fmla="*/ 4 w 27"/>
                <a:gd name="T5" fmla="*/ 17 h 23"/>
                <a:gd name="T6" fmla="*/ 14 w 27"/>
                <a:gd name="T7" fmla="*/ 23 h 23"/>
                <a:gd name="T8" fmla="*/ 20 w 27"/>
                <a:gd name="T9" fmla="*/ 22 h 23"/>
                <a:gd name="T10" fmla="*/ 24 w 27"/>
                <a:gd name="T11" fmla="*/ 5 h 23"/>
                <a:gd name="T12" fmla="*/ 14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4" y="0"/>
                  </a:moveTo>
                  <a:cubicBezTo>
                    <a:pt x="12" y="0"/>
                    <a:pt x="10" y="0"/>
                    <a:pt x="8" y="1"/>
                  </a:cubicBezTo>
                  <a:cubicBezTo>
                    <a:pt x="2" y="4"/>
                    <a:pt x="0" y="12"/>
                    <a:pt x="4" y="17"/>
                  </a:cubicBezTo>
                  <a:cubicBezTo>
                    <a:pt x="6" y="21"/>
                    <a:pt x="10" y="23"/>
                    <a:pt x="14" y="23"/>
                  </a:cubicBezTo>
                  <a:cubicBezTo>
                    <a:pt x="16" y="23"/>
                    <a:pt x="18" y="23"/>
                    <a:pt x="20" y="22"/>
                  </a:cubicBezTo>
                  <a:cubicBezTo>
                    <a:pt x="25" y="18"/>
                    <a:pt x="27" y="11"/>
                    <a:pt x="24" y="5"/>
                  </a:cubicBezTo>
                  <a:cubicBezTo>
                    <a:pt x="22" y="2"/>
                    <a:pt x="18" y="0"/>
                    <a:pt x="14" y="0"/>
                  </a:cubicBezTo>
                </a:path>
              </a:pathLst>
            </a:custGeom>
            <a:solidFill>
              <a:srgbClr val="8B86A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cxnSp>
          <p:nvCxnSpPr>
            <p:cNvPr id="45" name="直接连接符 44">
              <a:extLst>
                <a:ext uri="{FF2B5EF4-FFF2-40B4-BE49-F238E27FC236}">
                  <a16:creationId xmlns:a16="http://schemas.microsoft.com/office/drawing/2014/main" xmlns="" id="{0A3D1317-FBA6-4CE2-896A-4E1EEC200D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41802" y="5287830"/>
              <a:ext cx="827436" cy="501914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接连接符 45">
              <a:extLst>
                <a:ext uri="{FF2B5EF4-FFF2-40B4-BE49-F238E27FC236}">
                  <a16:creationId xmlns:a16="http://schemas.microsoft.com/office/drawing/2014/main" xmlns="" id="{90039AA1-8B60-43A6-A6DB-294AF4C0BEC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352276" y="5405437"/>
              <a:ext cx="618290" cy="398594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直接连接符 46">
              <a:extLst>
                <a:ext uri="{FF2B5EF4-FFF2-40B4-BE49-F238E27FC236}">
                  <a16:creationId xmlns:a16="http://schemas.microsoft.com/office/drawing/2014/main" xmlns="" id="{8C686BC3-7823-4311-971E-CED47FEC233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731243" y="5471253"/>
              <a:ext cx="328843" cy="211996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直接连接符 47">
              <a:extLst>
                <a:ext uri="{FF2B5EF4-FFF2-40B4-BE49-F238E27FC236}">
                  <a16:creationId xmlns:a16="http://schemas.microsoft.com/office/drawing/2014/main" xmlns="" id="{83AA01B2-BBA9-482C-AF61-FE5CC7143586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0065044" y="5664134"/>
              <a:ext cx="618290" cy="398594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椭圆 48">
              <a:extLst>
                <a:ext uri="{FF2B5EF4-FFF2-40B4-BE49-F238E27FC236}">
                  <a16:creationId xmlns:a16="http://schemas.microsoft.com/office/drawing/2014/main" xmlns="" id="{61B26D1D-08BE-425A-97B5-DD08D3807562}"/>
                </a:ext>
              </a:extLst>
            </p:cNvPr>
            <p:cNvSpPr/>
            <p:nvPr userDrawn="1"/>
          </p:nvSpPr>
          <p:spPr>
            <a:xfrm>
              <a:off x="10861128" y="4188135"/>
              <a:ext cx="361456" cy="203605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17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50" name="直接连接符 49">
              <a:extLst>
                <a:ext uri="{FF2B5EF4-FFF2-40B4-BE49-F238E27FC236}">
                  <a16:creationId xmlns:a16="http://schemas.microsoft.com/office/drawing/2014/main" xmlns="" id="{634BC058-D62E-4510-8D65-416300B44AC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552112" y="4285080"/>
              <a:ext cx="483328" cy="289130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椭圆 50">
              <a:extLst>
                <a:ext uri="{FF2B5EF4-FFF2-40B4-BE49-F238E27FC236}">
                  <a16:creationId xmlns:a16="http://schemas.microsoft.com/office/drawing/2014/main" xmlns="" id="{03276EA7-5327-40E5-8F85-64AF830B6CA1}"/>
                </a:ext>
              </a:extLst>
            </p:cNvPr>
            <p:cNvSpPr/>
            <p:nvPr userDrawn="1"/>
          </p:nvSpPr>
          <p:spPr>
            <a:xfrm>
              <a:off x="9754989" y="3713379"/>
              <a:ext cx="361456" cy="203605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17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52" name="直接连接符 51">
              <a:extLst>
                <a:ext uri="{FF2B5EF4-FFF2-40B4-BE49-F238E27FC236}">
                  <a16:creationId xmlns:a16="http://schemas.microsoft.com/office/drawing/2014/main" xmlns="" id="{C9789196-78EC-4E5A-A04D-62DD88105C0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445973" y="3810324"/>
              <a:ext cx="483328" cy="289130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椭圆 52">
              <a:extLst>
                <a:ext uri="{FF2B5EF4-FFF2-40B4-BE49-F238E27FC236}">
                  <a16:creationId xmlns:a16="http://schemas.microsoft.com/office/drawing/2014/main" xmlns="" id="{E4B2A535-B781-4AF0-ADDC-76897951D9BB}"/>
                </a:ext>
              </a:extLst>
            </p:cNvPr>
            <p:cNvSpPr/>
            <p:nvPr userDrawn="1"/>
          </p:nvSpPr>
          <p:spPr>
            <a:xfrm>
              <a:off x="10020604" y="4130676"/>
              <a:ext cx="358974" cy="202206"/>
            </a:xfrm>
            <a:prstGeom prst="ellipse">
              <a:avLst/>
            </a:prstGeom>
            <a:gradFill flip="none" rotWithShape="1">
              <a:gsLst>
                <a:gs pos="100000">
                  <a:srgbClr val="1D296C">
                    <a:alpha val="20000"/>
                  </a:srgbClr>
                </a:gs>
                <a:gs pos="59000">
                  <a:srgbClr val="2B6C95">
                    <a:alpha val="50000"/>
                  </a:srgbClr>
                </a:gs>
                <a:gs pos="30000">
                  <a:srgbClr val="36A6B8">
                    <a:alpha val="50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54" name="直接连接符 53">
              <a:extLst>
                <a:ext uri="{FF2B5EF4-FFF2-40B4-BE49-F238E27FC236}">
                  <a16:creationId xmlns:a16="http://schemas.microsoft.com/office/drawing/2014/main" xmlns="" id="{28CECE6A-AC08-4EF9-B3FE-1D230C534BB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906261" y="4226956"/>
              <a:ext cx="287454" cy="171956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>
                      <a:alpha val="20000"/>
                    </a:srgbClr>
                  </a:gs>
                  <a:gs pos="53000">
                    <a:srgbClr val="255184">
                      <a:alpha val="20000"/>
                    </a:srgbClr>
                  </a:gs>
                  <a:gs pos="100000">
                    <a:srgbClr val="42E8E0">
                      <a:alpha val="20000"/>
                    </a:srgbClr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椭圆 54">
              <a:extLst>
                <a:ext uri="{FF2B5EF4-FFF2-40B4-BE49-F238E27FC236}">
                  <a16:creationId xmlns:a16="http://schemas.microsoft.com/office/drawing/2014/main" xmlns="" id="{737CB0B0-345F-4485-8D6F-9F7A19E99ABD}"/>
                </a:ext>
              </a:extLst>
            </p:cNvPr>
            <p:cNvSpPr/>
            <p:nvPr userDrawn="1"/>
          </p:nvSpPr>
          <p:spPr>
            <a:xfrm>
              <a:off x="7626655" y="4176741"/>
              <a:ext cx="358974" cy="202206"/>
            </a:xfrm>
            <a:prstGeom prst="ellipse">
              <a:avLst/>
            </a:prstGeom>
            <a:gradFill flip="none" rotWithShape="1">
              <a:gsLst>
                <a:gs pos="100000">
                  <a:srgbClr val="1D296C">
                    <a:alpha val="20000"/>
                  </a:srgbClr>
                </a:gs>
                <a:gs pos="59000">
                  <a:srgbClr val="2B6C95">
                    <a:alpha val="50000"/>
                  </a:srgbClr>
                </a:gs>
                <a:gs pos="30000">
                  <a:srgbClr val="36A6B8">
                    <a:alpha val="50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56" name="直接连接符 55">
              <a:extLst>
                <a:ext uri="{FF2B5EF4-FFF2-40B4-BE49-F238E27FC236}">
                  <a16:creationId xmlns:a16="http://schemas.microsoft.com/office/drawing/2014/main" xmlns="" id="{E066FF86-60CC-413B-A38C-5877DF3423B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512312" y="4273021"/>
              <a:ext cx="287454" cy="171956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>
                      <a:alpha val="20000"/>
                    </a:srgbClr>
                  </a:gs>
                  <a:gs pos="53000">
                    <a:srgbClr val="255184">
                      <a:alpha val="20000"/>
                    </a:srgbClr>
                  </a:gs>
                  <a:gs pos="100000">
                    <a:srgbClr val="42E8E0">
                      <a:alpha val="20000"/>
                    </a:srgbClr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椭圆 56">
              <a:extLst>
                <a:ext uri="{FF2B5EF4-FFF2-40B4-BE49-F238E27FC236}">
                  <a16:creationId xmlns:a16="http://schemas.microsoft.com/office/drawing/2014/main" xmlns="" id="{3418658E-3C78-4374-B2D3-E9F25A672F8D}"/>
                </a:ext>
              </a:extLst>
            </p:cNvPr>
            <p:cNvSpPr/>
            <p:nvPr userDrawn="1"/>
          </p:nvSpPr>
          <p:spPr>
            <a:xfrm>
              <a:off x="8387012" y="3360161"/>
              <a:ext cx="358974" cy="202206"/>
            </a:xfrm>
            <a:prstGeom prst="ellipse">
              <a:avLst/>
            </a:prstGeom>
            <a:gradFill flip="none" rotWithShape="1">
              <a:gsLst>
                <a:gs pos="100000">
                  <a:srgbClr val="1D296C">
                    <a:alpha val="20000"/>
                  </a:srgbClr>
                </a:gs>
                <a:gs pos="59000">
                  <a:srgbClr val="2B6C95">
                    <a:alpha val="50000"/>
                  </a:srgbClr>
                </a:gs>
                <a:gs pos="30000">
                  <a:srgbClr val="36A6B8">
                    <a:alpha val="50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58" name="直接连接符 57">
              <a:extLst>
                <a:ext uri="{FF2B5EF4-FFF2-40B4-BE49-F238E27FC236}">
                  <a16:creationId xmlns:a16="http://schemas.microsoft.com/office/drawing/2014/main" xmlns="" id="{F8A1BA54-6C50-42DD-9E37-F4BE9AAC50C3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272669" y="3456441"/>
              <a:ext cx="287454" cy="171956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>
                      <a:alpha val="20000"/>
                    </a:srgbClr>
                  </a:gs>
                  <a:gs pos="53000">
                    <a:srgbClr val="255184">
                      <a:alpha val="20000"/>
                    </a:srgbClr>
                  </a:gs>
                  <a:gs pos="100000">
                    <a:srgbClr val="42E8E0">
                      <a:alpha val="20000"/>
                    </a:srgbClr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椭圆 58">
              <a:extLst>
                <a:ext uri="{FF2B5EF4-FFF2-40B4-BE49-F238E27FC236}">
                  <a16:creationId xmlns:a16="http://schemas.microsoft.com/office/drawing/2014/main" xmlns="" id="{DC5D5A44-A1EF-4532-8AD3-E8823B57F81E}"/>
                </a:ext>
              </a:extLst>
            </p:cNvPr>
            <p:cNvSpPr/>
            <p:nvPr userDrawn="1"/>
          </p:nvSpPr>
          <p:spPr>
            <a:xfrm>
              <a:off x="8071311" y="3424099"/>
              <a:ext cx="361456" cy="203605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17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60" name="直接连接符 59">
              <a:extLst>
                <a:ext uri="{FF2B5EF4-FFF2-40B4-BE49-F238E27FC236}">
                  <a16:creationId xmlns:a16="http://schemas.microsoft.com/office/drawing/2014/main" xmlns="" id="{055015E5-0B2E-46E6-A7AB-11C57440AE3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762295" y="3521044"/>
              <a:ext cx="483328" cy="289130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直接连接符 60">
              <a:extLst>
                <a:ext uri="{FF2B5EF4-FFF2-40B4-BE49-F238E27FC236}">
                  <a16:creationId xmlns:a16="http://schemas.microsoft.com/office/drawing/2014/main" xmlns="" id="{4C463780-6B50-492E-8198-C64C39D93999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8216506" y="2821117"/>
              <a:ext cx="5025" cy="2074259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16200000" scaled="0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直接连接符 61">
              <a:extLst>
                <a:ext uri="{FF2B5EF4-FFF2-40B4-BE49-F238E27FC236}">
                  <a16:creationId xmlns:a16="http://schemas.microsoft.com/office/drawing/2014/main" xmlns="" id="{3EB51A2E-F9D5-43AA-8F4D-C0E2739FFE05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0208402" y="2813165"/>
              <a:ext cx="5025" cy="2074259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16200000" scaled="0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Freeform 90">
              <a:extLst>
                <a:ext uri="{FF2B5EF4-FFF2-40B4-BE49-F238E27FC236}">
                  <a16:creationId xmlns:a16="http://schemas.microsoft.com/office/drawing/2014/main" xmlns="" id="{AF8EE743-B501-40A3-87A8-EE389C9346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48638" y="4267200"/>
              <a:ext cx="2168525" cy="1239838"/>
            </a:xfrm>
            <a:custGeom>
              <a:avLst/>
              <a:gdLst>
                <a:gd name="T0" fmla="*/ 270 w 538"/>
                <a:gd name="T1" fmla="*/ 0 h 307"/>
                <a:gd name="T2" fmla="*/ 249 w 538"/>
                <a:gd name="T3" fmla="*/ 6 h 307"/>
                <a:gd name="T4" fmla="*/ 13 w 538"/>
                <a:gd name="T5" fmla="*/ 142 h 307"/>
                <a:gd name="T6" fmla="*/ 10 w 538"/>
                <a:gd name="T7" fmla="*/ 164 h 307"/>
                <a:gd name="T8" fmla="*/ 251 w 538"/>
                <a:gd name="T9" fmla="*/ 303 h 307"/>
                <a:gd name="T10" fmla="*/ 268 w 538"/>
                <a:gd name="T11" fmla="*/ 307 h 307"/>
                <a:gd name="T12" fmla="*/ 290 w 538"/>
                <a:gd name="T13" fmla="*/ 302 h 307"/>
                <a:gd name="T14" fmla="*/ 525 w 538"/>
                <a:gd name="T15" fmla="*/ 166 h 307"/>
                <a:gd name="T16" fmla="*/ 528 w 538"/>
                <a:gd name="T17" fmla="*/ 144 h 307"/>
                <a:gd name="T18" fmla="*/ 287 w 538"/>
                <a:gd name="T19" fmla="*/ 4 h 307"/>
                <a:gd name="T20" fmla="*/ 270 w 538"/>
                <a:gd name="T21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8" h="307">
                  <a:moveTo>
                    <a:pt x="270" y="0"/>
                  </a:moveTo>
                  <a:cubicBezTo>
                    <a:pt x="263" y="0"/>
                    <a:pt x="255" y="2"/>
                    <a:pt x="249" y="6"/>
                  </a:cubicBezTo>
                  <a:cubicBezTo>
                    <a:pt x="13" y="142"/>
                    <a:pt x="13" y="142"/>
                    <a:pt x="13" y="142"/>
                  </a:cubicBezTo>
                  <a:cubicBezTo>
                    <a:pt x="2" y="149"/>
                    <a:pt x="0" y="158"/>
                    <a:pt x="10" y="164"/>
                  </a:cubicBezTo>
                  <a:cubicBezTo>
                    <a:pt x="251" y="303"/>
                    <a:pt x="251" y="303"/>
                    <a:pt x="251" y="303"/>
                  </a:cubicBezTo>
                  <a:cubicBezTo>
                    <a:pt x="256" y="306"/>
                    <a:pt x="262" y="307"/>
                    <a:pt x="268" y="307"/>
                  </a:cubicBezTo>
                  <a:cubicBezTo>
                    <a:pt x="275" y="307"/>
                    <a:pt x="283" y="305"/>
                    <a:pt x="290" y="302"/>
                  </a:cubicBezTo>
                  <a:cubicBezTo>
                    <a:pt x="525" y="166"/>
                    <a:pt x="525" y="166"/>
                    <a:pt x="525" y="166"/>
                  </a:cubicBezTo>
                  <a:cubicBezTo>
                    <a:pt x="537" y="159"/>
                    <a:pt x="538" y="149"/>
                    <a:pt x="528" y="144"/>
                  </a:cubicBezTo>
                  <a:cubicBezTo>
                    <a:pt x="287" y="4"/>
                    <a:pt x="287" y="4"/>
                    <a:pt x="287" y="4"/>
                  </a:cubicBezTo>
                  <a:cubicBezTo>
                    <a:pt x="282" y="2"/>
                    <a:pt x="276" y="0"/>
                    <a:pt x="270" y="0"/>
                  </a:cubicBezTo>
                </a:path>
              </a:pathLst>
            </a:custGeom>
            <a:solidFill>
              <a:srgbClr val="736E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" name="Freeform 91">
              <a:extLst>
                <a:ext uri="{FF2B5EF4-FFF2-40B4-BE49-F238E27FC236}">
                  <a16:creationId xmlns:a16="http://schemas.microsoft.com/office/drawing/2014/main" xmlns="" id="{434E1605-FC1A-45F6-A9B3-8B234DCB5A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48638" y="4264025"/>
              <a:ext cx="2168525" cy="714375"/>
            </a:xfrm>
            <a:custGeom>
              <a:avLst/>
              <a:gdLst>
                <a:gd name="T0" fmla="*/ 10 w 538"/>
                <a:gd name="T1" fmla="*/ 165 h 177"/>
                <a:gd name="T2" fmla="*/ 31 w 538"/>
                <a:gd name="T3" fmla="*/ 177 h 177"/>
                <a:gd name="T4" fmla="*/ 249 w 538"/>
                <a:gd name="T5" fmla="*/ 52 h 177"/>
                <a:gd name="T6" fmla="*/ 287 w 538"/>
                <a:gd name="T7" fmla="*/ 50 h 177"/>
                <a:gd name="T8" fmla="*/ 507 w 538"/>
                <a:gd name="T9" fmla="*/ 177 h 177"/>
                <a:gd name="T10" fmla="*/ 525 w 538"/>
                <a:gd name="T11" fmla="*/ 167 h 177"/>
                <a:gd name="T12" fmla="*/ 528 w 538"/>
                <a:gd name="T13" fmla="*/ 145 h 177"/>
                <a:gd name="T14" fmla="*/ 287 w 538"/>
                <a:gd name="T15" fmla="*/ 5 h 177"/>
                <a:gd name="T16" fmla="*/ 249 w 538"/>
                <a:gd name="T17" fmla="*/ 7 h 177"/>
                <a:gd name="T18" fmla="*/ 13 w 538"/>
                <a:gd name="T19" fmla="*/ 143 h 177"/>
                <a:gd name="T20" fmla="*/ 10 w 538"/>
                <a:gd name="T21" fmla="*/ 165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8" h="177">
                  <a:moveTo>
                    <a:pt x="10" y="165"/>
                  </a:moveTo>
                  <a:cubicBezTo>
                    <a:pt x="31" y="177"/>
                    <a:pt x="31" y="177"/>
                    <a:pt x="31" y="177"/>
                  </a:cubicBezTo>
                  <a:cubicBezTo>
                    <a:pt x="249" y="52"/>
                    <a:pt x="249" y="52"/>
                    <a:pt x="249" y="52"/>
                  </a:cubicBezTo>
                  <a:cubicBezTo>
                    <a:pt x="260" y="45"/>
                    <a:pt x="277" y="45"/>
                    <a:pt x="287" y="50"/>
                  </a:cubicBezTo>
                  <a:cubicBezTo>
                    <a:pt x="507" y="177"/>
                    <a:pt x="507" y="177"/>
                    <a:pt x="507" y="177"/>
                  </a:cubicBezTo>
                  <a:cubicBezTo>
                    <a:pt x="525" y="167"/>
                    <a:pt x="525" y="167"/>
                    <a:pt x="525" y="167"/>
                  </a:cubicBezTo>
                  <a:cubicBezTo>
                    <a:pt x="537" y="160"/>
                    <a:pt x="538" y="150"/>
                    <a:pt x="528" y="145"/>
                  </a:cubicBezTo>
                  <a:cubicBezTo>
                    <a:pt x="287" y="5"/>
                    <a:pt x="287" y="5"/>
                    <a:pt x="287" y="5"/>
                  </a:cubicBezTo>
                  <a:cubicBezTo>
                    <a:pt x="277" y="0"/>
                    <a:pt x="260" y="0"/>
                    <a:pt x="249" y="7"/>
                  </a:cubicBezTo>
                  <a:cubicBezTo>
                    <a:pt x="13" y="143"/>
                    <a:pt x="13" y="143"/>
                    <a:pt x="13" y="143"/>
                  </a:cubicBezTo>
                  <a:cubicBezTo>
                    <a:pt x="2" y="150"/>
                    <a:pt x="0" y="159"/>
                    <a:pt x="10" y="165"/>
                  </a:cubicBezTo>
                  <a:close/>
                </a:path>
              </a:pathLst>
            </a:custGeom>
            <a:solidFill>
              <a:srgbClr val="42E8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" name="Freeform 90">
              <a:extLst>
                <a:ext uri="{FF2B5EF4-FFF2-40B4-BE49-F238E27FC236}">
                  <a16:creationId xmlns:a16="http://schemas.microsoft.com/office/drawing/2014/main" xmlns="" id="{8CC5DB59-0C2F-44B5-9B7F-1F2AD177C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42017" y="4267200"/>
              <a:ext cx="2168525" cy="1239838"/>
            </a:xfrm>
            <a:custGeom>
              <a:avLst/>
              <a:gdLst>
                <a:gd name="T0" fmla="*/ 270 w 538"/>
                <a:gd name="T1" fmla="*/ 0 h 307"/>
                <a:gd name="T2" fmla="*/ 249 w 538"/>
                <a:gd name="T3" fmla="*/ 6 h 307"/>
                <a:gd name="T4" fmla="*/ 13 w 538"/>
                <a:gd name="T5" fmla="*/ 142 h 307"/>
                <a:gd name="T6" fmla="*/ 10 w 538"/>
                <a:gd name="T7" fmla="*/ 164 h 307"/>
                <a:gd name="T8" fmla="*/ 251 w 538"/>
                <a:gd name="T9" fmla="*/ 303 h 307"/>
                <a:gd name="T10" fmla="*/ 268 w 538"/>
                <a:gd name="T11" fmla="*/ 307 h 307"/>
                <a:gd name="T12" fmla="*/ 290 w 538"/>
                <a:gd name="T13" fmla="*/ 302 h 307"/>
                <a:gd name="T14" fmla="*/ 525 w 538"/>
                <a:gd name="T15" fmla="*/ 166 h 307"/>
                <a:gd name="T16" fmla="*/ 528 w 538"/>
                <a:gd name="T17" fmla="*/ 144 h 307"/>
                <a:gd name="T18" fmla="*/ 287 w 538"/>
                <a:gd name="T19" fmla="*/ 4 h 307"/>
                <a:gd name="T20" fmla="*/ 270 w 538"/>
                <a:gd name="T21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8" h="307">
                  <a:moveTo>
                    <a:pt x="270" y="0"/>
                  </a:moveTo>
                  <a:cubicBezTo>
                    <a:pt x="263" y="0"/>
                    <a:pt x="255" y="2"/>
                    <a:pt x="249" y="6"/>
                  </a:cubicBezTo>
                  <a:cubicBezTo>
                    <a:pt x="13" y="142"/>
                    <a:pt x="13" y="142"/>
                    <a:pt x="13" y="142"/>
                  </a:cubicBezTo>
                  <a:cubicBezTo>
                    <a:pt x="2" y="149"/>
                    <a:pt x="0" y="158"/>
                    <a:pt x="10" y="164"/>
                  </a:cubicBezTo>
                  <a:cubicBezTo>
                    <a:pt x="251" y="303"/>
                    <a:pt x="251" y="303"/>
                    <a:pt x="251" y="303"/>
                  </a:cubicBezTo>
                  <a:cubicBezTo>
                    <a:pt x="256" y="306"/>
                    <a:pt x="262" y="307"/>
                    <a:pt x="268" y="307"/>
                  </a:cubicBezTo>
                  <a:cubicBezTo>
                    <a:pt x="275" y="307"/>
                    <a:pt x="283" y="305"/>
                    <a:pt x="290" y="302"/>
                  </a:cubicBezTo>
                  <a:cubicBezTo>
                    <a:pt x="525" y="166"/>
                    <a:pt x="525" y="166"/>
                    <a:pt x="525" y="166"/>
                  </a:cubicBezTo>
                  <a:cubicBezTo>
                    <a:pt x="537" y="159"/>
                    <a:pt x="538" y="149"/>
                    <a:pt x="528" y="144"/>
                  </a:cubicBezTo>
                  <a:cubicBezTo>
                    <a:pt x="287" y="4"/>
                    <a:pt x="287" y="4"/>
                    <a:pt x="287" y="4"/>
                  </a:cubicBezTo>
                  <a:cubicBezTo>
                    <a:pt x="282" y="2"/>
                    <a:pt x="276" y="0"/>
                    <a:pt x="270" y="0"/>
                  </a:cubicBezTo>
                </a:path>
              </a:pathLst>
            </a:custGeom>
            <a:gradFill>
              <a:gsLst>
                <a:gs pos="22000">
                  <a:srgbClr val="180D5B">
                    <a:alpha val="34000"/>
                  </a:srgbClr>
                </a:gs>
                <a:gs pos="100000">
                  <a:srgbClr val="42E8E0">
                    <a:alpha val="74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  <p:sp>
          <p:nvSpPr>
            <p:cNvPr id="66" name="任意多边形: 形状 65" hidden="1">
              <a:extLst>
                <a:ext uri="{FF2B5EF4-FFF2-40B4-BE49-F238E27FC236}">
                  <a16:creationId xmlns:a16="http://schemas.microsoft.com/office/drawing/2014/main" xmlns="" id="{CA81584A-65BF-4DB2-BCDC-906ECBF8F7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78938" y="3259138"/>
              <a:ext cx="120650" cy="2243743"/>
            </a:xfrm>
            <a:custGeom>
              <a:avLst/>
              <a:gdLst>
                <a:gd name="connsiteX0" fmla="*/ 33514 w 120650"/>
                <a:gd name="connsiteY0" fmla="*/ 0 h 2243743"/>
                <a:gd name="connsiteX1" fmla="*/ 56974 w 120650"/>
                <a:gd name="connsiteY1" fmla="*/ 6605 h 2243743"/>
                <a:gd name="connsiteX2" fmla="*/ 63676 w 120650"/>
                <a:gd name="connsiteY2" fmla="*/ 9908 h 2243743"/>
                <a:gd name="connsiteX3" fmla="*/ 120650 w 120650"/>
                <a:gd name="connsiteY3" fmla="*/ 115587 h 2243743"/>
                <a:gd name="connsiteX4" fmla="*/ 120650 w 120650"/>
                <a:gd name="connsiteY4" fmla="*/ 2080273 h 2243743"/>
                <a:gd name="connsiteX5" fmla="*/ 120650 w 120650"/>
                <a:gd name="connsiteY5" fmla="*/ 2177592 h 2243743"/>
                <a:gd name="connsiteX6" fmla="*/ 0 w 120650"/>
                <a:gd name="connsiteY6" fmla="*/ 2243743 h 2243743"/>
                <a:gd name="connsiteX7" fmla="*/ 0 w 120650"/>
                <a:gd name="connsiteY7" fmla="*/ 2132585 h 2243743"/>
                <a:gd name="connsiteX8" fmla="*/ 0 w 120650"/>
                <a:gd name="connsiteY8" fmla="*/ 46235 h 2243743"/>
                <a:gd name="connsiteX9" fmla="*/ 33514 w 120650"/>
                <a:gd name="connsiteY9" fmla="*/ 0 h 2243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650" h="2243743">
                  <a:moveTo>
                    <a:pt x="33514" y="0"/>
                  </a:moveTo>
                  <a:cubicBezTo>
                    <a:pt x="40217" y="0"/>
                    <a:pt x="46919" y="0"/>
                    <a:pt x="56974" y="6605"/>
                  </a:cubicBezTo>
                  <a:cubicBezTo>
                    <a:pt x="56974" y="6605"/>
                    <a:pt x="56974" y="6605"/>
                    <a:pt x="63676" y="9908"/>
                  </a:cubicBezTo>
                  <a:cubicBezTo>
                    <a:pt x="97190" y="26420"/>
                    <a:pt x="120650" y="75957"/>
                    <a:pt x="120650" y="115587"/>
                  </a:cubicBezTo>
                  <a:cubicBezTo>
                    <a:pt x="120650" y="115587"/>
                    <a:pt x="120650" y="115587"/>
                    <a:pt x="120650" y="2080273"/>
                  </a:cubicBezTo>
                  <a:lnTo>
                    <a:pt x="120650" y="2177592"/>
                  </a:lnTo>
                  <a:lnTo>
                    <a:pt x="0" y="2243743"/>
                  </a:lnTo>
                  <a:lnTo>
                    <a:pt x="0" y="2132585"/>
                  </a:lnTo>
                  <a:cubicBezTo>
                    <a:pt x="0" y="1834535"/>
                    <a:pt x="0" y="1238435"/>
                    <a:pt x="0" y="46235"/>
                  </a:cubicBezTo>
                  <a:cubicBezTo>
                    <a:pt x="0" y="16513"/>
                    <a:pt x="13406" y="0"/>
                    <a:pt x="33514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67" name="任意多边形: 形状 66" hidden="1">
              <a:extLst>
                <a:ext uri="{FF2B5EF4-FFF2-40B4-BE49-F238E27FC236}">
                  <a16:creationId xmlns:a16="http://schemas.microsoft.com/office/drawing/2014/main" xmlns="" id="{79F8DF02-08D3-40AF-8A42-A376AB444B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01188" y="3767138"/>
              <a:ext cx="119063" cy="1621772"/>
            </a:xfrm>
            <a:custGeom>
              <a:avLst/>
              <a:gdLst>
                <a:gd name="connsiteX0" fmla="*/ 33073 w 119063"/>
                <a:gd name="connsiteY0" fmla="*/ 0 h 1621772"/>
                <a:gd name="connsiteX1" fmla="*/ 56224 w 119063"/>
                <a:gd name="connsiteY1" fmla="*/ 6607 h 1621772"/>
                <a:gd name="connsiteX2" fmla="*/ 66146 w 119063"/>
                <a:gd name="connsiteY2" fmla="*/ 9910 h 1621772"/>
                <a:gd name="connsiteX3" fmla="*/ 119063 w 119063"/>
                <a:gd name="connsiteY3" fmla="*/ 115614 h 1621772"/>
                <a:gd name="connsiteX4" fmla="*/ 119063 w 119063"/>
                <a:gd name="connsiteY4" fmla="*/ 1458860 h 1621772"/>
                <a:gd name="connsiteX5" fmla="*/ 119063 w 119063"/>
                <a:gd name="connsiteY5" fmla="*/ 1553686 h 1621772"/>
                <a:gd name="connsiteX6" fmla="*/ 0 w 119063"/>
                <a:gd name="connsiteY6" fmla="*/ 1621772 h 1621772"/>
                <a:gd name="connsiteX7" fmla="*/ 0 w 119063"/>
                <a:gd name="connsiteY7" fmla="*/ 1561802 h 1621772"/>
                <a:gd name="connsiteX8" fmla="*/ 0 w 119063"/>
                <a:gd name="connsiteY8" fmla="*/ 46246 h 1621772"/>
                <a:gd name="connsiteX9" fmla="*/ 33073 w 119063"/>
                <a:gd name="connsiteY9" fmla="*/ 0 h 1621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063" h="1621772">
                  <a:moveTo>
                    <a:pt x="33073" y="0"/>
                  </a:moveTo>
                  <a:cubicBezTo>
                    <a:pt x="39688" y="0"/>
                    <a:pt x="49610" y="0"/>
                    <a:pt x="56224" y="6607"/>
                  </a:cubicBezTo>
                  <a:cubicBezTo>
                    <a:pt x="56224" y="6607"/>
                    <a:pt x="56224" y="6607"/>
                    <a:pt x="66146" y="9910"/>
                  </a:cubicBezTo>
                  <a:cubicBezTo>
                    <a:pt x="95912" y="26426"/>
                    <a:pt x="119063" y="75975"/>
                    <a:pt x="119063" y="115614"/>
                  </a:cubicBezTo>
                  <a:cubicBezTo>
                    <a:pt x="119063" y="115614"/>
                    <a:pt x="119063" y="115614"/>
                    <a:pt x="119063" y="1458860"/>
                  </a:cubicBezTo>
                  <a:lnTo>
                    <a:pt x="119063" y="1553686"/>
                  </a:lnTo>
                  <a:lnTo>
                    <a:pt x="0" y="1621772"/>
                  </a:lnTo>
                  <a:lnTo>
                    <a:pt x="0" y="1561802"/>
                  </a:lnTo>
                  <a:cubicBezTo>
                    <a:pt x="0" y="1268090"/>
                    <a:pt x="0" y="798150"/>
                    <a:pt x="0" y="46246"/>
                  </a:cubicBezTo>
                  <a:cubicBezTo>
                    <a:pt x="0" y="16516"/>
                    <a:pt x="16537" y="0"/>
                    <a:pt x="33073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68" name="任意多边形: 形状 67" hidden="1">
              <a:extLst>
                <a:ext uri="{FF2B5EF4-FFF2-40B4-BE49-F238E27FC236}">
                  <a16:creationId xmlns:a16="http://schemas.microsoft.com/office/drawing/2014/main" xmlns="" id="{2E910DF9-4B42-45E0-8930-43DB730251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26613" y="4365625"/>
              <a:ext cx="115888" cy="874224"/>
            </a:xfrm>
            <a:custGeom>
              <a:avLst/>
              <a:gdLst>
                <a:gd name="connsiteX0" fmla="*/ 33111 w 115888"/>
                <a:gd name="connsiteY0" fmla="*/ 0 h 874224"/>
                <a:gd name="connsiteX1" fmla="*/ 52977 w 115888"/>
                <a:gd name="connsiteY1" fmla="*/ 6602 h 874224"/>
                <a:gd name="connsiteX2" fmla="*/ 62911 w 115888"/>
                <a:gd name="connsiteY2" fmla="*/ 13203 h 874224"/>
                <a:gd name="connsiteX3" fmla="*/ 115888 w 115888"/>
                <a:gd name="connsiteY3" fmla="*/ 118823 h 874224"/>
                <a:gd name="connsiteX4" fmla="*/ 115888 w 115888"/>
                <a:gd name="connsiteY4" fmla="*/ 620757 h 874224"/>
                <a:gd name="connsiteX5" fmla="*/ 115888 w 115888"/>
                <a:gd name="connsiteY5" fmla="*/ 825103 h 874224"/>
                <a:gd name="connsiteX6" fmla="*/ 26514 w 115888"/>
                <a:gd name="connsiteY6" fmla="*/ 874224 h 874224"/>
                <a:gd name="connsiteX7" fmla="*/ 15314 w 115888"/>
                <a:gd name="connsiteY7" fmla="*/ 861465 h 874224"/>
                <a:gd name="connsiteX8" fmla="*/ 0 w 115888"/>
                <a:gd name="connsiteY8" fmla="*/ 798753 h 874224"/>
                <a:gd name="connsiteX9" fmla="*/ 0 w 115888"/>
                <a:gd name="connsiteY9" fmla="*/ 49510 h 874224"/>
                <a:gd name="connsiteX10" fmla="*/ 33111 w 115888"/>
                <a:gd name="connsiteY10" fmla="*/ 0 h 874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888" h="874224">
                  <a:moveTo>
                    <a:pt x="33111" y="0"/>
                  </a:moveTo>
                  <a:cubicBezTo>
                    <a:pt x="39733" y="0"/>
                    <a:pt x="46355" y="3301"/>
                    <a:pt x="52977" y="6602"/>
                  </a:cubicBezTo>
                  <a:cubicBezTo>
                    <a:pt x="52977" y="6602"/>
                    <a:pt x="52977" y="6602"/>
                    <a:pt x="62911" y="13203"/>
                  </a:cubicBezTo>
                  <a:cubicBezTo>
                    <a:pt x="92710" y="29706"/>
                    <a:pt x="115888" y="75915"/>
                    <a:pt x="115888" y="118823"/>
                  </a:cubicBezTo>
                  <a:cubicBezTo>
                    <a:pt x="115888" y="118823"/>
                    <a:pt x="115888" y="118823"/>
                    <a:pt x="115888" y="620757"/>
                  </a:cubicBezTo>
                  <a:lnTo>
                    <a:pt x="115888" y="825103"/>
                  </a:lnTo>
                  <a:lnTo>
                    <a:pt x="26514" y="874224"/>
                  </a:lnTo>
                  <a:lnTo>
                    <a:pt x="15314" y="861465"/>
                  </a:lnTo>
                  <a:cubicBezTo>
                    <a:pt x="5795" y="842486"/>
                    <a:pt x="0" y="820207"/>
                    <a:pt x="0" y="798753"/>
                  </a:cubicBezTo>
                  <a:cubicBezTo>
                    <a:pt x="0" y="798753"/>
                    <a:pt x="0" y="798753"/>
                    <a:pt x="0" y="49510"/>
                  </a:cubicBezTo>
                  <a:cubicBezTo>
                    <a:pt x="0" y="19804"/>
                    <a:pt x="13244" y="0"/>
                    <a:pt x="33111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69" name="任意多边形: 形状 68" hidden="1">
              <a:extLst>
                <a:ext uri="{FF2B5EF4-FFF2-40B4-BE49-F238E27FC236}">
                  <a16:creationId xmlns:a16="http://schemas.microsoft.com/office/drawing/2014/main" xmlns="" id="{5EC3441C-AA60-434F-89C7-FAE737B82B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5688" y="4695825"/>
              <a:ext cx="119063" cy="414899"/>
            </a:xfrm>
            <a:custGeom>
              <a:avLst/>
              <a:gdLst>
                <a:gd name="connsiteX0" fmla="*/ 33073 w 119063"/>
                <a:gd name="connsiteY0" fmla="*/ 0 h 414899"/>
                <a:gd name="connsiteX1" fmla="*/ 56224 w 119063"/>
                <a:gd name="connsiteY1" fmla="*/ 6605 h 414899"/>
                <a:gd name="connsiteX2" fmla="*/ 62839 w 119063"/>
                <a:gd name="connsiteY2" fmla="*/ 9908 h 414899"/>
                <a:gd name="connsiteX3" fmla="*/ 119063 w 119063"/>
                <a:gd name="connsiteY3" fmla="*/ 115586 h 414899"/>
                <a:gd name="connsiteX4" fmla="*/ 119063 w 119063"/>
                <a:gd name="connsiteY4" fmla="*/ 310277 h 414899"/>
                <a:gd name="connsiteX5" fmla="*/ 119063 w 119063"/>
                <a:gd name="connsiteY5" fmla="*/ 363731 h 414899"/>
                <a:gd name="connsiteX6" fmla="*/ 29159 w 119063"/>
                <a:gd name="connsiteY6" fmla="*/ 414899 h 414899"/>
                <a:gd name="connsiteX7" fmla="*/ 16950 w 119063"/>
                <a:gd name="connsiteY7" fmla="*/ 397121 h 414899"/>
                <a:gd name="connsiteX8" fmla="*/ 0 w 119063"/>
                <a:gd name="connsiteY8" fmla="*/ 336851 h 414899"/>
                <a:gd name="connsiteX9" fmla="*/ 0 w 119063"/>
                <a:gd name="connsiteY9" fmla="*/ 49537 h 414899"/>
                <a:gd name="connsiteX10" fmla="*/ 33073 w 119063"/>
                <a:gd name="connsiteY10" fmla="*/ 0 h 41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063" h="414899">
                  <a:moveTo>
                    <a:pt x="33073" y="0"/>
                  </a:moveTo>
                  <a:cubicBezTo>
                    <a:pt x="39688" y="0"/>
                    <a:pt x="49610" y="3303"/>
                    <a:pt x="56224" y="6605"/>
                  </a:cubicBezTo>
                  <a:cubicBezTo>
                    <a:pt x="56224" y="6605"/>
                    <a:pt x="56224" y="6605"/>
                    <a:pt x="62839" y="9908"/>
                  </a:cubicBezTo>
                  <a:cubicBezTo>
                    <a:pt x="95912" y="29722"/>
                    <a:pt x="119063" y="75957"/>
                    <a:pt x="119063" y="115586"/>
                  </a:cubicBezTo>
                  <a:cubicBezTo>
                    <a:pt x="119063" y="115586"/>
                    <a:pt x="119063" y="115586"/>
                    <a:pt x="119063" y="310277"/>
                  </a:cubicBezTo>
                  <a:lnTo>
                    <a:pt x="119063" y="363731"/>
                  </a:lnTo>
                  <a:lnTo>
                    <a:pt x="29159" y="414899"/>
                  </a:lnTo>
                  <a:lnTo>
                    <a:pt x="16950" y="397121"/>
                  </a:lnTo>
                  <a:cubicBezTo>
                    <a:pt x="6615" y="378132"/>
                    <a:pt x="0" y="356666"/>
                    <a:pt x="0" y="336851"/>
                  </a:cubicBezTo>
                  <a:cubicBezTo>
                    <a:pt x="0" y="336851"/>
                    <a:pt x="0" y="336851"/>
                    <a:pt x="0" y="49537"/>
                  </a:cubicBezTo>
                  <a:cubicBezTo>
                    <a:pt x="0" y="16513"/>
                    <a:pt x="13229" y="0"/>
                    <a:pt x="33073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70" name="任意多边形: 形状 69" hidden="1">
              <a:extLst>
                <a:ext uri="{FF2B5EF4-FFF2-40B4-BE49-F238E27FC236}">
                  <a16:creationId xmlns:a16="http://schemas.microsoft.com/office/drawing/2014/main" xmlns="" id="{E5982589-29D3-4142-AE6E-E8217196276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56822" y="3261347"/>
              <a:ext cx="120650" cy="2243743"/>
            </a:xfrm>
            <a:custGeom>
              <a:avLst/>
              <a:gdLst>
                <a:gd name="connsiteX0" fmla="*/ 33514 w 120650"/>
                <a:gd name="connsiteY0" fmla="*/ 0 h 2243743"/>
                <a:gd name="connsiteX1" fmla="*/ 56974 w 120650"/>
                <a:gd name="connsiteY1" fmla="*/ 6605 h 2243743"/>
                <a:gd name="connsiteX2" fmla="*/ 63676 w 120650"/>
                <a:gd name="connsiteY2" fmla="*/ 9908 h 2243743"/>
                <a:gd name="connsiteX3" fmla="*/ 120650 w 120650"/>
                <a:gd name="connsiteY3" fmla="*/ 115587 h 2243743"/>
                <a:gd name="connsiteX4" fmla="*/ 120650 w 120650"/>
                <a:gd name="connsiteY4" fmla="*/ 2080273 h 2243743"/>
                <a:gd name="connsiteX5" fmla="*/ 120650 w 120650"/>
                <a:gd name="connsiteY5" fmla="*/ 2177592 h 2243743"/>
                <a:gd name="connsiteX6" fmla="*/ 0 w 120650"/>
                <a:gd name="connsiteY6" fmla="*/ 2243743 h 2243743"/>
                <a:gd name="connsiteX7" fmla="*/ 0 w 120650"/>
                <a:gd name="connsiteY7" fmla="*/ 2132585 h 2243743"/>
                <a:gd name="connsiteX8" fmla="*/ 0 w 120650"/>
                <a:gd name="connsiteY8" fmla="*/ 46235 h 2243743"/>
                <a:gd name="connsiteX9" fmla="*/ 33514 w 120650"/>
                <a:gd name="connsiteY9" fmla="*/ 0 h 2243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650" h="2243743">
                  <a:moveTo>
                    <a:pt x="33514" y="0"/>
                  </a:moveTo>
                  <a:cubicBezTo>
                    <a:pt x="40217" y="0"/>
                    <a:pt x="46919" y="0"/>
                    <a:pt x="56974" y="6605"/>
                  </a:cubicBezTo>
                  <a:cubicBezTo>
                    <a:pt x="56974" y="6605"/>
                    <a:pt x="56974" y="6605"/>
                    <a:pt x="63676" y="9908"/>
                  </a:cubicBezTo>
                  <a:cubicBezTo>
                    <a:pt x="97190" y="26420"/>
                    <a:pt x="120650" y="75957"/>
                    <a:pt x="120650" y="115587"/>
                  </a:cubicBezTo>
                  <a:cubicBezTo>
                    <a:pt x="120650" y="115587"/>
                    <a:pt x="120650" y="115587"/>
                    <a:pt x="120650" y="2080273"/>
                  </a:cubicBezTo>
                  <a:lnTo>
                    <a:pt x="120650" y="2177592"/>
                  </a:lnTo>
                  <a:lnTo>
                    <a:pt x="0" y="2243743"/>
                  </a:lnTo>
                  <a:lnTo>
                    <a:pt x="0" y="2132585"/>
                  </a:lnTo>
                  <a:cubicBezTo>
                    <a:pt x="0" y="1834535"/>
                    <a:pt x="0" y="1238435"/>
                    <a:pt x="0" y="46235"/>
                  </a:cubicBezTo>
                  <a:cubicBezTo>
                    <a:pt x="0" y="16513"/>
                    <a:pt x="13406" y="0"/>
                    <a:pt x="33514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71" name="任意多边形: 形状 70" hidden="1">
              <a:extLst>
                <a:ext uri="{FF2B5EF4-FFF2-40B4-BE49-F238E27FC236}">
                  <a16:creationId xmlns:a16="http://schemas.microsoft.com/office/drawing/2014/main" xmlns="" id="{06FDC9FE-130B-4BB1-B7E7-2875335138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836159" y="3769347"/>
              <a:ext cx="119063" cy="1621772"/>
            </a:xfrm>
            <a:custGeom>
              <a:avLst/>
              <a:gdLst>
                <a:gd name="connsiteX0" fmla="*/ 33073 w 119063"/>
                <a:gd name="connsiteY0" fmla="*/ 0 h 1621772"/>
                <a:gd name="connsiteX1" fmla="*/ 56224 w 119063"/>
                <a:gd name="connsiteY1" fmla="*/ 6607 h 1621772"/>
                <a:gd name="connsiteX2" fmla="*/ 66146 w 119063"/>
                <a:gd name="connsiteY2" fmla="*/ 9910 h 1621772"/>
                <a:gd name="connsiteX3" fmla="*/ 119063 w 119063"/>
                <a:gd name="connsiteY3" fmla="*/ 115614 h 1621772"/>
                <a:gd name="connsiteX4" fmla="*/ 119063 w 119063"/>
                <a:gd name="connsiteY4" fmla="*/ 1458860 h 1621772"/>
                <a:gd name="connsiteX5" fmla="*/ 119063 w 119063"/>
                <a:gd name="connsiteY5" fmla="*/ 1553686 h 1621772"/>
                <a:gd name="connsiteX6" fmla="*/ 0 w 119063"/>
                <a:gd name="connsiteY6" fmla="*/ 1621772 h 1621772"/>
                <a:gd name="connsiteX7" fmla="*/ 0 w 119063"/>
                <a:gd name="connsiteY7" fmla="*/ 1561802 h 1621772"/>
                <a:gd name="connsiteX8" fmla="*/ 0 w 119063"/>
                <a:gd name="connsiteY8" fmla="*/ 46246 h 1621772"/>
                <a:gd name="connsiteX9" fmla="*/ 33073 w 119063"/>
                <a:gd name="connsiteY9" fmla="*/ 0 h 1621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063" h="1621772">
                  <a:moveTo>
                    <a:pt x="33073" y="0"/>
                  </a:moveTo>
                  <a:cubicBezTo>
                    <a:pt x="39688" y="0"/>
                    <a:pt x="49610" y="0"/>
                    <a:pt x="56224" y="6607"/>
                  </a:cubicBezTo>
                  <a:cubicBezTo>
                    <a:pt x="56224" y="6607"/>
                    <a:pt x="56224" y="6607"/>
                    <a:pt x="66146" y="9910"/>
                  </a:cubicBezTo>
                  <a:cubicBezTo>
                    <a:pt x="95912" y="26426"/>
                    <a:pt x="119063" y="75975"/>
                    <a:pt x="119063" y="115614"/>
                  </a:cubicBezTo>
                  <a:cubicBezTo>
                    <a:pt x="119063" y="115614"/>
                    <a:pt x="119063" y="115614"/>
                    <a:pt x="119063" y="1458860"/>
                  </a:cubicBezTo>
                  <a:lnTo>
                    <a:pt x="119063" y="1553686"/>
                  </a:lnTo>
                  <a:lnTo>
                    <a:pt x="0" y="1621772"/>
                  </a:lnTo>
                  <a:lnTo>
                    <a:pt x="0" y="1561802"/>
                  </a:lnTo>
                  <a:cubicBezTo>
                    <a:pt x="0" y="1268090"/>
                    <a:pt x="0" y="798150"/>
                    <a:pt x="0" y="46246"/>
                  </a:cubicBezTo>
                  <a:cubicBezTo>
                    <a:pt x="0" y="16516"/>
                    <a:pt x="16537" y="0"/>
                    <a:pt x="33073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72" name="任意多边形: 形状 71" hidden="1">
              <a:extLst>
                <a:ext uri="{FF2B5EF4-FFF2-40B4-BE49-F238E27FC236}">
                  <a16:creationId xmlns:a16="http://schemas.microsoft.com/office/drawing/2014/main" xmlns="" id="{D0408D99-7102-4AE9-903E-0A3463396D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613909" y="4367834"/>
              <a:ext cx="115888" cy="874224"/>
            </a:xfrm>
            <a:custGeom>
              <a:avLst/>
              <a:gdLst>
                <a:gd name="connsiteX0" fmla="*/ 33111 w 115888"/>
                <a:gd name="connsiteY0" fmla="*/ 0 h 874224"/>
                <a:gd name="connsiteX1" fmla="*/ 52977 w 115888"/>
                <a:gd name="connsiteY1" fmla="*/ 6602 h 874224"/>
                <a:gd name="connsiteX2" fmla="*/ 62911 w 115888"/>
                <a:gd name="connsiteY2" fmla="*/ 13203 h 874224"/>
                <a:gd name="connsiteX3" fmla="*/ 115888 w 115888"/>
                <a:gd name="connsiteY3" fmla="*/ 118823 h 874224"/>
                <a:gd name="connsiteX4" fmla="*/ 115888 w 115888"/>
                <a:gd name="connsiteY4" fmla="*/ 620757 h 874224"/>
                <a:gd name="connsiteX5" fmla="*/ 115888 w 115888"/>
                <a:gd name="connsiteY5" fmla="*/ 825103 h 874224"/>
                <a:gd name="connsiteX6" fmla="*/ 26514 w 115888"/>
                <a:gd name="connsiteY6" fmla="*/ 874224 h 874224"/>
                <a:gd name="connsiteX7" fmla="*/ 15314 w 115888"/>
                <a:gd name="connsiteY7" fmla="*/ 861465 h 874224"/>
                <a:gd name="connsiteX8" fmla="*/ 0 w 115888"/>
                <a:gd name="connsiteY8" fmla="*/ 798753 h 874224"/>
                <a:gd name="connsiteX9" fmla="*/ 0 w 115888"/>
                <a:gd name="connsiteY9" fmla="*/ 49510 h 874224"/>
                <a:gd name="connsiteX10" fmla="*/ 33111 w 115888"/>
                <a:gd name="connsiteY10" fmla="*/ 0 h 874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888" h="874224">
                  <a:moveTo>
                    <a:pt x="33111" y="0"/>
                  </a:moveTo>
                  <a:cubicBezTo>
                    <a:pt x="39733" y="0"/>
                    <a:pt x="46355" y="3301"/>
                    <a:pt x="52977" y="6602"/>
                  </a:cubicBezTo>
                  <a:cubicBezTo>
                    <a:pt x="52977" y="6602"/>
                    <a:pt x="52977" y="6602"/>
                    <a:pt x="62911" y="13203"/>
                  </a:cubicBezTo>
                  <a:cubicBezTo>
                    <a:pt x="92710" y="29706"/>
                    <a:pt x="115888" y="75915"/>
                    <a:pt x="115888" y="118823"/>
                  </a:cubicBezTo>
                  <a:cubicBezTo>
                    <a:pt x="115888" y="118823"/>
                    <a:pt x="115888" y="118823"/>
                    <a:pt x="115888" y="620757"/>
                  </a:cubicBezTo>
                  <a:lnTo>
                    <a:pt x="115888" y="825103"/>
                  </a:lnTo>
                  <a:lnTo>
                    <a:pt x="26514" y="874224"/>
                  </a:lnTo>
                  <a:lnTo>
                    <a:pt x="15314" y="861465"/>
                  </a:lnTo>
                  <a:cubicBezTo>
                    <a:pt x="5795" y="842486"/>
                    <a:pt x="0" y="820207"/>
                    <a:pt x="0" y="798753"/>
                  </a:cubicBezTo>
                  <a:cubicBezTo>
                    <a:pt x="0" y="798753"/>
                    <a:pt x="0" y="798753"/>
                    <a:pt x="0" y="49510"/>
                  </a:cubicBezTo>
                  <a:cubicBezTo>
                    <a:pt x="0" y="19804"/>
                    <a:pt x="13244" y="0"/>
                    <a:pt x="33111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73" name="任意多边形: 形状 72" hidden="1">
              <a:extLst>
                <a:ext uri="{FF2B5EF4-FFF2-40B4-BE49-F238E27FC236}">
                  <a16:creationId xmlns:a16="http://schemas.microsoft.com/office/drawing/2014/main" xmlns="" id="{AEB11552-24CE-450D-BC4B-BD0B224E7CD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91659" y="4698034"/>
              <a:ext cx="119063" cy="414899"/>
            </a:xfrm>
            <a:custGeom>
              <a:avLst/>
              <a:gdLst>
                <a:gd name="connsiteX0" fmla="*/ 33073 w 119063"/>
                <a:gd name="connsiteY0" fmla="*/ 0 h 414899"/>
                <a:gd name="connsiteX1" fmla="*/ 56224 w 119063"/>
                <a:gd name="connsiteY1" fmla="*/ 6605 h 414899"/>
                <a:gd name="connsiteX2" fmla="*/ 62839 w 119063"/>
                <a:gd name="connsiteY2" fmla="*/ 9908 h 414899"/>
                <a:gd name="connsiteX3" fmla="*/ 119063 w 119063"/>
                <a:gd name="connsiteY3" fmla="*/ 115586 h 414899"/>
                <a:gd name="connsiteX4" fmla="*/ 119063 w 119063"/>
                <a:gd name="connsiteY4" fmla="*/ 310277 h 414899"/>
                <a:gd name="connsiteX5" fmla="*/ 119063 w 119063"/>
                <a:gd name="connsiteY5" fmla="*/ 363731 h 414899"/>
                <a:gd name="connsiteX6" fmla="*/ 29159 w 119063"/>
                <a:gd name="connsiteY6" fmla="*/ 414899 h 414899"/>
                <a:gd name="connsiteX7" fmla="*/ 16950 w 119063"/>
                <a:gd name="connsiteY7" fmla="*/ 397121 h 414899"/>
                <a:gd name="connsiteX8" fmla="*/ 0 w 119063"/>
                <a:gd name="connsiteY8" fmla="*/ 336851 h 414899"/>
                <a:gd name="connsiteX9" fmla="*/ 0 w 119063"/>
                <a:gd name="connsiteY9" fmla="*/ 49537 h 414899"/>
                <a:gd name="connsiteX10" fmla="*/ 33073 w 119063"/>
                <a:gd name="connsiteY10" fmla="*/ 0 h 41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063" h="414899">
                  <a:moveTo>
                    <a:pt x="33073" y="0"/>
                  </a:moveTo>
                  <a:cubicBezTo>
                    <a:pt x="39688" y="0"/>
                    <a:pt x="49610" y="3303"/>
                    <a:pt x="56224" y="6605"/>
                  </a:cubicBezTo>
                  <a:cubicBezTo>
                    <a:pt x="56224" y="6605"/>
                    <a:pt x="56224" y="6605"/>
                    <a:pt x="62839" y="9908"/>
                  </a:cubicBezTo>
                  <a:cubicBezTo>
                    <a:pt x="95912" y="29722"/>
                    <a:pt x="119063" y="75957"/>
                    <a:pt x="119063" y="115586"/>
                  </a:cubicBezTo>
                  <a:cubicBezTo>
                    <a:pt x="119063" y="115586"/>
                    <a:pt x="119063" y="115586"/>
                    <a:pt x="119063" y="310277"/>
                  </a:cubicBezTo>
                  <a:lnTo>
                    <a:pt x="119063" y="363731"/>
                  </a:lnTo>
                  <a:lnTo>
                    <a:pt x="29159" y="414899"/>
                  </a:lnTo>
                  <a:lnTo>
                    <a:pt x="16950" y="397121"/>
                  </a:lnTo>
                  <a:cubicBezTo>
                    <a:pt x="6615" y="378132"/>
                    <a:pt x="0" y="356666"/>
                    <a:pt x="0" y="336851"/>
                  </a:cubicBezTo>
                  <a:cubicBezTo>
                    <a:pt x="0" y="336851"/>
                    <a:pt x="0" y="336851"/>
                    <a:pt x="0" y="49537"/>
                  </a:cubicBezTo>
                  <a:cubicBezTo>
                    <a:pt x="0" y="16513"/>
                    <a:pt x="13229" y="0"/>
                    <a:pt x="33073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74" name="Freeform 106">
              <a:extLst>
                <a:ext uri="{FF2B5EF4-FFF2-40B4-BE49-F238E27FC236}">
                  <a16:creationId xmlns:a16="http://schemas.microsoft.com/office/drawing/2014/main" xmlns="" id="{802652E2-13D5-4D4D-A1C1-D4A24DA696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55909" y="2437995"/>
              <a:ext cx="1951037" cy="3057525"/>
            </a:xfrm>
            <a:custGeom>
              <a:avLst/>
              <a:gdLst>
                <a:gd name="T0" fmla="*/ 531 w 531"/>
                <a:gd name="T1" fmla="*/ 0 h 835"/>
                <a:gd name="T2" fmla="*/ 0 w 531"/>
                <a:gd name="T3" fmla="*/ 0 h 835"/>
                <a:gd name="T4" fmla="*/ 0 w 531"/>
                <a:gd name="T5" fmla="*/ 682 h 835"/>
                <a:gd name="T6" fmla="*/ 0 w 531"/>
                <a:gd name="T7" fmla="*/ 682 h 835"/>
                <a:gd name="T8" fmla="*/ 6 w 531"/>
                <a:gd name="T9" fmla="*/ 692 h 835"/>
                <a:gd name="T10" fmla="*/ 248 w 531"/>
                <a:gd name="T11" fmla="*/ 831 h 835"/>
                <a:gd name="T12" fmla="*/ 264 w 531"/>
                <a:gd name="T13" fmla="*/ 835 h 835"/>
                <a:gd name="T14" fmla="*/ 286 w 531"/>
                <a:gd name="T15" fmla="*/ 830 h 835"/>
                <a:gd name="T16" fmla="*/ 522 w 531"/>
                <a:gd name="T17" fmla="*/ 693 h 835"/>
                <a:gd name="T18" fmla="*/ 531 w 531"/>
                <a:gd name="T19" fmla="*/ 682 h 835"/>
                <a:gd name="T20" fmla="*/ 531 w 531"/>
                <a:gd name="T21" fmla="*/ 682 h 835"/>
                <a:gd name="T22" fmla="*/ 531 w 531"/>
                <a:gd name="T23" fmla="*/ 0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31" h="835">
                  <a:moveTo>
                    <a:pt x="53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685"/>
                    <a:pt x="2" y="689"/>
                    <a:pt x="6" y="692"/>
                  </a:cubicBezTo>
                  <a:cubicBezTo>
                    <a:pt x="248" y="831"/>
                    <a:pt x="248" y="831"/>
                    <a:pt x="248" y="831"/>
                  </a:cubicBezTo>
                  <a:cubicBezTo>
                    <a:pt x="252" y="834"/>
                    <a:pt x="258" y="835"/>
                    <a:pt x="264" y="835"/>
                  </a:cubicBezTo>
                  <a:cubicBezTo>
                    <a:pt x="272" y="835"/>
                    <a:pt x="280" y="833"/>
                    <a:pt x="286" y="830"/>
                  </a:cubicBezTo>
                  <a:cubicBezTo>
                    <a:pt x="522" y="693"/>
                    <a:pt x="522" y="693"/>
                    <a:pt x="522" y="693"/>
                  </a:cubicBezTo>
                  <a:cubicBezTo>
                    <a:pt x="528" y="690"/>
                    <a:pt x="531" y="686"/>
                    <a:pt x="531" y="682"/>
                  </a:cubicBezTo>
                  <a:cubicBezTo>
                    <a:pt x="531" y="682"/>
                    <a:pt x="531" y="682"/>
                    <a:pt x="531" y="682"/>
                  </a:cubicBezTo>
                  <a:cubicBezTo>
                    <a:pt x="531" y="0"/>
                    <a:pt x="531" y="0"/>
                    <a:pt x="531" y="0"/>
                  </a:cubicBezTo>
                </a:path>
              </a:pathLst>
            </a:custGeom>
            <a:gradFill>
              <a:gsLst>
                <a:gs pos="100000">
                  <a:srgbClr val="42E6E0">
                    <a:alpha val="20000"/>
                  </a:srgbClr>
                </a:gs>
                <a:gs pos="0">
                  <a:srgbClr val="180D5B">
                    <a:alpha val="5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xmlns="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1/2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="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="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xmlns="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xmlns="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1/27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矩形 75">
            <a:extLst>
              <a:ext uri="{FF2B5EF4-FFF2-40B4-BE49-F238E27FC236}">
                <a16:creationId xmlns:a16="http://schemas.microsoft.com/office/drawing/2014/main" xmlns="" id="{818B7027-5C92-45CB-BBAA-AB7DCDF6E2E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405683" y="1846467"/>
            <a:ext cx="5079462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405683" y="4152703"/>
            <a:ext cx="507946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xmlns="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5685" y="3856432"/>
            <a:ext cx="507946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xmlns="" id="{53383A2F-1BBF-442C-B637-EC75AFBB314F}"/>
              </a:ext>
            </a:extLst>
          </p:cNvPr>
          <p:cNvGrpSpPr/>
          <p:nvPr userDrawn="1"/>
        </p:nvGrpSpPr>
        <p:grpSpPr>
          <a:xfrm flipH="1">
            <a:off x="140435" y="835838"/>
            <a:ext cx="9680127" cy="5377577"/>
            <a:chOff x="4656138" y="2437995"/>
            <a:chExt cx="6846887" cy="3803634"/>
          </a:xfrm>
        </p:grpSpPr>
        <p:sp>
          <p:nvSpPr>
            <p:cNvPr id="7" name="椭圆 6">
              <a:extLst>
                <a:ext uri="{FF2B5EF4-FFF2-40B4-BE49-F238E27FC236}">
                  <a16:creationId xmlns:a16="http://schemas.microsoft.com/office/drawing/2014/main" xmlns="" id="{9C554A3D-024E-478A-AA3F-7C9AC070E6DE}"/>
                </a:ext>
              </a:extLst>
            </p:cNvPr>
            <p:cNvSpPr/>
            <p:nvPr userDrawn="1"/>
          </p:nvSpPr>
          <p:spPr>
            <a:xfrm>
              <a:off x="9791994" y="5509651"/>
              <a:ext cx="564315" cy="317874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17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xmlns="" id="{7CC78CBC-9FE1-4BEC-900F-4C15400789B4}"/>
                </a:ext>
              </a:extLst>
            </p:cNvPr>
            <p:cNvSpPr/>
            <p:nvPr userDrawn="1"/>
          </p:nvSpPr>
          <p:spPr>
            <a:xfrm>
              <a:off x="8951536" y="5923755"/>
              <a:ext cx="564315" cy="317874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17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xmlns="" id="{22C2BE32-0DCF-4892-BE44-3D28A9D09EA9}"/>
                </a:ext>
              </a:extLst>
            </p:cNvPr>
            <p:cNvSpPr/>
            <p:nvPr userDrawn="1"/>
          </p:nvSpPr>
          <p:spPr>
            <a:xfrm>
              <a:off x="7681196" y="5266157"/>
              <a:ext cx="564315" cy="317874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17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xmlns="" id="{4EE4A866-47D1-4299-A8BC-68ECE5F053D6}"/>
                </a:ext>
              </a:extLst>
            </p:cNvPr>
            <p:cNvSpPr/>
            <p:nvPr userDrawn="1"/>
          </p:nvSpPr>
          <p:spPr>
            <a:xfrm>
              <a:off x="6269331" y="5704329"/>
              <a:ext cx="564315" cy="317874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20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xmlns="" id="{368F80A6-5641-486A-AF6D-506CE3D7EC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56138" y="4818063"/>
              <a:ext cx="6846887" cy="1335087"/>
            </a:xfrm>
            <a:custGeom>
              <a:avLst/>
              <a:gdLst>
                <a:gd name="T0" fmla="*/ 2059 w 2076"/>
                <a:gd name="T1" fmla="*/ 0 h 404"/>
                <a:gd name="T2" fmla="*/ 2053 w 2076"/>
                <a:gd name="T3" fmla="*/ 2 h 404"/>
                <a:gd name="T4" fmla="*/ 1420 w 2076"/>
                <a:gd name="T5" fmla="*/ 368 h 404"/>
                <a:gd name="T6" fmla="*/ 1388 w 2076"/>
                <a:gd name="T7" fmla="*/ 376 h 404"/>
                <a:gd name="T8" fmla="*/ 1357 w 2076"/>
                <a:gd name="T9" fmla="*/ 368 h 404"/>
                <a:gd name="T10" fmla="*/ 949 w 2076"/>
                <a:gd name="T11" fmla="*/ 132 h 404"/>
                <a:gd name="T12" fmla="*/ 903 w 2076"/>
                <a:gd name="T13" fmla="*/ 120 h 404"/>
                <a:gd name="T14" fmla="*/ 858 w 2076"/>
                <a:gd name="T15" fmla="*/ 132 h 404"/>
                <a:gd name="T16" fmla="*/ 521 w 2076"/>
                <a:gd name="T17" fmla="*/ 326 h 404"/>
                <a:gd name="T18" fmla="*/ 490 w 2076"/>
                <a:gd name="T19" fmla="*/ 335 h 404"/>
                <a:gd name="T20" fmla="*/ 459 w 2076"/>
                <a:gd name="T21" fmla="*/ 326 h 404"/>
                <a:gd name="T22" fmla="*/ 23 w 2076"/>
                <a:gd name="T23" fmla="*/ 75 h 404"/>
                <a:gd name="T24" fmla="*/ 16 w 2076"/>
                <a:gd name="T25" fmla="*/ 73 h 404"/>
                <a:gd name="T26" fmla="*/ 4 w 2076"/>
                <a:gd name="T27" fmla="*/ 80 h 404"/>
                <a:gd name="T28" fmla="*/ 9 w 2076"/>
                <a:gd name="T29" fmla="*/ 99 h 404"/>
                <a:gd name="T30" fmla="*/ 445 w 2076"/>
                <a:gd name="T31" fmla="*/ 351 h 404"/>
                <a:gd name="T32" fmla="*/ 490 w 2076"/>
                <a:gd name="T33" fmla="*/ 363 h 404"/>
                <a:gd name="T34" fmla="*/ 535 w 2076"/>
                <a:gd name="T35" fmla="*/ 351 h 404"/>
                <a:gd name="T36" fmla="*/ 872 w 2076"/>
                <a:gd name="T37" fmla="*/ 156 h 404"/>
                <a:gd name="T38" fmla="*/ 903 w 2076"/>
                <a:gd name="T39" fmla="*/ 148 h 404"/>
                <a:gd name="T40" fmla="*/ 935 w 2076"/>
                <a:gd name="T41" fmla="*/ 156 h 404"/>
                <a:gd name="T42" fmla="*/ 1343 w 2076"/>
                <a:gd name="T43" fmla="*/ 392 h 404"/>
                <a:gd name="T44" fmla="*/ 1388 w 2076"/>
                <a:gd name="T45" fmla="*/ 404 h 404"/>
                <a:gd name="T46" fmla="*/ 1434 w 2076"/>
                <a:gd name="T47" fmla="*/ 392 h 404"/>
                <a:gd name="T48" fmla="*/ 2067 w 2076"/>
                <a:gd name="T49" fmla="*/ 26 h 404"/>
                <a:gd name="T50" fmla="*/ 2072 w 2076"/>
                <a:gd name="T51" fmla="*/ 7 h 404"/>
                <a:gd name="T52" fmla="*/ 2059 w 2076"/>
                <a:gd name="T53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76" h="404">
                  <a:moveTo>
                    <a:pt x="2059" y="0"/>
                  </a:moveTo>
                  <a:cubicBezTo>
                    <a:pt x="2057" y="0"/>
                    <a:pt x="2055" y="1"/>
                    <a:pt x="2053" y="2"/>
                  </a:cubicBezTo>
                  <a:cubicBezTo>
                    <a:pt x="1420" y="368"/>
                    <a:pt x="1420" y="368"/>
                    <a:pt x="1420" y="368"/>
                  </a:cubicBezTo>
                  <a:cubicBezTo>
                    <a:pt x="1410" y="373"/>
                    <a:pt x="1399" y="376"/>
                    <a:pt x="1388" y="376"/>
                  </a:cubicBezTo>
                  <a:cubicBezTo>
                    <a:pt x="1378" y="376"/>
                    <a:pt x="1367" y="373"/>
                    <a:pt x="1357" y="368"/>
                  </a:cubicBezTo>
                  <a:cubicBezTo>
                    <a:pt x="949" y="132"/>
                    <a:pt x="949" y="132"/>
                    <a:pt x="949" y="132"/>
                  </a:cubicBezTo>
                  <a:cubicBezTo>
                    <a:pt x="935" y="124"/>
                    <a:pt x="919" y="120"/>
                    <a:pt x="903" y="120"/>
                  </a:cubicBezTo>
                  <a:cubicBezTo>
                    <a:pt x="888" y="120"/>
                    <a:pt x="872" y="124"/>
                    <a:pt x="858" y="132"/>
                  </a:cubicBezTo>
                  <a:cubicBezTo>
                    <a:pt x="521" y="326"/>
                    <a:pt x="521" y="326"/>
                    <a:pt x="521" y="326"/>
                  </a:cubicBezTo>
                  <a:cubicBezTo>
                    <a:pt x="511" y="332"/>
                    <a:pt x="501" y="335"/>
                    <a:pt x="490" y="335"/>
                  </a:cubicBezTo>
                  <a:cubicBezTo>
                    <a:pt x="479" y="335"/>
                    <a:pt x="468" y="332"/>
                    <a:pt x="459" y="326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1" y="74"/>
                    <a:pt x="19" y="73"/>
                    <a:pt x="16" y="73"/>
                  </a:cubicBezTo>
                  <a:cubicBezTo>
                    <a:pt x="11" y="73"/>
                    <a:pt x="7" y="76"/>
                    <a:pt x="4" y="80"/>
                  </a:cubicBezTo>
                  <a:cubicBezTo>
                    <a:pt x="0" y="87"/>
                    <a:pt x="3" y="95"/>
                    <a:pt x="9" y="99"/>
                  </a:cubicBezTo>
                  <a:cubicBezTo>
                    <a:pt x="445" y="351"/>
                    <a:pt x="445" y="351"/>
                    <a:pt x="445" y="351"/>
                  </a:cubicBezTo>
                  <a:cubicBezTo>
                    <a:pt x="459" y="359"/>
                    <a:pt x="474" y="363"/>
                    <a:pt x="490" y="363"/>
                  </a:cubicBezTo>
                  <a:cubicBezTo>
                    <a:pt x="506" y="363"/>
                    <a:pt x="521" y="359"/>
                    <a:pt x="535" y="351"/>
                  </a:cubicBezTo>
                  <a:cubicBezTo>
                    <a:pt x="872" y="156"/>
                    <a:pt x="872" y="156"/>
                    <a:pt x="872" y="156"/>
                  </a:cubicBezTo>
                  <a:cubicBezTo>
                    <a:pt x="882" y="150"/>
                    <a:pt x="893" y="148"/>
                    <a:pt x="903" y="148"/>
                  </a:cubicBezTo>
                  <a:cubicBezTo>
                    <a:pt x="914" y="148"/>
                    <a:pt x="925" y="150"/>
                    <a:pt x="935" y="156"/>
                  </a:cubicBezTo>
                  <a:cubicBezTo>
                    <a:pt x="1343" y="392"/>
                    <a:pt x="1343" y="392"/>
                    <a:pt x="1343" y="392"/>
                  </a:cubicBezTo>
                  <a:cubicBezTo>
                    <a:pt x="1357" y="400"/>
                    <a:pt x="1373" y="404"/>
                    <a:pt x="1388" y="404"/>
                  </a:cubicBezTo>
                  <a:cubicBezTo>
                    <a:pt x="1404" y="404"/>
                    <a:pt x="1420" y="400"/>
                    <a:pt x="1434" y="392"/>
                  </a:cubicBezTo>
                  <a:cubicBezTo>
                    <a:pt x="2067" y="26"/>
                    <a:pt x="2067" y="26"/>
                    <a:pt x="2067" y="26"/>
                  </a:cubicBezTo>
                  <a:cubicBezTo>
                    <a:pt x="2073" y="23"/>
                    <a:pt x="2076" y="14"/>
                    <a:pt x="2072" y="7"/>
                  </a:cubicBezTo>
                  <a:cubicBezTo>
                    <a:pt x="2069" y="3"/>
                    <a:pt x="2064" y="0"/>
                    <a:pt x="2059" y="0"/>
                  </a:cubicBezTo>
                </a:path>
              </a:pathLst>
            </a:custGeom>
            <a:gradFill>
              <a:gsLst>
                <a:gs pos="74000">
                  <a:srgbClr val="2D7C9E">
                    <a:alpha val="50000"/>
                  </a:srgbClr>
                </a:gs>
                <a:gs pos="37000">
                  <a:srgbClr val="41E4DE">
                    <a:alpha val="50000"/>
                  </a:srgbClr>
                </a:gs>
                <a:gs pos="0">
                  <a:srgbClr val="19145F">
                    <a:alpha val="50000"/>
                  </a:srgbClr>
                </a:gs>
                <a:gs pos="100000">
                  <a:srgbClr val="19125E">
                    <a:alpha val="50000"/>
                  </a:srgbClr>
                </a:gs>
              </a:gsLst>
              <a:lin ang="0" scaled="0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xmlns="" id="{EC823025-CC4D-448B-B923-ED6EE7BAFF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40638" y="3989388"/>
              <a:ext cx="3186112" cy="1830387"/>
            </a:xfrm>
            <a:custGeom>
              <a:avLst/>
              <a:gdLst>
                <a:gd name="T0" fmla="*/ 483 w 966"/>
                <a:gd name="T1" fmla="*/ 466 h 554"/>
                <a:gd name="T2" fmla="*/ 157 w 966"/>
                <a:gd name="T3" fmla="*/ 277 h 554"/>
                <a:gd name="T4" fmla="*/ 483 w 966"/>
                <a:gd name="T5" fmla="*/ 89 h 554"/>
                <a:gd name="T6" fmla="*/ 810 w 966"/>
                <a:gd name="T7" fmla="*/ 277 h 554"/>
                <a:gd name="T8" fmla="*/ 483 w 966"/>
                <a:gd name="T9" fmla="*/ 466 h 554"/>
                <a:gd name="T10" fmla="*/ 483 w 966"/>
                <a:gd name="T11" fmla="*/ 48 h 554"/>
                <a:gd name="T12" fmla="*/ 472 w 966"/>
                <a:gd name="T13" fmla="*/ 51 h 554"/>
                <a:gd name="T14" fmla="*/ 82 w 966"/>
                <a:gd name="T15" fmla="*/ 276 h 554"/>
                <a:gd name="T16" fmla="*/ 81 w 966"/>
                <a:gd name="T17" fmla="*/ 277 h 554"/>
                <a:gd name="T18" fmla="*/ 82 w 966"/>
                <a:gd name="T19" fmla="*/ 278 h 554"/>
                <a:gd name="T20" fmla="*/ 472 w 966"/>
                <a:gd name="T21" fmla="*/ 503 h 554"/>
                <a:gd name="T22" fmla="*/ 472 w 966"/>
                <a:gd name="T23" fmla="*/ 503 h 554"/>
                <a:gd name="T24" fmla="*/ 483 w 966"/>
                <a:gd name="T25" fmla="*/ 506 h 554"/>
                <a:gd name="T26" fmla="*/ 494 w 966"/>
                <a:gd name="T27" fmla="*/ 503 h 554"/>
                <a:gd name="T28" fmla="*/ 884 w 966"/>
                <a:gd name="T29" fmla="*/ 278 h 554"/>
                <a:gd name="T30" fmla="*/ 885 w 966"/>
                <a:gd name="T31" fmla="*/ 277 h 554"/>
                <a:gd name="T32" fmla="*/ 884 w 966"/>
                <a:gd name="T33" fmla="*/ 276 h 554"/>
                <a:gd name="T34" fmla="*/ 494 w 966"/>
                <a:gd name="T35" fmla="*/ 51 h 554"/>
                <a:gd name="T36" fmla="*/ 483 w 966"/>
                <a:gd name="T37" fmla="*/ 48 h 554"/>
                <a:gd name="T38" fmla="*/ 483 w 966"/>
                <a:gd name="T39" fmla="*/ 518 h 554"/>
                <a:gd name="T40" fmla="*/ 466 w 966"/>
                <a:gd name="T41" fmla="*/ 514 h 554"/>
                <a:gd name="T42" fmla="*/ 466 w 966"/>
                <a:gd name="T43" fmla="*/ 514 h 554"/>
                <a:gd name="T44" fmla="*/ 76 w 966"/>
                <a:gd name="T45" fmla="*/ 289 h 554"/>
                <a:gd name="T46" fmla="*/ 69 w 966"/>
                <a:gd name="T47" fmla="*/ 277 h 554"/>
                <a:gd name="T48" fmla="*/ 76 w 966"/>
                <a:gd name="T49" fmla="*/ 266 h 554"/>
                <a:gd name="T50" fmla="*/ 466 w 966"/>
                <a:gd name="T51" fmla="*/ 41 h 554"/>
                <a:gd name="T52" fmla="*/ 483 w 966"/>
                <a:gd name="T53" fmla="*/ 36 h 554"/>
                <a:gd name="T54" fmla="*/ 500 w 966"/>
                <a:gd name="T55" fmla="*/ 41 h 554"/>
                <a:gd name="T56" fmla="*/ 890 w 966"/>
                <a:gd name="T57" fmla="*/ 266 h 554"/>
                <a:gd name="T58" fmla="*/ 897 w 966"/>
                <a:gd name="T59" fmla="*/ 277 h 554"/>
                <a:gd name="T60" fmla="*/ 890 w 966"/>
                <a:gd name="T61" fmla="*/ 289 h 554"/>
                <a:gd name="T62" fmla="*/ 500 w 966"/>
                <a:gd name="T63" fmla="*/ 514 h 554"/>
                <a:gd name="T64" fmla="*/ 483 w 966"/>
                <a:gd name="T65" fmla="*/ 518 h 554"/>
                <a:gd name="T66" fmla="*/ 483 w 966"/>
                <a:gd name="T67" fmla="*/ 0 h 554"/>
                <a:gd name="T68" fmla="*/ 462 w 966"/>
                <a:gd name="T69" fmla="*/ 6 h 554"/>
                <a:gd name="T70" fmla="*/ 7 w 966"/>
                <a:gd name="T71" fmla="*/ 269 h 554"/>
                <a:gd name="T72" fmla="*/ 7 w 966"/>
                <a:gd name="T73" fmla="*/ 286 h 554"/>
                <a:gd name="T74" fmla="*/ 462 w 966"/>
                <a:gd name="T75" fmla="*/ 548 h 554"/>
                <a:gd name="T76" fmla="*/ 483 w 966"/>
                <a:gd name="T77" fmla="*/ 554 h 554"/>
                <a:gd name="T78" fmla="*/ 505 w 966"/>
                <a:gd name="T79" fmla="*/ 548 h 554"/>
                <a:gd name="T80" fmla="*/ 960 w 966"/>
                <a:gd name="T81" fmla="*/ 286 h 554"/>
                <a:gd name="T82" fmla="*/ 960 w 966"/>
                <a:gd name="T83" fmla="*/ 269 h 554"/>
                <a:gd name="T84" fmla="*/ 505 w 966"/>
                <a:gd name="T85" fmla="*/ 6 h 554"/>
                <a:gd name="T86" fmla="*/ 483 w 966"/>
                <a:gd name="T87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6" h="554">
                  <a:moveTo>
                    <a:pt x="483" y="466"/>
                  </a:moveTo>
                  <a:cubicBezTo>
                    <a:pt x="157" y="277"/>
                    <a:pt x="157" y="277"/>
                    <a:pt x="157" y="277"/>
                  </a:cubicBezTo>
                  <a:cubicBezTo>
                    <a:pt x="483" y="89"/>
                    <a:pt x="483" y="89"/>
                    <a:pt x="483" y="89"/>
                  </a:cubicBezTo>
                  <a:cubicBezTo>
                    <a:pt x="810" y="277"/>
                    <a:pt x="810" y="277"/>
                    <a:pt x="810" y="277"/>
                  </a:cubicBezTo>
                  <a:cubicBezTo>
                    <a:pt x="483" y="466"/>
                    <a:pt x="483" y="466"/>
                    <a:pt x="483" y="466"/>
                  </a:cubicBezTo>
                  <a:moveTo>
                    <a:pt x="483" y="48"/>
                  </a:moveTo>
                  <a:cubicBezTo>
                    <a:pt x="479" y="48"/>
                    <a:pt x="475" y="49"/>
                    <a:pt x="472" y="51"/>
                  </a:cubicBezTo>
                  <a:cubicBezTo>
                    <a:pt x="82" y="276"/>
                    <a:pt x="82" y="276"/>
                    <a:pt x="82" y="276"/>
                  </a:cubicBezTo>
                  <a:cubicBezTo>
                    <a:pt x="82" y="277"/>
                    <a:pt x="81" y="277"/>
                    <a:pt x="81" y="277"/>
                  </a:cubicBezTo>
                  <a:cubicBezTo>
                    <a:pt x="81" y="278"/>
                    <a:pt x="82" y="278"/>
                    <a:pt x="82" y="278"/>
                  </a:cubicBezTo>
                  <a:cubicBezTo>
                    <a:pt x="472" y="503"/>
                    <a:pt x="472" y="503"/>
                    <a:pt x="472" y="503"/>
                  </a:cubicBezTo>
                  <a:cubicBezTo>
                    <a:pt x="472" y="503"/>
                    <a:pt x="472" y="503"/>
                    <a:pt x="472" y="503"/>
                  </a:cubicBezTo>
                  <a:cubicBezTo>
                    <a:pt x="475" y="505"/>
                    <a:pt x="479" y="506"/>
                    <a:pt x="483" y="506"/>
                  </a:cubicBezTo>
                  <a:cubicBezTo>
                    <a:pt x="487" y="506"/>
                    <a:pt x="491" y="505"/>
                    <a:pt x="494" y="503"/>
                  </a:cubicBezTo>
                  <a:cubicBezTo>
                    <a:pt x="884" y="278"/>
                    <a:pt x="884" y="278"/>
                    <a:pt x="884" y="278"/>
                  </a:cubicBezTo>
                  <a:cubicBezTo>
                    <a:pt x="885" y="278"/>
                    <a:pt x="885" y="278"/>
                    <a:pt x="885" y="277"/>
                  </a:cubicBezTo>
                  <a:cubicBezTo>
                    <a:pt x="885" y="277"/>
                    <a:pt x="885" y="277"/>
                    <a:pt x="884" y="276"/>
                  </a:cubicBezTo>
                  <a:cubicBezTo>
                    <a:pt x="494" y="51"/>
                    <a:pt x="494" y="51"/>
                    <a:pt x="494" y="51"/>
                  </a:cubicBezTo>
                  <a:cubicBezTo>
                    <a:pt x="491" y="49"/>
                    <a:pt x="487" y="48"/>
                    <a:pt x="483" y="48"/>
                  </a:cubicBezTo>
                  <a:moveTo>
                    <a:pt x="483" y="518"/>
                  </a:moveTo>
                  <a:cubicBezTo>
                    <a:pt x="477" y="518"/>
                    <a:pt x="471" y="517"/>
                    <a:pt x="466" y="514"/>
                  </a:cubicBezTo>
                  <a:cubicBezTo>
                    <a:pt x="466" y="514"/>
                    <a:pt x="466" y="514"/>
                    <a:pt x="466" y="514"/>
                  </a:cubicBezTo>
                  <a:cubicBezTo>
                    <a:pt x="76" y="289"/>
                    <a:pt x="76" y="289"/>
                    <a:pt x="76" y="289"/>
                  </a:cubicBezTo>
                  <a:cubicBezTo>
                    <a:pt x="72" y="286"/>
                    <a:pt x="69" y="282"/>
                    <a:pt x="69" y="277"/>
                  </a:cubicBezTo>
                  <a:cubicBezTo>
                    <a:pt x="69" y="273"/>
                    <a:pt x="72" y="268"/>
                    <a:pt x="76" y="266"/>
                  </a:cubicBezTo>
                  <a:cubicBezTo>
                    <a:pt x="466" y="41"/>
                    <a:pt x="466" y="41"/>
                    <a:pt x="466" y="41"/>
                  </a:cubicBezTo>
                  <a:cubicBezTo>
                    <a:pt x="471" y="38"/>
                    <a:pt x="477" y="36"/>
                    <a:pt x="483" y="36"/>
                  </a:cubicBezTo>
                  <a:cubicBezTo>
                    <a:pt x="489" y="36"/>
                    <a:pt x="495" y="38"/>
                    <a:pt x="500" y="41"/>
                  </a:cubicBezTo>
                  <a:cubicBezTo>
                    <a:pt x="890" y="266"/>
                    <a:pt x="890" y="266"/>
                    <a:pt x="890" y="266"/>
                  </a:cubicBezTo>
                  <a:cubicBezTo>
                    <a:pt x="894" y="268"/>
                    <a:pt x="897" y="273"/>
                    <a:pt x="897" y="277"/>
                  </a:cubicBezTo>
                  <a:cubicBezTo>
                    <a:pt x="897" y="282"/>
                    <a:pt x="894" y="286"/>
                    <a:pt x="890" y="289"/>
                  </a:cubicBezTo>
                  <a:cubicBezTo>
                    <a:pt x="500" y="514"/>
                    <a:pt x="500" y="514"/>
                    <a:pt x="500" y="514"/>
                  </a:cubicBezTo>
                  <a:cubicBezTo>
                    <a:pt x="495" y="517"/>
                    <a:pt x="489" y="518"/>
                    <a:pt x="483" y="518"/>
                  </a:cubicBezTo>
                  <a:moveTo>
                    <a:pt x="483" y="0"/>
                  </a:moveTo>
                  <a:cubicBezTo>
                    <a:pt x="476" y="0"/>
                    <a:pt x="468" y="2"/>
                    <a:pt x="462" y="6"/>
                  </a:cubicBezTo>
                  <a:cubicBezTo>
                    <a:pt x="7" y="269"/>
                    <a:pt x="7" y="269"/>
                    <a:pt x="7" y="269"/>
                  </a:cubicBezTo>
                  <a:cubicBezTo>
                    <a:pt x="0" y="273"/>
                    <a:pt x="0" y="282"/>
                    <a:pt x="7" y="286"/>
                  </a:cubicBezTo>
                  <a:cubicBezTo>
                    <a:pt x="462" y="548"/>
                    <a:pt x="462" y="548"/>
                    <a:pt x="462" y="548"/>
                  </a:cubicBezTo>
                  <a:cubicBezTo>
                    <a:pt x="468" y="552"/>
                    <a:pt x="476" y="554"/>
                    <a:pt x="483" y="554"/>
                  </a:cubicBezTo>
                  <a:cubicBezTo>
                    <a:pt x="491" y="554"/>
                    <a:pt x="498" y="552"/>
                    <a:pt x="505" y="548"/>
                  </a:cubicBezTo>
                  <a:cubicBezTo>
                    <a:pt x="960" y="286"/>
                    <a:pt x="960" y="286"/>
                    <a:pt x="960" y="286"/>
                  </a:cubicBezTo>
                  <a:cubicBezTo>
                    <a:pt x="966" y="282"/>
                    <a:pt x="966" y="273"/>
                    <a:pt x="960" y="269"/>
                  </a:cubicBezTo>
                  <a:cubicBezTo>
                    <a:pt x="505" y="6"/>
                    <a:pt x="505" y="6"/>
                    <a:pt x="505" y="6"/>
                  </a:cubicBezTo>
                  <a:cubicBezTo>
                    <a:pt x="498" y="2"/>
                    <a:pt x="491" y="0"/>
                    <a:pt x="483" y="0"/>
                  </a:cubicBezTo>
                </a:path>
              </a:pathLst>
            </a:custGeom>
            <a:solidFill>
              <a:srgbClr val="5E5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xmlns="" id="{6DA1449B-9DF5-422D-8D4F-8ECFC57F0F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869238" y="4108450"/>
              <a:ext cx="2730500" cy="1592262"/>
            </a:xfrm>
            <a:custGeom>
              <a:avLst/>
              <a:gdLst>
                <a:gd name="T0" fmla="*/ 403 w 828"/>
                <a:gd name="T1" fmla="*/ 467 h 482"/>
                <a:gd name="T2" fmla="*/ 13 w 828"/>
                <a:gd name="T3" fmla="*/ 242 h 482"/>
                <a:gd name="T4" fmla="*/ 12 w 828"/>
                <a:gd name="T5" fmla="*/ 241 h 482"/>
                <a:gd name="T6" fmla="*/ 13 w 828"/>
                <a:gd name="T7" fmla="*/ 240 h 482"/>
                <a:gd name="T8" fmla="*/ 403 w 828"/>
                <a:gd name="T9" fmla="*/ 15 h 482"/>
                <a:gd name="T10" fmla="*/ 414 w 828"/>
                <a:gd name="T11" fmla="*/ 12 h 482"/>
                <a:gd name="T12" fmla="*/ 425 w 828"/>
                <a:gd name="T13" fmla="*/ 15 h 482"/>
                <a:gd name="T14" fmla="*/ 815 w 828"/>
                <a:gd name="T15" fmla="*/ 240 h 482"/>
                <a:gd name="T16" fmla="*/ 816 w 828"/>
                <a:gd name="T17" fmla="*/ 241 h 482"/>
                <a:gd name="T18" fmla="*/ 815 w 828"/>
                <a:gd name="T19" fmla="*/ 242 h 482"/>
                <a:gd name="T20" fmla="*/ 425 w 828"/>
                <a:gd name="T21" fmla="*/ 467 h 482"/>
                <a:gd name="T22" fmla="*/ 414 w 828"/>
                <a:gd name="T23" fmla="*/ 470 h 482"/>
                <a:gd name="T24" fmla="*/ 403 w 828"/>
                <a:gd name="T25" fmla="*/ 467 h 482"/>
                <a:gd name="T26" fmla="*/ 403 w 828"/>
                <a:gd name="T27" fmla="*/ 467 h 482"/>
                <a:gd name="T28" fmla="*/ 414 w 828"/>
                <a:gd name="T29" fmla="*/ 0 h 482"/>
                <a:gd name="T30" fmla="*/ 397 w 828"/>
                <a:gd name="T31" fmla="*/ 5 h 482"/>
                <a:gd name="T32" fmla="*/ 7 w 828"/>
                <a:gd name="T33" fmla="*/ 230 h 482"/>
                <a:gd name="T34" fmla="*/ 0 w 828"/>
                <a:gd name="T35" fmla="*/ 241 h 482"/>
                <a:gd name="T36" fmla="*/ 7 w 828"/>
                <a:gd name="T37" fmla="*/ 253 h 482"/>
                <a:gd name="T38" fmla="*/ 397 w 828"/>
                <a:gd name="T39" fmla="*/ 478 h 482"/>
                <a:gd name="T40" fmla="*/ 397 w 828"/>
                <a:gd name="T41" fmla="*/ 478 h 482"/>
                <a:gd name="T42" fmla="*/ 414 w 828"/>
                <a:gd name="T43" fmla="*/ 482 h 482"/>
                <a:gd name="T44" fmla="*/ 431 w 828"/>
                <a:gd name="T45" fmla="*/ 478 h 482"/>
                <a:gd name="T46" fmla="*/ 821 w 828"/>
                <a:gd name="T47" fmla="*/ 253 h 482"/>
                <a:gd name="T48" fmla="*/ 828 w 828"/>
                <a:gd name="T49" fmla="*/ 241 h 482"/>
                <a:gd name="T50" fmla="*/ 821 w 828"/>
                <a:gd name="T51" fmla="*/ 230 h 482"/>
                <a:gd name="T52" fmla="*/ 431 w 828"/>
                <a:gd name="T53" fmla="*/ 5 h 482"/>
                <a:gd name="T54" fmla="*/ 414 w 828"/>
                <a:gd name="T55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28" h="482">
                  <a:moveTo>
                    <a:pt x="403" y="467"/>
                  </a:moveTo>
                  <a:cubicBezTo>
                    <a:pt x="13" y="242"/>
                    <a:pt x="13" y="242"/>
                    <a:pt x="13" y="242"/>
                  </a:cubicBezTo>
                  <a:cubicBezTo>
                    <a:pt x="13" y="242"/>
                    <a:pt x="12" y="242"/>
                    <a:pt x="12" y="241"/>
                  </a:cubicBezTo>
                  <a:cubicBezTo>
                    <a:pt x="12" y="241"/>
                    <a:pt x="13" y="241"/>
                    <a:pt x="13" y="240"/>
                  </a:cubicBezTo>
                  <a:cubicBezTo>
                    <a:pt x="403" y="15"/>
                    <a:pt x="403" y="15"/>
                    <a:pt x="403" y="15"/>
                  </a:cubicBezTo>
                  <a:cubicBezTo>
                    <a:pt x="406" y="13"/>
                    <a:pt x="410" y="12"/>
                    <a:pt x="414" y="12"/>
                  </a:cubicBezTo>
                  <a:cubicBezTo>
                    <a:pt x="418" y="12"/>
                    <a:pt x="422" y="13"/>
                    <a:pt x="425" y="15"/>
                  </a:cubicBezTo>
                  <a:cubicBezTo>
                    <a:pt x="815" y="240"/>
                    <a:pt x="815" y="240"/>
                    <a:pt x="815" y="240"/>
                  </a:cubicBezTo>
                  <a:cubicBezTo>
                    <a:pt x="816" y="241"/>
                    <a:pt x="816" y="241"/>
                    <a:pt x="816" y="241"/>
                  </a:cubicBezTo>
                  <a:cubicBezTo>
                    <a:pt x="816" y="242"/>
                    <a:pt x="816" y="242"/>
                    <a:pt x="815" y="242"/>
                  </a:cubicBezTo>
                  <a:cubicBezTo>
                    <a:pt x="425" y="467"/>
                    <a:pt x="425" y="467"/>
                    <a:pt x="425" y="467"/>
                  </a:cubicBezTo>
                  <a:cubicBezTo>
                    <a:pt x="422" y="469"/>
                    <a:pt x="418" y="470"/>
                    <a:pt x="414" y="470"/>
                  </a:cubicBezTo>
                  <a:cubicBezTo>
                    <a:pt x="410" y="470"/>
                    <a:pt x="406" y="469"/>
                    <a:pt x="403" y="467"/>
                  </a:cubicBezTo>
                  <a:cubicBezTo>
                    <a:pt x="403" y="467"/>
                    <a:pt x="403" y="467"/>
                    <a:pt x="403" y="467"/>
                  </a:cubicBezTo>
                  <a:moveTo>
                    <a:pt x="414" y="0"/>
                  </a:moveTo>
                  <a:cubicBezTo>
                    <a:pt x="408" y="0"/>
                    <a:pt x="402" y="2"/>
                    <a:pt x="397" y="5"/>
                  </a:cubicBezTo>
                  <a:cubicBezTo>
                    <a:pt x="7" y="230"/>
                    <a:pt x="7" y="230"/>
                    <a:pt x="7" y="230"/>
                  </a:cubicBezTo>
                  <a:cubicBezTo>
                    <a:pt x="3" y="232"/>
                    <a:pt x="0" y="237"/>
                    <a:pt x="0" y="241"/>
                  </a:cubicBezTo>
                  <a:cubicBezTo>
                    <a:pt x="0" y="246"/>
                    <a:pt x="3" y="250"/>
                    <a:pt x="7" y="253"/>
                  </a:cubicBezTo>
                  <a:cubicBezTo>
                    <a:pt x="397" y="478"/>
                    <a:pt x="397" y="478"/>
                    <a:pt x="397" y="478"/>
                  </a:cubicBezTo>
                  <a:cubicBezTo>
                    <a:pt x="397" y="478"/>
                    <a:pt x="397" y="478"/>
                    <a:pt x="397" y="478"/>
                  </a:cubicBezTo>
                  <a:cubicBezTo>
                    <a:pt x="402" y="481"/>
                    <a:pt x="408" y="482"/>
                    <a:pt x="414" y="482"/>
                  </a:cubicBezTo>
                  <a:cubicBezTo>
                    <a:pt x="420" y="482"/>
                    <a:pt x="426" y="481"/>
                    <a:pt x="431" y="478"/>
                  </a:cubicBezTo>
                  <a:cubicBezTo>
                    <a:pt x="821" y="253"/>
                    <a:pt x="821" y="253"/>
                    <a:pt x="821" y="253"/>
                  </a:cubicBezTo>
                  <a:cubicBezTo>
                    <a:pt x="825" y="250"/>
                    <a:pt x="828" y="246"/>
                    <a:pt x="828" y="241"/>
                  </a:cubicBezTo>
                  <a:cubicBezTo>
                    <a:pt x="828" y="237"/>
                    <a:pt x="825" y="232"/>
                    <a:pt x="821" y="230"/>
                  </a:cubicBezTo>
                  <a:cubicBezTo>
                    <a:pt x="431" y="5"/>
                    <a:pt x="431" y="5"/>
                    <a:pt x="431" y="5"/>
                  </a:cubicBezTo>
                  <a:cubicBezTo>
                    <a:pt x="426" y="2"/>
                    <a:pt x="420" y="0"/>
                    <a:pt x="414" y="0"/>
                  </a:cubicBezTo>
                </a:path>
              </a:pathLst>
            </a:custGeom>
            <a:gradFill>
              <a:gsLst>
                <a:gs pos="74000">
                  <a:srgbClr val="2D7C9E">
                    <a:alpha val="74000"/>
                  </a:srgbClr>
                </a:gs>
                <a:gs pos="37000">
                  <a:srgbClr val="41E4DE">
                    <a:alpha val="71000"/>
                  </a:srgbClr>
                </a:gs>
                <a:gs pos="0">
                  <a:srgbClr val="19145F"/>
                </a:gs>
                <a:gs pos="100000">
                  <a:srgbClr val="19125E">
                    <a:alpha val="82000"/>
                  </a:srgbClr>
                </a:gs>
              </a:gsLst>
              <a:lin ang="12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xmlns="" id="{10B2BFE2-CBF3-401C-AE0A-ABD3A26EA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58163" y="4283075"/>
              <a:ext cx="2154237" cy="1246187"/>
            </a:xfrm>
            <a:custGeom>
              <a:avLst/>
              <a:gdLst>
                <a:gd name="T0" fmla="*/ 678 w 1357"/>
                <a:gd name="T1" fmla="*/ 0 h 785"/>
                <a:gd name="T2" fmla="*/ 0 w 1357"/>
                <a:gd name="T3" fmla="*/ 391 h 785"/>
                <a:gd name="T4" fmla="*/ 678 w 1357"/>
                <a:gd name="T5" fmla="*/ 785 h 785"/>
                <a:gd name="T6" fmla="*/ 1357 w 1357"/>
                <a:gd name="T7" fmla="*/ 391 h 785"/>
                <a:gd name="T8" fmla="*/ 678 w 1357"/>
                <a:gd name="T9" fmla="*/ 0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7" h="785">
                  <a:moveTo>
                    <a:pt x="678" y="0"/>
                  </a:moveTo>
                  <a:lnTo>
                    <a:pt x="0" y="391"/>
                  </a:lnTo>
                  <a:lnTo>
                    <a:pt x="678" y="785"/>
                  </a:lnTo>
                  <a:lnTo>
                    <a:pt x="1357" y="391"/>
                  </a:lnTo>
                  <a:lnTo>
                    <a:pt x="678" y="0"/>
                  </a:lnTo>
                  <a:close/>
                </a:path>
              </a:pathLst>
            </a:custGeom>
            <a:solidFill>
              <a:srgbClr val="100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xmlns="" id="{27BD26F7-83BE-43A6-ADDF-5050C8D1A5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58163" y="4283075"/>
              <a:ext cx="2154237" cy="1246187"/>
            </a:xfrm>
            <a:custGeom>
              <a:avLst/>
              <a:gdLst>
                <a:gd name="T0" fmla="*/ 678 w 1357"/>
                <a:gd name="T1" fmla="*/ 0 h 785"/>
                <a:gd name="T2" fmla="*/ 0 w 1357"/>
                <a:gd name="T3" fmla="*/ 391 h 785"/>
                <a:gd name="T4" fmla="*/ 678 w 1357"/>
                <a:gd name="T5" fmla="*/ 785 h 785"/>
                <a:gd name="T6" fmla="*/ 1357 w 1357"/>
                <a:gd name="T7" fmla="*/ 391 h 785"/>
                <a:gd name="T8" fmla="*/ 678 w 1357"/>
                <a:gd name="T9" fmla="*/ 0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7" h="785">
                  <a:moveTo>
                    <a:pt x="678" y="0"/>
                  </a:moveTo>
                  <a:lnTo>
                    <a:pt x="0" y="391"/>
                  </a:lnTo>
                  <a:lnTo>
                    <a:pt x="678" y="785"/>
                  </a:lnTo>
                  <a:lnTo>
                    <a:pt x="1357" y="391"/>
                  </a:lnTo>
                  <a:lnTo>
                    <a:pt x="67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Freeform 55">
              <a:extLst>
                <a:ext uri="{FF2B5EF4-FFF2-40B4-BE49-F238E27FC236}">
                  <a16:creationId xmlns:a16="http://schemas.microsoft.com/office/drawing/2014/main" xmlns="" id="{6E07EA3C-1B70-4FDE-B7A1-5C2C57B1F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3861" y="5810250"/>
              <a:ext cx="88900" cy="79375"/>
            </a:xfrm>
            <a:custGeom>
              <a:avLst/>
              <a:gdLst>
                <a:gd name="T0" fmla="*/ 13 w 27"/>
                <a:gd name="T1" fmla="*/ 0 h 24"/>
                <a:gd name="T2" fmla="*/ 7 w 27"/>
                <a:gd name="T3" fmla="*/ 2 h 24"/>
                <a:gd name="T4" fmla="*/ 3 w 27"/>
                <a:gd name="T5" fmla="*/ 18 h 24"/>
                <a:gd name="T6" fmla="*/ 13 w 27"/>
                <a:gd name="T7" fmla="*/ 24 h 24"/>
                <a:gd name="T8" fmla="*/ 19 w 27"/>
                <a:gd name="T9" fmla="*/ 22 h 24"/>
                <a:gd name="T10" fmla="*/ 23 w 27"/>
                <a:gd name="T11" fmla="*/ 6 h 24"/>
                <a:gd name="T12" fmla="*/ 13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3" y="0"/>
                  </a:moveTo>
                  <a:cubicBezTo>
                    <a:pt x="11" y="0"/>
                    <a:pt x="9" y="1"/>
                    <a:pt x="7" y="2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2"/>
                    <a:pt x="9" y="24"/>
                    <a:pt x="13" y="24"/>
                  </a:cubicBezTo>
                  <a:cubicBezTo>
                    <a:pt x="15" y="24"/>
                    <a:pt x="17" y="23"/>
                    <a:pt x="19" y="22"/>
                  </a:cubicBezTo>
                  <a:cubicBezTo>
                    <a:pt x="25" y="19"/>
                    <a:pt x="27" y="12"/>
                    <a:pt x="23" y="6"/>
                  </a:cubicBezTo>
                  <a:cubicBezTo>
                    <a:pt x="21" y="3"/>
                    <a:pt x="17" y="0"/>
                    <a:pt x="13" y="0"/>
                  </a:cubicBezTo>
                </a:path>
              </a:pathLst>
            </a:custGeom>
            <a:solidFill>
              <a:srgbClr val="42E8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Freeform 56">
              <a:extLst>
                <a:ext uri="{FF2B5EF4-FFF2-40B4-BE49-F238E27FC236}">
                  <a16:creationId xmlns:a16="http://schemas.microsoft.com/office/drawing/2014/main" xmlns="" id="{36A0F9D0-6FD0-4967-B8F9-B088C32BD0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05936" y="5756275"/>
              <a:ext cx="88900" cy="79375"/>
            </a:xfrm>
            <a:custGeom>
              <a:avLst/>
              <a:gdLst>
                <a:gd name="T0" fmla="*/ 14 w 27"/>
                <a:gd name="T1" fmla="*/ 0 h 24"/>
                <a:gd name="T2" fmla="*/ 8 w 27"/>
                <a:gd name="T3" fmla="*/ 2 h 24"/>
                <a:gd name="T4" fmla="*/ 3 w 27"/>
                <a:gd name="T5" fmla="*/ 18 h 24"/>
                <a:gd name="T6" fmla="*/ 14 w 27"/>
                <a:gd name="T7" fmla="*/ 24 h 24"/>
                <a:gd name="T8" fmla="*/ 19 w 27"/>
                <a:gd name="T9" fmla="*/ 22 h 24"/>
                <a:gd name="T10" fmla="*/ 24 w 27"/>
                <a:gd name="T11" fmla="*/ 6 h 24"/>
                <a:gd name="T12" fmla="*/ 14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4" y="0"/>
                  </a:moveTo>
                  <a:cubicBezTo>
                    <a:pt x="12" y="0"/>
                    <a:pt x="10" y="1"/>
                    <a:pt x="8" y="2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2"/>
                    <a:pt x="9" y="24"/>
                    <a:pt x="14" y="24"/>
                  </a:cubicBezTo>
                  <a:cubicBezTo>
                    <a:pt x="16" y="24"/>
                    <a:pt x="18" y="23"/>
                    <a:pt x="19" y="22"/>
                  </a:cubicBezTo>
                  <a:cubicBezTo>
                    <a:pt x="25" y="19"/>
                    <a:pt x="27" y="12"/>
                    <a:pt x="24" y="6"/>
                  </a:cubicBezTo>
                  <a:cubicBezTo>
                    <a:pt x="22" y="2"/>
                    <a:pt x="18" y="0"/>
                    <a:pt x="14" y="0"/>
                  </a:cubicBezTo>
                </a:path>
              </a:pathLst>
            </a:custGeom>
            <a:solidFill>
              <a:srgbClr val="4BC8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Freeform 57">
              <a:extLst>
                <a:ext uri="{FF2B5EF4-FFF2-40B4-BE49-F238E27FC236}">
                  <a16:creationId xmlns:a16="http://schemas.microsoft.com/office/drawing/2014/main" xmlns="" id="{9CE429ED-D423-4FF2-8997-F925A4EE3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1186" y="5702300"/>
              <a:ext cx="85725" cy="77787"/>
            </a:xfrm>
            <a:custGeom>
              <a:avLst/>
              <a:gdLst>
                <a:gd name="T0" fmla="*/ 13 w 26"/>
                <a:gd name="T1" fmla="*/ 0 h 23"/>
                <a:gd name="T2" fmla="*/ 7 w 26"/>
                <a:gd name="T3" fmla="*/ 1 h 23"/>
                <a:gd name="T4" fmla="*/ 3 w 26"/>
                <a:gd name="T5" fmla="*/ 18 h 23"/>
                <a:gd name="T6" fmla="*/ 13 w 26"/>
                <a:gd name="T7" fmla="*/ 23 h 23"/>
                <a:gd name="T8" fmla="*/ 19 w 26"/>
                <a:gd name="T9" fmla="*/ 22 h 23"/>
                <a:gd name="T10" fmla="*/ 23 w 26"/>
                <a:gd name="T11" fmla="*/ 6 h 23"/>
                <a:gd name="T12" fmla="*/ 13 w 26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3">
                  <a:moveTo>
                    <a:pt x="13" y="0"/>
                  </a:moveTo>
                  <a:cubicBezTo>
                    <a:pt x="11" y="0"/>
                    <a:pt x="9" y="0"/>
                    <a:pt x="7" y="1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1"/>
                    <a:pt x="9" y="23"/>
                    <a:pt x="13" y="23"/>
                  </a:cubicBezTo>
                  <a:cubicBezTo>
                    <a:pt x="15" y="23"/>
                    <a:pt x="17" y="23"/>
                    <a:pt x="19" y="22"/>
                  </a:cubicBezTo>
                  <a:cubicBezTo>
                    <a:pt x="24" y="19"/>
                    <a:pt x="26" y="12"/>
                    <a:pt x="23" y="6"/>
                  </a:cubicBezTo>
                  <a:cubicBezTo>
                    <a:pt x="21" y="2"/>
                    <a:pt x="17" y="0"/>
                    <a:pt x="13" y="0"/>
                  </a:cubicBezTo>
                </a:path>
              </a:pathLst>
            </a:custGeom>
            <a:solidFill>
              <a:srgbClr val="56AFC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58">
              <a:extLst>
                <a:ext uri="{FF2B5EF4-FFF2-40B4-BE49-F238E27FC236}">
                  <a16:creationId xmlns:a16="http://schemas.microsoft.com/office/drawing/2014/main" xmlns="" id="{3AD1FA30-1A5F-45B7-8F47-0495666ED6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3261" y="5649912"/>
              <a:ext cx="90488" cy="76200"/>
            </a:xfrm>
            <a:custGeom>
              <a:avLst/>
              <a:gdLst>
                <a:gd name="T0" fmla="*/ 13 w 27"/>
                <a:gd name="T1" fmla="*/ 0 h 23"/>
                <a:gd name="T2" fmla="*/ 8 w 27"/>
                <a:gd name="T3" fmla="*/ 1 h 23"/>
                <a:gd name="T4" fmla="*/ 3 w 27"/>
                <a:gd name="T5" fmla="*/ 17 h 23"/>
                <a:gd name="T6" fmla="*/ 13 w 27"/>
                <a:gd name="T7" fmla="*/ 23 h 23"/>
                <a:gd name="T8" fmla="*/ 19 w 27"/>
                <a:gd name="T9" fmla="*/ 22 h 23"/>
                <a:gd name="T10" fmla="*/ 24 w 27"/>
                <a:gd name="T11" fmla="*/ 6 h 23"/>
                <a:gd name="T12" fmla="*/ 13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3" y="0"/>
                  </a:moveTo>
                  <a:cubicBezTo>
                    <a:pt x="11" y="0"/>
                    <a:pt x="9" y="0"/>
                    <a:pt x="8" y="1"/>
                  </a:cubicBezTo>
                  <a:cubicBezTo>
                    <a:pt x="2" y="4"/>
                    <a:pt x="0" y="12"/>
                    <a:pt x="3" y="17"/>
                  </a:cubicBezTo>
                  <a:cubicBezTo>
                    <a:pt x="5" y="21"/>
                    <a:pt x="9" y="23"/>
                    <a:pt x="13" y="23"/>
                  </a:cubicBezTo>
                  <a:cubicBezTo>
                    <a:pt x="15" y="23"/>
                    <a:pt x="17" y="23"/>
                    <a:pt x="19" y="22"/>
                  </a:cubicBezTo>
                  <a:cubicBezTo>
                    <a:pt x="25" y="19"/>
                    <a:pt x="27" y="11"/>
                    <a:pt x="24" y="6"/>
                  </a:cubicBezTo>
                  <a:cubicBezTo>
                    <a:pt x="22" y="2"/>
                    <a:pt x="18" y="0"/>
                    <a:pt x="13" y="0"/>
                  </a:cubicBezTo>
                </a:path>
              </a:pathLst>
            </a:custGeom>
            <a:solidFill>
              <a:srgbClr val="629CB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59">
              <a:extLst>
                <a:ext uri="{FF2B5EF4-FFF2-40B4-BE49-F238E27FC236}">
                  <a16:creationId xmlns:a16="http://schemas.microsoft.com/office/drawing/2014/main" xmlns="" id="{5AF43635-36A7-45F9-A4B6-9FC4A78501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6924" y="5595937"/>
              <a:ext cx="88900" cy="76200"/>
            </a:xfrm>
            <a:custGeom>
              <a:avLst/>
              <a:gdLst>
                <a:gd name="T0" fmla="*/ 14 w 27"/>
                <a:gd name="T1" fmla="*/ 0 h 23"/>
                <a:gd name="T2" fmla="*/ 8 w 27"/>
                <a:gd name="T3" fmla="*/ 1 h 23"/>
                <a:gd name="T4" fmla="*/ 4 w 27"/>
                <a:gd name="T5" fmla="*/ 17 h 23"/>
                <a:gd name="T6" fmla="*/ 14 w 27"/>
                <a:gd name="T7" fmla="*/ 23 h 23"/>
                <a:gd name="T8" fmla="*/ 20 w 27"/>
                <a:gd name="T9" fmla="*/ 22 h 23"/>
                <a:gd name="T10" fmla="*/ 24 w 27"/>
                <a:gd name="T11" fmla="*/ 5 h 23"/>
                <a:gd name="T12" fmla="*/ 14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4" y="0"/>
                  </a:moveTo>
                  <a:cubicBezTo>
                    <a:pt x="12" y="0"/>
                    <a:pt x="10" y="0"/>
                    <a:pt x="8" y="1"/>
                  </a:cubicBezTo>
                  <a:cubicBezTo>
                    <a:pt x="2" y="4"/>
                    <a:pt x="0" y="11"/>
                    <a:pt x="4" y="17"/>
                  </a:cubicBezTo>
                  <a:cubicBezTo>
                    <a:pt x="6" y="21"/>
                    <a:pt x="10" y="23"/>
                    <a:pt x="14" y="23"/>
                  </a:cubicBezTo>
                  <a:cubicBezTo>
                    <a:pt x="16" y="23"/>
                    <a:pt x="18" y="23"/>
                    <a:pt x="20" y="22"/>
                  </a:cubicBezTo>
                  <a:cubicBezTo>
                    <a:pt x="25" y="18"/>
                    <a:pt x="27" y="11"/>
                    <a:pt x="24" y="5"/>
                  </a:cubicBezTo>
                  <a:cubicBezTo>
                    <a:pt x="22" y="2"/>
                    <a:pt x="18" y="0"/>
                    <a:pt x="14" y="0"/>
                  </a:cubicBezTo>
                </a:path>
              </a:pathLst>
            </a:custGeom>
            <a:solidFill>
              <a:srgbClr val="42669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60">
              <a:extLst>
                <a:ext uri="{FF2B5EF4-FFF2-40B4-BE49-F238E27FC236}">
                  <a16:creationId xmlns:a16="http://schemas.microsoft.com/office/drawing/2014/main" xmlns="" id="{2C941137-2484-49B8-AF1F-1BDF791815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2174" y="5538787"/>
              <a:ext cx="88900" cy="80962"/>
            </a:xfrm>
            <a:custGeom>
              <a:avLst/>
              <a:gdLst>
                <a:gd name="T0" fmla="*/ 13 w 27"/>
                <a:gd name="T1" fmla="*/ 0 h 24"/>
                <a:gd name="T2" fmla="*/ 8 w 27"/>
                <a:gd name="T3" fmla="*/ 2 h 24"/>
                <a:gd name="T4" fmla="*/ 3 w 27"/>
                <a:gd name="T5" fmla="*/ 18 h 24"/>
                <a:gd name="T6" fmla="*/ 13 w 27"/>
                <a:gd name="T7" fmla="*/ 24 h 24"/>
                <a:gd name="T8" fmla="*/ 19 w 27"/>
                <a:gd name="T9" fmla="*/ 22 h 24"/>
                <a:gd name="T10" fmla="*/ 24 w 27"/>
                <a:gd name="T11" fmla="*/ 6 h 24"/>
                <a:gd name="T12" fmla="*/ 13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3" y="0"/>
                  </a:moveTo>
                  <a:cubicBezTo>
                    <a:pt x="11" y="0"/>
                    <a:pt x="9" y="1"/>
                    <a:pt x="8" y="2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2"/>
                    <a:pt x="9" y="24"/>
                    <a:pt x="13" y="24"/>
                  </a:cubicBezTo>
                  <a:cubicBezTo>
                    <a:pt x="15" y="24"/>
                    <a:pt x="17" y="23"/>
                    <a:pt x="19" y="22"/>
                  </a:cubicBezTo>
                  <a:cubicBezTo>
                    <a:pt x="25" y="19"/>
                    <a:pt x="27" y="12"/>
                    <a:pt x="24" y="6"/>
                  </a:cubicBezTo>
                  <a:cubicBezTo>
                    <a:pt x="21" y="2"/>
                    <a:pt x="17" y="0"/>
                    <a:pt x="13" y="0"/>
                  </a:cubicBezTo>
                </a:path>
              </a:pathLst>
            </a:custGeom>
            <a:solidFill>
              <a:srgbClr val="42669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61">
              <a:extLst>
                <a:ext uri="{FF2B5EF4-FFF2-40B4-BE49-F238E27FC236}">
                  <a16:creationId xmlns:a16="http://schemas.microsoft.com/office/drawing/2014/main" xmlns="" id="{4035D36C-9987-492B-8D32-29DACD2F0B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63161" y="5372100"/>
              <a:ext cx="88900" cy="77787"/>
            </a:xfrm>
            <a:custGeom>
              <a:avLst/>
              <a:gdLst>
                <a:gd name="T0" fmla="*/ 14 w 27"/>
                <a:gd name="T1" fmla="*/ 0 h 23"/>
                <a:gd name="T2" fmla="*/ 8 w 27"/>
                <a:gd name="T3" fmla="*/ 1 h 23"/>
                <a:gd name="T4" fmla="*/ 4 w 27"/>
                <a:gd name="T5" fmla="*/ 17 h 23"/>
                <a:gd name="T6" fmla="*/ 14 w 27"/>
                <a:gd name="T7" fmla="*/ 23 h 23"/>
                <a:gd name="T8" fmla="*/ 20 w 27"/>
                <a:gd name="T9" fmla="*/ 22 h 23"/>
                <a:gd name="T10" fmla="*/ 24 w 27"/>
                <a:gd name="T11" fmla="*/ 6 h 23"/>
                <a:gd name="T12" fmla="*/ 14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4" y="0"/>
                  </a:moveTo>
                  <a:cubicBezTo>
                    <a:pt x="12" y="0"/>
                    <a:pt x="10" y="0"/>
                    <a:pt x="8" y="1"/>
                  </a:cubicBezTo>
                  <a:cubicBezTo>
                    <a:pt x="2" y="5"/>
                    <a:pt x="0" y="12"/>
                    <a:pt x="4" y="17"/>
                  </a:cubicBezTo>
                  <a:cubicBezTo>
                    <a:pt x="6" y="21"/>
                    <a:pt x="10" y="23"/>
                    <a:pt x="14" y="23"/>
                  </a:cubicBezTo>
                  <a:cubicBezTo>
                    <a:pt x="16" y="23"/>
                    <a:pt x="18" y="23"/>
                    <a:pt x="20" y="22"/>
                  </a:cubicBezTo>
                  <a:cubicBezTo>
                    <a:pt x="25" y="19"/>
                    <a:pt x="27" y="11"/>
                    <a:pt x="24" y="6"/>
                  </a:cubicBezTo>
                  <a:cubicBezTo>
                    <a:pt x="22" y="2"/>
                    <a:pt x="18" y="0"/>
                    <a:pt x="14" y="0"/>
                  </a:cubicBezTo>
                </a:path>
              </a:pathLst>
            </a:custGeom>
            <a:solidFill>
              <a:srgbClr val="42E8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62">
              <a:extLst>
                <a:ext uri="{FF2B5EF4-FFF2-40B4-BE49-F238E27FC236}">
                  <a16:creationId xmlns:a16="http://schemas.microsoft.com/office/drawing/2014/main" xmlns="" id="{3B4E7CED-FE5C-49BE-9362-C2587E4A94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1086" y="5426075"/>
              <a:ext cx="88900" cy="79375"/>
            </a:xfrm>
            <a:custGeom>
              <a:avLst/>
              <a:gdLst>
                <a:gd name="T0" fmla="*/ 13 w 27"/>
                <a:gd name="T1" fmla="*/ 0 h 24"/>
                <a:gd name="T2" fmla="*/ 8 w 27"/>
                <a:gd name="T3" fmla="*/ 2 h 24"/>
                <a:gd name="T4" fmla="*/ 3 w 27"/>
                <a:gd name="T5" fmla="*/ 18 h 24"/>
                <a:gd name="T6" fmla="*/ 13 w 27"/>
                <a:gd name="T7" fmla="*/ 24 h 24"/>
                <a:gd name="T8" fmla="*/ 19 w 27"/>
                <a:gd name="T9" fmla="*/ 22 h 24"/>
                <a:gd name="T10" fmla="*/ 24 w 27"/>
                <a:gd name="T11" fmla="*/ 6 h 24"/>
                <a:gd name="T12" fmla="*/ 13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3" y="0"/>
                  </a:moveTo>
                  <a:cubicBezTo>
                    <a:pt x="11" y="0"/>
                    <a:pt x="9" y="1"/>
                    <a:pt x="8" y="2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1"/>
                    <a:pt x="9" y="24"/>
                    <a:pt x="13" y="24"/>
                  </a:cubicBezTo>
                  <a:cubicBezTo>
                    <a:pt x="15" y="24"/>
                    <a:pt x="17" y="23"/>
                    <a:pt x="19" y="22"/>
                  </a:cubicBezTo>
                  <a:cubicBezTo>
                    <a:pt x="25" y="19"/>
                    <a:pt x="27" y="12"/>
                    <a:pt x="24" y="6"/>
                  </a:cubicBezTo>
                  <a:cubicBezTo>
                    <a:pt x="21" y="2"/>
                    <a:pt x="17" y="0"/>
                    <a:pt x="13" y="0"/>
                  </a:cubicBezTo>
                </a:path>
              </a:pathLst>
            </a:custGeom>
            <a:solidFill>
              <a:srgbClr val="4BC8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63">
              <a:extLst>
                <a:ext uri="{FF2B5EF4-FFF2-40B4-BE49-F238E27FC236}">
                  <a16:creationId xmlns:a16="http://schemas.microsoft.com/office/drawing/2014/main" xmlns="" id="{531F4641-AD0A-4223-9658-0A902DDBCE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74249" y="5480050"/>
              <a:ext cx="88900" cy="79375"/>
            </a:xfrm>
            <a:custGeom>
              <a:avLst/>
              <a:gdLst>
                <a:gd name="T0" fmla="*/ 14 w 27"/>
                <a:gd name="T1" fmla="*/ 0 h 24"/>
                <a:gd name="T2" fmla="*/ 8 w 27"/>
                <a:gd name="T3" fmla="*/ 2 h 24"/>
                <a:gd name="T4" fmla="*/ 4 w 27"/>
                <a:gd name="T5" fmla="*/ 18 h 24"/>
                <a:gd name="T6" fmla="*/ 14 w 27"/>
                <a:gd name="T7" fmla="*/ 24 h 24"/>
                <a:gd name="T8" fmla="*/ 20 w 27"/>
                <a:gd name="T9" fmla="*/ 22 h 24"/>
                <a:gd name="T10" fmla="*/ 24 w 27"/>
                <a:gd name="T11" fmla="*/ 6 h 24"/>
                <a:gd name="T12" fmla="*/ 14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4" y="0"/>
                  </a:moveTo>
                  <a:cubicBezTo>
                    <a:pt x="12" y="0"/>
                    <a:pt x="10" y="1"/>
                    <a:pt x="8" y="2"/>
                  </a:cubicBezTo>
                  <a:cubicBezTo>
                    <a:pt x="2" y="5"/>
                    <a:pt x="0" y="12"/>
                    <a:pt x="4" y="18"/>
                  </a:cubicBezTo>
                  <a:cubicBezTo>
                    <a:pt x="6" y="22"/>
                    <a:pt x="10" y="24"/>
                    <a:pt x="14" y="24"/>
                  </a:cubicBezTo>
                  <a:cubicBezTo>
                    <a:pt x="16" y="24"/>
                    <a:pt x="18" y="23"/>
                    <a:pt x="20" y="22"/>
                  </a:cubicBezTo>
                  <a:cubicBezTo>
                    <a:pt x="25" y="19"/>
                    <a:pt x="27" y="12"/>
                    <a:pt x="24" y="6"/>
                  </a:cubicBezTo>
                  <a:cubicBezTo>
                    <a:pt x="22" y="2"/>
                    <a:pt x="18" y="0"/>
                    <a:pt x="14" y="0"/>
                  </a:cubicBezTo>
                </a:path>
              </a:pathLst>
            </a:custGeom>
            <a:solidFill>
              <a:srgbClr val="457EA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64">
              <a:extLst>
                <a:ext uri="{FF2B5EF4-FFF2-40B4-BE49-F238E27FC236}">
                  <a16:creationId xmlns:a16="http://schemas.microsoft.com/office/drawing/2014/main" xmlns="" id="{05E0E6C8-D006-42F6-8C42-980DEB3AC5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23561" y="5372100"/>
              <a:ext cx="88900" cy="77787"/>
            </a:xfrm>
            <a:custGeom>
              <a:avLst/>
              <a:gdLst>
                <a:gd name="T0" fmla="*/ 13 w 27"/>
                <a:gd name="T1" fmla="*/ 0 h 23"/>
                <a:gd name="T2" fmla="*/ 3 w 27"/>
                <a:gd name="T3" fmla="*/ 5 h 23"/>
                <a:gd name="T4" fmla="*/ 8 w 27"/>
                <a:gd name="T5" fmla="*/ 22 h 23"/>
                <a:gd name="T6" fmla="*/ 13 w 27"/>
                <a:gd name="T7" fmla="*/ 23 h 23"/>
                <a:gd name="T8" fmla="*/ 24 w 27"/>
                <a:gd name="T9" fmla="*/ 17 h 23"/>
                <a:gd name="T10" fmla="*/ 19 w 27"/>
                <a:gd name="T11" fmla="*/ 1 h 23"/>
                <a:gd name="T12" fmla="*/ 13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3" y="0"/>
                  </a:moveTo>
                  <a:cubicBezTo>
                    <a:pt x="9" y="0"/>
                    <a:pt x="5" y="2"/>
                    <a:pt x="3" y="5"/>
                  </a:cubicBezTo>
                  <a:cubicBezTo>
                    <a:pt x="0" y="11"/>
                    <a:pt x="2" y="18"/>
                    <a:pt x="8" y="22"/>
                  </a:cubicBezTo>
                  <a:cubicBezTo>
                    <a:pt x="9" y="23"/>
                    <a:pt x="11" y="23"/>
                    <a:pt x="13" y="23"/>
                  </a:cubicBezTo>
                  <a:cubicBezTo>
                    <a:pt x="18" y="23"/>
                    <a:pt x="21" y="21"/>
                    <a:pt x="24" y="17"/>
                  </a:cubicBezTo>
                  <a:cubicBezTo>
                    <a:pt x="27" y="11"/>
                    <a:pt x="25" y="4"/>
                    <a:pt x="19" y="1"/>
                  </a:cubicBezTo>
                  <a:cubicBezTo>
                    <a:pt x="17" y="0"/>
                    <a:pt x="15" y="0"/>
                    <a:pt x="13" y="0"/>
                  </a:cubicBezTo>
                </a:path>
              </a:pathLst>
            </a:custGeom>
            <a:solidFill>
              <a:srgbClr val="42E8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65">
              <a:extLst>
                <a:ext uri="{FF2B5EF4-FFF2-40B4-BE49-F238E27FC236}">
                  <a16:creationId xmlns:a16="http://schemas.microsoft.com/office/drawing/2014/main" xmlns="" id="{E0F525E9-9A56-4973-AFFE-546EA91421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5636" y="5426075"/>
              <a:ext cx="88900" cy="76200"/>
            </a:xfrm>
            <a:custGeom>
              <a:avLst/>
              <a:gdLst>
                <a:gd name="T0" fmla="*/ 14 w 27"/>
                <a:gd name="T1" fmla="*/ 0 h 23"/>
                <a:gd name="T2" fmla="*/ 4 w 27"/>
                <a:gd name="T3" fmla="*/ 6 h 23"/>
                <a:gd name="T4" fmla="*/ 8 w 27"/>
                <a:gd name="T5" fmla="*/ 22 h 23"/>
                <a:gd name="T6" fmla="*/ 14 w 27"/>
                <a:gd name="T7" fmla="*/ 23 h 23"/>
                <a:gd name="T8" fmla="*/ 24 w 27"/>
                <a:gd name="T9" fmla="*/ 17 h 23"/>
                <a:gd name="T10" fmla="*/ 20 w 27"/>
                <a:gd name="T11" fmla="*/ 1 h 23"/>
                <a:gd name="T12" fmla="*/ 14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4" y="0"/>
                  </a:moveTo>
                  <a:cubicBezTo>
                    <a:pt x="10" y="0"/>
                    <a:pt x="6" y="2"/>
                    <a:pt x="4" y="6"/>
                  </a:cubicBezTo>
                  <a:cubicBezTo>
                    <a:pt x="0" y="11"/>
                    <a:pt x="2" y="19"/>
                    <a:pt x="8" y="22"/>
                  </a:cubicBezTo>
                  <a:cubicBezTo>
                    <a:pt x="10" y="23"/>
                    <a:pt x="12" y="23"/>
                    <a:pt x="14" y="23"/>
                  </a:cubicBezTo>
                  <a:cubicBezTo>
                    <a:pt x="18" y="23"/>
                    <a:pt x="22" y="21"/>
                    <a:pt x="24" y="17"/>
                  </a:cubicBezTo>
                  <a:cubicBezTo>
                    <a:pt x="27" y="12"/>
                    <a:pt x="25" y="5"/>
                    <a:pt x="20" y="1"/>
                  </a:cubicBezTo>
                  <a:cubicBezTo>
                    <a:pt x="18" y="0"/>
                    <a:pt x="16" y="0"/>
                    <a:pt x="14" y="0"/>
                  </a:cubicBezTo>
                </a:path>
              </a:pathLst>
            </a:custGeom>
            <a:solidFill>
              <a:srgbClr val="4BC8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Freeform 66">
              <a:extLst>
                <a:ext uri="{FF2B5EF4-FFF2-40B4-BE49-F238E27FC236}">
                  <a16:creationId xmlns:a16="http://schemas.microsoft.com/office/drawing/2014/main" xmlns="" id="{BEAE6FF4-C501-4C1E-BE5C-FD002C7403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10886" y="5480050"/>
              <a:ext cx="88900" cy="79375"/>
            </a:xfrm>
            <a:custGeom>
              <a:avLst/>
              <a:gdLst>
                <a:gd name="T0" fmla="*/ 13 w 27"/>
                <a:gd name="T1" fmla="*/ 0 h 24"/>
                <a:gd name="T2" fmla="*/ 3 w 27"/>
                <a:gd name="T3" fmla="*/ 6 h 24"/>
                <a:gd name="T4" fmla="*/ 8 w 27"/>
                <a:gd name="T5" fmla="*/ 22 h 24"/>
                <a:gd name="T6" fmla="*/ 13 w 27"/>
                <a:gd name="T7" fmla="*/ 24 h 24"/>
                <a:gd name="T8" fmla="*/ 24 w 27"/>
                <a:gd name="T9" fmla="*/ 18 h 24"/>
                <a:gd name="T10" fmla="*/ 19 w 27"/>
                <a:gd name="T11" fmla="*/ 2 h 24"/>
                <a:gd name="T12" fmla="*/ 13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3" y="0"/>
                  </a:moveTo>
                  <a:cubicBezTo>
                    <a:pt x="9" y="0"/>
                    <a:pt x="5" y="2"/>
                    <a:pt x="3" y="6"/>
                  </a:cubicBezTo>
                  <a:cubicBezTo>
                    <a:pt x="0" y="12"/>
                    <a:pt x="2" y="19"/>
                    <a:pt x="8" y="22"/>
                  </a:cubicBezTo>
                  <a:cubicBezTo>
                    <a:pt x="9" y="23"/>
                    <a:pt x="11" y="24"/>
                    <a:pt x="13" y="24"/>
                  </a:cubicBezTo>
                  <a:cubicBezTo>
                    <a:pt x="17" y="24"/>
                    <a:pt x="21" y="21"/>
                    <a:pt x="24" y="18"/>
                  </a:cubicBezTo>
                  <a:cubicBezTo>
                    <a:pt x="27" y="12"/>
                    <a:pt x="25" y="5"/>
                    <a:pt x="19" y="2"/>
                  </a:cubicBezTo>
                  <a:cubicBezTo>
                    <a:pt x="17" y="0"/>
                    <a:pt x="15" y="0"/>
                    <a:pt x="13" y="0"/>
                  </a:cubicBezTo>
                </a:path>
              </a:pathLst>
            </a:custGeom>
            <a:solidFill>
              <a:srgbClr val="56AFC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67">
              <a:extLst>
                <a:ext uri="{FF2B5EF4-FFF2-40B4-BE49-F238E27FC236}">
                  <a16:creationId xmlns:a16="http://schemas.microsoft.com/office/drawing/2014/main" xmlns="" id="{220CDB65-2265-4F3C-900F-82CA48E66F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4549" y="5532437"/>
              <a:ext cx="88900" cy="80962"/>
            </a:xfrm>
            <a:custGeom>
              <a:avLst/>
              <a:gdLst>
                <a:gd name="T0" fmla="*/ 14 w 27"/>
                <a:gd name="T1" fmla="*/ 0 h 24"/>
                <a:gd name="T2" fmla="*/ 4 w 27"/>
                <a:gd name="T3" fmla="*/ 6 h 24"/>
                <a:gd name="T4" fmla="*/ 8 w 27"/>
                <a:gd name="T5" fmla="*/ 22 h 24"/>
                <a:gd name="T6" fmla="*/ 14 w 27"/>
                <a:gd name="T7" fmla="*/ 24 h 24"/>
                <a:gd name="T8" fmla="*/ 24 w 27"/>
                <a:gd name="T9" fmla="*/ 18 h 24"/>
                <a:gd name="T10" fmla="*/ 20 w 27"/>
                <a:gd name="T11" fmla="*/ 2 h 24"/>
                <a:gd name="T12" fmla="*/ 14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4" y="0"/>
                  </a:moveTo>
                  <a:cubicBezTo>
                    <a:pt x="10" y="0"/>
                    <a:pt x="6" y="2"/>
                    <a:pt x="4" y="6"/>
                  </a:cubicBezTo>
                  <a:cubicBezTo>
                    <a:pt x="0" y="12"/>
                    <a:pt x="2" y="19"/>
                    <a:pt x="8" y="22"/>
                  </a:cubicBezTo>
                  <a:cubicBezTo>
                    <a:pt x="10" y="23"/>
                    <a:pt x="12" y="24"/>
                    <a:pt x="14" y="24"/>
                  </a:cubicBezTo>
                  <a:cubicBezTo>
                    <a:pt x="18" y="24"/>
                    <a:pt x="22" y="22"/>
                    <a:pt x="24" y="18"/>
                  </a:cubicBezTo>
                  <a:cubicBezTo>
                    <a:pt x="27" y="12"/>
                    <a:pt x="25" y="5"/>
                    <a:pt x="20" y="2"/>
                  </a:cubicBezTo>
                  <a:cubicBezTo>
                    <a:pt x="18" y="1"/>
                    <a:pt x="16" y="0"/>
                    <a:pt x="14" y="0"/>
                  </a:cubicBezTo>
                </a:path>
              </a:pathLst>
            </a:custGeom>
            <a:solidFill>
              <a:srgbClr val="6E8E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68">
              <a:extLst>
                <a:ext uri="{FF2B5EF4-FFF2-40B4-BE49-F238E27FC236}">
                  <a16:creationId xmlns:a16="http://schemas.microsoft.com/office/drawing/2014/main" xmlns="" id="{ECAD736F-A86C-4A0E-9501-9B69D6915A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9799" y="5586412"/>
              <a:ext cx="88900" cy="79375"/>
            </a:xfrm>
            <a:custGeom>
              <a:avLst/>
              <a:gdLst>
                <a:gd name="T0" fmla="*/ 13 w 27"/>
                <a:gd name="T1" fmla="*/ 0 h 24"/>
                <a:gd name="T2" fmla="*/ 3 w 27"/>
                <a:gd name="T3" fmla="*/ 6 h 24"/>
                <a:gd name="T4" fmla="*/ 7 w 27"/>
                <a:gd name="T5" fmla="*/ 22 h 24"/>
                <a:gd name="T6" fmla="*/ 13 w 27"/>
                <a:gd name="T7" fmla="*/ 24 h 24"/>
                <a:gd name="T8" fmla="*/ 24 w 27"/>
                <a:gd name="T9" fmla="*/ 18 h 24"/>
                <a:gd name="T10" fmla="*/ 19 w 27"/>
                <a:gd name="T11" fmla="*/ 2 h 24"/>
                <a:gd name="T12" fmla="*/ 13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3" y="0"/>
                  </a:moveTo>
                  <a:cubicBezTo>
                    <a:pt x="9" y="0"/>
                    <a:pt x="5" y="3"/>
                    <a:pt x="3" y="6"/>
                  </a:cubicBezTo>
                  <a:cubicBezTo>
                    <a:pt x="0" y="12"/>
                    <a:pt x="2" y="19"/>
                    <a:pt x="7" y="22"/>
                  </a:cubicBezTo>
                  <a:cubicBezTo>
                    <a:pt x="9" y="23"/>
                    <a:pt x="11" y="24"/>
                    <a:pt x="13" y="24"/>
                  </a:cubicBezTo>
                  <a:cubicBezTo>
                    <a:pt x="17" y="24"/>
                    <a:pt x="21" y="22"/>
                    <a:pt x="24" y="18"/>
                  </a:cubicBezTo>
                  <a:cubicBezTo>
                    <a:pt x="27" y="12"/>
                    <a:pt x="25" y="5"/>
                    <a:pt x="19" y="2"/>
                  </a:cubicBezTo>
                  <a:cubicBezTo>
                    <a:pt x="17" y="1"/>
                    <a:pt x="15" y="0"/>
                    <a:pt x="13" y="0"/>
                  </a:cubicBezTo>
                </a:path>
              </a:pathLst>
            </a:custGeom>
            <a:solidFill>
              <a:srgbClr val="7C87A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Freeform 71">
              <a:extLst>
                <a:ext uri="{FF2B5EF4-FFF2-40B4-BE49-F238E27FC236}">
                  <a16:creationId xmlns:a16="http://schemas.microsoft.com/office/drawing/2014/main" xmlns="" id="{98532914-5A4F-4DDE-A3CD-6827FFEBC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45911" y="5972175"/>
              <a:ext cx="90488" cy="80962"/>
            </a:xfrm>
            <a:custGeom>
              <a:avLst/>
              <a:gdLst>
                <a:gd name="T0" fmla="*/ 14 w 27"/>
                <a:gd name="T1" fmla="*/ 0 h 24"/>
                <a:gd name="T2" fmla="*/ 3 w 27"/>
                <a:gd name="T3" fmla="*/ 6 h 24"/>
                <a:gd name="T4" fmla="*/ 8 w 27"/>
                <a:gd name="T5" fmla="*/ 22 h 24"/>
                <a:gd name="T6" fmla="*/ 14 w 27"/>
                <a:gd name="T7" fmla="*/ 24 h 24"/>
                <a:gd name="T8" fmla="*/ 24 w 27"/>
                <a:gd name="T9" fmla="*/ 18 h 24"/>
                <a:gd name="T10" fmla="*/ 20 w 27"/>
                <a:gd name="T11" fmla="*/ 2 h 24"/>
                <a:gd name="T12" fmla="*/ 14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4" y="0"/>
                  </a:moveTo>
                  <a:cubicBezTo>
                    <a:pt x="10" y="0"/>
                    <a:pt x="6" y="2"/>
                    <a:pt x="3" y="6"/>
                  </a:cubicBezTo>
                  <a:cubicBezTo>
                    <a:pt x="0" y="12"/>
                    <a:pt x="2" y="19"/>
                    <a:pt x="8" y="22"/>
                  </a:cubicBezTo>
                  <a:cubicBezTo>
                    <a:pt x="10" y="23"/>
                    <a:pt x="12" y="24"/>
                    <a:pt x="14" y="24"/>
                  </a:cubicBezTo>
                  <a:cubicBezTo>
                    <a:pt x="18" y="24"/>
                    <a:pt x="22" y="21"/>
                    <a:pt x="24" y="18"/>
                  </a:cubicBezTo>
                  <a:cubicBezTo>
                    <a:pt x="27" y="12"/>
                    <a:pt x="25" y="5"/>
                    <a:pt x="20" y="2"/>
                  </a:cubicBezTo>
                  <a:cubicBezTo>
                    <a:pt x="18" y="1"/>
                    <a:pt x="16" y="0"/>
                    <a:pt x="14" y="0"/>
                  </a:cubicBezTo>
                </a:path>
              </a:pathLst>
            </a:custGeom>
            <a:solidFill>
              <a:srgbClr val="42E8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Freeform 72">
              <a:extLst>
                <a:ext uri="{FF2B5EF4-FFF2-40B4-BE49-F238E27FC236}">
                  <a16:creationId xmlns:a16="http://schemas.microsoft.com/office/drawing/2014/main" xmlns="" id="{A7BDCC71-1F86-4B47-B459-2477B26D26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53836" y="5919787"/>
              <a:ext cx="88900" cy="76200"/>
            </a:xfrm>
            <a:custGeom>
              <a:avLst/>
              <a:gdLst>
                <a:gd name="T0" fmla="*/ 13 w 27"/>
                <a:gd name="T1" fmla="*/ 0 h 23"/>
                <a:gd name="T2" fmla="*/ 3 w 27"/>
                <a:gd name="T3" fmla="*/ 6 h 23"/>
                <a:gd name="T4" fmla="*/ 7 w 27"/>
                <a:gd name="T5" fmla="*/ 22 h 23"/>
                <a:gd name="T6" fmla="*/ 13 w 27"/>
                <a:gd name="T7" fmla="*/ 23 h 23"/>
                <a:gd name="T8" fmla="*/ 23 w 27"/>
                <a:gd name="T9" fmla="*/ 17 h 23"/>
                <a:gd name="T10" fmla="*/ 19 w 27"/>
                <a:gd name="T11" fmla="*/ 1 h 23"/>
                <a:gd name="T12" fmla="*/ 13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3" y="0"/>
                  </a:moveTo>
                  <a:cubicBezTo>
                    <a:pt x="9" y="0"/>
                    <a:pt x="5" y="2"/>
                    <a:pt x="3" y="6"/>
                  </a:cubicBezTo>
                  <a:cubicBezTo>
                    <a:pt x="0" y="11"/>
                    <a:pt x="2" y="18"/>
                    <a:pt x="7" y="22"/>
                  </a:cubicBezTo>
                  <a:cubicBezTo>
                    <a:pt x="9" y="23"/>
                    <a:pt x="11" y="23"/>
                    <a:pt x="13" y="23"/>
                  </a:cubicBezTo>
                  <a:cubicBezTo>
                    <a:pt x="17" y="23"/>
                    <a:pt x="21" y="21"/>
                    <a:pt x="23" y="17"/>
                  </a:cubicBezTo>
                  <a:cubicBezTo>
                    <a:pt x="27" y="12"/>
                    <a:pt x="25" y="5"/>
                    <a:pt x="19" y="1"/>
                  </a:cubicBezTo>
                  <a:cubicBezTo>
                    <a:pt x="17" y="0"/>
                    <a:pt x="15" y="0"/>
                    <a:pt x="13" y="0"/>
                  </a:cubicBezTo>
                </a:path>
              </a:pathLst>
            </a:custGeom>
            <a:solidFill>
              <a:srgbClr val="4BC8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Freeform 73">
              <a:extLst>
                <a:ext uri="{FF2B5EF4-FFF2-40B4-BE49-F238E27FC236}">
                  <a16:creationId xmlns:a16="http://schemas.microsoft.com/office/drawing/2014/main" xmlns="" id="{8EDB264D-3D4F-4F98-A42E-3355C4154F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58586" y="5862637"/>
              <a:ext cx="88900" cy="80962"/>
            </a:xfrm>
            <a:custGeom>
              <a:avLst/>
              <a:gdLst>
                <a:gd name="T0" fmla="*/ 14 w 27"/>
                <a:gd name="T1" fmla="*/ 0 h 24"/>
                <a:gd name="T2" fmla="*/ 4 w 27"/>
                <a:gd name="T3" fmla="*/ 6 h 24"/>
                <a:gd name="T4" fmla="*/ 8 w 27"/>
                <a:gd name="T5" fmla="*/ 22 h 24"/>
                <a:gd name="T6" fmla="*/ 14 w 27"/>
                <a:gd name="T7" fmla="*/ 24 h 24"/>
                <a:gd name="T8" fmla="*/ 24 w 27"/>
                <a:gd name="T9" fmla="*/ 18 h 24"/>
                <a:gd name="T10" fmla="*/ 20 w 27"/>
                <a:gd name="T11" fmla="*/ 2 h 24"/>
                <a:gd name="T12" fmla="*/ 14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4" y="0"/>
                  </a:moveTo>
                  <a:cubicBezTo>
                    <a:pt x="10" y="0"/>
                    <a:pt x="6" y="2"/>
                    <a:pt x="4" y="6"/>
                  </a:cubicBezTo>
                  <a:cubicBezTo>
                    <a:pt x="0" y="12"/>
                    <a:pt x="2" y="19"/>
                    <a:pt x="8" y="22"/>
                  </a:cubicBezTo>
                  <a:cubicBezTo>
                    <a:pt x="10" y="23"/>
                    <a:pt x="12" y="24"/>
                    <a:pt x="14" y="24"/>
                  </a:cubicBezTo>
                  <a:cubicBezTo>
                    <a:pt x="18" y="24"/>
                    <a:pt x="22" y="22"/>
                    <a:pt x="24" y="18"/>
                  </a:cubicBezTo>
                  <a:cubicBezTo>
                    <a:pt x="27" y="12"/>
                    <a:pt x="25" y="5"/>
                    <a:pt x="20" y="2"/>
                  </a:cubicBezTo>
                  <a:cubicBezTo>
                    <a:pt x="18" y="1"/>
                    <a:pt x="16" y="0"/>
                    <a:pt x="14" y="0"/>
                  </a:cubicBezTo>
                </a:path>
              </a:pathLst>
            </a:custGeom>
            <a:solidFill>
              <a:srgbClr val="56AFC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Freeform 74">
              <a:extLst>
                <a:ext uri="{FF2B5EF4-FFF2-40B4-BE49-F238E27FC236}">
                  <a16:creationId xmlns:a16="http://schemas.microsoft.com/office/drawing/2014/main" xmlns="" id="{33638A6C-CE95-4C7E-B7B4-8FC32CD0D2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66511" y="5810250"/>
              <a:ext cx="88900" cy="76200"/>
            </a:xfrm>
            <a:custGeom>
              <a:avLst/>
              <a:gdLst>
                <a:gd name="T0" fmla="*/ 14 w 27"/>
                <a:gd name="T1" fmla="*/ 0 h 23"/>
                <a:gd name="T2" fmla="*/ 3 w 27"/>
                <a:gd name="T3" fmla="*/ 6 h 23"/>
                <a:gd name="T4" fmla="*/ 8 w 27"/>
                <a:gd name="T5" fmla="*/ 22 h 23"/>
                <a:gd name="T6" fmla="*/ 14 w 27"/>
                <a:gd name="T7" fmla="*/ 23 h 23"/>
                <a:gd name="T8" fmla="*/ 24 w 27"/>
                <a:gd name="T9" fmla="*/ 18 h 23"/>
                <a:gd name="T10" fmla="*/ 19 w 27"/>
                <a:gd name="T11" fmla="*/ 2 h 23"/>
                <a:gd name="T12" fmla="*/ 14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4" y="0"/>
                  </a:moveTo>
                  <a:cubicBezTo>
                    <a:pt x="10" y="0"/>
                    <a:pt x="6" y="2"/>
                    <a:pt x="3" y="6"/>
                  </a:cubicBezTo>
                  <a:cubicBezTo>
                    <a:pt x="0" y="11"/>
                    <a:pt x="2" y="19"/>
                    <a:pt x="8" y="22"/>
                  </a:cubicBezTo>
                  <a:cubicBezTo>
                    <a:pt x="10" y="23"/>
                    <a:pt x="12" y="23"/>
                    <a:pt x="14" y="23"/>
                  </a:cubicBezTo>
                  <a:cubicBezTo>
                    <a:pt x="18" y="23"/>
                    <a:pt x="22" y="21"/>
                    <a:pt x="24" y="18"/>
                  </a:cubicBezTo>
                  <a:cubicBezTo>
                    <a:pt x="27" y="12"/>
                    <a:pt x="25" y="5"/>
                    <a:pt x="19" y="2"/>
                  </a:cubicBezTo>
                  <a:cubicBezTo>
                    <a:pt x="18" y="0"/>
                    <a:pt x="16" y="0"/>
                    <a:pt x="14" y="0"/>
                  </a:cubicBezTo>
                </a:path>
              </a:pathLst>
            </a:custGeom>
            <a:solidFill>
              <a:srgbClr val="629CB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Freeform 75">
              <a:extLst>
                <a:ext uri="{FF2B5EF4-FFF2-40B4-BE49-F238E27FC236}">
                  <a16:creationId xmlns:a16="http://schemas.microsoft.com/office/drawing/2014/main" xmlns="" id="{C23CA099-DAC1-432C-8C4E-11E19A22FD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72849" y="5756275"/>
              <a:ext cx="90488" cy="76200"/>
            </a:xfrm>
            <a:custGeom>
              <a:avLst/>
              <a:gdLst>
                <a:gd name="T0" fmla="*/ 13 w 27"/>
                <a:gd name="T1" fmla="*/ 0 h 23"/>
                <a:gd name="T2" fmla="*/ 3 w 27"/>
                <a:gd name="T3" fmla="*/ 5 h 23"/>
                <a:gd name="T4" fmla="*/ 7 w 27"/>
                <a:gd name="T5" fmla="*/ 22 h 23"/>
                <a:gd name="T6" fmla="*/ 13 w 27"/>
                <a:gd name="T7" fmla="*/ 23 h 23"/>
                <a:gd name="T8" fmla="*/ 23 w 27"/>
                <a:gd name="T9" fmla="*/ 17 h 23"/>
                <a:gd name="T10" fmla="*/ 19 w 27"/>
                <a:gd name="T11" fmla="*/ 1 h 23"/>
                <a:gd name="T12" fmla="*/ 13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3" y="0"/>
                  </a:moveTo>
                  <a:cubicBezTo>
                    <a:pt x="9" y="0"/>
                    <a:pt x="5" y="2"/>
                    <a:pt x="3" y="5"/>
                  </a:cubicBezTo>
                  <a:cubicBezTo>
                    <a:pt x="0" y="11"/>
                    <a:pt x="2" y="18"/>
                    <a:pt x="7" y="22"/>
                  </a:cubicBezTo>
                  <a:cubicBezTo>
                    <a:pt x="9" y="23"/>
                    <a:pt x="11" y="23"/>
                    <a:pt x="13" y="23"/>
                  </a:cubicBezTo>
                  <a:cubicBezTo>
                    <a:pt x="17" y="23"/>
                    <a:pt x="21" y="21"/>
                    <a:pt x="23" y="17"/>
                  </a:cubicBezTo>
                  <a:cubicBezTo>
                    <a:pt x="27" y="12"/>
                    <a:pt x="25" y="4"/>
                    <a:pt x="19" y="1"/>
                  </a:cubicBezTo>
                  <a:cubicBezTo>
                    <a:pt x="17" y="0"/>
                    <a:pt x="15" y="0"/>
                    <a:pt x="13" y="0"/>
                  </a:cubicBezTo>
                </a:path>
              </a:pathLst>
            </a:custGeom>
            <a:solidFill>
              <a:srgbClr val="6E8E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Freeform 77">
              <a:extLst>
                <a:ext uri="{FF2B5EF4-FFF2-40B4-BE49-F238E27FC236}">
                  <a16:creationId xmlns:a16="http://schemas.microsoft.com/office/drawing/2014/main" xmlns="" id="{07FA81A5-EEEB-44AB-9090-766B35EE42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7124" y="5699125"/>
              <a:ext cx="79375" cy="73025"/>
            </a:xfrm>
            <a:custGeom>
              <a:avLst/>
              <a:gdLst>
                <a:gd name="T0" fmla="*/ 11 w 24"/>
                <a:gd name="T1" fmla="*/ 0 h 22"/>
                <a:gd name="T2" fmla="*/ 6 w 24"/>
                <a:gd name="T3" fmla="*/ 1 h 22"/>
                <a:gd name="T4" fmla="*/ 3 w 24"/>
                <a:gd name="T5" fmla="*/ 5 h 22"/>
                <a:gd name="T6" fmla="*/ 7 w 24"/>
                <a:gd name="T7" fmla="*/ 21 h 22"/>
                <a:gd name="T8" fmla="*/ 13 w 24"/>
                <a:gd name="T9" fmla="*/ 22 h 22"/>
                <a:gd name="T10" fmla="*/ 18 w 24"/>
                <a:gd name="T11" fmla="*/ 21 h 22"/>
                <a:gd name="T12" fmla="*/ 21 w 24"/>
                <a:gd name="T13" fmla="*/ 18 h 22"/>
                <a:gd name="T14" fmla="*/ 17 w 24"/>
                <a:gd name="T15" fmla="*/ 2 h 22"/>
                <a:gd name="T16" fmla="*/ 11 w 24"/>
                <a:gd name="T1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2">
                  <a:moveTo>
                    <a:pt x="11" y="0"/>
                  </a:moveTo>
                  <a:cubicBezTo>
                    <a:pt x="9" y="0"/>
                    <a:pt x="8" y="0"/>
                    <a:pt x="6" y="1"/>
                  </a:cubicBezTo>
                  <a:cubicBezTo>
                    <a:pt x="5" y="2"/>
                    <a:pt x="4" y="3"/>
                    <a:pt x="3" y="5"/>
                  </a:cubicBezTo>
                  <a:cubicBezTo>
                    <a:pt x="0" y="10"/>
                    <a:pt x="2" y="18"/>
                    <a:pt x="7" y="21"/>
                  </a:cubicBezTo>
                  <a:cubicBezTo>
                    <a:pt x="9" y="22"/>
                    <a:pt x="11" y="22"/>
                    <a:pt x="13" y="22"/>
                  </a:cubicBezTo>
                  <a:cubicBezTo>
                    <a:pt x="15" y="22"/>
                    <a:pt x="16" y="22"/>
                    <a:pt x="18" y="21"/>
                  </a:cubicBezTo>
                  <a:cubicBezTo>
                    <a:pt x="19" y="21"/>
                    <a:pt x="20" y="19"/>
                    <a:pt x="21" y="18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5" y="1"/>
                    <a:pt x="13" y="0"/>
                    <a:pt x="11" y="0"/>
                  </a:cubicBezTo>
                </a:path>
              </a:pathLst>
            </a:custGeom>
            <a:solidFill>
              <a:srgbClr val="7C87A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" name="Freeform 79">
              <a:extLst>
                <a:ext uri="{FF2B5EF4-FFF2-40B4-BE49-F238E27FC236}">
                  <a16:creationId xmlns:a16="http://schemas.microsoft.com/office/drawing/2014/main" xmlns="" id="{40C15D7D-C48E-4DE3-B760-B9144BDAA1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91874" y="5646737"/>
              <a:ext cx="82550" cy="73025"/>
            </a:xfrm>
            <a:custGeom>
              <a:avLst/>
              <a:gdLst>
                <a:gd name="T0" fmla="*/ 11 w 25"/>
                <a:gd name="T1" fmla="*/ 0 h 22"/>
                <a:gd name="T2" fmla="*/ 7 w 25"/>
                <a:gd name="T3" fmla="*/ 1 h 22"/>
                <a:gd name="T4" fmla="*/ 4 w 25"/>
                <a:gd name="T5" fmla="*/ 5 h 22"/>
                <a:gd name="T6" fmla="*/ 8 w 25"/>
                <a:gd name="T7" fmla="*/ 21 h 22"/>
                <a:gd name="T8" fmla="*/ 14 w 25"/>
                <a:gd name="T9" fmla="*/ 22 h 22"/>
                <a:gd name="T10" fmla="*/ 18 w 25"/>
                <a:gd name="T11" fmla="*/ 21 h 22"/>
                <a:gd name="T12" fmla="*/ 22 w 25"/>
                <a:gd name="T13" fmla="*/ 17 h 22"/>
                <a:gd name="T14" fmla="*/ 17 w 25"/>
                <a:gd name="T15" fmla="*/ 1 h 22"/>
                <a:gd name="T16" fmla="*/ 11 w 25"/>
                <a:gd name="T1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2">
                  <a:moveTo>
                    <a:pt x="11" y="0"/>
                  </a:moveTo>
                  <a:cubicBezTo>
                    <a:pt x="10" y="0"/>
                    <a:pt x="9" y="0"/>
                    <a:pt x="7" y="1"/>
                  </a:cubicBezTo>
                  <a:cubicBezTo>
                    <a:pt x="6" y="2"/>
                    <a:pt x="4" y="3"/>
                    <a:pt x="4" y="5"/>
                  </a:cubicBezTo>
                  <a:cubicBezTo>
                    <a:pt x="0" y="10"/>
                    <a:pt x="2" y="17"/>
                    <a:pt x="8" y="21"/>
                  </a:cubicBezTo>
                  <a:cubicBezTo>
                    <a:pt x="10" y="22"/>
                    <a:pt x="12" y="22"/>
                    <a:pt x="14" y="22"/>
                  </a:cubicBezTo>
                  <a:cubicBezTo>
                    <a:pt x="15" y="22"/>
                    <a:pt x="17" y="22"/>
                    <a:pt x="18" y="21"/>
                  </a:cubicBezTo>
                  <a:cubicBezTo>
                    <a:pt x="19" y="20"/>
                    <a:pt x="21" y="19"/>
                    <a:pt x="22" y="17"/>
                  </a:cubicBezTo>
                  <a:cubicBezTo>
                    <a:pt x="25" y="12"/>
                    <a:pt x="23" y="5"/>
                    <a:pt x="17" y="1"/>
                  </a:cubicBezTo>
                  <a:cubicBezTo>
                    <a:pt x="15" y="0"/>
                    <a:pt x="13" y="0"/>
                    <a:pt x="11" y="0"/>
                  </a:cubicBezTo>
                </a:path>
              </a:pathLst>
            </a:custGeom>
            <a:solidFill>
              <a:srgbClr val="5149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Freeform 80">
              <a:extLst>
                <a:ext uri="{FF2B5EF4-FFF2-40B4-BE49-F238E27FC236}">
                  <a16:creationId xmlns:a16="http://schemas.microsoft.com/office/drawing/2014/main" xmlns="" id="{6779B2B1-D922-4492-BD11-EBA2348D0B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30174" y="5626100"/>
              <a:ext cx="88900" cy="76200"/>
            </a:xfrm>
            <a:custGeom>
              <a:avLst/>
              <a:gdLst>
                <a:gd name="T0" fmla="*/ 13 w 27"/>
                <a:gd name="T1" fmla="*/ 0 h 23"/>
                <a:gd name="T2" fmla="*/ 8 w 27"/>
                <a:gd name="T3" fmla="*/ 1 h 23"/>
                <a:gd name="T4" fmla="*/ 3 w 27"/>
                <a:gd name="T5" fmla="*/ 17 h 23"/>
                <a:gd name="T6" fmla="*/ 13 w 27"/>
                <a:gd name="T7" fmla="*/ 23 h 23"/>
                <a:gd name="T8" fmla="*/ 19 w 27"/>
                <a:gd name="T9" fmla="*/ 22 h 23"/>
                <a:gd name="T10" fmla="*/ 24 w 27"/>
                <a:gd name="T11" fmla="*/ 6 h 23"/>
                <a:gd name="T12" fmla="*/ 13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3" y="0"/>
                  </a:moveTo>
                  <a:cubicBezTo>
                    <a:pt x="11" y="0"/>
                    <a:pt x="9" y="0"/>
                    <a:pt x="8" y="1"/>
                  </a:cubicBezTo>
                  <a:cubicBezTo>
                    <a:pt x="2" y="5"/>
                    <a:pt x="0" y="12"/>
                    <a:pt x="3" y="17"/>
                  </a:cubicBezTo>
                  <a:cubicBezTo>
                    <a:pt x="5" y="21"/>
                    <a:pt x="9" y="23"/>
                    <a:pt x="13" y="23"/>
                  </a:cubicBezTo>
                  <a:cubicBezTo>
                    <a:pt x="15" y="23"/>
                    <a:pt x="17" y="23"/>
                    <a:pt x="19" y="22"/>
                  </a:cubicBezTo>
                  <a:cubicBezTo>
                    <a:pt x="25" y="19"/>
                    <a:pt x="27" y="11"/>
                    <a:pt x="24" y="6"/>
                  </a:cubicBezTo>
                  <a:cubicBezTo>
                    <a:pt x="21" y="2"/>
                    <a:pt x="18" y="0"/>
                    <a:pt x="13" y="0"/>
                  </a:cubicBezTo>
                </a:path>
              </a:pathLst>
            </a:custGeom>
            <a:solidFill>
              <a:srgbClr val="42E8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Freeform 81">
              <a:extLst>
                <a:ext uri="{FF2B5EF4-FFF2-40B4-BE49-F238E27FC236}">
                  <a16:creationId xmlns:a16="http://schemas.microsoft.com/office/drawing/2014/main" xmlns="" id="{8DC4648F-D8C5-4ED1-87D1-6178D01C91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2249" y="5568950"/>
              <a:ext cx="88900" cy="80962"/>
            </a:xfrm>
            <a:custGeom>
              <a:avLst/>
              <a:gdLst>
                <a:gd name="T0" fmla="*/ 14 w 27"/>
                <a:gd name="T1" fmla="*/ 0 h 24"/>
                <a:gd name="T2" fmla="*/ 8 w 27"/>
                <a:gd name="T3" fmla="*/ 2 h 24"/>
                <a:gd name="T4" fmla="*/ 4 w 27"/>
                <a:gd name="T5" fmla="*/ 18 h 24"/>
                <a:gd name="T6" fmla="*/ 14 w 27"/>
                <a:gd name="T7" fmla="*/ 24 h 24"/>
                <a:gd name="T8" fmla="*/ 20 w 27"/>
                <a:gd name="T9" fmla="*/ 22 h 24"/>
                <a:gd name="T10" fmla="*/ 24 w 27"/>
                <a:gd name="T11" fmla="*/ 6 h 24"/>
                <a:gd name="T12" fmla="*/ 14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4" y="0"/>
                  </a:moveTo>
                  <a:cubicBezTo>
                    <a:pt x="12" y="0"/>
                    <a:pt x="10" y="1"/>
                    <a:pt x="8" y="2"/>
                  </a:cubicBezTo>
                  <a:cubicBezTo>
                    <a:pt x="2" y="5"/>
                    <a:pt x="0" y="12"/>
                    <a:pt x="4" y="18"/>
                  </a:cubicBezTo>
                  <a:cubicBezTo>
                    <a:pt x="6" y="22"/>
                    <a:pt x="10" y="24"/>
                    <a:pt x="14" y="24"/>
                  </a:cubicBezTo>
                  <a:cubicBezTo>
                    <a:pt x="16" y="24"/>
                    <a:pt x="18" y="23"/>
                    <a:pt x="20" y="22"/>
                  </a:cubicBezTo>
                  <a:cubicBezTo>
                    <a:pt x="25" y="19"/>
                    <a:pt x="27" y="12"/>
                    <a:pt x="24" y="6"/>
                  </a:cubicBezTo>
                  <a:cubicBezTo>
                    <a:pt x="22" y="3"/>
                    <a:pt x="18" y="0"/>
                    <a:pt x="14" y="0"/>
                  </a:cubicBezTo>
                </a:path>
              </a:pathLst>
            </a:custGeom>
            <a:solidFill>
              <a:srgbClr val="4BC8C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" name="Freeform 82">
              <a:extLst>
                <a:ext uri="{FF2B5EF4-FFF2-40B4-BE49-F238E27FC236}">
                  <a16:creationId xmlns:a16="http://schemas.microsoft.com/office/drawing/2014/main" xmlns="" id="{DAAB9D96-B8A7-4454-9A5F-02E1F41C26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17499" y="5516562"/>
              <a:ext cx="88900" cy="79375"/>
            </a:xfrm>
            <a:custGeom>
              <a:avLst/>
              <a:gdLst>
                <a:gd name="T0" fmla="*/ 13 w 27"/>
                <a:gd name="T1" fmla="*/ 0 h 24"/>
                <a:gd name="T2" fmla="*/ 7 w 27"/>
                <a:gd name="T3" fmla="*/ 2 h 24"/>
                <a:gd name="T4" fmla="*/ 3 w 27"/>
                <a:gd name="T5" fmla="*/ 18 h 24"/>
                <a:gd name="T6" fmla="*/ 13 w 27"/>
                <a:gd name="T7" fmla="*/ 24 h 24"/>
                <a:gd name="T8" fmla="*/ 19 w 27"/>
                <a:gd name="T9" fmla="*/ 22 h 24"/>
                <a:gd name="T10" fmla="*/ 23 w 27"/>
                <a:gd name="T11" fmla="*/ 6 h 24"/>
                <a:gd name="T12" fmla="*/ 13 w 27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4">
                  <a:moveTo>
                    <a:pt x="13" y="0"/>
                  </a:moveTo>
                  <a:cubicBezTo>
                    <a:pt x="11" y="0"/>
                    <a:pt x="9" y="1"/>
                    <a:pt x="7" y="2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1"/>
                    <a:pt x="9" y="24"/>
                    <a:pt x="13" y="24"/>
                  </a:cubicBezTo>
                  <a:cubicBezTo>
                    <a:pt x="15" y="24"/>
                    <a:pt x="17" y="23"/>
                    <a:pt x="19" y="22"/>
                  </a:cubicBezTo>
                  <a:cubicBezTo>
                    <a:pt x="25" y="19"/>
                    <a:pt x="27" y="12"/>
                    <a:pt x="23" y="6"/>
                  </a:cubicBezTo>
                  <a:cubicBezTo>
                    <a:pt x="21" y="2"/>
                    <a:pt x="17" y="0"/>
                    <a:pt x="13" y="0"/>
                  </a:cubicBezTo>
                </a:path>
              </a:pathLst>
            </a:custGeom>
            <a:solidFill>
              <a:srgbClr val="56AFC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" name="Freeform 83">
              <a:extLst>
                <a:ext uri="{FF2B5EF4-FFF2-40B4-BE49-F238E27FC236}">
                  <a16:creationId xmlns:a16="http://schemas.microsoft.com/office/drawing/2014/main" xmlns="" id="{1B036E91-4C69-4222-A490-26DAD84EB3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09574" y="5462587"/>
              <a:ext cx="88900" cy="76200"/>
            </a:xfrm>
            <a:custGeom>
              <a:avLst/>
              <a:gdLst>
                <a:gd name="T0" fmla="*/ 14 w 27"/>
                <a:gd name="T1" fmla="*/ 0 h 23"/>
                <a:gd name="T2" fmla="*/ 8 w 27"/>
                <a:gd name="T3" fmla="*/ 1 h 23"/>
                <a:gd name="T4" fmla="*/ 3 w 27"/>
                <a:gd name="T5" fmla="*/ 17 h 23"/>
                <a:gd name="T6" fmla="*/ 14 w 27"/>
                <a:gd name="T7" fmla="*/ 23 h 23"/>
                <a:gd name="T8" fmla="*/ 19 w 27"/>
                <a:gd name="T9" fmla="*/ 22 h 23"/>
                <a:gd name="T10" fmla="*/ 24 w 27"/>
                <a:gd name="T11" fmla="*/ 6 h 23"/>
                <a:gd name="T12" fmla="*/ 14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4" y="0"/>
                  </a:moveTo>
                  <a:cubicBezTo>
                    <a:pt x="12" y="0"/>
                    <a:pt x="10" y="0"/>
                    <a:pt x="8" y="1"/>
                  </a:cubicBezTo>
                  <a:cubicBezTo>
                    <a:pt x="2" y="5"/>
                    <a:pt x="0" y="12"/>
                    <a:pt x="3" y="17"/>
                  </a:cubicBezTo>
                  <a:cubicBezTo>
                    <a:pt x="6" y="21"/>
                    <a:pt x="10" y="23"/>
                    <a:pt x="14" y="23"/>
                  </a:cubicBezTo>
                  <a:cubicBezTo>
                    <a:pt x="16" y="23"/>
                    <a:pt x="18" y="23"/>
                    <a:pt x="19" y="22"/>
                  </a:cubicBezTo>
                  <a:cubicBezTo>
                    <a:pt x="25" y="18"/>
                    <a:pt x="27" y="11"/>
                    <a:pt x="24" y="6"/>
                  </a:cubicBezTo>
                  <a:cubicBezTo>
                    <a:pt x="22" y="2"/>
                    <a:pt x="18" y="0"/>
                    <a:pt x="14" y="0"/>
                  </a:cubicBezTo>
                </a:path>
              </a:pathLst>
            </a:custGeom>
            <a:solidFill>
              <a:srgbClr val="629CB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" name="Freeform 84">
              <a:extLst>
                <a:ext uri="{FF2B5EF4-FFF2-40B4-BE49-F238E27FC236}">
                  <a16:creationId xmlns:a16="http://schemas.microsoft.com/office/drawing/2014/main" xmlns="" id="{B1B66889-09F0-4432-A227-802D35A64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06411" y="5405437"/>
              <a:ext cx="85725" cy="80962"/>
            </a:xfrm>
            <a:custGeom>
              <a:avLst/>
              <a:gdLst>
                <a:gd name="T0" fmla="*/ 13 w 26"/>
                <a:gd name="T1" fmla="*/ 0 h 24"/>
                <a:gd name="T2" fmla="*/ 7 w 26"/>
                <a:gd name="T3" fmla="*/ 2 h 24"/>
                <a:gd name="T4" fmla="*/ 3 w 26"/>
                <a:gd name="T5" fmla="*/ 18 h 24"/>
                <a:gd name="T6" fmla="*/ 13 w 26"/>
                <a:gd name="T7" fmla="*/ 24 h 24"/>
                <a:gd name="T8" fmla="*/ 19 w 26"/>
                <a:gd name="T9" fmla="*/ 22 h 24"/>
                <a:gd name="T10" fmla="*/ 23 w 26"/>
                <a:gd name="T11" fmla="*/ 6 h 24"/>
                <a:gd name="T12" fmla="*/ 13 w 26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4">
                  <a:moveTo>
                    <a:pt x="13" y="0"/>
                  </a:moveTo>
                  <a:cubicBezTo>
                    <a:pt x="11" y="0"/>
                    <a:pt x="9" y="1"/>
                    <a:pt x="7" y="2"/>
                  </a:cubicBezTo>
                  <a:cubicBezTo>
                    <a:pt x="1" y="5"/>
                    <a:pt x="0" y="12"/>
                    <a:pt x="3" y="18"/>
                  </a:cubicBezTo>
                  <a:cubicBezTo>
                    <a:pt x="5" y="22"/>
                    <a:pt x="9" y="24"/>
                    <a:pt x="13" y="24"/>
                  </a:cubicBezTo>
                  <a:cubicBezTo>
                    <a:pt x="15" y="24"/>
                    <a:pt x="17" y="23"/>
                    <a:pt x="19" y="22"/>
                  </a:cubicBezTo>
                  <a:cubicBezTo>
                    <a:pt x="24" y="19"/>
                    <a:pt x="26" y="12"/>
                    <a:pt x="23" y="6"/>
                  </a:cubicBezTo>
                  <a:cubicBezTo>
                    <a:pt x="21" y="2"/>
                    <a:pt x="17" y="0"/>
                    <a:pt x="13" y="0"/>
                  </a:cubicBezTo>
                </a:path>
              </a:pathLst>
            </a:custGeom>
            <a:solidFill>
              <a:srgbClr val="6E8E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" name="Freeform 85">
              <a:extLst>
                <a:ext uri="{FF2B5EF4-FFF2-40B4-BE49-F238E27FC236}">
                  <a16:creationId xmlns:a16="http://schemas.microsoft.com/office/drawing/2014/main" xmlns="" id="{2F47A813-4EED-4E9B-B0F3-284D629F43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98486" y="5353050"/>
              <a:ext cx="88900" cy="76200"/>
            </a:xfrm>
            <a:custGeom>
              <a:avLst/>
              <a:gdLst>
                <a:gd name="T0" fmla="*/ 13 w 27"/>
                <a:gd name="T1" fmla="*/ 0 h 23"/>
                <a:gd name="T2" fmla="*/ 7 w 27"/>
                <a:gd name="T3" fmla="*/ 2 h 23"/>
                <a:gd name="T4" fmla="*/ 3 w 27"/>
                <a:gd name="T5" fmla="*/ 18 h 23"/>
                <a:gd name="T6" fmla="*/ 13 w 27"/>
                <a:gd name="T7" fmla="*/ 23 h 23"/>
                <a:gd name="T8" fmla="*/ 19 w 27"/>
                <a:gd name="T9" fmla="*/ 22 h 23"/>
                <a:gd name="T10" fmla="*/ 24 w 27"/>
                <a:gd name="T11" fmla="*/ 6 h 23"/>
                <a:gd name="T12" fmla="*/ 13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3" y="0"/>
                  </a:moveTo>
                  <a:cubicBezTo>
                    <a:pt x="11" y="0"/>
                    <a:pt x="9" y="0"/>
                    <a:pt x="7" y="2"/>
                  </a:cubicBezTo>
                  <a:cubicBezTo>
                    <a:pt x="2" y="5"/>
                    <a:pt x="0" y="12"/>
                    <a:pt x="3" y="18"/>
                  </a:cubicBezTo>
                  <a:cubicBezTo>
                    <a:pt x="5" y="21"/>
                    <a:pt x="9" y="23"/>
                    <a:pt x="13" y="23"/>
                  </a:cubicBezTo>
                  <a:cubicBezTo>
                    <a:pt x="15" y="23"/>
                    <a:pt x="17" y="23"/>
                    <a:pt x="19" y="22"/>
                  </a:cubicBezTo>
                  <a:cubicBezTo>
                    <a:pt x="25" y="19"/>
                    <a:pt x="27" y="11"/>
                    <a:pt x="24" y="6"/>
                  </a:cubicBezTo>
                  <a:cubicBezTo>
                    <a:pt x="21" y="2"/>
                    <a:pt x="17" y="0"/>
                    <a:pt x="13" y="0"/>
                  </a:cubicBezTo>
                </a:path>
              </a:pathLst>
            </a:custGeom>
            <a:solidFill>
              <a:srgbClr val="7C87A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" name="Freeform 86">
              <a:extLst>
                <a:ext uri="{FF2B5EF4-FFF2-40B4-BE49-F238E27FC236}">
                  <a16:creationId xmlns:a16="http://schemas.microsoft.com/office/drawing/2014/main" xmlns="" id="{C6845FB4-EB66-4A79-B099-375E8788F0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90561" y="5299075"/>
              <a:ext cx="88900" cy="76200"/>
            </a:xfrm>
            <a:custGeom>
              <a:avLst/>
              <a:gdLst>
                <a:gd name="T0" fmla="*/ 14 w 27"/>
                <a:gd name="T1" fmla="*/ 0 h 23"/>
                <a:gd name="T2" fmla="*/ 8 w 27"/>
                <a:gd name="T3" fmla="*/ 1 h 23"/>
                <a:gd name="T4" fmla="*/ 4 w 27"/>
                <a:gd name="T5" fmla="*/ 17 h 23"/>
                <a:gd name="T6" fmla="*/ 14 w 27"/>
                <a:gd name="T7" fmla="*/ 23 h 23"/>
                <a:gd name="T8" fmla="*/ 20 w 27"/>
                <a:gd name="T9" fmla="*/ 22 h 23"/>
                <a:gd name="T10" fmla="*/ 24 w 27"/>
                <a:gd name="T11" fmla="*/ 5 h 23"/>
                <a:gd name="T12" fmla="*/ 14 w 2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4" y="0"/>
                  </a:moveTo>
                  <a:cubicBezTo>
                    <a:pt x="12" y="0"/>
                    <a:pt x="10" y="0"/>
                    <a:pt x="8" y="1"/>
                  </a:cubicBezTo>
                  <a:cubicBezTo>
                    <a:pt x="2" y="4"/>
                    <a:pt x="0" y="12"/>
                    <a:pt x="4" y="17"/>
                  </a:cubicBezTo>
                  <a:cubicBezTo>
                    <a:pt x="6" y="21"/>
                    <a:pt x="10" y="23"/>
                    <a:pt x="14" y="23"/>
                  </a:cubicBezTo>
                  <a:cubicBezTo>
                    <a:pt x="16" y="23"/>
                    <a:pt x="18" y="23"/>
                    <a:pt x="20" y="22"/>
                  </a:cubicBezTo>
                  <a:cubicBezTo>
                    <a:pt x="25" y="18"/>
                    <a:pt x="27" y="11"/>
                    <a:pt x="24" y="5"/>
                  </a:cubicBezTo>
                  <a:cubicBezTo>
                    <a:pt x="22" y="2"/>
                    <a:pt x="18" y="0"/>
                    <a:pt x="14" y="0"/>
                  </a:cubicBezTo>
                </a:path>
              </a:pathLst>
            </a:custGeom>
            <a:solidFill>
              <a:srgbClr val="8B86A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cxnSp>
          <p:nvCxnSpPr>
            <p:cNvPr id="46" name="直接连接符 45">
              <a:extLst>
                <a:ext uri="{FF2B5EF4-FFF2-40B4-BE49-F238E27FC236}">
                  <a16:creationId xmlns:a16="http://schemas.microsoft.com/office/drawing/2014/main" xmlns="" id="{AF1A2538-5051-469B-8640-A4CD17CE4FE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41802" y="5287830"/>
              <a:ext cx="827436" cy="501914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直接连接符 46">
              <a:extLst>
                <a:ext uri="{FF2B5EF4-FFF2-40B4-BE49-F238E27FC236}">
                  <a16:creationId xmlns:a16="http://schemas.microsoft.com/office/drawing/2014/main" xmlns="" id="{EBC8B80E-FE5E-4E19-85A2-95C8DD2CB0A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352276" y="5405437"/>
              <a:ext cx="618290" cy="398594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直接连接符 47">
              <a:extLst>
                <a:ext uri="{FF2B5EF4-FFF2-40B4-BE49-F238E27FC236}">
                  <a16:creationId xmlns:a16="http://schemas.microsoft.com/office/drawing/2014/main" xmlns="" id="{E2B74C08-DAB2-4B60-BE63-31B1EF58C77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731243" y="5471253"/>
              <a:ext cx="328843" cy="211996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直接连接符 48">
              <a:extLst>
                <a:ext uri="{FF2B5EF4-FFF2-40B4-BE49-F238E27FC236}">
                  <a16:creationId xmlns:a16="http://schemas.microsoft.com/office/drawing/2014/main" xmlns="" id="{7E0CA069-C0B0-4E7A-B11B-4ACD2B3E0552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0065044" y="5664134"/>
              <a:ext cx="618290" cy="398594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椭圆 49">
              <a:extLst>
                <a:ext uri="{FF2B5EF4-FFF2-40B4-BE49-F238E27FC236}">
                  <a16:creationId xmlns:a16="http://schemas.microsoft.com/office/drawing/2014/main" xmlns="" id="{C535D6E5-49D9-45E0-A8B6-B2D1231A1859}"/>
                </a:ext>
              </a:extLst>
            </p:cNvPr>
            <p:cNvSpPr/>
            <p:nvPr userDrawn="1"/>
          </p:nvSpPr>
          <p:spPr>
            <a:xfrm>
              <a:off x="10861128" y="4188135"/>
              <a:ext cx="361456" cy="203605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17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51" name="直接连接符 50">
              <a:extLst>
                <a:ext uri="{FF2B5EF4-FFF2-40B4-BE49-F238E27FC236}">
                  <a16:creationId xmlns:a16="http://schemas.microsoft.com/office/drawing/2014/main" xmlns="" id="{316616A3-795D-402D-BC50-063C43F0436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552112" y="4285080"/>
              <a:ext cx="483328" cy="289130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椭圆 51">
              <a:extLst>
                <a:ext uri="{FF2B5EF4-FFF2-40B4-BE49-F238E27FC236}">
                  <a16:creationId xmlns:a16="http://schemas.microsoft.com/office/drawing/2014/main" xmlns="" id="{DBFB945A-9C54-49A8-93AD-3E9D6BB6536C}"/>
                </a:ext>
              </a:extLst>
            </p:cNvPr>
            <p:cNvSpPr/>
            <p:nvPr userDrawn="1"/>
          </p:nvSpPr>
          <p:spPr>
            <a:xfrm>
              <a:off x="9754989" y="3713379"/>
              <a:ext cx="361456" cy="203605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17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53" name="直接连接符 52">
              <a:extLst>
                <a:ext uri="{FF2B5EF4-FFF2-40B4-BE49-F238E27FC236}">
                  <a16:creationId xmlns:a16="http://schemas.microsoft.com/office/drawing/2014/main" xmlns="" id="{8FCF84FC-3336-420C-9745-AFFA473676B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445973" y="3810324"/>
              <a:ext cx="483328" cy="289130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椭圆 53">
              <a:extLst>
                <a:ext uri="{FF2B5EF4-FFF2-40B4-BE49-F238E27FC236}">
                  <a16:creationId xmlns:a16="http://schemas.microsoft.com/office/drawing/2014/main" xmlns="" id="{7993B824-2430-4010-8ADC-F1F4A4D36729}"/>
                </a:ext>
              </a:extLst>
            </p:cNvPr>
            <p:cNvSpPr/>
            <p:nvPr userDrawn="1"/>
          </p:nvSpPr>
          <p:spPr>
            <a:xfrm>
              <a:off x="10020604" y="4130676"/>
              <a:ext cx="358974" cy="202206"/>
            </a:xfrm>
            <a:prstGeom prst="ellipse">
              <a:avLst/>
            </a:prstGeom>
            <a:gradFill flip="none" rotWithShape="1">
              <a:gsLst>
                <a:gs pos="100000">
                  <a:srgbClr val="1D296C">
                    <a:alpha val="20000"/>
                  </a:srgbClr>
                </a:gs>
                <a:gs pos="59000">
                  <a:srgbClr val="2B6C95">
                    <a:alpha val="50000"/>
                  </a:srgbClr>
                </a:gs>
                <a:gs pos="30000">
                  <a:srgbClr val="36A6B8">
                    <a:alpha val="50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55" name="直接连接符 54">
              <a:extLst>
                <a:ext uri="{FF2B5EF4-FFF2-40B4-BE49-F238E27FC236}">
                  <a16:creationId xmlns:a16="http://schemas.microsoft.com/office/drawing/2014/main" xmlns="" id="{E2BC9A81-D7DF-4CAF-8B08-A6DE7D5ACCB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906261" y="4226956"/>
              <a:ext cx="287454" cy="171956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>
                      <a:alpha val="20000"/>
                    </a:srgbClr>
                  </a:gs>
                  <a:gs pos="53000">
                    <a:srgbClr val="255184">
                      <a:alpha val="20000"/>
                    </a:srgbClr>
                  </a:gs>
                  <a:gs pos="100000">
                    <a:srgbClr val="42E8E0">
                      <a:alpha val="20000"/>
                    </a:srgbClr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椭圆 55">
              <a:extLst>
                <a:ext uri="{FF2B5EF4-FFF2-40B4-BE49-F238E27FC236}">
                  <a16:creationId xmlns:a16="http://schemas.microsoft.com/office/drawing/2014/main" xmlns="" id="{8868605B-D722-4164-B21F-08BFE13E61E2}"/>
                </a:ext>
              </a:extLst>
            </p:cNvPr>
            <p:cNvSpPr/>
            <p:nvPr userDrawn="1"/>
          </p:nvSpPr>
          <p:spPr>
            <a:xfrm>
              <a:off x="7626655" y="4176741"/>
              <a:ext cx="358974" cy="202206"/>
            </a:xfrm>
            <a:prstGeom prst="ellipse">
              <a:avLst/>
            </a:prstGeom>
            <a:gradFill flip="none" rotWithShape="1">
              <a:gsLst>
                <a:gs pos="100000">
                  <a:srgbClr val="1D296C">
                    <a:alpha val="20000"/>
                  </a:srgbClr>
                </a:gs>
                <a:gs pos="59000">
                  <a:srgbClr val="2B6C95">
                    <a:alpha val="50000"/>
                  </a:srgbClr>
                </a:gs>
                <a:gs pos="30000">
                  <a:srgbClr val="36A6B8">
                    <a:alpha val="50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57" name="直接连接符 56">
              <a:extLst>
                <a:ext uri="{FF2B5EF4-FFF2-40B4-BE49-F238E27FC236}">
                  <a16:creationId xmlns:a16="http://schemas.microsoft.com/office/drawing/2014/main" xmlns="" id="{CEA79255-9C71-432C-B4D0-195CB612AB02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512312" y="4273021"/>
              <a:ext cx="287454" cy="171956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>
                      <a:alpha val="20000"/>
                    </a:srgbClr>
                  </a:gs>
                  <a:gs pos="53000">
                    <a:srgbClr val="255184">
                      <a:alpha val="20000"/>
                    </a:srgbClr>
                  </a:gs>
                  <a:gs pos="100000">
                    <a:srgbClr val="42E8E0">
                      <a:alpha val="20000"/>
                    </a:srgbClr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椭圆 57">
              <a:extLst>
                <a:ext uri="{FF2B5EF4-FFF2-40B4-BE49-F238E27FC236}">
                  <a16:creationId xmlns:a16="http://schemas.microsoft.com/office/drawing/2014/main" xmlns="" id="{130C72F6-B790-4963-829E-CC6199EAA068}"/>
                </a:ext>
              </a:extLst>
            </p:cNvPr>
            <p:cNvSpPr/>
            <p:nvPr userDrawn="1"/>
          </p:nvSpPr>
          <p:spPr>
            <a:xfrm>
              <a:off x="8387012" y="3360161"/>
              <a:ext cx="358974" cy="202206"/>
            </a:xfrm>
            <a:prstGeom prst="ellipse">
              <a:avLst/>
            </a:prstGeom>
            <a:gradFill flip="none" rotWithShape="1">
              <a:gsLst>
                <a:gs pos="100000">
                  <a:srgbClr val="1D296C">
                    <a:alpha val="20000"/>
                  </a:srgbClr>
                </a:gs>
                <a:gs pos="59000">
                  <a:srgbClr val="2B6C95">
                    <a:alpha val="50000"/>
                  </a:srgbClr>
                </a:gs>
                <a:gs pos="30000">
                  <a:srgbClr val="36A6B8">
                    <a:alpha val="50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59" name="直接连接符 58">
              <a:extLst>
                <a:ext uri="{FF2B5EF4-FFF2-40B4-BE49-F238E27FC236}">
                  <a16:creationId xmlns:a16="http://schemas.microsoft.com/office/drawing/2014/main" xmlns="" id="{3C4643EB-2B36-4F72-BC7D-553950FDE15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272669" y="3456441"/>
              <a:ext cx="287454" cy="171956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>
                      <a:alpha val="20000"/>
                    </a:srgbClr>
                  </a:gs>
                  <a:gs pos="53000">
                    <a:srgbClr val="255184">
                      <a:alpha val="20000"/>
                    </a:srgbClr>
                  </a:gs>
                  <a:gs pos="100000">
                    <a:srgbClr val="42E8E0">
                      <a:alpha val="20000"/>
                    </a:srgbClr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椭圆 59">
              <a:extLst>
                <a:ext uri="{FF2B5EF4-FFF2-40B4-BE49-F238E27FC236}">
                  <a16:creationId xmlns:a16="http://schemas.microsoft.com/office/drawing/2014/main" xmlns="" id="{BA2B3455-F5C8-4779-912D-30053B105227}"/>
                </a:ext>
              </a:extLst>
            </p:cNvPr>
            <p:cNvSpPr/>
            <p:nvPr userDrawn="1"/>
          </p:nvSpPr>
          <p:spPr>
            <a:xfrm>
              <a:off x="8071311" y="3424099"/>
              <a:ext cx="361456" cy="203605"/>
            </a:xfrm>
            <a:prstGeom prst="ellipse">
              <a:avLst/>
            </a:prstGeom>
            <a:gradFill flip="none" rotWithShape="1">
              <a:gsLst>
                <a:gs pos="100000">
                  <a:srgbClr val="1D296C"/>
                </a:gs>
                <a:gs pos="52000">
                  <a:srgbClr val="2B6C95"/>
                </a:gs>
                <a:gs pos="68000">
                  <a:srgbClr val="265989"/>
                </a:gs>
                <a:gs pos="17000">
                  <a:srgbClr val="36A6B8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61" name="直接连接符 60">
              <a:extLst>
                <a:ext uri="{FF2B5EF4-FFF2-40B4-BE49-F238E27FC236}">
                  <a16:creationId xmlns:a16="http://schemas.microsoft.com/office/drawing/2014/main" xmlns="" id="{07D7C74C-5DD7-4AF7-99FD-900C366926D2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762295" y="3521044"/>
              <a:ext cx="483328" cy="289130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5400000" scaled="1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直接连接符 61">
              <a:extLst>
                <a:ext uri="{FF2B5EF4-FFF2-40B4-BE49-F238E27FC236}">
                  <a16:creationId xmlns:a16="http://schemas.microsoft.com/office/drawing/2014/main" xmlns="" id="{36428A0B-65F9-46F4-9E1C-ABB7B30059FA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8216506" y="2821117"/>
              <a:ext cx="5025" cy="2074259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16200000" scaled="0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直接连接符 62">
              <a:extLst>
                <a:ext uri="{FF2B5EF4-FFF2-40B4-BE49-F238E27FC236}">
                  <a16:creationId xmlns:a16="http://schemas.microsoft.com/office/drawing/2014/main" xmlns="" id="{848627E4-D75D-4A0C-88BB-46A1C4837B9C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0208402" y="2813165"/>
              <a:ext cx="5025" cy="2074259"/>
            </a:xfrm>
            <a:prstGeom prst="line">
              <a:avLst/>
            </a:prstGeom>
            <a:ln w="25400" cap="rnd">
              <a:gradFill>
                <a:gsLst>
                  <a:gs pos="0">
                    <a:srgbClr val="180D5B"/>
                  </a:gs>
                  <a:gs pos="53000">
                    <a:srgbClr val="255184"/>
                  </a:gs>
                  <a:gs pos="100000">
                    <a:srgbClr val="42E8E0"/>
                  </a:gs>
                </a:gsLst>
                <a:lin ang="16200000" scaled="0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Freeform 90">
              <a:extLst>
                <a:ext uri="{FF2B5EF4-FFF2-40B4-BE49-F238E27FC236}">
                  <a16:creationId xmlns:a16="http://schemas.microsoft.com/office/drawing/2014/main" xmlns="" id="{40F9FBC8-FE03-45D5-BD33-637B1B60C5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48638" y="4267200"/>
              <a:ext cx="2168525" cy="1239838"/>
            </a:xfrm>
            <a:custGeom>
              <a:avLst/>
              <a:gdLst>
                <a:gd name="T0" fmla="*/ 270 w 538"/>
                <a:gd name="T1" fmla="*/ 0 h 307"/>
                <a:gd name="T2" fmla="*/ 249 w 538"/>
                <a:gd name="T3" fmla="*/ 6 h 307"/>
                <a:gd name="T4" fmla="*/ 13 w 538"/>
                <a:gd name="T5" fmla="*/ 142 h 307"/>
                <a:gd name="T6" fmla="*/ 10 w 538"/>
                <a:gd name="T7" fmla="*/ 164 h 307"/>
                <a:gd name="T8" fmla="*/ 251 w 538"/>
                <a:gd name="T9" fmla="*/ 303 h 307"/>
                <a:gd name="T10" fmla="*/ 268 w 538"/>
                <a:gd name="T11" fmla="*/ 307 h 307"/>
                <a:gd name="T12" fmla="*/ 290 w 538"/>
                <a:gd name="T13" fmla="*/ 302 h 307"/>
                <a:gd name="T14" fmla="*/ 525 w 538"/>
                <a:gd name="T15" fmla="*/ 166 h 307"/>
                <a:gd name="T16" fmla="*/ 528 w 538"/>
                <a:gd name="T17" fmla="*/ 144 h 307"/>
                <a:gd name="T18" fmla="*/ 287 w 538"/>
                <a:gd name="T19" fmla="*/ 4 h 307"/>
                <a:gd name="T20" fmla="*/ 270 w 538"/>
                <a:gd name="T21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8" h="307">
                  <a:moveTo>
                    <a:pt x="270" y="0"/>
                  </a:moveTo>
                  <a:cubicBezTo>
                    <a:pt x="263" y="0"/>
                    <a:pt x="255" y="2"/>
                    <a:pt x="249" y="6"/>
                  </a:cubicBezTo>
                  <a:cubicBezTo>
                    <a:pt x="13" y="142"/>
                    <a:pt x="13" y="142"/>
                    <a:pt x="13" y="142"/>
                  </a:cubicBezTo>
                  <a:cubicBezTo>
                    <a:pt x="2" y="149"/>
                    <a:pt x="0" y="158"/>
                    <a:pt x="10" y="164"/>
                  </a:cubicBezTo>
                  <a:cubicBezTo>
                    <a:pt x="251" y="303"/>
                    <a:pt x="251" y="303"/>
                    <a:pt x="251" y="303"/>
                  </a:cubicBezTo>
                  <a:cubicBezTo>
                    <a:pt x="256" y="306"/>
                    <a:pt x="262" y="307"/>
                    <a:pt x="268" y="307"/>
                  </a:cubicBezTo>
                  <a:cubicBezTo>
                    <a:pt x="275" y="307"/>
                    <a:pt x="283" y="305"/>
                    <a:pt x="290" y="302"/>
                  </a:cubicBezTo>
                  <a:cubicBezTo>
                    <a:pt x="525" y="166"/>
                    <a:pt x="525" y="166"/>
                    <a:pt x="525" y="166"/>
                  </a:cubicBezTo>
                  <a:cubicBezTo>
                    <a:pt x="537" y="159"/>
                    <a:pt x="538" y="149"/>
                    <a:pt x="528" y="144"/>
                  </a:cubicBezTo>
                  <a:cubicBezTo>
                    <a:pt x="287" y="4"/>
                    <a:pt x="287" y="4"/>
                    <a:pt x="287" y="4"/>
                  </a:cubicBezTo>
                  <a:cubicBezTo>
                    <a:pt x="282" y="2"/>
                    <a:pt x="276" y="0"/>
                    <a:pt x="270" y="0"/>
                  </a:cubicBezTo>
                </a:path>
              </a:pathLst>
            </a:custGeom>
            <a:solidFill>
              <a:srgbClr val="736E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" name="Freeform 91">
              <a:extLst>
                <a:ext uri="{FF2B5EF4-FFF2-40B4-BE49-F238E27FC236}">
                  <a16:creationId xmlns:a16="http://schemas.microsoft.com/office/drawing/2014/main" xmlns="" id="{4AD0337E-0914-4CCE-BFFF-D0311277AC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48638" y="4264025"/>
              <a:ext cx="2168525" cy="714375"/>
            </a:xfrm>
            <a:custGeom>
              <a:avLst/>
              <a:gdLst>
                <a:gd name="T0" fmla="*/ 10 w 538"/>
                <a:gd name="T1" fmla="*/ 165 h 177"/>
                <a:gd name="T2" fmla="*/ 31 w 538"/>
                <a:gd name="T3" fmla="*/ 177 h 177"/>
                <a:gd name="T4" fmla="*/ 249 w 538"/>
                <a:gd name="T5" fmla="*/ 52 h 177"/>
                <a:gd name="T6" fmla="*/ 287 w 538"/>
                <a:gd name="T7" fmla="*/ 50 h 177"/>
                <a:gd name="T8" fmla="*/ 507 w 538"/>
                <a:gd name="T9" fmla="*/ 177 h 177"/>
                <a:gd name="T10" fmla="*/ 525 w 538"/>
                <a:gd name="T11" fmla="*/ 167 h 177"/>
                <a:gd name="T12" fmla="*/ 528 w 538"/>
                <a:gd name="T13" fmla="*/ 145 h 177"/>
                <a:gd name="T14" fmla="*/ 287 w 538"/>
                <a:gd name="T15" fmla="*/ 5 h 177"/>
                <a:gd name="T16" fmla="*/ 249 w 538"/>
                <a:gd name="T17" fmla="*/ 7 h 177"/>
                <a:gd name="T18" fmla="*/ 13 w 538"/>
                <a:gd name="T19" fmla="*/ 143 h 177"/>
                <a:gd name="T20" fmla="*/ 10 w 538"/>
                <a:gd name="T21" fmla="*/ 165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8" h="177">
                  <a:moveTo>
                    <a:pt x="10" y="165"/>
                  </a:moveTo>
                  <a:cubicBezTo>
                    <a:pt x="31" y="177"/>
                    <a:pt x="31" y="177"/>
                    <a:pt x="31" y="177"/>
                  </a:cubicBezTo>
                  <a:cubicBezTo>
                    <a:pt x="249" y="52"/>
                    <a:pt x="249" y="52"/>
                    <a:pt x="249" y="52"/>
                  </a:cubicBezTo>
                  <a:cubicBezTo>
                    <a:pt x="260" y="45"/>
                    <a:pt x="277" y="45"/>
                    <a:pt x="287" y="50"/>
                  </a:cubicBezTo>
                  <a:cubicBezTo>
                    <a:pt x="507" y="177"/>
                    <a:pt x="507" y="177"/>
                    <a:pt x="507" y="177"/>
                  </a:cubicBezTo>
                  <a:cubicBezTo>
                    <a:pt x="525" y="167"/>
                    <a:pt x="525" y="167"/>
                    <a:pt x="525" y="167"/>
                  </a:cubicBezTo>
                  <a:cubicBezTo>
                    <a:pt x="537" y="160"/>
                    <a:pt x="538" y="150"/>
                    <a:pt x="528" y="145"/>
                  </a:cubicBezTo>
                  <a:cubicBezTo>
                    <a:pt x="287" y="5"/>
                    <a:pt x="287" y="5"/>
                    <a:pt x="287" y="5"/>
                  </a:cubicBezTo>
                  <a:cubicBezTo>
                    <a:pt x="277" y="0"/>
                    <a:pt x="260" y="0"/>
                    <a:pt x="249" y="7"/>
                  </a:cubicBezTo>
                  <a:cubicBezTo>
                    <a:pt x="13" y="143"/>
                    <a:pt x="13" y="143"/>
                    <a:pt x="13" y="143"/>
                  </a:cubicBezTo>
                  <a:cubicBezTo>
                    <a:pt x="2" y="150"/>
                    <a:pt x="0" y="159"/>
                    <a:pt x="10" y="165"/>
                  </a:cubicBezTo>
                  <a:close/>
                </a:path>
              </a:pathLst>
            </a:custGeom>
            <a:solidFill>
              <a:srgbClr val="42E8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" name="Freeform 90">
              <a:extLst>
                <a:ext uri="{FF2B5EF4-FFF2-40B4-BE49-F238E27FC236}">
                  <a16:creationId xmlns:a16="http://schemas.microsoft.com/office/drawing/2014/main" xmlns="" id="{911FC156-5CDB-4E0E-92E9-AD223BC37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42017" y="4267200"/>
              <a:ext cx="2168525" cy="1239838"/>
            </a:xfrm>
            <a:custGeom>
              <a:avLst/>
              <a:gdLst>
                <a:gd name="T0" fmla="*/ 270 w 538"/>
                <a:gd name="T1" fmla="*/ 0 h 307"/>
                <a:gd name="T2" fmla="*/ 249 w 538"/>
                <a:gd name="T3" fmla="*/ 6 h 307"/>
                <a:gd name="T4" fmla="*/ 13 w 538"/>
                <a:gd name="T5" fmla="*/ 142 h 307"/>
                <a:gd name="T6" fmla="*/ 10 w 538"/>
                <a:gd name="T7" fmla="*/ 164 h 307"/>
                <a:gd name="T8" fmla="*/ 251 w 538"/>
                <a:gd name="T9" fmla="*/ 303 h 307"/>
                <a:gd name="T10" fmla="*/ 268 w 538"/>
                <a:gd name="T11" fmla="*/ 307 h 307"/>
                <a:gd name="T12" fmla="*/ 290 w 538"/>
                <a:gd name="T13" fmla="*/ 302 h 307"/>
                <a:gd name="T14" fmla="*/ 525 w 538"/>
                <a:gd name="T15" fmla="*/ 166 h 307"/>
                <a:gd name="T16" fmla="*/ 528 w 538"/>
                <a:gd name="T17" fmla="*/ 144 h 307"/>
                <a:gd name="T18" fmla="*/ 287 w 538"/>
                <a:gd name="T19" fmla="*/ 4 h 307"/>
                <a:gd name="T20" fmla="*/ 270 w 538"/>
                <a:gd name="T21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8" h="307">
                  <a:moveTo>
                    <a:pt x="270" y="0"/>
                  </a:moveTo>
                  <a:cubicBezTo>
                    <a:pt x="263" y="0"/>
                    <a:pt x="255" y="2"/>
                    <a:pt x="249" y="6"/>
                  </a:cubicBezTo>
                  <a:cubicBezTo>
                    <a:pt x="13" y="142"/>
                    <a:pt x="13" y="142"/>
                    <a:pt x="13" y="142"/>
                  </a:cubicBezTo>
                  <a:cubicBezTo>
                    <a:pt x="2" y="149"/>
                    <a:pt x="0" y="158"/>
                    <a:pt x="10" y="164"/>
                  </a:cubicBezTo>
                  <a:cubicBezTo>
                    <a:pt x="251" y="303"/>
                    <a:pt x="251" y="303"/>
                    <a:pt x="251" y="303"/>
                  </a:cubicBezTo>
                  <a:cubicBezTo>
                    <a:pt x="256" y="306"/>
                    <a:pt x="262" y="307"/>
                    <a:pt x="268" y="307"/>
                  </a:cubicBezTo>
                  <a:cubicBezTo>
                    <a:pt x="275" y="307"/>
                    <a:pt x="283" y="305"/>
                    <a:pt x="290" y="302"/>
                  </a:cubicBezTo>
                  <a:cubicBezTo>
                    <a:pt x="525" y="166"/>
                    <a:pt x="525" y="166"/>
                    <a:pt x="525" y="166"/>
                  </a:cubicBezTo>
                  <a:cubicBezTo>
                    <a:pt x="537" y="159"/>
                    <a:pt x="538" y="149"/>
                    <a:pt x="528" y="144"/>
                  </a:cubicBezTo>
                  <a:cubicBezTo>
                    <a:pt x="287" y="4"/>
                    <a:pt x="287" y="4"/>
                    <a:pt x="287" y="4"/>
                  </a:cubicBezTo>
                  <a:cubicBezTo>
                    <a:pt x="282" y="2"/>
                    <a:pt x="276" y="0"/>
                    <a:pt x="270" y="0"/>
                  </a:cubicBezTo>
                </a:path>
              </a:pathLst>
            </a:custGeom>
            <a:gradFill>
              <a:gsLst>
                <a:gs pos="22000">
                  <a:srgbClr val="180D5B">
                    <a:alpha val="34000"/>
                  </a:srgbClr>
                </a:gs>
                <a:gs pos="100000">
                  <a:srgbClr val="42E8E0">
                    <a:alpha val="74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xmlns="" id="{5CB8E1C3-E366-4D22-9AF9-FBB35170BB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78938" y="3259138"/>
              <a:ext cx="120650" cy="2243743"/>
            </a:xfrm>
            <a:custGeom>
              <a:avLst/>
              <a:gdLst>
                <a:gd name="connsiteX0" fmla="*/ 33514 w 120650"/>
                <a:gd name="connsiteY0" fmla="*/ 0 h 2243743"/>
                <a:gd name="connsiteX1" fmla="*/ 56974 w 120650"/>
                <a:gd name="connsiteY1" fmla="*/ 6605 h 2243743"/>
                <a:gd name="connsiteX2" fmla="*/ 63676 w 120650"/>
                <a:gd name="connsiteY2" fmla="*/ 9908 h 2243743"/>
                <a:gd name="connsiteX3" fmla="*/ 120650 w 120650"/>
                <a:gd name="connsiteY3" fmla="*/ 115587 h 2243743"/>
                <a:gd name="connsiteX4" fmla="*/ 120650 w 120650"/>
                <a:gd name="connsiteY4" fmla="*/ 2080273 h 2243743"/>
                <a:gd name="connsiteX5" fmla="*/ 120650 w 120650"/>
                <a:gd name="connsiteY5" fmla="*/ 2177592 h 2243743"/>
                <a:gd name="connsiteX6" fmla="*/ 0 w 120650"/>
                <a:gd name="connsiteY6" fmla="*/ 2243743 h 2243743"/>
                <a:gd name="connsiteX7" fmla="*/ 0 w 120650"/>
                <a:gd name="connsiteY7" fmla="*/ 2132585 h 2243743"/>
                <a:gd name="connsiteX8" fmla="*/ 0 w 120650"/>
                <a:gd name="connsiteY8" fmla="*/ 46235 h 2243743"/>
                <a:gd name="connsiteX9" fmla="*/ 33514 w 120650"/>
                <a:gd name="connsiteY9" fmla="*/ 0 h 2243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650" h="2243743">
                  <a:moveTo>
                    <a:pt x="33514" y="0"/>
                  </a:moveTo>
                  <a:cubicBezTo>
                    <a:pt x="40217" y="0"/>
                    <a:pt x="46919" y="0"/>
                    <a:pt x="56974" y="6605"/>
                  </a:cubicBezTo>
                  <a:cubicBezTo>
                    <a:pt x="56974" y="6605"/>
                    <a:pt x="56974" y="6605"/>
                    <a:pt x="63676" y="9908"/>
                  </a:cubicBezTo>
                  <a:cubicBezTo>
                    <a:pt x="97190" y="26420"/>
                    <a:pt x="120650" y="75957"/>
                    <a:pt x="120650" y="115587"/>
                  </a:cubicBezTo>
                  <a:cubicBezTo>
                    <a:pt x="120650" y="115587"/>
                    <a:pt x="120650" y="115587"/>
                    <a:pt x="120650" y="2080273"/>
                  </a:cubicBezTo>
                  <a:lnTo>
                    <a:pt x="120650" y="2177592"/>
                  </a:lnTo>
                  <a:lnTo>
                    <a:pt x="0" y="2243743"/>
                  </a:lnTo>
                  <a:lnTo>
                    <a:pt x="0" y="2132585"/>
                  </a:lnTo>
                  <a:cubicBezTo>
                    <a:pt x="0" y="1834535"/>
                    <a:pt x="0" y="1238435"/>
                    <a:pt x="0" y="46235"/>
                  </a:cubicBezTo>
                  <a:cubicBezTo>
                    <a:pt x="0" y="16513"/>
                    <a:pt x="13406" y="0"/>
                    <a:pt x="33514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xmlns="" id="{20E11BDB-3C31-439E-9DDB-16AA665E4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01188" y="3767138"/>
              <a:ext cx="119063" cy="1621772"/>
            </a:xfrm>
            <a:custGeom>
              <a:avLst/>
              <a:gdLst>
                <a:gd name="connsiteX0" fmla="*/ 33073 w 119063"/>
                <a:gd name="connsiteY0" fmla="*/ 0 h 1621772"/>
                <a:gd name="connsiteX1" fmla="*/ 56224 w 119063"/>
                <a:gd name="connsiteY1" fmla="*/ 6607 h 1621772"/>
                <a:gd name="connsiteX2" fmla="*/ 66146 w 119063"/>
                <a:gd name="connsiteY2" fmla="*/ 9910 h 1621772"/>
                <a:gd name="connsiteX3" fmla="*/ 119063 w 119063"/>
                <a:gd name="connsiteY3" fmla="*/ 115614 h 1621772"/>
                <a:gd name="connsiteX4" fmla="*/ 119063 w 119063"/>
                <a:gd name="connsiteY4" fmla="*/ 1458860 h 1621772"/>
                <a:gd name="connsiteX5" fmla="*/ 119063 w 119063"/>
                <a:gd name="connsiteY5" fmla="*/ 1553686 h 1621772"/>
                <a:gd name="connsiteX6" fmla="*/ 0 w 119063"/>
                <a:gd name="connsiteY6" fmla="*/ 1621772 h 1621772"/>
                <a:gd name="connsiteX7" fmla="*/ 0 w 119063"/>
                <a:gd name="connsiteY7" fmla="*/ 1561802 h 1621772"/>
                <a:gd name="connsiteX8" fmla="*/ 0 w 119063"/>
                <a:gd name="connsiteY8" fmla="*/ 46246 h 1621772"/>
                <a:gd name="connsiteX9" fmla="*/ 33073 w 119063"/>
                <a:gd name="connsiteY9" fmla="*/ 0 h 1621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063" h="1621772">
                  <a:moveTo>
                    <a:pt x="33073" y="0"/>
                  </a:moveTo>
                  <a:cubicBezTo>
                    <a:pt x="39688" y="0"/>
                    <a:pt x="49610" y="0"/>
                    <a:pt x="56224" y="6607"/>
                  </a:cubicBezTo>
                  <a:cubicBezTo>
                    <a:pt x="56224" y="6607"/>
                    <a:pt x="56224" y="6607"/>
                    <a:pt x="66146" y="9910"/>
                  </a:cubicBezTo>
                  <a:cubicBezTo>
                    <a:pt x="95912" y="26426"/>
                    <a:pt x="119063" y="75975"/>
                    <a:pt x="119063" y="115614"/>
                  </a:cubicBezTo>
                  <a:cubicBezTo>
                    <a:pt x="119063" y="115614"/>
                    <a:pt x="119063" y="115614"/>
                    <a:pt x="119063" y="1458860"/>
                  </a:cubicBezTo>
                  <a:lnTo>
                    <a:pt x="119063" y="1553686"/>
                  </a:lnTo>
                  <a:lnTo>
                    <a:pt x="0" y="1621772"/>
                  </a:lnTo>
                  <a:lnTo>
                    <a:pt x="0" y="1561802"/>
                  </a:lnTo>
                  <a:cubicBezTo>
                    <a:pt x="0" y="1268090"/>
                    <a:pt x="0" y="798150"/>
                    <a:pt x="0" y="46246"/>
                  </a:cubicBezTo>
                  <a:cubicBezTo>
                    <a:pt x="0" y="16516"/>
                    <a:pt x="16537" y="0"/>
                    <a:pt x="33073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xmlns="" id="{F7AE4EF4-FD61-4FC6-8585-EC7A430BAE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26613" y="4365625"/>
              <a:ext cx="115888" cy="874224"/>
            </a:xfrm>
            <a:custGeom>
              <a:avLst/>
              <a:gdLst>
                <a:gd name="connsiteX0" fmla="*/ 33111 w 115888"/>
                <a:gd name="connsiteY0" fmla="*/ 0 h 874224"/>
                <a:gd name="connsiteX1" fmla="*/ 52977 w 115888"/>
                <a:gd name="connsiteY1" fmla="*/ 6602 h 874224"/>
                <a:gd name="connsiteX2" fmla="*/ 62911 w 115888"/>
                <a:gd name="connsiteY2" fmla="*/ 13203 h 874224"/>
                <a:gd name="connsiteX3" fmla="*/ 115888 w 115888"/>
                <a:gd name="connsiteY3" fmla="*/ 118823 h 874224"/>
                <a:gd name="connsiteX4" fmla="*/ 115888 w 115888"/>
                <a:gd name="connsiteY4" fmla="*/ 620757 h 874224"/>
                <a:gd name="connsiteX5" fmla="*/ 115888 w 115888"/>
                <a:gd name="connsiteY5" fmla="*/ 825103 h 874224"/>
                <a:gd name="connsiteX6" fmla="*/ 26514 w 115888"/>
                <a:gd name="connsiteY6" fmla="*/ 874224 h 874224"/>
                <a:gd name="connsiteX7" fmla="*/ 15314 w 115888"/>
                <a:gd name="connsiteY7" fmla="*/ 861465 h 874224"/>
                <a:gd name="connsiteX8" fmla="*/ 0 w 115888"/>
                <a:gd name="connsiteY8" fmla="*/ 798753 h 874224"/>
                <a:gd name="connsiteX9" fmla="*/ 0 w 115888"/>
                <a:gd name="connsiteY9" fmla="*/ 49510 h 874224"/>
                <a:gd name="connsiteX10" fmla="*/ 33111 w 115888"/>
                <a:gd name="connsiteY10" fmla="*/ 0 h 874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888" h="874224">
                  <a:moveTo>
                    <a:pt x="33111" y="0"/>
                  </a:moveTo>
                  <a:cubicBezTo>
                    <a:pt x="39733" y="0"/>
                    <a:pt x="46355" y="3301"/>
                    <a:pt x="52977" y="6602"/>
                  </a:cubicBezTo>
                  <a:cubicBezTo>
                    <a:pt x="52977" y="6602"/>
                    <a:pt x="52977" y="6602"/>
                    <a:pt x="62911" y="13203"/>
                  </a:cubicBezTo>
                  <a:cubicBezTo>
                    <a:pt x="92710" y="29706"/>
                    <a:pt x="115888" y="75915"/>
                    <a:pt x="115888" y="118823"/>
                  </a:cubicBezTo>
                  <a:cubicBezTo>
                    <a:pt x="115888" y="118823"/>
                    <a:pt x="115888" y="118823"/>
                    <a:pt x="115888" y="620757"/>
                  </a:cubicBezTo>
                  <a:lnTo>
                    <a:pt x="115888" y="825103"/>
                  </a:lnTo>
                  <a:lnTo>
                    <a:pt x="26514" y="874224"/>
                  </a:lnTo>
                  <a:lnTo>
                    <a:pt x="15314" y="861465"/>
                  </a:lnTo>
                  <a:cubicBezTo>
                    <a:pt x="5795" y="842486"/>
                    <a:pt x="0" y="820207"/>
                    <a:pt x="0" y="798753"/>
                  </a:cubicBezTo>
                  <a:cubicBezTo>
                    <a:pt x="0" y="798753"/>
                    <a:pt x="0" y="798753"/>
                    <a:pt x="0" y="49510"/>
                  </a:cubicBezTo>
                  <a:cubicBezTo>
                    <a:pt x="0" y="19804"/>
                    <a:pt x="13244" y="0"/>
                    <a:pt x="33111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xmlns="" id="{95F02460-F328-4C7B-811F-E3D7D6C353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5688" y="4695825"/>
              <a:ext cx="119063" cy="414899"/>
            </a:xfrm>
            <a:custGeom>
              <a:avLst/>
              <a:gdLst>
                <a:gd name="connsiteX0" fmla="*/ 33073 w 119063"/>
                <a:gd name="connsiteY0" fmla="*/ 0 h 414899"/>
                <a:gd name="connsiteX1" fmla="*/ 56224 w 119063"/>
                <a:gd name="connsiteY1" fmla="*/ 6605 h 414899"/>
                <a:gd name="connsiteX2" fmla="*/ 62839 w 119063"/>
                <a:gd name="connsiteY2" fmla="*/ 9908 h 414899"/>
                <a:gd name="connsiteX3" fmla="*/ 119063 w 119063"/>
                <a:gd name="connsiteY3" fmla="*/ 115586 h 414899"/>
                <a:gd name="connsiteX4" fmla="*/ 119063 w 119063"/>
                <a:gd name="connsiteY4" fmla="*/ 310277 h 414899"/>
                <a:gd name="connsiteX5" fmla="*/ 119063 w 119063"/>
                <a:gd name="connsiteY5" fmla="*/ 363731 h 414899"/>
                <a:gd name="connsiteX6" fmla="*/ 29159 w 119063"/>
                <a:gd name="connsiteY6" fmla="*/ 414899 h 414899"/>
                <a:gd name="connsiteX7" fmla="*/ 16950 w 119063"/>
                <a:gd name="connsiteY7" fmla="*/ 397121 h 414899"/>
                <a:gd name="connsiteX8" fmla="*/ 0 w 119063"/>
                <a:gd name="connsiteY8" fmla="*/ 336851 h 414899"/>
                <a:gd name="connsiteX9" fmla="*/ 0 w 119063"/>
                <a:gd name="connsiteY9" fmla="*/ 49537 h 414899"/>
                <a:gd name="connsiteX10" fmla="*/ 33073 w 119063"/>
                <a:gd name="connsiteY10" fmla="*/ 0 h 41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063" h="414899">
                  <a:moveTo>
                    <a:pt x="33073" y="0"/>
                  </a:moveTo>
                  <a:cubicBezTo>
                    <a:pt x="39688" y="0"/>
                    <a:pt x="49610" y="3303"/>
                    <a:pt x="56224" y="6605"/>
                  </a:cubicBezTo>
                  <a:cubicBezTo>
                    <a:pt x="56224" y="6605"/>
                    <a:pt x="56224" y="6605"/>
                    <a:pt x="62839" y="9908"/>
                  </a:cubicBezTo>
                  <a:cubicBezTo>
                    <a:pt x="95912" y="29722"/>
                    <a:pt x="119063" y="75957"/>
                    <a:pt x="119063" y="115586"/>
                  </a:cubicBezTo>
                  <a:cubicBezTo>
                    <a:pt x="119063" y="115586"/>
                    <a:pt x="119063" y="115586"/>
                    <a:pt x="119063" y="310277"/>
                  </a:cubicBezTo>
                  <a:lnTo>
                    <a:pt x="119063" y="363731"/>
                  </a:lnTo>
                  <a:lnTo>
                    <a:pt x="29159" y="414899"/>
                  </a:lnTo>
                  <a:lnTo>
                    <a:pt x="16950" y="397121"/>
                  </a:lnTo>
                  <a:cubicBezTo>
                    <a:pt x="6615" y="378132"/>
                    <a:pt x="0" y="356666"/>
                    <a:pt x="0" y="336851"/>
                  </a:cubicBezTo>
                  <a:cubicBezTo>
                    <a:pt x="0" y="336851"/>
                    <a:pt x="0" y="336851"/>
                    <a:pt x="0" y="49537"/>
                  </a:cubicBezTo>
                  <a:cubicBezTo>
                    <a:pt x="0" y="16513"/>
                    <a:pt x="13229" y="0"/>
                    <a:pt x="33073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xmlns="" id="{044DA748-443B-4276-8AB5-330D73460C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56822" y="3261347"/>
              <a:ext cx="120650" cy="2243743"/>
            </a:xfrm>
            <a:custGeom>
              <a:avLst/>
              <a:gdLst>
                <a:gd name="connsiteX0" fmla="*/ 33514 w 120650"/>
                <a:gd name="connsiteY0" fmla="*/ 0 h 2243743"/>
                <a:gd name="connsiteX1" fmla="*/ 56974 w 120650"/>
                <a:gd name="connsiteY1" fmla="*/ 6605 h 2243743"/>
                <a:gd name="connsiteX2" fmla="*/ 63676 w 120650"/>
                <a:gd name="connsiteY2" fmla="*/ 9908 h 2243743"/>
                <a:gd name="connsiteX3" fmla="*/ 120650 w 120650"/>
                <a:gd name="connsiteY3" fmla="*/ 115587 h 2243743"/>
                <a:gd name="connsiteX4" fmla="*/ 120650 w 120650"/>
                <a:gd name="connsiteY4" fmla="*/ 2080273 h 2243743"/>
                <a:gd name="connsiteX5" fmla="*/ 120650 w 120650"/>
                <a:gd name="connsiteY5" fmla="*/ 2177592 h 2243743"/>
                <a:gd name="connsiteX6" fmla="*/ 0 w 120650"/>
                <a:gd name="connsiteY6" fmla="*/ 2243743 h 2243743"/>
                <a:gd name="connsiteX7" fmla="*/ 0 w 120650"/>
                <a:gd name="connsiteY7" fmla="*/ 2132585 h 2243743"/>
                <a:gd name="connsiteX8" fmla="*/ 0 w 120650"/>
                <a:gd name="connsiteY8" fmla="*/ 46235 h 2243743"/>
                <a:gd name="connsiteX9" fmla="*/ 33514 w 120650"/>
                <a:gd name="connsiteY9" fmla="*/ 0 h 2243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0650" h="2243743">
                  <a:moveTo>
                    <a:pt x="33514" y="0"/>
                  </a:moveTo>
                  <a:cubicBezTo>
                    <a:pt x="40217" y="0"/>
                    <a:pt x="46919" y="0"/>
                    <a:pt x="56974" y="6605"/>
                  </a:cubicBezTo>
                  <a:cubicBezTo>
                    <a:pt x="56974" y="6605"/>
                    <a:pt x="56974" y="6605"/>
                    <a:pt x="63676" y="9908"/>
                  </a:cubicBezTo>
                  <a:cubicBezTo>
                    <a:pt x="97190" y="26420"/>
                    <a:pt x="120650" y="75957"/>
                    <a:pt x="120650" y="115587"/>
                  </a:cubicBezTo>
                  <a:cubicBezTo>
                    <a:pt x="120650" y="115587"/>
                    <a:pt x="120650" y="115587"/>
                    <a:pt x="120650" y="2080273"/>
                  </a:cubicBezTo>
                  <a:lnTo>
                    <a:pt x="120650" y="2177592"/>
                  </a:lnTo>
                  <a:lnTo>
                    <a:pt x="0" y="2243743"/>
                  </a:lnTo>
                  <a:lnTo>
                    <a:pt x="0" y="2132585"/>
                  </a:lnTo>
                  <a:cubicBezTo>
                    <a:pt x="0" y="1834535"/>
                    <a:pt x="0" y="1238435"/>
                    <a:pt x="0" y="46235"/>
                  </a:cubicBezTo>
                  <a:cubicBezTo>
                    <a:pt x="0" y="16513"/>
                    <a:pt x="13406" y="0"/>
                    <a:pt x="33514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xmlns="" id="{8E6C05D2-B2A6-4C87-B0F6-6FB6842991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836159" y="3769347"/>
              <a:ext cx="119063" cy="1621772"/>
            </a:xfrm>
            <a:custGeom>
              <a:avLst/>
              <a:gdLst>
                <a:gd name="connsiteX0" fmla="*/ 33073 w 119063"/>
                <a:gd name="connsiteY0" fmla="*/ 0 h 1621772"/>
                <a:gd name="connsiteX1" fmla="*/ 56224 w 119063"/>
                <a:gd name="connsiteY1" fmla="*/ 6607 h 1621772"/>
                <a:gd name="connsiteX2" fmla="*/ 66146 w 119063"/>
                <a:gd name="connsiteY2" fmla="*/ 9910 h 1621772"/>
                <a:gd name="connsiteX3" fmla="*/ 119063 w 119063"/>
                <a:gd name="connsiteY3" fmla="*/ 115614 h 1621772"/>
                <a:gd name="connsiteX4" fmla="*/ 119063 w 119063"/>
                <a:gd name="connsiteY4" fmla="*/ 1458860 h 1621772"/>
                <a:gd name="connsiteX5" fmla="*/ 119063 w 119063"/>
                <a:gd name="connsiteY5" fmla="*/ 1553686 h 1621772"/>
                <a:gd name="connsiteX6" fmla="*/ 0 w 119063"/>
                <a:gd name="connsiteY6" fmla="*/ 1621772 h 1621772"/>
                <a:gd name="connsiteX7" fmla="*/ 0 w 119063"/>
                <a:gd name="connsiteY7" fmla="*/ 1561802 h 1621772"/>
                <a:gd name="connsiteX8" fmla="*/ 0 w 119063"/>
                <a:gd name="connsiteY8" fmla="*/ 46246 h 1621772"/>
                <a:gd name="connsiteX9" fmla="*/ 33073 w 119063"/>
                <a:gd name="connsiteY9" fmla="*/ 0 h 1621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063" h="1621772">
                  <a:moveTo>
                    <a:pt x="33073" y="0"/>
                  </a:moveTo>
                  <a:cubicBezTo>
                    <a:pt x="39688" y="0"/>
                    <a:pt x="49610" y="0"/>
                    <a:pt x="56224" y="6607"/>
                  </a:cubicBezTo>
                  <a:cubicBezTo>
                    <a:pt x="56224" y="6607"/>
                    <a:pt x="56224" y="6607"/>
                    <a:pt x="66146" y="9910"/>
                  </a:cubicBezTo>
                  <a:cubicBezTo>
                    <a:pt x="95912" y="26426"/>
                    <a:pt x="119063" y="75975"/>
                    <a:pt x="119063" y="115614"/>
                  </a:cubicBezTo>
                  <a:cubicBezTo>
                    <a:pt x="119063" y="115614"/>
                    <a:pt x="119063" y="115614"/>
                    <a:pt x="119063" y="1458860"/>
                  </a:cubicBezTo>
                  <a:lnTo>
                    <a:pt x="119063" y="1553686"/>
                  </a:lnTo>
                  <a:lnTo>
                    <a:pt x="0" y="1621772"/>
                  </a:lnTo>
                  <a:lnTo>
                    <a:pt x="0" y="1561802"/>
                  </a:lnTo>
                  <a:cubicBezTo>
                    <a:pt x="0" y="1268090"/>
                    <a:pt x="0" y="798150"/>
                    <a:pt x="0" y="46246"/>
                  </a:cubicBezTo>
                  <a:cubicBezTo>
                    <a:pt x="0" y="16516"/>
                    <a:pt x="16537" y="0"/>
                    <a:pt x="33073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xmlns="" id="{69418B36-BBFD-4077-8C67-A8378FA408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613909" y="4367834"/>
              <a:ext cx="115888" cy="874224"/>
            </a:xfrm>
            <a:custGeom>
              <a:avLst/>
              <a:gdLst>
                <a:gd name="connsiteX0" fmla="*/ 33111 w 115888"/>
                <a:gd name="connsiteY0" fmla="*/ 0 h 874224"/>
                <a:gd name="connsiteX1" fmla="*/ 52977 w 115888"/>
                <a:gd name="connsiteY1" fmla="*/ 6602 h 874224"/>
                <a:gd name="connsiteX2" fmla="*/ 62911 w 115888"/>
                <a:gd name="connsiteY2" fmla="*/ 13203 h 874224"/>
                <a:gd name="connsiteX3" fmla="*/ 115888 w 115888"/>
                <a:gd name="connsiteY3" fmla="*/ 118823 h 874224"/>
                <a:gd name="connsiteX4" fmla="*/ 115888 w 115888"/>
                <a:gd name="connsiteY4" fmla="*/ 620757 h 874224"/>
                <a:gd name="connsiteX5" fmla="*/ 115888 w 115888"/>
                <a:gd name="connsiteY5" fmla="*/ 825103 h 874224"/>
                <a:gd name="connsiteX6" fmla="*/ 26514 w 115888"/>
                <a:gd name="connsiteY6" fmla="*/ 874224 h 874224"/>
                <a:gd name="connsiteX7" fmla="*/ 15314 w 115888"/>
                <a:gd name="connsiteY7" fmla="*/ 861465 h 874224"/>
                <a:gd name="connsiteX8" fmla="*/ 0 w 115888"/>
                <a:gd name="connsiteY8" fmla="*/ 798753 h 874224"/>
                <a:gd name="connsiteX9" fmla="*/ 0 w 115888"/>
                <a:gd name="connsiteY9" fmla="*/ 49510 h 874224"/>
                <a:gd name="connsiteX10" fmla="*/ 33111 w 115888"/>
                <a:gd name="connsiteY10" fmla="*/ 0 h 874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888" h="874224">
                  <a:moveTo>
                    <a:pt x="33111" y="0"/>
                  </a:moveTo>
                  <a:cubicBezTo>
                    <a:pt x="39733" y="0"/>
                    <a:pt x="46355" y="3301"/>
                    <a:pt x="52977" y="6602"/>
                  </a:cubicBezTo>
                  <a:cubicBezTo>
                    <a:pt x="52977" y="6602"/>
                    <a:pt x="52977" y="6602"/>
                    <a:pt x="62911" y="13203"/>
                  </a:cubicBezTo>
                  <a:cubicBezTo>
                    <a:pt x="92710" y="29706"/>
                    <a:pt x="115888" y="75915"/>
                    <a:pt x="115888" y="118823"/>
                  </a:cubicBezTo>
                  <a:cubicBezTo>
                    <a:pt x="115888" y="118823"/>
                    <a:pt x="115888" y="118823"/>
                    <a:pt x="115888" y="620757"/>
                  </a:cubicBezTo>
                  <a:lnTo>
                    <a:pt x="115888" y="825103"/>
                  </a:lnTo>
                  <a:lnTo>
                    <a:pt x="26514" y="874224"/>
                  </a:lnTo>
                  <a:lnTo>
                    <a:pt x="15314" y="861465"/>
                  </a:lnTo>
                  <a:cubicBezTo>
                    <a:pt x="5795" y="842486"/>
                    <a:pt x="0" y="820207"/>
                    <a:pt x="0" y="798753"/>
                  </a:cubicBezTo>
                  <a:cubicBezTo>
                    <a:pt x="0" y="798753"/>
                    <a:pt x="0" y="798753"/>
                    <a:pt x="0" y="49510"/>
                  </a:cubicBezTo>
                  <a:cubicBezTo>
                    <a:pt x="0" y="19804"/>
                    <a:pt x="13244" y="0"/>
                    <a:pt x="33111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xmlns="" id="{EF0C0E3C-2AFE-47E6-B968-7228E9662A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91659" y="4698034"/>
              <a:ext cx="119063" cy="414899"/>
            </a:xfrm>
            <a:custGeom>
              <a:avLst/>
              <a:gdLst>
                <a:gd name="connsiteX0" fmla="*/ 33073 w 119063"/>
                <a:gd name="connsiteY0" fmla="*/ 0 h 414899"/>
                <a:gd name="connsiteX1" fmla="*/ 56224 w 119063"/>
                <a:gd name="connsiteY1" fmla="*/ 6605 h 414899"/>
                <a:gd name="connsiteX2" fmla="*/ 62839 w 119063"/>
                <a:gd name="connsiteY2" fmla="*/ 9908 h 414899"/>
                <a:gd name="connsiteX3" fmla="*/ 119063 w 119063"/>
                <a:gd name="connsiteY3" fmla="*/ 115586 h 414899"/>
                <a:gd name="connsiteX4" fmla="*/ 119063 w 119063"/>
                <a:gd name="connsiteY4" fmla="*/ 310277 h 414899"/>
                <a:gd name="connsiteX5" fmla="*/ 119063 w 119063"/>
                <a:gd name="connsiteY5" fmla="*/ 363731 h 414899"/>
                <a:gd name="connsiteX6" fmla="*/ 29159 w 119063"/>
                <a:gd name="connsiteY6" fmla="*/ 414899 h 414899"/>
                <a:gd name="connsiteX7" fmla="*/ 16950 w 119063"/>
                <a:gd name="connsiteY7" fmla="*/ 397121 h 414899"/>
                <a:gd name="connsiteX8" fmla="*/ 0 w 119063"/>
                <a:gd name="connsiteY8" fmla="*/ 336851 h 414899"/>
                <a:gd name="connsiteX9" fmla="*/ 0 w 119063"/>
                <a:gd name="connsiteY9" fmla="*/ 49537 h 414899"/>
                <a:gd name="connsiteX10" fmla="*/ 33073 w 119063"/>
                <a:gd name="connsiteY10" fmla="*/ 0 h 41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063" h="414899">
                  <a:moveTo>
                    <a:pt x="33073" y="0"/>
                  </a:moveTo>
                  <a:cubicBezTo>
                    <a:pt x="39688" y="0"/>
                    <a:pt x="49610" y="3303"/>
                    <a:pt x="56224" y="6605"/>
                  </a:cubicBezTo>
                  <a:cubicBezTo>
                    <a:pt x="56224" y="6605"/>
                    <a:pt x="56224" y="6605"/>
                    <a:pt x="62839" y="9908"/>
                  </a:cubicBezTo>
                  <a:cubicBezTo>
                    <a:pt x="95912" y="29722"/>
                    <a:pt x="119063" y="75957"/>
                    <a:pt x="119063" y="115586"/>
                  </a:cubicBezTo>
                  <a:cubicBezTo>
                    <a:pt x="119063" y="115586"/>
                    <a:pt x="119063" y="115586"/>
                    <a:pt x="119063" y="310277"/>
                  </a:cubicBezTo>
                  <a:lnTo>
                    <a:pt x="119063" y="363731"/>
                  </a:lnTo>
                  <a:lnTo>
                    <a:pt x="29159" y="414899"/>
                  </a:lnTo>
                  <a:lnTo>
                    <a:pt x="16950" y="397121"/>
                  </a:lnTo>
                  <a:cubicBezTo>
                    <a:pt x="6615" y="378132"/>
                    <a:pt x="0" y="356666"/>
                    <a:pt x="0" y="336851"/>
                  </a:cubicBezTo>
                  <a:cubicBezTo>
                    <a:pt x="0" y="336851"/>
                    <a:pt x="0" y="336851"/>
                    <a:pt x="0" y="49537"/>
                  </a:cubicBezTo>
                  <a:cubicBezTo>
                    <a:pt x="0" y="16513"/>
                    <a:pt x="13229" y="0"/>
                    <a:pt x="33073" y="0"/>
                  </a:cubicBezTo>
                  <a:close/>
                </a:path>
              </a:pathLst>
            </a:custGeom>
            <a:gradFill>
              <a:gsLst>
                <a:gs pos="51000">
                  <a:srgbClr val="42E6E0">
                    <a:alpha val="40000"/>
                  </a:srgbClr>
                </a:gs>
                <a:gs pos="0">
                  <a:srgbClr val="566BD8">
                    <a:alpha val="20000"/>
                  </a:srgbClr>
                </a:gs>
                <a:gs pos="98000">
                  <a:srgbClr val="5666D7">
                    <a:alpha val="20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75" name="Freeform 106">
              <a:extLst>
                <a:ext uri="{FF2B5EF4-FFF2-40B4-BE49-F238E27FC236}">
                  <a16:creationId xmlns:a16="http://schemas.microsoft.com/office/drawing/2014/main" xmlns="" id="{CCBE267B-8FF3-4D30-9A4A-1C1BC6BBDF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55909" y="2437995"/>
              <a:ext cx="1951037" cy="3057525"/>
            </a:xfrm>
            <a:custGeom>
              <a:avLst/>
              <a:gdLst>
                <a:gd name="T0" fmla="*/ 531 w 531"/>
                <a:gd name="T1" fmla="*/ 0 h 835"/>
                <a:gd name="T2" fmla="*/ 0 w 531"/>
                <a:gd name="T3" fmla="*/ 0 h 835"/>
                <a:gd name="T4" fmla="*/ 0 w 531"/>
                <a:gd name="T5" fmla="*/ 682 h 835"/>
                <a:gd name="T6" fmla="*/ 0 w 531"/>
                <a:gd name="T7" fmla="*/ 682 h 835"/>
                <a:gd name="T8" fmla="*/ 6 w 531"/>
                <a:gd name="T9" fmla="*/ 692 h 835"/>
                <a:gd name="T10" fmla="*/ 248 w 531"/>
                <a:gd name="T11" fmla="*/ 831 h 835"/>
                <a:gd name="T12" fmla="*/ 264 w 531"/>
                <a:gd name="T13" fmla="*/ 835 h 835"/>
                <a:gd name="T14" fmla="*/ 286 w 531"/>
                <a:gd name="T15" fmla="*/ 830 h 835"/>
                <a:gd name="T16" fmla="*/ 522 w 531"/>
                <a:gd name="T17" fmla="*/ 693 h 835"/>
                <a:gd name="T18" fmla="*/ 531 w 531"/>
                <a:gd name="T19" fmla="*/ 682 h 835"/>
                <a:gd name="T20" fmla="*/ 531 w 531"/>
                <a:gd name="T21" fmla="*/ 682 h 835"/>
                <a:gd name="T22" fmla="*/ 531 w 531"/>
                <a:gd name="T23" fmla="*/ 0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31" h="835">
                  <a:moveTo>
                    <a:pt x="53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685"/>
                    <a:pt x="2" y="689"/>
                    <a:pt x="6" y="692"/>
                  </a:cubicBezTo>
                  <a:cubicBezTo>
                    <a:pt x="248" y="831"/>
                    <a:pt x="248" y="831"/>
                    <a:pt x="248" y="831"/>
                  </a:cubicBezTo>
                  <a:cubicBezTo>
                    <a:pt x="252" y="834"/>
                    <a:pt x="258" y="835"/>
                    <a:pt x="264" y="835"/>
                  </a:cubicBezTo>
                  <a:cubicBezTo>
                    <a:pt x="272" y="835"/>
                    <a:pt x="280" y="833"/>
                    <a:pt x="286" y="830"/>
                  </a:cubicBezTo>
                  <a:cubicBezTo>
                    <a:pt x="522" y="693"/>
                    <a:pt x="522" y="693"/>
                    <a:pt x="522" y="693"/>
                  </a:cubicBezTo>
                  <a:cubicBezTo>
                    <a:pt x="528" y="690"/>
                    <a:pt x="531" y="686"/>
                    <a:pt x="531" y="682"/>
                  </a:cubicBezTo>
                  <a:cubicBezTo>
                    <a:pt x="531" y="682"/>
                    <a:pt x="531" y="682"/>
                    <a:pt x="531" y="682"/>
                  </a:cubicBezTo>
                  <a:cubicBezTo>
                    <a:pt x="531" y="0"/>
                    <a:pt x="531" y="0"/>
                    <a:pt x="531" y="0"/>
                  </a:cubicBezTo>
                </a:path>
              </a:pathLst>
            </a:custGeom>
            <a:gradFill>
              <a:gsLst>
                <a:gs pos="100000">
                  <a:srgbClr val="42E6E0">
                    <a:alpha val="20000"/>
                  </a:srgbClr>
                </a:gs>
                <a:gs pos="0">
                  <a:srgbClr val="180D5B">
                    <a:alpha val="500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xmlns="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11/27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xmlns="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xmlns="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7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4" Type="http://schemas.openxmlformats.org/officeDocument/2006/relationships/hyperlink" Target="https://www.islide.cc/" TargetMode="Externa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51pptmoban.com/" TargetMode="Externa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xmlns="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xmlns="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xmlns="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73100" y="2870201"/>
            <a:ext cx="4452815" cy="558799"/>
          </a:xfrm>
        </p:spPr>
        <p:txBody>
          <a:bodyPr/>
          <a:lstStyle/>
          <a:p>
            <a:r>
              <a:rPr lang="en-US" altLang="zh-CN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Subtitle here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73100" y="1657757"/>
            <a:ext cx="4452815" cy="1198382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zh-CN" altLang="en-US" dirty="0"/>
              <a:t>大气科技视觉通用</a:t>
            </a:r>
            <a:r>
              <a:rPr lang="en-US" altLang="zh-CN" dirty="0"/>
              <a:t>PPT</a:t>
            </a:r>
            <a:r>
              <a:rPr lang="zh-CN" altLang="en-US" dirty="0"/>
              <a:t>模板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73100" y="4182883"/>
            <a:ext cx="2340818" cy="296271"/>
          </a:xfrm>
        </p:spPr>
        <p:txBody>
          <a:bodyPr/>
          <a:lstStyle/>
          <a:p>
            <a:r>
              <a:rPr lang="en-US" altLang="zh-CN" dirty="0"/>
              <a:t>Speaker name and title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673100" y="4479154"/>
            <a:ext cx="4452815" cy="296271"/>
          </a:xfrm>
        </p:spPr>
        <p:txBody>
          <a:bodyPr/>
          <a:lstStyle/>
          <a:p>
            <a:r>
              <a:rPr lang="en-US" altLang="en-US" dirty="0"/>
              <a:t>Designed by iSlide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FD9E73FA-ADEC-46A1-AD12-038850A51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0C28109C-2977-4291-B23B-4E47B0E089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2A71D9D7-3615-48B0-A3AA-54C3484FF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grpSp>
        <p:nvGrpSpPr>
          <p:cNvPr id="5" name="24120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10EE7F99-9C6B-4CA2-9D86-474BD0A5F84A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-3175" y="1165878"/>
            <a:ext cx="12195176" cy="5692116"/>
            <a:chOff x="-3175" y="1165878"/>
            <a:chExt cx="12195176" cy="5692116"/>
          </a:xfrm>
        </p:grpSpPr>
        <p:sp>
          <p:nvSpPr>
            <p:cNvPr id="6" name="îslîḋè">
              <a:extLst>
                <a:ext uri="{FF2B5EF4-FFF2-40B4-BE49-F238E27FC236}">
                  <a16:creationId xmlns:a16="http://schemas.microsoft.com/office/drawing/2014/main" xmlns="" id="{A22F7CC7-7636-4AB7-AA30-5AC97AC2BA51}"/>
                </a:ext>
              </a:extLst>
            </p:cNvPr>
            <p:cNvSpPr/>
            <p:nvPr/>
          </p:nvSpPr>
          <p:spPr>
            <a:xfrm>
              <a:off x="-3175" y="2857801"/>
              <a:ext cx="12195176" cy="400019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grpSp>
          <p:nvGrpSpPr>
            <p:cNvPr id="7" name="îSļîḓê">
              <a:extLst>
                <a:ext uri="{FF2B5EF4-FFF2-40B4-BE49-F238E27FC236}">
                  <a16:creationId xmlns:a16="http://schemas.microsoft.com/office/drawing/2014/main" xmlns="" id="{1327A49D-4642-49BE-BAA8-D15C2DD2D150}"/>
                </a:ext>
              </a:extLst>
            </p:cNvPr>
            <p:cNvGrpSpPr/>
            <p:nvPr/>
          </p:nvGrpSpPr>
          <p:grpSpPr>
            <a:xfrm>
              <a:off x="4781550" y="1165878"/>
              <a:ext cx="2628900" cy="4980922"/>
              <a:chOff x="4781550" y="1165878"/>
              <a:chExt cx="2628900" cy="4980922"/>
            </a:xfrm>
          </p:grpSpPr>
          <p:sp>
            <p:nvSpPr>
              <p:cNvPr id="29" name="ïSḻïḋé">
                <a:extLst>
                  <a:ext uri="{FF2B5EF4-FFF2-40B4-BE49-F238E27FC236}">
                    <a16:creationId xmlns:a16="http://schemas.microsoft.com/office/drawing/2014/main" xmlns="" id="{E5CCAEA2-41BB-4EB4-908A-EF7AC90D1209}"/>
                  </a:ext>
                </a:extLst>
              </p:cNvPr>
              <p:cNvSpPr/>
              <p:nvPr/>
            </p:nvSpPr>
            <p:spPr bwMode="auto">
              <a:xfrm>
                <a:off x="6065344" y="1165878"/>
                <a:ext cx="1329779" cy="169384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21600"/>
                    </a:moveTo>
                    <a:lnTo>
                      <a:pt x="18808" y="21600"/>
                    </a:lnTo>
                    <a:cubicBezTo>
                      <a:pt x="17153" y="20629"/>
                      <a:pt x="15392" y="20737"/>
                      <a:pt x="13821" y="19093"/>
                    </a:cubicBezTo>
                    <a:cubicBezTo>
                      <a:pt x="13567" y="18827"/>
                      <a:pt x="13664" y="18817"/>
                      <a:pt x="13269" y="18749"/>
                    </a:cubicBezTo>
                    <a:cubicBezTo>
                      <a:pt x="13457" y="19077"/>
                      <a:pt x="13316" y="19293"/>
                      <a:pt x="13269" y="19683"/>
                    </a:cubicBezTo>
                    <a:cubicBezTo>
                      <a:pt x="12962" y="19491"/>
                      <a:pt x="12327" y="19279"/>
                      <a:pt x="11610" y="19019"/>
                    </a:cubicBezTo>
                    <a:cubicBezTo>
                      <a:pt x="11590" y="19374"/>
                      <a:pt x="11353" y="19457"/>
                      <a:pt x="11203" y="19781"/>
                    </a:cubicBezTo>
                    <a:cubicBezTo>
                      <a:pt x="10048" y="19437"/>
                      <a:pt x="9304" y="18983"/>
                      <a:pt x="8324" y="18380"/>
                    </a:cubicBezTo>
                    <a:cubicBezTo>
                      <a:pt x="8270" y="18471"/>
                      <a:pt x="8183" y="18392"/>
                      <a:pt x="8168" y="18503"/>
                    </a:cubicBezTo>
                    <a:cubicBezTo>
                      <a:pt x="8143" y="18701"/>
                      <a:pt x="7753" y="18664"/>
                      <a:pt x="7573" y="18749"/>
                    </a:cubicBezTo>
                    <a:cubicBezTo>
                      <a:pt x="7230" y="18910"/>
                      <a:pt x="7235" y="19461"/>
                      <a:pt x="7169" y="19683"/>
                    </a:cubicBezTo>
                    <a:cubicBezTo>
                      <a:pt x="6849" y="19622"/>
                      <a:pt x="6088" y="19348"/>
                      <a:pt x="5789" y="19412"/>
                    </a:cubicBezTo>
                    <a:cubicBezTo>
                      <a:pt x="5504" y="19024"/>
                      <a:pt x="5137" y="18548"/>
                      <a:pt x="4694" y="18306"/>
                    </a:cubicBezTo>
                    <a:cubicBezTo>
                      <a:pt x="3052" y="15213"/>
                      <a:pt x="2889" y="15739"/>
                      <a:pt x="2785" y="14688"/>
                    </a:cubicBezTo>
                    <a:cubicBezTo>
                      <a:pt x="2672" y="14563"/>
                      <a:pt x="2377" y="14461"/>
                      <a:pt x="2191" y="14424"/>
                    </a:cubicBezTo>
                    <a:cubicBezTo>
                      <a:pt x="803" y="14151"/>
                      <a:pt x="842" y="12535"/>
                      <a:pt x="595" y="11844"/>
                    </a:cubicBezTo>
                    <a:cubicBezTo>
                      <a:pt x="775" y="11755"/>
                      <a:pt x="1301" y="11529"/>
                      <a:pt x="1471" y="11426"/>
                    </a:cubicBezTo>
                    <a:cubicBezTo>
                      <a:pt x="2046" y="12643"/>
                      <a:pt x="2155" y="13345"/>
                      <a:pt x="3223" y="13613"/>
                    </a:cubicBezTo>
                    <a:cubicBezTo>
                      <a:pt x="3453" y="13671"/>
                      <a:pt x="3651" y="13779"/>
                      <a:pt x="3818" y="13933"/>
                    </a:cubicBezTo>
                    <a:cubicBezTo>
                      <a:pt x="4179" y="13865"/>
                      <a:pt x="4339" y="13949"/>
                      <a:pt x="4600" y="13761"/>
                    </a:cubicBezTo>
                    <a:cubicBezTo>
                      <a:pt x="4310" y="12634"/>
                      <a:pt x="4291" y="11805"/>
                      <a:pt x="4381" y="10640"/>
                    </a:cubicBezTo>
                    <a:cubicBezTo>
                      <a:pt x="3723" y="9985"/>
                      <a:pt x="2535" y="8699"/>
                      <a:pt x="1408" y="9583"/>
                    </a:cubicBezTo>
                    <a:cubicBezTo>
                      <a:pt x="1395" y="9510"/>
                      <a:pt x="317" y="2988"/>
                      <a:pt x="0" y="0"/>
                    </a:cubicBezTo>
                    <a:cubicBezTo>
                      <a:pt x="954" y="3653"/>
                      <a:pt x="6177" y="7023"/>
                      <a:pt x="7372" y="12214"/>
                    </a:cubicBezTo>
                    <a:cubicBezTo>
                      <a:pt x="8822" y="13734"/>
                      <a:pt x="12726" y="17389"/>
                      <a:pt x="15976" y="18509"/>
                    </a:cubicBezTo>
                    <a:cubicBezTo>
                      <a:pt x="16938" y="19995"/>
                      <a:pt x="19150" y="20429"/>
                      <a:pt x="21600" y="21600"/>
                    </a:cubicBezTo>
                    <a:close/>
                  </a:path>
                </a:pathLst>
              </a:custGeom>
              <a:solidFill>
                <a:srgbClr val="797A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chemeClr val="bg1"/>
                    </a:solidFill>
                    <a:prstDash val="solid"/>
                    <a:miter lim="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1pPr>
                <a:lvl2pPr marL="457200" indent="-2286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2pPr>
                <a:lvl3pPr marL="914400" indent="-4572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3pPr>
                <a:lvl4pPr marL="1371600" indent="-6858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4pPr>
                <a:lvl5pPr marL="1828800" indent="-9144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5pPr>
                <a:lvl6pPr marL="22860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6pPr>
                <a:lvl7pPr marL="27432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7pPr>
                <a:lvl8pPr marL="32004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8pPr>
                <a:lvl9pPr marL="36576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9pPr>
              </a:lstStyle>
              <a:p>
                <a:pPr algn="ctr" eaLnBrk="1">
                  <a:defRPr/>
                </a:pPr>
                <a:endParaRPr lang="en-US" altLang="en-US"/>
              </a:p>
            </p:txBody>
          </p:sp>
          <p:sp>
            <p:nvSpPr>
              <p:cNvPr id="30" name="iSļíḓê">
                <a:extLst>
                  <a:ext uri="{FF2B5EF4-FFF2-40B4-BE49-F238E27FC236}">
                    <a16:creationId xmlns:a16="http://schemas.microsoft.com/office/drawing/2014/main" xmlns="" id="{BE05D293-696D-4A96-A584-0FFA23851899}"/>
                  </a:ext>
                </a:extLst>
              </p:cNvPr>
              <p:cNvSpPr/>
              <p:nvPr/>
            </p:nvSpPr>
            <p:spPr bwMode="auto">
              <a:xfrm>
                <a:off x="5712780" y="1165878"/>
                <a:ext cx="1559712" cy="169384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21600"/>
                    </a:moveTo>
                    <a:lnTo>
                      <a:pt x="0" y="21600"/>
                    </a:lnTo>
                    <a:cubicBezTo>
                      <a:pt x="678" y="21067"/>
                      <a:pt x="1442" y="20080"/>
                      <a:pt x="1387" y="19265"/>
                    </a:cubicBezTo>
                    <a:cubicBezTo>
                      <a:pt x="1643" y="19294"/>
                      <a:pt x="2195" y="19383"/>
                      <a:pt x="2455" y="19388"/>
                    </a:cubicBezTo>
                    <a:cubicBezTo>
                      <a:pt x="2458" y="19520"/>
                      <a:pt x="2735" y="19886"/>
                      <a:pt x="2802" y="19953"/>
                    </a:cubicBezTo>
                    <a:cubicBezTo>
                      <a:pt x="3488" y="20639"/>
                      <a:pt x="4121" y="20945"/>
                      <a:pt x="5150" y="21009"/>
                    </a:cubicBezTo>
                    <a:cubicBezTo>
                      <a:pt x="6257" y="20858"/>
                      <a:pt x="6992" y="20741"/>
                      <a:pt x="8005" y="20279"/>
                    </a:cubicBezTo>
                    <a:cubicBezTo>
                      <a:pt x="7881" y="19826"/>
                      <a:pt x="7824" y="19432"/>
                      <a:pt x="7898" y="18970"/>
                    </a:cubicBezTo>
                    <a:cubicBezTo>
                      <a:pt x="7432" y="18050"/>
                      <a:pt x="7183" y="17404"/>
                      <a:pt x="6884" y="16439"/>
                    </a:cubicBezTo>
                    <a:cubicBezTo>
                      <a:pt x="6381" y="16317"/>
                      <a:pt x="6164" y="15770"/>
                      <a:pt x="6084" y="15282"/>
                    </a:cubicBezTo>
                    <a:cubicBezTo>
                      <a:pt x="5678" y="15080"/>
                      <a:pt x="4989" y="14739"/>
                      <a:pt x="4910" y="14031"/>
                    </a:cubicBezTo>
                    <a:cubicBezTo>
                      <a:pt x="4091" y="13607"/>
                      <a:pt x="4291" y="11987"/>
                      <a:pt x="4376" y="11070"/>
                    </a:cubicBezTo>
                    <a:cubicBezTo>
                      <a:pt x="4543" y="10780"/>
                      <a:pt x="4820" y="10410"/>
                      <a:pt x="5043" y="10148"/>
                    </a:cubicBezTo>
                    <a:cubicBezTo>
                      <a:pt x="5018" y="9046"/>
                      <a:pt x="4755" y="8089"/>
                      <a:pt x="4749" y="6979"/>
                    </a:cubicBezTo>
                    <a:cubicBezTo>
                      <a:pt x="5100" y="4872"/>
                      <a:pt x="4910" y="2949"/>
                      <a:pt x="4429" y="811"/>
                    </a:cubicBezTo>
                    <a:cubicBezTo>
                      <a:pt x="4269" y="442"/>
                      <a:pt x="4749" y="295"/>
                      <a:pt x="4910" y="0"/>
                    </a:cubicBezTo>
                    <a:cubicBezTo>
                      <a:pt x="5470" y="2580"/>
                      <a:pt x="5630" y="5234"/>
                      <a:pt x="6010" y="7860"/>
                    </a:cubicBezTo>
                    <a:cubicBezTo>
                      <a:pt x="6130" y="8385"/>
                      <a:pt x="6270" y="8920"/>
                      <a:pt x="6350" y="9436"/>
                    </a:cubicBezTo>
                    <a:cubicBezTo>
                      <a:pt x="7311" y="8551"/>
                      <a:pt x="8352" y="9878"/>
                      <a:pt x="8913" y="10533"/>
                    </a:cubicBezTo>
                    <a:cubicBezTo>
                      <a:pt x="8836" y="11697"/>
                      <a:pt x="8764" y="12835"/>
                      <a:pt x="9012" y="13962"/>
                    </a:cubicBezTo>
                    <a:cubicBezTo>
                      <a:pt x="8789" y="14151"/>
                      <a:pt x="8484" y="14218"/>
                      <a:pt x="8176" y="14286"/>
                    </a:cubicBezTo>
                    <a:cubicBezTo>
                      <a:pt x="8033" y="14132"/>
                      <a:pt x="7788" y="14016"/>
                      <a:pt x="7592" y="13958"/>
                    </a:cubicBezTo>
                    <a:cubicBezTo>
                      <a:pt x="6681" y="13689"/>
                      <a:pt x="6602" y="12958"/>
                      <a:pt x="6111" y="11742"/>
                    </a:cubicBezTo>
                    <a:cubicBezTo>
                      <a:pt x="5967" y="11845"/>
                      <a:pt x="5816" y="11940"/>
                      <a:pt x="5662" y="12029"/>
                    </a:cubicBezTo>
                    <a:cubicBezTo>
                      <a:pt x="5874" y="12721"/>
                      <a:pt x="5848" y="13931"/>
                      <a:pt x="7031" y="14204"/>
                    </a:cubicBezTo>
                    <a:cubicBezTo>
                      <a:pt x="7191" y="14241"/>
                      <a:pt x="7301" y="14345"/>
                      <a:pt x="7398" y="14470"/>
                    </a:cubicBezTo>
                    <a:cubicBezTo>
                      <a:pt x="7487" y="15521"/>
                      <a:pt x="7692" y="14993"/>
                      <a:pt x="9092" y="18087"/>
                    </a:cubicBezTo>
                    <a:cubicBezTo>
                      <a:pt x="9470" y="18328"/>
                      <a:pt x="9716" y="18735"/>
                      <a:pt x="9959" y="19123"/>
                    </a:cubicBezTo>
                    <a:cubicBezTo>
                      <a:pt x="10213" y="19059"/>
                      <a:pt x="10485" y="19102"/>
                      <a:pt x="10760" y="19164"/>
                    </a:cubicBezTo>
                    <a:cubicBezTo>
                      <a:pt x="10817" y="18942"/>
                      <a:pt x="10898" y="18597"/>
                      <a:pt x="11190" y="18435"/>
                    </a:cubicBezTo>
                    <a:cubicBezTo>
                      <a:pt x="11343" y="18351"/>
                      <a:pt x="11620" y="18463"/>
                      <a:pt x="11640" y="18266"/>
                    </a:cubicBezTo>
                    <a:cubicBezTo>
                      <a:pt x="11653" y="18154"/>
                      <a:pt x="11683" y="18053"/>
                      <a:pt x="11729" y="17963"/>
                    </a:cubicBezTo>
                    <a:cubicBezTo>
                      <a:pt x="12565" y="18566"/>
                      <a:pt x="13391" y="19224"/>
                      <a:pt x="14376" y="19568"/>
                    </a:cubicBezTo>
                    <a:cubicBezTo>
                      <a:pt x="14504" y="19245"/>
                      <a:pt x="14505" y="18881"/>
                      <a:pt x="14523" y="18527"/>
                    </a:cubicBezTo>
                    <a:cubicBezTo>
                      <a:pt x="15135" y="18787"/>
                      <a:pt x="15795" y="19251"/>
                      <a:pt x="16057" y="19442"/>
                    </a:cubicBezTo>
                    <a:cubicBezTo>
                      <a:pt x="16097" y="19053"/>
                      <a:pt x="16024" y="18676"/>
                      <a:pt x="15864" y="18348"/>
                    </a:cubicBezTo>
                    <a:cubicBezTo>
                      <a:pt x="16201" y="18415"/>
                      <a:pt x="16558" y="18463"/>
                      <a:pt x="16774" y="18729"/>
                    </a:cubicBezTo>
                    <a:cubicBezTo>
                      <a:pt x="18114" y="20373"/>
                      <a:pt x="20189" y="20629"/>
                      <a:pt x="21600" y="21600"/>
                    </a:cubicBezTo>
                    <a:close/>
                  </a:path>
                </a:pathLst>
              </a:custGeom>
              <a:solidFill>
                <a:srgbClr val="A9A9A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chemeClr val="bg1"/>
                    </a:solidFill>
                    <a:prstDash val="solid"/>
                    <a:miter lim="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1pPr>
                <a:lvl2pPr marL="457200" indent="-2286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2pPr>
                <a:lvl3pPr marL="914400" indent="-4572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3pPr>
                <a:lvl4pPr marL="1371600" indent="-6858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4pPr>
                <a:lvl5pPr marL="1828800" indent="-9144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5pPr>
                <a:lvl6pPr marL="22860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6pPr>
                <a:lvl7pPr marL="27432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7pPr>
                <a:lvl8pPr marL="32004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8pPr>
                <a:lvl9pPr marL="36576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9pPr>
              </a:lstStyle>
              <a:p>
                <a:pPr algn="ctr" eaLnBrk="1">
                  <a:defRPr/>
                </a:pPr>
                <a:endParaRPr lang="en-US" altLang="en-US"/>
              </a:p>
            </p:txBody>
          </p:sp>
          <p:sp>
            <p:nvSpPr>
              <p:cNvPr id="31" name="ïs1iḑe">
                <a:extLst>
                  <a:ext uri="{FF2B5EF4-FFF2-40B4-BE49-F238E27FC236}">
                    <a16:creationId xmlns:a16="http://schemas.microsoft.com/office/drawing/2014/main" xmlns="" id="{630AC733-68AE-4500-85D9-9C89540B5979}"/>
                  </a:ext>
                </a:extLst>
              </p:cNvPr>
              <p:cNvSpPr/>
              <p:nvPr/>
            </p:nvSpPr>
            <p:spPr bwMode="auto">
              <a:xfrm>
                <a:off x="4781551" y="1206116"/>
                <a:ext cx="1539593" cy="165168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4169" y="17492"/>
                    </a:moveTo>
                    <a:cubicBezTo>
                      <a:pt x="14037" y="16954"/>
                      <a:pt x="13917" y="16417"/>
                      <a:pt x="13947" y="15869"/>
                    </a:cubicBezTo>
                    <a:cubicBezTo>
                      <a:pt x="13607" y="16140"/>
                      <a:pt x="13219" y="16355"/>
                      <a:pt x="12853" y="16648"/>
                    </a:cubicBezTo>
                    <a:cubicBezTo>
                      <a:pt x="9764" y="19116"/>
                      <a:pt x="12630" y="17050"/>
                      <a:pt x="9462" y="19491"/>
                    </a:cubicBezTo>
                    <a:cubicBezTo>
                      <a:pt x="9931" y="19813"/>
                      <a:pt x="10431" y="19984"/>
                      <a:pt x="10930" y="20245"/>
                    </a:cubicBezTo>
                    <a:cubicBezTo>
                      <a:pt x="13601" y="18560"/>
                      <a:pt x="13207" y="18635"/>
                      <a:pt x="14169" y="17492"/>
                    </a:cubicBezTo>
                    <a:close/>
                    <a:moveTo>
                      <a:pt x="16658" y="4343"/>
                    </a:moveTo>
                    <a:cubicBezTo>
                      <a:pt x="16420" y="5218"/>
                      <a:pt x="16177" y="5772"/>
                      <a:pt x="15365" y="5394"/>
                    </a:cubicBezTo>
                    <a:cubicBezTo>
                      <a:pt x="15216" y="6078"/>
                      <a:pt x="14817" y="6730"/>
                      <a:pt x="14169" y="7108"/>
                    </a:cubicBezTo>
                    <a:cubicBezTo>
                      <a:pt x="13844" y="7259"/>
                      <a:pt x="14086" y="7676"/>
                      <a:pt x="13959" y="8091"/>
                    </a:cubicBezTo>
                    <a:cubicBezTo>
                      <a:pt x="13531" y="8866"/>
                      <a:pt x="13292" y="9525"/>
                      <a:pt x="13067" y="10334"/>
                    </a:cubicBezTo>
                    <a:cubicBezTo>
                      <a:pt x="13890" y="11739"/>
                      <a:pt x="13826" y="12908"/>
                      <a:pt x="13689" y="14511"/>
                    </a:cubicBezTo>
                    <a:cubicBezTo>
                      <a:pt x="14549" y="13689"/>
                      <a:pt x="13494" y="14557"/>
                      <a:pt x="15501" y="12778"/>
                    </a:cubicBezTo>
                    <a:cubicBezTo>
                      <a:pt x="15651" y="11977"/>
                      <a:pt x="16214" y="11621"/>
                      <a:pt x="16461" y="10826"/>
                    </a:cubicBezTo>
                    <a:cubicBezTo>
                      <a:pt x="16861" y="9536"/>
                      <a:pt x="15863" y="8887"/>
                      <a:pt x="16582" y="7965"/>
                    </a:cubicBezTo>
                    <a:cubicBezTo>
                      <a:pt x="16918" y="5628"/>
                      <a:pt x="16904" y="5022"/>
                      <a:pt x="16658" y="4343"/>
                    </a:cubicBezTo>
                    <a:close/>
                    <a:moveTo>
                      <a:pt x="21500" y="18958"/>
                    </a:moveTo>
                    <a:cubicBezTo>
                      <a:pt x="21425" y="19432"/>
                      <a:pt x="21475" y="19892"/>
                      <a:pt x="21600" y="20356"/>
                    </a:cubicBezTo>
                    <a:cubicBezTo>
                      <a:pt x="20574" y="20830"/>
                      <a:pt x="19433" y="21149"/>
                      <a:pt x="18311" y="21304"/>
                    </a:cubicBezTo>
                    <a:cubicBezTo>
                      <a:pt x="17269" y="21239"/>
                      <a:pt x="16304" y="20641"/>
                      <a:pt x="15609" y="19937"/>
                    </a:cubicBezTo>
                    <a:cubicBezTo>
                      <a:pt x="15542" y="19868"/>
                      <a:pt x="15530" y="19748"/>
                      <a:pt x="15527" y="19612"/>
                    </a:cubicBezTo>
                    <a:cubicBezTo>
                      <a:pt x="15264" y="19607"/>
                      <a:pt x="15008" y="19558"/>
                      <a:pt x="14749" y="19528"/>
                    </a:cubicBezTo>
                    <a:cubicBezTo>
                      <a:pt x="14805" y="20365"/>
                      <a:pt x="14203" y="21054"/>
                      <a:pt x="13517" y="21600"/>
                    </a:cubicBezTo>
                    <a:lnTo>
                      <a:pt x="0" y="21600"/>
                    </a:lnTo>
                    <a:cubicBezTo>
                      <a:pt x="3399" y="19572"/>
                      <a:pt x="5693" y="16336"/>
                      <a:pt x="7772" y="13211"/>
                    </a:cubicBezTo>
                    <a:cubicBezTo>
                      <a:pt x="8273" y="13102"/>
                      <a:pt x="8767" y="12943"/>
                      <a:pt x="9218" y="12723"/>
                    </a:cubicBezTo>
                    <a:cubicBezTo>
                      <a:pt x="10819" y="9524"/>
                      <a:pt x="11219" y="9402"/>
                      <a:pt x="11609" y="7912"/>
                    </a:cubicBezTo>
                    <a:cubicBezTo>
                      <a:pt x="13212" y="7823"/>
                      <a:pt x="13512" y="6894"/>
                      <a:pt x="13825" y="5674"/>
                    </a:cubicBezTo>
                    <a:cubicBezTo>
                      <a:pt x="14068" y="4890"/>
                      <a:pt x="14068" y="4058"/>
                      <a:pt x="14554" y="3529"/>
                    </a:cubicBezTo>
                    <a:cubicBezTo>
                      <a:pt x="15528" y="2395"/>
                      <a:pt x="16904" y="1285"/>
                      <a:pt x="17553" y="0"/>
                    </a:cubicBezTo>
                    <a:cubicBezTo>
                      <a:pt x="18364" y="2117"/>
                      <a:pt x="18529" y="4588"/>
                      <a:pt x="18173" y="6748"/>
                    </a:cubicBezTo>
                    <a:cubicBezTo>
                      <a:pt x="18179" y="7887"/>
                      <a:pt x="18456" y="9053"/>
                      <a:pt x="18482" y="10183"/>
                    </a:cubicBezTo>
                    <a:cubicBezTo>
                      <a:pt x="18256" y="10452"/>
                      <a:pt x="18034" y="10718"/>
                      <a:pt x="17865" y="11015"/>
                    </a:cubicBezTo>
                    <a:cubicBezTo>
                      <a:pt x="17775" y="11994"/>
                      <a:pt x="17722" y="13043"/>
                      <a:pt x="18540" y="13472"/>
                    </a:cubicBezTo>
                    <a:cubicBezTo>
                      <a:pt x="18620" y="14198"/>
                      <a:pt x="19180" y="14675"/>
                      <a:pt x="19592" y="14882"/>
                    </a:cubicBezTo>
                    <a:cubicBezTo>
                      <a:pt x="19674" y="15383"/>
                      <a:pt x="19839" y="15933"/>
                      <a:pt x="20348" y="16058"/>
                    </a:cubicBezTo>
                    <a:cubicBezTo>
                      <a:pt x="20651" y="17048"/>
                      <a:pt x="21028" y="18015"/>
                      <a:pt x="21500" y="18958"/>
                    </a:cubicBezTo>
                    <a:close/>
                    <a:moveTo>
                      <a:pt x="9445" y="14511"/>
                    </a:moveTo>
                    <a:cubicBezTo>
                      <a:pt x="9162" y="14624"/>
                      <a:pt x="8887" y="14757"/>
                      <a:pt x="8612" y="14888"/>
                    </a:cubicBezTo>
                    <a:cubicBezTo>
                      <a:pt x="8560" y="14993"/>
                      <a:pt x="8119" y="15746"/>
                      <a:pt x="7641" y="16949"/>
                    </a:cubicBezTo>
                    <a:cubicBezTo>
                      <a:pt x="6495" y="17871"/>
                      <a:pt x="5642" y="18941"/>
                      <a:pt x="4725" y="19555"/>
                    </a:cubicBezTo>
                    <a:cubicBezTo>
                      <a:pt x="5197" y="19519"/>
                      <a:pt x="5569" y="19737"/>
                      <a:pt x="5754" y="20182"/>
                    </a:cubicBezTo>
                    <a:cubicBezTo>
                      <a:pt x="6570" y="19582"/>
                      <a:pt x="8353" y="18306"/>
                      <a:pt x="9316" y="17633"/>
                    </a:cubicBezTo>
                    <a:cubicBezTo>
                      <a:pt x="9323" y="16593"/>
                      <a:pt x="9443" y="15552"/>
                      <a:pt x="9445" y="14511"/>
                    </a:cubicBezTo>
                    <a:close/>
                  </a:path>
                </a:pathLst>
              </a:custGeom>
              <a:solidFill>
                <a:srgbClr val="E0E0D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chemeClr val="bg1"/>
                    </a:solidFill>
                    <a:prstDash val="solid"/>
                    <a:miter lim="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1pPr>
                <a:lvl2pPr marL="457200" indent="-2286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2pPr>
                <a:lvl3pPr marL="914400" indent="-4572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3pPr>
                <a:lvl4pPr marL="1371600" indent="-6858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4pPr>
                <a:lvl5pPr marL="1828800" indent="-9144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5pPr>
                <a:lvl6pPr marL="22860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6pPr>
                <a:lvl7pPr marL="27432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7pPr>
                <a:lvl8pPr marL="32004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8pPr>
                <a:lvl9pPr marL="36576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9pPr>
              </a:lstStyle>
              <a:p>
                <a:pPr algn="ctr" eaLnBrk="1">
                  <a:defRPr/>
                </a:pPr>
                <a:endParaRPr lang="en-US" altLang="en-US"/>
              </a:p>
            </p:txBody>
          </p:sp>
          <p:sp>
            <p:nvSpPr>
              <p:cNvPr id="32" name="îṥľïḋè">
                <a:extLst>
                  <a:ext uri="{FF2B5EF4-FFF2-40B4-BE49-F238E27FC236}">
                    <a16:creationId xmlns:a16="http://schemas.microsoft.com/office/drawing/2014/main" xmlns="" id="{78F13F3B-29FD-4C2D-AE3F-F1AAAF2FE991}"/>
                  </a:ext>
                </a:extLst>
              </p:cNvPr>
              <p:cNvSpPr/>
              <p:nvPr/>
            </p:nvSpPr>
            <p:spPr bwMode="auto">
              <a:xfrm>
                <a:off x="5688828" y="1541435"/>
                <a:ext cx="315200" cy="824885"/>
              </a:xfrm>
              <a:custGeom>
                <a:avLst/>
                <a:gdLst>
                  <a:gd name="T0" fmla="*/ 10193 w 20386"/>
                  <a:gd name="T1" fmla="*/ 10800 h 21600"/>
                  <a:gd name="T2" fmla="*/ 10193 w 20386"/>
                  <a:gd name="T3" fmla="*/ 10800 h 21600"/>
                  <a:gd name="T4" fmla="*/ 10193 w 20386"/>
                  <a:gd name="T5" fmla="*/ 10800 h 21600"/>
                  <a:gd name="T6" fmla="*/ 10193 w 20386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386" h="21600">
                    <a:moveTo>
                      <a:pt x="18067" y="0"/>
                    </a:moveTo>
                    <a:cubicBezTo>
                      <a:pt x="21600" y="2883"/>
                      <a:pt x="20694" y="5541"/>
                      <a:pt x="18036" y="9891"/>
                    </a:cubicBezTo>
                    <a:cubicBezTo>
                      <a:pt x="17654" y="14128"/>
                      <a:pt x="15652" y="13940"/>
                      <a:pt x="14021" y="17715"/>
                    </a:cubicBezTo>
                    <a:cubicBezTo>
                      <a:pt x="4682" y="21302"/>
                      <a:pt x="7717" y="19937"/>
                      <a:pt x="3704" y="21600"/>
                    </a:cubicBezTo>
                    <a:cubicBezTo>
                      <a:pt x="4336" y="18389"/>
                      <a:pt x="3804" y="14971"/>
                      <a:pt x="0" y="12155"/>
                    </a:cubicBezTo>
                    <a:cubicBezTo>
                      <a:pt x="1036" y="10539"/>
                      <a:pt x="2047" y="8944"/>
                      <a:pt x="4026" y="7391"/>
                    </a:cubicBezTo>
                    <a:cubicBezTo>
                      <a:pt x="4609" y="6559"/>
                      <a:pt x="4234" y="5347"/>
                      <a:pt x="5734" y="5044"/>
                    </a:cubicBezTo>
                    <a:cubicBezTo>
                      <a:pt x="8733" y="4287"/>
                      <a:pt x="9857" y="2772"/>
                      <a:pt x="11678" y="1706"/>
                    </a:cubicBezTo>
                    <a:cubicBezTo>
                      <a:pt x="12026" y="1400"/>
                      <a:pt x="13906" y="1855"/>
                      <a:pt x="15493" y="1916"/>
                    </a:cubicBezTo>
                    <a:cubicBezTo>
                      <a:pt x="16172" y="1224"/>
                      <a:pt x="17158" y="622"/>
                      <a:pt x="18067" y="0"/>
                    </a:cubicBezTo>
                    <a:close/>
                  </a:path>
                </a:pathLst>
              </a:custGeom>
              <a:solidFill>
                <a:srgbClr val="F4F4F5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chemeClr val="bg1"/>
                    </a:solidFill>
                    <a:prstDash val="solid"/>
                    <a:miter lim="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1pPr>
                <a:lvl2pPr marL="457200" indent="-2286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2pPr>
                <a:lvl3pPr marL="914400" indent="-4572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3pPr>
                <a:lvl4pPr marL="1371600" indent="-6858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4pPr>
                <a:lvl5pPr marL="1828800" indent="-9144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5pPr>
                <a:lvl6pPr marL="22860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6pPr>
                <a:lvl7pPr marL="27432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7pPr>
                <a:lvl8pPr marL="32004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8pPr>
                <a:lvl9pPr marL="36576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9pPr>
              </a:lstStyle>
              <a:p>
                <a:pPr algn="ctr" eaLnBrk="1">
                  <a:defRPr/>
                </a:pPr>
                <a:endParaRPr lang="en-US" altLang="en-US"/>
              </a:p>
            </p:txBody>
          </p:sp>
          <p:sp>
            <p:nvSpPr>
              <p:cNvPr id="33" name="íšľîḓé">
                <a:extLst>
                  <a:ext uri="{FF2B5EF4-FFF2-40B4-BE49-F238E27FC236}">
                    <a16:creationId xmlns:a16="http://schemas.microsoft.com/office/drawing/2014/main" xmlns="" id="{DD897A27-20D7-4771-9B8F-BB43A94A08E9}"/>
                  </a:ext>
                </a:extLst>
              </p:cNvPr>
              <p:cNvSpPr/>
              <p:nvPr/>
            </p:nvSpPr>
            <p:spPr bwMode="auto">
              <a:xfrm>
                <a:off x="5429196" y="2385481"/>
                <a:ext cx="381306" cy="39280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8471"/>
                    </a:moveTo>
                    <a:cubicBezTo>
                      <a:pt x="17718" y="13273"/>
                      <a:pt x="17447" y="14520"/>
                      <a:pt x="6670" y="21600"/>
                    </a:cubicBezTo>
                    <a:cubicBezTo>
                      <a:pt x="4658" y="20501"/>
                      <a:pt x="1888" y="18609"/>
                      <a:pt x="0" y="17259"/>
                    </a:cubicBezTo>
                    <a:cubicBezTo>
                      <a:pt x="12780" y="7002"/>
                      <a:pt x="2059" y="14285"/>
                      <a:pt x="14522" y="3918"/>
                    </a:cubicBezTo>
                    <a:cubicBezTo>
                      <a:pt x="15998" y="2688"/>
                      <a:pt x="18891" y="1137"/>
                      <a:pt x="20262" y="0"/>
                    </a:cubicBezTo>
                    <a:cubicBezTo>
                      <a:pt x="20140" y="2303"/>
                      <a:pt x="21069" y="6212"/>
                      <a:pt x="21600" y="8471"/>
                    </a:cubicBezTo>
                    <a:close/>
                  </a:path>
                </a:pathLst>
              </a:custGeom>
              <a:solidFill>
                <a:srgbClr val="F4F4F5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chemeClr val="bg1"/>
                    </a:solidFill>
                    <a:prstDash val="solid"/>
                    <a:miter lim="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 fontScale="70000" lnSpcReduction="20000"/>
              </a:bodyPr>
              <a:lstStyle>
                <a:defPPr>
                  <a:defRPr lang="en-US"/>
                </a:defPPr>
                <a:lvl1pPr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1pPr>
                <a:lvl2pPr marL="457200" indent="-2286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2pPr>
                <a:lvl3pPr marL="914400" indent="-4572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3pPr>
                <a:lvl4pPr marL="1371600" indent="-6858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4pPr>
                <a:lvl5pPr marL="1828800" indent="-9144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5pPr>
                <a:lvl6pPr marL="22860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6pPr>
                <a:lvl7pPr marL="27432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7pPr>
                <a:lvl8pPr marL="32004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8pPr>
                <a:lvl9pPr marL="36576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9pPr>
              </a:lstStyle>
              <a:p>
                <a:pPr algn="ctr" eaLnBrk="1">
                  <a:defRPr/>
                </a:pPr>
                <a:endParaRPr lang="en-US" altLang="en-US"/>
              </a:p>
            </p:txBody>
          </p:sp>
          <p:sp>
            <p:nvSpPr>
              <p:cNvPr id="34" name="isḻíḑê">
                <a:extLst>
                  <a:ext uri="{FF2B5EF4-FFF2-40B4-BE49-F238E27FC236}">
                    <a16:creationId xmlns:a16="http://schemas.microsoft.com/office/drawing/2014/main" xmlns="" id="{FF3093EB-057E-467B-9723-F59D785EC9CE}"/>
                  </a:ext>
                </a:extLst>
              </p:cNvPr>
              <p:cNvSpPr/>
              <p:nvPr/>
            </p:nvSpPr>
            <p:spPr bwMode="auto">
              <a:xfrm>
                <a:off x="5093876" y="2299257"/>
                <a:ext cx="379389" cy="47136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0"/>
                    </a:moveTo>
                    <a:cubicBezTo>
                      <a:pt x="21593" y="3639"/>
                      <a:pt x="20604" y="8968"/>
                      <a:pt x="20578" y="12607"/>
                    </a:cubicBezTo>
                    <a:cubicBezTo>
                      <a:pt x="16670" y="14961"/>
                      <a:pt x="8243" y="19502"/>
                      <a:pt x="4934" y="21600"/>
                    </a:cubicBezTo>
                    <a:cubicBezTo>
                      <a:pt x="4183" y="20045"/>
                      <a:pt x="1917" y="18653"/>
                      <a:pt x="0" y="18779"/>
                    </a:cubicBezTo>
                    <a:cubicBezTo>
                      <a:pt x="3720" y="16631"/>
                      <a:pt x="7742" y="12217"/>
                      <a:pt x="12390" y="8993"/>
                    </a:cubicBezTo>
                    <a:cubicBezTo>
                      <a:pt x="14329" y="4784"/>
                      <a:pt x="16671" y="1320"/>
                      <a:pt x="16885" y="948"/>
                    </a:cubicBezTo>
                    <a:cubicBezTo>
                      <a:pt x="18000" y="491"/>
                      <a:pt x="20455" y="394"/>
                      <a:pt x="21600" y="0"/>
                    </a:cubicBezTo>
                    <a:close/>
                  </a:path>
                </a:pathLst>
              </a:custGeom>
              <a:solidFill>
                <a:srgbClr val="F4F4F5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chemeClr val="bg1"/>
                    </a:solidFill>
                    <a:prstDash val="solid"/>
                    <a:miter lim="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 fontScale="92500" lnSpcReduction="20000"/>
              </a:bodyPr>
              <a:lstStyle>
                <a:defPPr>
                  <a:defRPr lang="en-US"/>
                </a:defPPr>
                <a:lvl1pPr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1pPr>
                <a:lvl2pPr marL="457200" indent="-2286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2pPr>
                <a:lvl3pPr marL="914400" indent="-4572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3pPr>
                <a:lvl4pPr marL="1371600" indent="-6858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4pPr>
                <a:lvl5pPr marL="1828800" indent="-9144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5pPr>
                <a:lvl6pPr marL="22860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6pPr>
                <a:lvl7pPr marL="27432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7pPr>
                <a:lvl8pPr marL="32004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8pPr>
                <a:lvl9pPr marL="36576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9pPr>
              </a:lstStyle>
              <a:p>
                <a:pPr algn="ctr" eaLnBrk="1">
                  <a:defRPr/>
                </a:pPr>
                <a:endParaRPr lang="en-US" altLang="en-US"/>
              </a:p>
            </p:txBody>
          </p:sp>
          <p:sp>
            <p:nvSpPr>
              <p:cNvPr id="35" name="íşļïḑê">
                <a:extLst>
                  <a:ext uri="{FF2B5EF4-FFF2-40B4-BE49-F238E27FC236}">
                    <a16:creationId xmlns:a16="http://schemas.microsoft.com/office/drawing/2014/main" xmlns="" id="{EC40C73E-7260-42BE-80B8-815F93730695}"/>
                  </a:ext>
                </a:extLst>
              </p:cNvPr>
              <p:cNvSpPr/>
              <p:nvPr/>
            </p:nvSpPr>
            <p:spPr bwMode="auto">
              <a:xfrm>
                <a:off x="5509671" y="3865674"/>
                <a:ext cx="182030" cy="718540"/>
              </a:xfrm>
              <a:custGeom>
                <a:avLst/>
                <a:gdLst>
                  <a:gd name="T0" fmla="*/ 9374 w 18748"/>
                  <a:gd name="T1" fmla="*/ 10800 h 21600"/>
                  <a:gd name="T2" fmla="*/ 9374 w 18748"/>
                  <a:gd name="T3" fmla="*/ 10800 h 21600"/>
                  <a:gd name="T4" fmla="*/ 9374 w 18748"/>
                  <a:gd name="T5" fmla="*/ 10800 h 21600"/>
                  <a:gd name="T6" fmla="*/ 9374 w 18748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748" h="21600">
                    <a:moveTo>
                      <a:pt x="12953" y="21600"/>
                    </a:moveTo>
                    <a:cubicBezTo>
                      <a:pt x="21600" y="15230"/>
                      <a:pt x="21323" y="5675"/>
                      <a:pt x="6975" y="0"/>
                    </a:cubicBezTo>
                    <a:cubicBezTo>
                      <a:pt x="5779" y="1564"/>
                      <a:pt x="0" y="3359"/>
                      <a:pt x="0" y="4401"/>
                    </a:cubicBezTo>
                    <a:cubicBezTo>
                      <a:pt x="1794" y="8397"/>
                      <a:pt x="6308" y="12689"/>
                      <a:pt x="9735" y="16678"/>
                    </a:cubicBezTo>
                    <a:cubicBezTo>
                      <a:pt x="10428" y="17687"/>
                      <a:pt x="12107" y="19868"/>
                      <a:pt x="12953" y="21600"/>
                    </a:cubicBezTo>
                    <a:close/>
                  </a:path>
                </a:pathLst>
              </a:custGeom>
              <a:solidFill>
                <a:srgbClr val="A9BCC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chemeClr val="bg1"/>
                    </a:solidFill>
                    <a:prstDash val="solid"/>
                    <a:miter lim="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1pPr>
                <a:lvl2pPr marL="457200" indent="-2286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2pPr>
                <a:lvl3pPr marL="914400" indent="-4572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3pPr>
                <a:lvl4pPr marL="1371600" indent="-6858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4pPr>
                <a:lvl5pPr marL="1828800" indent="-9144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5pPr>
                <a:lvl6pPr marL="22860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6pPr>
                <a:lvl7pPr marL="27432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7pPr>
                <a:lvl8pPr marL="32004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8pPr>
                <a:lvl9pPr marL="36576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9pPr>
              </a:lstStyle>
              <a:p>
                <a:pPr algn="ctr" eaLnBrk="1">
                  <a:defRPr/>
                </a:pPr>
                <a:endParaRPr lang="en-US" altLang="en-US"/>
              </a:p>
            </p:txBody>
          </p:sp>
          <p:sp>
            <p:nvSpPr>
              <p:cNvPr id="36" name="işļíḋe">
                <a:extLst>
                  <a:ext uri="{FF2B5EF4-FFF2-40B4-BE49-F238E27FC236}">
                    <a16:creationId xmlns:a16="http://schemas.microsoft.com/office/drawing/2014/main" xmlns="" id="{25761EBE-1C07-4797-8A5A-0FF079ADDCB2}"/>
                  </a:ext>
                </a:extLst>
              </p:cNvPr>
              <p:cNvSpPr/>
              <p:nvPr/>
            </p:nvSpPr>
            <p:spPr bwMode="auto">
              <a:xfrm>
                <a:off x="5475181" y="3206532"/>
                <a:ext cx="633273" cy="2256217"/>
              </a:xfrm>
              <a:custGeom>
                <a:avLst/>
                <a:gdLst>
                  <a:gd name="T0" fmla="+- 0 10852 161"/>
                  <a:gd name="T1" fmla="*/ T0 w 21382"/>
                  <a:gd name="T2" fmla="*/ 10800 h 21600"/>
                  <a:gd name="T3" fmla="+- 0 10852 161"/>
                  <a:gd name="T4" fmla="*/ T3 w 21382"/>
                  <a:gd name="T5" fmla="*/ 10800 h 21600"/>
                  <a:gd name="T6" fmla="+- 0 10852 161"/>
                  <a:gd name="T7" fmla="*/ T6 w 21382"/>
                  <a:gd name="T8" fmla="*/ 10800 h 21600"/>
                  <a:gd name="T9" fmla="+- 0 10852 161"/>
                  <a:gd name="T10" fmla="*/ T9 w 21382"/>
                  <a:gd name="T11" fmla="*/ 10800 h 21600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21382" h="21600">
                    <a:moveTo>
                      <a:pt x="20985" y="18556"/>
                    </a:moveTo>
                    <a:cubicBezTo>
                      <a:pt x="21010" y="18394"/>
                      <a:pt x="21439" y="18072"/>
                      <a:pt x="21375" y="17911"/>
                    </a:cubicBezTo>
                    <a:cubicBezTo>
                      <a:pt x="20692" y="17493"/>
                      <a:pt x="19870" y="17103"/>
                      <a:pt x="19683" y="16675"/>
                    </a:cubicBezTo>
                    <a:cubicBezTo>
                      <a:pt x="19497" y="16247"/>
                      <a:pt x="19482" y="15781"/>
                      <a:pt x="19358" y="15365"/>
                    </a:cubicBezTo>
                    <a:cubicBezTo>
                      <a:pt x="18722" y="14975"/>
                      <a:pt x="18084" y="14518"/>
                      <a:pt x="17733" y="14111"/>
                    </a:cubicBezTo>
                    <a:cubicBezTo>
                      <a:pt x="16882" y="12843"/>
                      <a:pt x="17341" y="11455"/>
                      <a:pt x="17146" y="10182"/>
                    </a:cubicBezTo>
                    <a:cubicBezTo>
                      <a:pt x="16756" y="10237"/>
                      <a:pt x="15975" y="10330"/>
                      <a:pt x="15975" y="10330"/>
                    </a:cubicBezTo>
                    <a:cubicBezTo>
                      <a:pt x="14999" y="9002"/>
                      <a:pt x="14463" y="7930"/>
                      <a:pt x="13422" y="6659"/>
                    </a:cubicBezTo>
                    <a:cubicBezTo>
                      <a:pt x="13028" y="6245"/>
                      <a:pt x="12695" y="5881"/>
                      <a:pt x="12201" y="5478"/>
                    </a:cubicBezTo>
                    <a:cubicBezTo>
                      <a:pt x="10225" y="3867"/>
                      <a:pt x="7191" y="2333"/>
                      <a:pt x="2702" y="1088"/>
                    </a:cubicBezTo>
                    <a:cubicBezTo>
                      <a:pt x="1921" y="812"/>
                      <a:pt x="815" y="277"/>
                      <a:pt x="34" y="0"/>
                    </a:cubicBezTo>
                    <a:cubicBezTo>
                      <a:pt x="-161" y="387"/>
                      <a:pt x="490" y="1181"/>
                      <a:pt x="1466" y="1513"/>
                    </a:cubicBezTo>
                    <a:cubicBezTo>
                      <a:pt x="6467" y="3207"/>
                      <a:pt x="8720" y="5204"/>
                      <a:pt x="9729" y="7415"/>
                    </a:cubicBezTo>
                    <a:cubicBezTo>
                      <a:pt x="9930" y="7857"/>
                      <a:pt x="10349" y="8281"/>
                      <a:pt x="10412" y="8725"/>
                    </a:cubicBezTo>
                    <a:cubicBezTo>
                      <a:pt x="10387" y="9693"/>
                      <a:pt x="10337" y="10500"/>
                      <a:pt x="9989" y="11289"/>
                    </a:cubicBezTo>
                    <a:cubicBezTo>
                      <a:pt x="9745" y="11745"/>
                      <a:pt x="9585" y="12187"/>
                      <a:pt x="9338" y="12617"/>
                    </a:cubicBezTo>
                    <a:cubicBezTo>
                      <a:pt x="8597" y="13906"/>
                      <a:pt x="8655" y="15550"/>
                      <a:pt x="10412" y="16878"/>
                    </a:cubicBezTo>
                    <a:cubicBezTo>
                      <a:pt x="11648" y="16177"/>
                      <a:pt x="12988" y="15162"/>
                      <a:pt x="13422" y="14406"/>
                    </a:cubicBezTo>
                    <a:cubicBezTo>
                      <a:pt x="13639" y="14028"/>
                      <a:pt x="13316" y="13629"/>
                      <a:pt x="13422" y="13244"/>
                    </a:cubicBezTo>
                    <a:cubicBezTo>
                      <a:pt x="13690" y="12103"/>
                      <a:pt x="13567" y="11363"/>
                      <a:pt x="13958" y="10201"/>
                    </a:cubicBezTo>
                    <a:cubicBezTo>
                      <a:pt x="15259" y="11473"/>
                      <a:pt x="14720" y="12366"/>
                      <a:pt x="14153" y="13687"/>
                    </a:cubicBezTo>
                    <a:cubicBezTo>
                      <a:pt x="14028" y="14022"/>
                      <a:pt x="13892" y="14311"/>
                      <a:pt x="13828" y="14646"/>
                    </a:cubicBezTo>
                    <a:cubicBezTo>
                      <a:pt x="13764" y="14981"/>
                      <a:pt x="13614" y="15437"/>
                      <a:pt x="13698" y="15771"/>
                    </a:cubicBezTo>
                    <a:cubicBezTo>
                      <a:pt x="13706" y="16117"/>
                      <a:pt x="13796" y="16438"/>
                      <a:pt x="13828" y="16786"/>
                    </a:cubicBezTo>
                    <a:cubicBezTo>
                      <a:pt x="13859" y="17134"/>
                      <a:pt x="13765" y="17450"/>
                      <a:pt x="13828" y="17800"/>
                    </a:cubicBezTo>
                    <a:cubicBezTo>
                      <a:pt x="13713" y="18247"/>
                      <a:pt x="13763" y="18870"/>
                      <a:pt x="14348" y="19202"/>
                    </a:cubicBezTo>
                    <a:cubicBezTo>
                      <a:pt x="14836" y="19589"/>
                      <a:pt x="15516" y="20003"/>
                      <a:pt x="16105" y="20383"/>
                    </a:cubicBezTo>
                    <a:cubicBezTo>
                      <a:pt x="16690" y="20759"/>
                      <a:pt x="17594" y="21257"/>
                      <a:pt x="18252" y="21600"/>
                    </a:cubicBezTo>
                    <a:cubicBezTo>
                      <a:pt x="18475" y="21121"/>
                      <a:pt x="20011" y="20431"/>
                      <a:pt x="20204" y="19958"/>
                    </a:cubicBezTo>
                    <a:cubicBezTo>
                      <a:pt x="20628" y="19498"/>
                      <a:pt x="20925" y="19024"/>
                      <a:pt x="20985" y="18556"/>
                    </a:cubicBezTo>
                    <a:close/>
                  </a:path>
                </a:pathLst>
              </a:custGeom>
              <a:solidFill>
                <a:srgbClr val="A9BCC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chemeClr val="bg1"/>
                    </a:solidFill>
                    <a:prstDash val="solid"/>
                    <a:miter lim="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1pPr>
                <a:lvl2pPr marL="457200" indent="-2286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2pPr>
                <a:lvl3pPr marL="914400" indent="-4572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3pPr>
                <a:lvl4pPr marL="1371600" indent="-6858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4pPr>
                <a:lvl5pPr marL="1828800" indent="-9144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5pPr>
                <a:lvl6pPr marL="22860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6pPr>
                <a:lvl7pPr marL="27432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7pPr>
                <a:lvl8pPr marL="32004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8pPr>
                <a:lvl9pPr marL="36576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9pPr>
              </a:lstStyle>
              <a:p>
                <a:pPr algn="ctr" eaLnBrk="1">
                  <a:defRPr/>
                </a:pPr>
                <a:endParaRPr lang="en-US" altLang="en-US"/>
              </a:p>
            </p:txBody>
          </p:sp>
          <p:sp>
            <p:nvSpPr>
              <p:cNvPr id="37" name="ïṥľidé">
                <a:extLst>
                  <a:ext uri="{FF2B5EF4-FFF2-40B4-BE49-F238E27FC236}">
                    <a16:creationId xmlns:a16="http://schemas.microsoft.com/office/drawing/2014/main" xmlns="" id="{1D82C1CD-D2BC-437F-AFAF-F11A7F90EE11}"/>
                  </a:ext>
                </a:extLst>
              </p:cNvPr>
              <p:cNvSpPr/>
              <p:nvPr/>
            </p:nvSpPr>
            <p:spPr bwMode="auto">
              <a:xfrm>
                <a:off x="5365963" y="3166294"/>
                <a:ext cx="169575" cy="641896"/>
              </a:xfrm>
              <a:custGeom>
                <a:avLst/>
                <a:gdLst>
                  <a:gd name="T0" fmla="+- 0 10654 321"/>
                  <a:gd name="T1" fmla="*/ T0 w 20666"/>
                  <a:gd name="T2" fmla="*/ 10379 h 20758"/>
                  <a:gd name="T3" fmla="+- 0 10654 321"/>
                  <a:gd name="T4" fmla="*/ T3 w 20666"/>
                  <a:gd name="T5" fmla="*/ 10379 h 20758"/>
                  <a:gd name="T6" fmla="+- 0 10654 321"/>
                  <a:gd name="T7" fmla="*/ T6 w 20666"/>
                  <a:gd name="T8" fmla="*/ 10379 h 20758"/>
                  <a:gd name="T9" fmla="+- 0 10654 321"/>
                  <a:gd name="T10" fmla="*/ T9 w 20666"/>
                  <a:gd name="T11" fmla="*/ 10379 h 20758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20666" h="20758">
                    <a:moveTo>
                      <a:pt x="16892" y="7299"/>
                    </a:moveTo>
                    <a:cubicBezTo>
                      <a:pt x="16347" y="5460"/>
                      <a:pt x="12103" y="3162"/>
                      <a:pt x="10426" y="1307"/>
                    </a:cubicBezTo>
                    <a:cubicBezTo>
                      <a:pt x="6831" y="1013"/>
                      <a:pt x="3094" y="495"/>
                      <a:pt x="0" y="0"/>
                    </a:cubicBezTo>
                    <a:cubicBezTo>
                      <a:pt x="152" y="281"/>
                      <a:pt x="14" y="1030"/>
                      <a:pt x="44" y="1307"/>
                    </a:cubicBezTo>
                    <a:cubicBezTo>
                      <a:pt x="44" y="1308"/>
                      <a:pt x="134" y="2301"/>
                      <a:pt x="44" y="3674"/>
                    </a:cubicBezTo>
                    <a:cubicBezTo>
                      <a:pt x="-321" y="7722"/>
                      <a:pt x="1682" y="11706"/>
                      <a:pt x="2384" y="15629"/>
                    </a:cubicBezTo>
                    <a:cubicBezTo>
                      <a:pt x="3086" y="16563"/>
                      <a:pt x="1448" y="18119"/>
                      <a:pt x="1448" y="19053"/>
                    </a:cubicBezTo>
                    <a:cubicBezTo>
                      <a:pt x="1448" y="19987"/>
                      <a:pt x="5893" y="20106"/>
                      <a:pt x="8701" y="20479"/>
                    </a:cubicBezTo>
                    <a:cubicBezTo>
                      <a:pt x="15017" y="21600"/>
                      <a:pt x="19173" y="19053"/>
                      <a:pt x="19875" y="17933"/>
                    </a:cubicBezTo>
                    <a:cubicBezTo>
                      <a:pt x="21279" y="16438"/>
                      <a:pt x="20733" y="14441"/>
                      <a:pt x="18863" y="12702"/>
                    </a:cubicBezTo>
                    <a:cubicBezTo>
                      <a:pt x="18077" y="10962"/>
                      <a:pt x="17733" y="9167"/>
                      <a:pt x="16892" y="7299"/>
                    </a:cubicBezTo>
                    <a:close/>
                  </a:path>
                </a:pathLst>
              </a:custGeom>
              <a:solidFill>
                <a:srgbClr val="A9BCC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chemeClr val="bg1"/>
                    </a:solidFill>
                    <a:prstDash val="solid"/>
                    <a:miter lim="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1pPr>
                <a:lvl2pPr marL="457200" indent="-2286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2pPr>
                <a:lvl3pPr marL="914400" indent="-4572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3pPr>
                <a:lvl4pPr marL="1371600" indent="-6858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4pPr>
                <a:lvl5pPr marL="1828800" indent="-9144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5pPr>
                <a:lvl6pPr marL="22860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6pPr>
                <a:lvl7pPr marL="27432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7pPr>
                <a:lvl8pPr marL="32004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8pPr>
                <a:lvl9pPr marL="36576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9pPr>
              </a:lstStyle>
              <a:p>
                <a:pPr algn="ctr" eaLnBrk="1">
                  <a:defRPr/>
                </a:pPr>
                <a:endParaRPr lang="en-US" altLang="en-US"/>
              </a:p>
            </p:txBody>
          </p:sp>
          <p:sp>
            <p:nvSpPr>
              <p:cNvPr id="38" name="ïsḷîḍè">
                <a:extLst>
                  <a:ext uri="{FF2B5EF4-FFF2-40B4-BE49-F238E27FC236}">
                    <a16:creationId xmlns:a16="http://schemas.microsoft.com/office/drawing/2014/main" xmlns="" id="{2CAF0099-ACB9-451E-84A2-B905E5CA8C2E}"/>
                  </a:ext>
                </a:extLst>
              </p:cNvPr>
              <p:cNvSpPr/>
              <p:nvPr/>
            </p:nvSpPr>
            <p:spPr bwMode="auto">
              <a:xfrm>
                <a:off x="5018189" y="3079111"/>
                <a:ext cx="306577" cy="649561"/>
              </a:xfrm>
              <a:custGeom>
                <a:avLst/>
                <a:gdLst>
                  <a:gd name="T0" fmla="+- 0 10003 7"/>
                  <a:gd name="T1" fmla="*/ T0 w 19992"/>
                  <a:gd name="T2" fmla="*/ 10800 h 21600"/>
                  <a:gd name="T3" fmla="+- 0 10003 7"/>
                  <a:gd name="T4" fmla="*/ T3 w 19992"/>
                  <a:gd name="T5" fmla="*/ 10800 h 21600"/>
                  <a:gd name="T6" fmla="+- 0 10003 7"/>
                  <a:gd name="T7" fmla="*/ T6 w 19992"/>
                  <a:gd name="T8" fmla="*/ 10800 h 21600"/>
                  <a:gd name="T9" fmla="+- 0 10003 7"/>
                  <a:gd name="T10" fmla="*/ T9 w 19992"/>
                  <a:gd name="T11" fmla="*/ 10800 h 21600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19992" h="21600">
                    <a:moveTo>
                      <a:pt x="17603" y="14870"/>
                    </a:moveTo>
                    <a:cubicBezTo>
                      <a:pt x="17500" y="13396"/>
                      <a:pt x="21593" y="9422"/>
                      <a:pt x="12951" y="11281"/>
                    </a:cubicBezTo>
                    <a:cubicBezTo>
                      <a:pt x="12574" y="11281"/>
                      <a:pt x="11856" y="10859"/>
                      <a:pt x="12197" y="10191"/>
                    </a:cubicBezTo>
                    <a:cubicBezTo>
                      <a:pt x="12122" y="8861"/>
                      <a:pt x="14292" y="8403"/>
                      <a:pt x="14208" y="6409"/>
                    </a:cubicBezTo>
                    <a:cubicBezTo>
                      <a:pt x="14191" y="6005"/>
                      <a:pt x="13551" y="4592"/>
                      <a:pt x="13328" y="4213"/>
                    </a:cubicBezTo>
                    <a:cubicBezTo>
                      <a:pt x="11700" y="3811"/>
                      <a:pt x="4611" y="1789"/>
                      <a:pt x="1006" y="0"/>
                    </a:cubicBezTo>
                    <a:cubicBezTo>
                      <a:pt x="939" y="285"/>
                      <a:pt x="-7" y="1188"/>
                      <a:pt x="0" y="1474"/>
                    </a:cubicBezTo>
                    <a:cubicBezTo>
                      <a:pt x="81" y="4786"/>
                      <a:pt x="2291" y="6607"/>
                      <a:pt x="4024" y="7307"/>
                    </a:cubicBezTo>
                    <a:cubicBezTo>
                      <a:pt x="5756" y="8007"/>
                      <a:pt x="6591" y="8177"/>
                      <a:pt x="6664" y="10255"/>
                    </a:cubicBezTo>
                    <a:cubicBezTo>
                      <a:pt x="6938" y="14640"/>
                      <a:pt x="16220" y="17947"/>
                      <a:pt x="19992" y="21600"/>
                    </a:cubicBezTo>
                    <a:cubicBezTo>
                      <a:pt x="19615" y="20639"/>
                      <a:pt x="19646" y="19026"/>
                      <a:pt x="19364" y="18075"/>
                    </a:cubicBezTo>
                    <a:cubicBezTo>
                      <a:pt x="18942" y="17046"/>
                      <a:pt x="17931" y="15942"/>
                      <a:pt x="17603" y="14870"/>
                    </a:cubicBezTo>
                    <a:close/>
                  </a:path>
                </a:pathLst>
              </a:custGeom>
              <a:solidFill>
                <a:srgbClr val="A9BCC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chemeClr val="bg1"/>
                    </a:solidFill>
                    <a:prstDash val="solid"/>
                    <a:miter lim="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1pPr>
                <a:lvl2pPr marL="457200" indent="-2286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2pPr>
                <a:lvl3pPr marL="914400" indent="-4572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3pPr>
                <a:lvl4pPr marL="1371600" indent="-6858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4pPr>
                <a:lvl5pPr marL="1828800" indent="-9144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5pPr>
                <a:lvl6pPr marL="22860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6pPr>
                <a:lvl7pPr marL="27432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7pPr>
                <a:lvl8pPr marL="32004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8pPr>
                <a:lvl9pPr marL="36576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9pPr>
              </a:lstStyle>
              <a:p>
                <a:pPr algn="ctr" eaLnBrk="1">
                  <a:defRPr/>
                </a:pPr>
                <a:endParaRPr lang="en-US" altLang="en-US"/>
              </a:p>
            </p:txBody>
          </p:sp>
          <p:sp>
            <p:nvSpPr>
              <p:cNvPr id="39" name="íṥľiḍé">
                <a:extLst>
                  <a:ext uri="{FF2B5EF4-FFF2-40B4-BE49-F238E27FC236}">
                    <a16:creationId xmlns:a16="http://schemas.microsoft.com/office/drawing/2014/main" xmlns="" id="{C3CEF4F3-06E4-4165-9FD7-891545049482}"/>
                  </a:ext>
                </a:extLst>
              </p:cNvPr>
              <p:cNvSpPr/>
              <p:nvPr/>
            </p:nvSpPr>
            <p:spPr bwMode="auto">
              <a:xfrm>
                <a:off x="4781550" y="2859717"/>
                <a:ext cx="2189153" cy="3285167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4716" y="3646"/>
                    </a:moveTo>
                    <a:cubicBezTo>
                      <a:pt x="4357" y="3700"/>
                      <a:pt x="3958" y="3738"/>
                      <a:pt x="4067" y="3378"/>
                    </a:cubicBezTo>
                    <a:cubicBezTo>
                      <a:pt x="4055" y="3115"/>
                      <a:pt x="4307" y="2957"/>
                      <a:pt x="4294" y="2563"/>
                    </a:cubicBezTo>
                    <a:cubicBezTo>
                      <a:pt x="4292" y="2483"/>
                      <a:pt x="4275" y="2405"/>
                      <a:pt x="4242" y="2330"/>
                    </a:cubicBezTo>
                    <a:cubicBezTo>
                      <a:pt x="3995" y="2250"/>
                      <a:pt x="3063" y="1893"/>
                      <a:pt x="2518" y="1539"/>
                    </a:cubicBezTo>
                    <a:cubicBezTo>
                      <a:pt x="2507" y="1596"/>
                      <a:pt x="2502" y="1652"/>
                      <a:pt x="2503" y="1708"/>
                    </a:cubicBezTo>
                    <a:cubicBezTo>
                      <a:pt x="2515" y="2363"/>
                      <a:pt x="2777" y="2562"/>
                      <a:pt x="3039" y="2701"/>
                    </a:cubicBezTo>
                    <a:cubicBezTo>
                      <a:pt x="3301" y="2839"/>
                      <a:pt x="3563" y="2916"/>
                      <a:pt x="3574" y="3327"/>
                    </a:cubicBezTo>
                    <a:cubicBezTo>
                      <a:pt x="3616" y="4194"/>
                      <a:pt x="4700" y="4764"/>
                      <a:pt x="5270" y="5486"/>
                    </a:cubicBezTo>
                    <a:cubicBezTo>
                      <a:pt x="4985" y="4878"/>
                      <a:pt x="4928" y="4270"/>
                      <a:pt x="4767" y="3647"/>
                    </a:cubicBezTo>
                    <a:cubicBezTo>
                      <a:pt x="4750" y="3646"/>
                      <a:pt x="4734" y="3646"/>
                      <a:pt x="4716" y="3646"/>
                    </a:cubicBezTo>
                    <a:close/>
                    <a:moveTo>
                      <a:pt x="5860" y="2164"/>
                    </a:moveTo>
                    <a:cubicBezTo>
                      <a:pt x="5872" y="2221"/>
                      <a:pt x="5880" y="2278"/>
                      <a:pt x="5883" y="2335"/>
                    </a:cubicBezTo>
                    <a:cubicBezTo>
                      <a:pt x="5883" y="2335"/>
                      <a:pt x="5878" y="2521"/>
                      <a:pt x="5870" y="2800"/>
                    </a:cubicBezTo>
                    <a:cubicBezTo>
                      <a:pt x="5841" y="3624"/>
                      <a:pt x="6069" y="4422"/>
                      <a:pt x="6126" y="5220"/>
                    </a:cubicBezTo>
                    <a:cubicBezTo>
                      <a:pt x="6183" y="5410"/>
                      <a:pt x="6012" y="5600"/>
                      <a:pt x="6012" y="5790"/>
                    </a:cubicBezTo>
                    <a:cubicBezTo>
                      <a:pt x="6012" y="5980"/>
                      <a:pt x="6240" y="6056"/>
                      <a:pt x="6468" y="6132"/>
                    </a:cubicBezTo>
                    <a:cubicBezTo>
                      <a:pt x="6982" y="6360"/>
                      <a:pt x="7267" y="5866"/>
                      <a:pt x="7267" y="5676"/>
                    </a:cubicBezTo>
                    <a:cubicBezTo>
                      <a:pt x="7210" y="4612"/>
                      <a:pt x="7039" y="3472"/>
                      <a:pt x="6686" y="2405"/>
                    </a:cubicBezTo>
                    <a:cubicBezTo>
                      <a:pt x="6393" y="2345"/>
                      <a:pt x="6111" y="2264"/>
                      <a:pt x="5860" y="2164"/>
                    </a:cubicBezTo>
                    <a:close/>
                    <a:moveTo>
                      <a:pt x="7895" y="6716"/>
                    </a:moveTo>
                    <a:cubicBezTo>
                      <a:pt x="7781" y="7044"/>
                      <a:pt x="7324" y="7386"/>
                      <a:pt x="7381" y="7614"/>
                    </a:cubicBezTo>
                    <a:cubicBezTo>
                      <a:pt x="7552" y="8792"/>
                      <a:pt x="8123" y="9933"/>
                      <a:pt x="8465" y="11111"/>
                    </a:cubicBezTo>
                    <a:cubicBezTo>
                      <a:pt x="9093" y="9933"/>
                      <a:pt x="9036" y="8640"/>
                      <a:pt x="8396" y="7457"/>
                    </a:cubicBezTo>
                    <a:cubicBezTo>
                      <a:pt x="8249" y="7200"/>
                      <a:pt x="8077" y="6954"/>
                      <a:pt x="7895" y="6716"/>
                    </a:cubicBezTo>
                    <a:close/>
                    <a:moveTo>
                      <a:pt x="12396" y="12954"/>
                    </a:moveTo>
                    <a:cubicBezTo>
                      <a:pt x="12210" y="12685"/>
                      <a:pt x="12069" y="12413"/>
                      <a:pt x="11966" y="12134"/>
                    </a:cubicBezTo>
                    <a:cubicBezTo>
                      <a:pt x="11717" y="11263"/>
                      <a:pt x="11774" y="10389"/>
                      <a:pt x="11717" y="9515"/>
                    </a:cubicBezTo>
                    <a:cubicBezTo>
                      <a:pt x="11603" y="9553"/>
                      <a:pt x="11489" y="9553"/>
                      <a:pt x="11489" y="9553"/>
                    </a:cubicBezTo>
                    <a:cubicBezTo>
                      <a:pt x="11204" y="8640"/>
                      <a:pt x="10976" y="7842"/>
                      <a:pt x="10671" y="6970"/>
                    </a:cubicBezTo>
                    <a:cubicBezTo>
                      <a:pt x="10556" y="6685"/>
                      <a:pt x="10428" y="6404"/>
                      <a:pt x="10284" y="6127"/>
                    </a:cubicBezTo>
                    <a:cubicBezTo>
                      <a:pt x="9706" y="5020"/>
                      <a:pt x="8865" y="3985"/>
                      <a:pt x="7552" y="3130"/>
                    </a:cubicBezTo>
                    <a:cubicBezTo>
                      <a:pt x="7324" y="2940"/>
                      <a:pt x="7210" y="2674"/>
                      <a:pt x="6982" y="2484"/>
                    </a:cubicBezTo>
                    <a:cubicBezTo>
                      <a:pt x="6925" y="2750"/>
                      <a:pt x="7096" y="3016"/>
                      <a:pt x="7381" y="3244"/>
                    </a:cubicBezTo>
                    <a:cubicBezTo>
                      <a:pt x="8843" y="4408"/>
                      <a:pt x="9659" y="5883"/>
                      <a:pt x="9954" y="7402"/>
                    </a:cubicBezTo>
                    <a:cubicBezTo>
                      <a:pt x="10013" y="7705"/>
                      <a:pt x="10051" y="8011"/>
                      <a:pt x="10069" y="8316"/>
                    </a:cubicBezTo>
                    <a:cubicBezTo>
                      <a:pt x="10063" y="8906"/>
                      <a:pt x="10063" y="9515"/>
                      <a:pt x="9949" y="10123"/>
                    </a:cubicBezTo>
                    <a:cubicBezTo>
                      <a:pt x="9877" y="10436"/>
                      <a:pt x="9795" y="10738"/>
                      <a:pt x="9723" y="11033"/>
                    </a:cubicBezTo>
                    <a:cubicBezTo>
                      <a:pt x="9507" y="11918"/>
                      <a:pt x="9378" y="12745"/>
                      <a:pt x="9892" y="13657"/>
                    </a:cubicBezTo>
                    <a:cubicBezTo>
                      <a:pt x="10253" y="13176"/>
                      <a:pt x="10462" y="12669"/>
                      <a:pt x="10589" y="12150"/>
                    </a:cubicBezTo>
                    <a:cubicBezTo>
                      <a:pt x="10652" y="11890"/>
                      <a:pt x="10695" y="11627"/>
                      <a:pt x="10726" y="11363"/>
                    </a:cubicBezTo>
                    <a:cubicBezTo>
                      <a:pt x="10805" y="10579"/>
                      <a:pt x="10805" y="9781"/>
                      <a:pt x="10919" y="8982"/>
                    </a:cubicBezTo>
                    <a:cubicBezTo>
                      <a:pt x="11489" y="9819"/>
                      <a:pt x="11318" y="10769"/>
                      <a:pt x="11152" y="11676"/>
                    </a:cubicBezTo>
                    <a:cubicBezTo>
                      <a:pt x="11116" y="11906"/>
                      <a:pt x="11082" y="12136"/>
                      <a:pt x="11063" y="12366"/>
                    </a:cubicBezTo>
                    <a:cubicBezTo>
                      <a:pt x="11044" y="12597"/>
                      <a:pt x="11041" y="12827"/>
                      <a:pt x="11066" y="13056"/>
                    </a:cubicBezTo>
                    <a:cubicBezTo>
                      <a:pt x="11068" y="13294"/>
                      <a:pt x="11073" y="13532"/>
                      <a:pt x="11082" y="13771"/>
                    </a:cubicBezTo>
                    <a:cubicBezTo>
                      <a:pt x="11092" y="14010"/>
                      <a:pt x="11105" y="14250"/>
                      <a:pt x="11123" y="14491"/>
                    </a:cubicBezTo>
                    <a:cubicBezTo>
                      <a:pt x="11090" y="14797"/>
                      <a:pt x="11033" y="15139"/>
                      <a:pt x="11204" y="15367"/>
                    </a:cubicBezTo>
                    <a:cubicBezTo>
                      <a:pt x="11347" y="15633"/>
                      <a:pt x="11503" y="15899"/>
                      <a:pt x="11676" y="16160"/>
                    </a:cubicBezTo>
                    <a:cubicBezTo>
                      <a:pt x="11846" y="16418"/>
                      <a:pt x="12028" y="16668"/>
                      <a:pt x="12220" y="16903"/>
                    </a:cubicBezTo>
                    <a:cubicBezTo>
                      <a:pt x="12371" y="16555"/>
                      <a:pt x="12546" y="16201"/>
                      <a:pt x="12672" y="15835"/>
                    </a:cubicBezTo>
                    <a:cubicBezTo>
                      <a:pt x="12799" y="15467"/>
                      <a:pt x="12882" y="15092"/>
                      <a:pt x="12849" y="14703"/>
                    </a:cubicBezTo>
                    <a:cubicBezTo>
                      <a:pt x="12650" y="14416"/>
                      <a:pt x="12551" y="14122"/>
                      <a:pt x="12497" y="13828"/>
                    </a:cubicBezTo>
                    <a:cubicBezTo>
                      <a:pt x="12442" y="13534"/>
                      <a:pt x="12432" y="13239"/>
                      <a:pt x="12396" y="12954"/>
                    </a:cubicBezTo>
                    <a:close/>
                    <a:moveTo>
                      <a:pt x="13424" y="21540"/>
                    </a:moveTo>
                    <a:cubicBezTo>
                      <a:pt x="13144" y="21372"/>
                      <a:pt x="12973" y="21106"/>
                      <a:pt x="12916" y="20878"/>
                    </a:cubicBezTo>
                    <a:cubicBezTo>
                      <a:pt x="12174" y="19320"/>
                      <a:pt x="12459" y="17572"/>
                      <a:pt x="10805" y="16317"/>
                    </a:cubicBezTo>
                    <a:cubicBezTo>
                      <a:pt x="10633" y="16165"/>
                      <a:pt x="10747" y="15899"/>
                      <a:pt x="10576" y="15671"/>
                    </a:cubicBezTo>
                    <a:cubicBezTo>
                      <a:pt x="10462" y="15519"/>
                      <a:pt x="10291" y="15367"/>
                      <a:pt x="10038" y="15253"/>
                    </a:cubicBezTo>
                    <a:cubicBezTo>
                      <a:pt x="9960" y="15025"/>
                      <a:pt x="9884" y="14785"/>
                      <a:pt x="9759" y="14569"/>
                    </a:cubicBezTo>
                    <a:cubicBezTo>
                      <a:pt x="9634" y="14354"/>
                      <a:pt x="9460" y="14163"/>
                      <a:pt x="9182" y="14037"/>
                    </a:cubicBezTo>
                    <a:cubicBezTo>
                      <a:pt x="9182" y="14013"/>
                      <a:pt x="9181" y="13989"/>
                      <a:pt x="9180" y="13966"/>
                    </a:cubicBezTo>
                    <a:cubicBezTo>
                      <a:pt x="9150" y="13847"/>
                      <a:pt x="9150" y="13695"/>
                      <a:pt x="8979" y="13619"/>
                    </a:cubicBezTo>
                    <a:cubicBezTo>
                      <a:pt x="8751" y="13543"/>
                      <a:pt x="8465" y="13581"/>
                      <a:pt x="8294" y="13695"/>
                    </a:cubicBezTo>
                    <a:cubicBezTo>
                      <a:pt x="8066" y="13391"/>
                      <a:pt x="7895" y="13087"/>
                      <a:pt x="7838" y="12783"/>
                    </a:cubicBezTo>
                    <a:cubicBezTo>
                      <a:pt x="7552" y="10655"/>
                      <a:pt x="7781" y="8260"/>
                      <a:pt x="5270" y="6512"/>
                    </a:cubicBezTo>
                    <a:cubicBezTo>
                      <a:pt x="4243" y="5790"/>
                      <a:pt x="3559" y="4840"/>
                      <a:pt x="3020" y="3836"/>
                    </a:cubicBezTo>
                    <a:cubicBezTo>
                      <a:pt x="2902" y="3613"/>
                      <a:pt x="2788" y="3390"/>
                      <a:pt x="2674" y="3172"/>
                    </a:cubicBezTo>
                    <a:cubicBezTo>
                      <a:pt x="2104" y="2082"/>
                      <a:pt x="1552" y="1131"/>
                      <a:pt x="1289" y="885"/>
                    </a:cubicBezTo>
                    <a:cubicBezTo>
                      <a:pt x="922" y="543"/>
                      <a:pt x="473" y="262"/>
                      <a:pt x="0" y="0"/>
                    </a:cubicBezTo>
                    <a:lnTo>
                      <a:pt x="21600" y="0"/>
                    </a:lnTo>
                    <a:cubicBezTo>
                      <a:pt x="21522" y="204"/>
                      <a:pt x="21416" y="290"/>
                      <a:pt x="20746" y="289"/>
                    </a:cubicBezTo>
                    <a:cubicBezTo>
                      <a:pt x="20166" y="289"/>
                      <a:pt x="19578" y="227"/>
                      <a:pt x="19017" y="226"/>
                    </a:cubicBezTo>
                    <a:cubicBezTo>
                      <a:pt x="18770" y="226"/>
                      <a:pt x="18527" y="238"/>
                      <a:pt x="18293" y="272"/>
                    </a:cubicBezTo>
                    <a:cubicBezTo>
                      <a:pt x="18444" y="368"/>
                      <a:pt x="18615" y="480"/>
                      <a:pt x="18823" y="520"/>
                    </a:cubicBezTo>
                    <a:cubicBezTo>
                      <a:pt x="18823" y="525"/>
                      <a:pt x="18824" y="529"/>
                      <a:pt x="18824" y="534"/>
                    </a:cubicBezTo>
                    <a:cubicBezTo>
                      <a:pt x="18857" y="760"/>
                      <a:pt x="18556" y="727"/>
                      <a:pt x="18586" y="940"/>
                    </a:cubicBezTo>
                    <a:cubicBezTo>
                      <a:pt x="18594" y="999"/>
                      <a:pt x="18637" y="1059"/>
                      <a:pt x="18705" y="1113"/>
                    </a:cubicBezTo>
                    <a:cubicBezTo>
                      <a:pt x="18549" y="1142"/>
                      <a:pt x="18408" y="1189"/>
                      <a:pt x="18298" y="1252"/>
                    </a:cubicBezTo>
                    <a:cubicBezTo>
                      <a:pt x="18082" y="1114"/>
                      <a:pt x="17848" y="986"/>
                      <a:pt x="17585" y="873"/>
                    </a:cubicBezTo>
                    <a:cubicBezTo>
                      <a:pt x="17471" y="957"/>
                      <a:pt x="17293" y="1075"/>
                      <a:pt x="16846" y="1223"/>
                    </a:cubicBezTo>
                    <a:cubicBezTo>
                      <a:pt x="16872" y="1170"/>
                      <a:pt x="16877" y="1113"/>
                      <a:pt x="16870" y="1054"/>
                    </a:cubicBezTo>
                    <a:cubicBezTo>
                      <a:pt x="16841" y="823"/>
                      <a:pt x="16608" y="578"/>
                      <a:pt x="16593" y="458"/>
                    </a:cubicBezTo>
                    <a:cubicBezTo>
                      <a:pt x="16588" y="417"/>
                      <a:pt x="16593" y="377"/>
                      <a:pt x="16599" y="337"/>
                    </a:cubicBezTo>
                    <a:cubicBezTo>
                      <a:pt x="16397" y="304"/>
                      <a:pt x="16183" y="287"/>
                      <a:pt x="15968" y="287"/>
                    </a:cubicBezTo>
                    <a:cubicBezTo>
                      <a:pt x="13506" y="284"/>
                      <a:pt x="14264" y="1976"/>
                      <a:pt x="13436" y="1969"/>
                    </a:cubicBezTo>
                    <a:cubicBezTo>
                      <a:pt x="13346" y="1969"/>
                      <a:pt x="13241" y="1939"/>
                      <a:pt x="13135" y="1919"/>
                    </a:cubicBezTo>
                    <a:cubicBezTo>
                      <a:pt x="12727" y="2565"/>
                      <a:pt x="12523" y="2588"/>
                      <a:pt x="12403" y="2743"/>
                    </a:cubicBezTo>
                    <a:cubicBezTo>
                      <a:pt x="12343" y="2821"/>
                      <a:pt x="12304" y="2932"/>
                      <a:pt x="12271" y="3171"/>
                    </a:cubicBezTo>
                    <a:cubicBezTo>
                      <a:pt x="12290" y="3417"/>
                      <a:pt x="12264" y="3671"/>
                      <a:pt x="12227" y="3927"/>
                    </a:cubicBezTo>
                    <a:cubicBezTo>
                      <a:pt x="12189" y="4183"/>
                      <a:pt x="12139" y="4442"/>
                      <a:pt x="12108" y="4698"/>
                    </a:cubicBezTo>
                    <a:cubicBezTo>
                      <a:pt x="12003" y="5182"/>
                      <a:pt x="12060" y="5714"/>
                      <a:pt x="12402" y="6170"/>
                    </a:cubicBezTo>
                    <a:cubicBezTo>
                      <a:pt x="12402" y="6018"/>
                      <a:pt x="12402" y="5904"/>
                      <a:pt x="12516" y="5790"/>
                    </a:cubicBezTo>
                    <a:cubicBezTo>
                      <a:pt x="12858" y="5524"/>
                      <a:pt x="13258" y="5904"/>
                      <a:pt x="13258" y="6132"/>
                    </a:cubicBezTo>
                    <a:cubicBezTo>
                      <a:pt x="13258" y="6322"/>
                      <a:pt x="13144" y="6512"/>
                      <a:pt x="13201" y="6664"/>
                    </a:cubicBezTo>
                    <a:cubicBezTo>
                      <a:pt x="13657" y="7690"/>
                      <a:pt x="14171" y="8678"/>
                      <a:pt x="13885" y="9781"/>
                    </a:cubicBezTo>
                    <a:cubicBezTo>
                      <a:pt x="13543" y="10921"/>
                      <a:pt x="12994" y="11925"/>
                      <a:pt x="13127" y="13074"/>
                    </a:cubicBezTo>
                    <a:cubicBezTo>
                      <a:pt x="13150" y="13339"/>
                      <a:pt x="13170" y="13490"/>
                      <a:pt x="13256" y="13758"/>
                    </a:cubicBezTo>
                    <a:cubicBezTo>
                      <a:pt x="13599" y="13835"/>
                      <a:pt x="13878" y="13995"/>
                      <a:pt x="14000" y="14189"/>
                    </a:cubicBezTo>
                    <a:cubicBezTo>
                      <a:pt x="14048" y="14428"/>
                      <a:pt x="14030" y="14749"/>
                      <a:pt x="14019" y="14987"/>
                    </a:cubicBezTo>
                    <a:cubicBezTo>
                      <a:pt x="14007" y="15225"/>
                      <a:pt x="13936" y="15510"/>
                      <a:pt x="13885" y="15747"/>
                    </a:cubicBezTo>
                    <a:cubicBezTo>
                      <a:pt x="13826" y="16667"/>
                      <a:pt x="13085" y="17382"/>
                      <a:pt x="13256" y="18332"/>
                    </a:cubicBezTo>
                    <a:cubicBezTo>
                      <a:pt x="13256" y="18370"/>
                      <a:pt x="13258" y="18446"/>
                      <a:pt x="13315" y="18446"/>
                    </a:cubicBezTo>
                    <a:cubicBezTo>
                      <a:pt x="12858" y="19434"/>
                      <a:pt x="13149" y="20597"/>
                      <a:pt x="13657" y="21600"/>
                    </a:cubicBezTo>
                    <a:cubicBezTo>
                      <a:pt x="13657" y="21600"/>
                      <a:pt x="13424" y="21540"/>
                      <a:pt x="13424" y="21540"/>
                    </a:cubicBezTo>
                    <a:close/>
                  </a:path>
                </a:pathLst>
              </a:custGeom>
              <a:solidFill>
                <a:srgbClr val="8B9AA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chemeClr val="bg1"/>
                    </a:solidFill>
                    <a:prstDash val="solid"/>
                    <a:miter lim="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1pPr>
                <a:lvl2pPr marL="457200" indent="-2286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2pPr>
                <a:lvl3pPr marL="914400" indent="-4572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3pPr>
                <a:lvl4pPr marL="1371600" indent="-6858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4pPr>
                <a:lvl5pPr marL="1828800" indent="-9144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5pPr>
                <a:lvl6pPr marL="22860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6pPr>
                <a:lvl7pPr marL="27432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7pPr>
                <a:lvl8pPr marL="32004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8pPr>
                <a:lvl9pPr marL="36576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9pPr>
              </a:lstStyle>
              <a:p>
                <a:pPr algn="ctr" eaLnBrk="1">
                  <a:defRPr/>
                </a:pPr>
                <a:endParaRPr lang="en-US" altLang="en-US"/>
              </a:p>
            </p:txBody>
          </p:sp>
          <p:sp>
            <p:nvSpPr>
              <p:cNvPr id="40" name="ïṡļiḑé">
                <a:extLst>
                  <a:ext uri="{FF2B5EF4-FFF2-40B4-BE49-F238E27FC236}">
                    <a16:creationId xmlns:a16="http://schemas.microsoft.com/office/drawing/2014/main" xmlns="" id="{5440524B-6382-4FBA-A24D-D24979C1CA60}"/>
                  </a:ext>
                </a:extLst>
              </p:cNvPr>
              <p:cNvSpPr/>
              <p:nvPr/>
            </p:nvSpPr>
            <p:spPr bwMode="auto">
              <a:xfrm>
                <a:off x="6002111" y="2859717"/>
                <a:ext cx="1408339" cy="3285167"/>
              </a:xfrm>
              <a:custGeom>
                <a:avLst/>
                <a:gdLst>
                  <a:gd name="T0" fmla="+- 0 10844 89"/>
                  <a:gd name="T1" fmla="*/ T0 w 21511"/>
                  <a:gd name="T2" fmla="*/ 10800 h 21600"/>
                  <a:gd name="T3" fmla="+- 0 10844 89"/>
                  <a:gd name="T4" fmla="*/ T3 w 21511"/>
                  <a:gd name="T5" fmla="*/ 10800 h 21600"/>
                  <a:gd name="T6" fmla="+- 0 10844 89"/>
                  <a:gd name="T7" fmla="*/ T6 w 21511"/>
                  <a:gd name="T8" fmla="*/ 10800 h 21600"/>
                  <a:gd name="T9" fmla="+- 0 10844 89"/>
                  <a:gd name="T10" fmla="*/ T9 w 21511"/>
                  <a:gd name="T11" fmla="*/ 10800 h 21600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21511" h="21600">
                    <a:moveTo>
                      <a:pt x="14763" y="0"/>
                    </a:moveTo>
                    <a:cubicBezTo>
                      <a:pt x="14645" y="200"/>
                      <a:pt x="14471" y="285"/>
                      <a:pt x="13493" y="288"/>
                    </a:cubicBezTo>
                    <a:cubicBezTo>
                      <a:pt x="12616" y="285"/>
                      <a:pt x="11730" y="226"/>
                      <a:pt x="10882" y="225"/>
                    </a:cubicBezTo>
                    <a:cubicBezTo>
                      <a:pt x="10860" y="225"/>
                      <a:pt x="10838" y="227"/>
                      <a:pt x="10816" y="227"/>
                    </a:cubicBezTo>
                    <a:cubicBezTo>
                      <a:pt x="10799" y="227"/>
                      <a:pt x="10782" y="225"/>
                      <a:pt x="10765" y="225"/>
                    </a:cubicBezTo>
                    <a:cubicBezTo>
                      <a:pt x="10383" y="225"/>
                      <a:pt x="10008" y="237"/>
                      <a:pt x="9645" y="271"/>
                    </a:cubicBezTo>
                    <a:cubicBezTo>
                      <a:pt x="9878" y="367"/>
                      <a:pt x="10144" y="479"/>
                      <a:pt x="10465" y="520"/>
                    </a:cubicBezTo>
                    <a:cubicBezTo>
                      <a:pt x="10466" y="524"/>
                      <a:pt x="10464" y="529"/>
                      <a:pt x="10465" y="534"/>
                    </a:cubicBezTo>
                    <a:cubicBezTo>
                      <a:pt x="10515" y="760"/>
                      <a:pt x="10049" y="728"/>
                      <a:pt x="10095" y="940"/>
                    </a:cubicBezTo>
                    <a:cubicBezTo>
                      <a:pt x="10108" y="1000"/>
                      <a:pt x="10177" y="1059"/>
                      <a:pt x="10282" y="1113"/>
                    </a:cubicBezTo>
                    <a:cubicBezTo>
                      <a:pt x="10069" y="1139"/>
                      <a:pt x="9878" y="1180"/>
                      <a:pt x="9719" y="1233"/>
                    </a:cubicBezTo>
                    <a:cubicBezTo>
                      <a:pt x="9397" y="1102"/>
                      <a:pt x="9053" y="980"/>
                      <a:pt x="8665" y="872"/>
                    </a:cubicBezTo>
                    <a:cubicBezTo>
                      <a:pt x="8653" y="878"/>
                      <a:pt x="8627" y="887"/>
                      <a:pt x="8614" y="893"/>
                    </a:cubicBezTo>
                    <a:cubicBezTo>
                      <a:pt x="8591" y="886"/>
                      <a:pt x="8571" y="879"/>
                      <a:pt x="8548" y="872"/>
                    </a:cubicBezTo>
                    <a:cubicBezTo>
                      <a:pt x="8386" y="950"/>
                      <a:pt x="8103" y="1059"/>
                      <a:pt x="7528" y="1190"/>
                    </a:cubicBezTo>
                    <a:cubicBezTo>
                      <a:pt x="7550" y="1146"/>
                      <a:pt x="7570" y="1101"/>
                      <a:pt x="7561" y="1053"/>
                    </a:cubicBezTo>
                    <a:cubicBezTo>
                      <a:pt x="7515" y="822"/>
                      <a:pt x="7152" y="578"/>
                      <a:pt x="7129" y="458"/>
                    </a:cubicBezTo>
                    <a:cubicBezTo>
                      <a:pt x="7121" y="417"/>
                      <a:pt x="7130" y="377"/>
                      <a:pt x="7140" y="337"/>
                    </a:cubicBezTo>
                    <a:cubicBezTo>
                      <a:pt x="6826" y="304"/>
                      <a:pt x="6495" y="287"/>
                      <a:pt x="6163" y="287"/>
                    </a:cubicBezTo>
                    <a:cubicBezTo>
                      <a:pt x="6144" y="287"/>
                      <a:pt x="6128" y="288"/>
                      <a:pt x="6109" y="288"/>
                    </a:cubicBezTo>
                    <a:cubicBezTo>
                      <a:pt x="6088" y="288"/>
                      <a:pt x="6067" y="287"/>
                      <a:pt x="6046" y="287"/>
                    </a:cubicBezTo>
                    <a:cubicBezTo>
                      <a:pt x="2310" y="284"/>
                      <a:pt x="3360" y="1907"/>
                      <a:pt x="2195" y="1963"/>
                    </a:cubicBezTo>
                    <a:cubicBezTo>
                      <a:pt x="2067" y="1957"/>
                      <a:pt x="1924" y="1937"/>
                      <a:pt x="1778" y="1919"/>
                    </a:cubicBezTo>
                    <a:cubicBezTo>
                      <a:pt x="1773" y="1924"/>
                      <a:pt x="1771" y="1926"/>
                      <a:pt x="1767" y="1930"/>
                    </a:cubicBezTo>
                    <a:cubicBezTo>
                      <a:pt x="1730" y="1925"/>
                      <a:pt x="1698" y="1924"/>
                      <a:pt x="1661" y="1919"/>
                    </a:cubicBezTo>
                    <a:cubicBezTo>
                      <a:pt x="1031" y="2566"/>
                      <a:pt x="716" y="2587"/>
                      <a:pt x="531" y="2743"/>
                    </a:cubicBezTo>
                    <a:cubicBezTo>
                      <a:pt x="438" y="2820"/>
                      <a:pt x="377" y="2932"/>
                      <a:pt x="326" y="3171"/>
                    </a:cubicBezTo>
                    <a:cubicBezTo>
                      <a:pt x="354" y="3417"/>
                      <a:pt x="315" y="3671"/>
                      <a:pt x="256" y="3927"/>
                    </a:cubicBezTo>
                    <a:cubicBezTo>
                      <a:pt x="198" y="4183"/>
                      <a:pt x="121" y="4442"/>
                      <a:pt x="73" y="4698"/>
                    </a:cubicBezTo>
                    <a:cubicBezTo>
                      <a:pt x="-89" y="5182"/>
                      <a:pt x="-3" y="5714"/>
                      <a:pt x="527" y="6170"/>
                    </a:cubicBezTo>
                    <a:cubicBezTo>
                      <a:pt x="527" y="6127"/>
                      <a:pt x="534" y="6092"/>
                      <a:pt x="538" y="6054"/>
                    </a:cubicBezTo>
                    <a:cubicBezTo>
                      <a:pt x="576" y="6092"/>
                      <a:pt x="600" y="6133"/>
                      <a:pt x="644" y="6170"/>
                    </a:cubicBezTo>
                    <a:cubicBezTo>
                      <a:pt x="644" y="6018"/>
                      <a:pt x="643" y="5903"/>
                      <a:pt x="820" y="5789"/>
                    </a:cubicBezTo>
                    <a:cubicBezTo>
                      <a:pt x="930" y="5734"/>
                      <a:pt x="1048" y="5712"/>
                      <a:pt x="1160" y="5706"/>
                    </a:cubicBezTo>
                    <a:cubicBezTo>
                      <a:pt x="1534" y="5732"/>
                      <a:pt x="1851" y="5969"/>
                      <a:pt x="1851" y="6133"/>
                    </a:cubicBezTo>
                    <a:cubicBezTo>
                      <a:pt x="1851" y="6323"/>
                      <a:pt x="1675" y="6513"/>
                      <a:pt x="1763" y="6665"/>
                    </a:cubicBezTo>
                    <a:cubicBezTo>
                      <a:pt x="2470" y="7691"/>
                      <a:pt x="3265" y="8678"/>
                      <a:pt x="2824" y="9781"/>
                    </a:cubicBezTo>
                    <a:cubicBezTo>
                      <a:pt x="2294" y="10921"/>
                      <a:pt x="1236" y="11947"/>
                      <a:pt x="1441" y="13096"/>
                    </a:cubicBezTo>
                    <a:cubicBezTo>
                      <a:pt x="1478" y="13361"/>
                      <a:pt x="1557" y="13627"/>
                      <a:pt x="1690" y="13896"/>
                    </a:cubicBezTo>
                    <a:cubicBezTo>
                      <a:pt x="2219" y="13973"/>
                      <a:pt x="2537" y="14119"/>
                      <a:pt x="2725" y="14313"/>
                    </a:cubicBezTo>
                    <a:cubicBezTo>
                      <a:pt x="2800" y="14553"/>
                      <a:pt x="2820" y="14790"/>
                      <a:pt x="2802" y="15028"/>
                    </a:cubicBezTo>
                    <a:cubicBezTo>
                      <a:pt x="2784" y="15266"/>
                      <a:pt x="2731" y="15503"/>
                      <a:pt x="2652" y="15740"/>
                    </a:cubicBezTo>
                    <a:cubicBezTo>
                      <a:pt x="2471" y="16545"/>
                      <a:pt x="1587" y="17267"/>
                      <a:pt x="1675" y="18065"/>
                    </a:cubicBezTo>
                    <a:cubicBezTo>
                      <a:pt x="1675" y="18863"/>
                      <a:pt x="1324" y="19637"/>
                      <a:pt x="1412" y="20435"/>
                    </a:cubicBezTo>
                    <a:cubicBezTo>
                      <a:pt x="1500" y="20853"/>
                      <a:pt x="1939" y="21220"/>
                      <a:pt x="2469" y="21600"/>
                    </a:cubicBezTo>
                    <a:cubicBezTo>
                      <a:pt x="2424" y="21547"/>
                      <a:pt x="2408" y="21492"/>
                      <a:pt x="2370" y="21438"/>
                    </a:cubicBezTo>
                    <a:cubicBezTo>
                      <a:pt x="2442" y="21492"/>
                      <a:pt x="2510" y="21546"/>
                      <a:pt x="2586" y="21600"/>
                    </a:cubicBezTo>
                    <a:cubicBezTo>
                      <a:pt x="1438" y="20232"/>
                      <a:pt x="2795" y="18648"/>
                      <a:pt x="2795" y="17242"/>
                    </a:cubicBezTo>
                    <a:cubicBezTo>
                      <a:pt x="2755" y="17265"/>
                      <a:pt x="2710" y="17300"/>
                      <a:pt x="2667" y="17332"/>
                    </a:cubicBezTo>
                    <a:cubicBezTo>
                      <a:pt x="2668" y="17302"/>
                      <a:pt x="2678" y="17271"/>
                      <a:pt x="2678" y="17242"/>
                    </a:cubicBezTo>
                    <a:cubicBezTo>
                      <a:pt x="2589" y="17293"/>
                      <a:pt x="2489" y="17373"/>
                      <a:pt x="2396" y="17459"/>
                    </a:cubicBezTo>
                    <a:cubicBezTo>
                      <a:pt x="2804" y="16827"/>
                      <a:pt x="3879" y="16270"/>
                      <a:pt x="4089" y="15582"/>
                    </a:cubicBezTo>
                    <a:cubicBezTo>
                      <a:pt x="4214" y="15357"/>
                      <a:pt x="4312" y="15092"/>
                      <a:pt x="4382" y="14861"/>
                    </a:cubicBezTo>
                    <a:cubicBezTo>
                      <a:pt x="4452" y="14631"/>
                      <a:pt x="4537" y="14389"/>
                      <a:pt x="4528" y="14151"/>
                    </a:cubicBezTo>
                    <a:cubicBezTo>
                      <a:pt x="4562" y="13917"/>
                      <a:pt x="4554" y="13655"/>
                      <a:pt x="4558" y="13416"/>
                    </a:cubicBezTo>
                    <a:cubicBezTo>
                      <a:pt x="4568" y="12699"/>
                      <a:pt x="4374" y="11874"/>
                      <a:pt x="4441" y="11161"/>
                    </a:cubicBezTo>
                    <a:cubicBezTo>
                      <a:pt x="4421" y="11166"/>
                      <a:pt x="4355" y="11168"/>
                      <a:pt x="4324" y="11172"/>
                    </a:cubicBezTo>
                    <a:cubicBezTo>
                      <a:pt x="4324" y="11169"/>
                      <a:pt x="4323" y="11165"/>
                      <a:pt x="4324" y="11161"/>
                    </a:cubicBezTo>
                    <a:cubicBezTo>
                      <a:pt x="4147" y="11199"/>
                      <a:pt x="3413" y="11226"/>
                      <a:pt x="3413" y="11264"/>
                    </a:cubicBezTo>
                    <a:cubicBezTo>
                      <a:pt x="2825" y="11987"/>
                      <a:pt x="2973" y="12710"/>
                      <a:pt x="2381" y="13400"/>
                    </a:cubicBezTo>
                    <a:cubicBezTo>
                      <a:pt x="1969" y="12264"/>
                      <a:pt x="3137" y="11228"/>
                      <a:pt x="3822" y="10122"/>
                    </a:cubicBezTo>
                    <a:cubicBezTo>
                      <a:pt x="4705" y="8868"/>
                      <a:pt x="4530" y="7653"/>
                      <a:pt x="4883" y="6361"/>
                    </a:cubicBezTo>
                    <a:cubicBezTo>
                      <a:pt x="5148" y="5411"/>
                      <a:pt x="4973" y="4498"/>
                      <a:pt x="5260" y="3541"/>
                    </a:cubicBezTo>
                    <a:cubicBezTo>
                      <a:pt x="5350" y="3293"/>
                      <a:pt x="5492" y="3053"/>
                      <a:pt x="5728" y="2828"/>
                    </a:cubicBezTo>
                    <a:cubicBezTo>
                      <a:pt x="5944" y="2622"/>
                      <a:pt x="6250" y="2432"/>
                      <a:pt x="6643" y="2256"/>
                    </a:cubicBezTo>
                    <a:cubicBezTo>
                      <a:pt x="6658" y="2306"/>
                      <a:pt x="6673" y="2355"/>
                      <a:pt x="6683" y="2404"/>
                    </a:cubicBezTo>
                    <a:cubicBezTo>
                      <a:pt x="6695" y="2467"/>
                      <a:pt x="6696" y="2602"/>
                      <a:pt x="6694" y="2773"/>
                    </a:cubicBezTo>
                    <a:cubicBezTo>
                      <a:pt x="6706" y="3244"/>
                      <a:pt x="6709" y="3662"/>
                      <a:pt x="6738" y="4120"/>
                    </a:cubicBezTo>
                    <a:cubicBezTo>
                      <a:pt x="6753" y="4258"/>
                      <a:pt x="6777" y="4394"/>
                      <a:pt x="6825" y="4517"/>
                    </a:cubicBezTo>
                    <a:cubicBezTo>
                      <a:pt x="6874" y="4640"/>
                      <a:pt x="6945" y="4751"/>
                      <a:pt x="7052" y="4838"/>
                    </a:cubicBezTo>
                    <a:cubicBezTo>
                      <a:pt x="7218" y="4974"/>
                      <a:pt x="7475" y="5050"/>
                      <a:pt x="7861" y="5034"/>
                    </a:cubicBezTo>
                    <a:cubicBezTo>
                      <a:pt x="8001" y="5035"/>
                      <a:pt x="8156" y="5027"/>
                      <a:pt x="8340" y="4997"/>
                    </a:cubicBezTo>
                    <a:cubicBezTo>
                      <a:pt x="10062" y="4656"/>
                      <a:pt x="10767" y="3735"/>
                      <a:pt x="11127" y="2982"/>
                    </a:cubicBezTo>
                    <a:cubicBezTo>
                      <a:pt x="11350" y="3083"/>
                      <a:pt x="11656" y="3128"/>
                      <a:pt x="11950" y="3114"/>
                    </a:cubicBezTo>
                    <a:cubicBezTo>
                      <a:pt x="12234" y="3115"/>
                      <a:pt x="12515" y="3067"/>
                      <a:pt x="12696" y="2966"/>
                    </a:cubicBezTo>
                    <a:cubicBezTo>
                      <a:pt x="12615" y="3331"/>
                      <a:pt x="12911" y="3619"/>
                      <a:pt x="13153" y="3966"/>
                    </a:cubicBezTo>
                    <a:cubicBezTo>
                      <a:pt x="13173" y="3960"/>
                      <a:pt x="13217" y="3937"/>
                      <a:pt x="13241" y="3928"/>
                    </a:cubicBezTo>
                    <a:cubicBezTo>
                      <a:pt x="13251" y="3942"/>
                      <a:pt x="13261" y="3953"/>
                      <a:pt x="13270" y="3966"/>
                    </a:cubicBezTo>
                    <a:cubicBezTo>
                      <a:pt x="13535" y="3890"/>
                      <a:pt x="14176" y="3557"/>
                      <a:pt x="14353" y="3443"/>
                    </a:cubicBezTo>
                    <a:cubicBezTo>
                      <a:pt x="14971" y="2987"/>
                      <a:pt x="14507" y="2788"/>
                      <a:pt x="15125" y="2294"/>
                    </a:cubicBezTo>
                    <a:cubicBezTo>
                      <a:pt x="15195" y="2233"/>
                      <a:pt x="14708" y="2055"/>
                      <a:pt x="14327" y="2080"/>
                    </a:cubicBezTo>
                    <a:cubicBezTo>
                      <a:pt x="14249" y="2077"/>
                      <a:pt x="14174" y="2078"/>
                      <a:pt x="14104" y="2091"/>
                    </a:cubicBezTo>
                    <a:cubicBezTo>
                      <a:pt x="14270" y="1842"/>
                      <a:pt x="14447" y="1595"/>
                      <a:pt x="14861" y="1401"/>
                    </a:cubicBezTo>
                    <a:cubicBezTo>
                      <a:pt x="15075" y="1294"/>
                      <a:pt x="15318" y="1192"/>
                      <a:pt x="15582" y="1096"/>
                    </a:cubicBezTo>
                    <a:cubicBezTo>
                      <a:pt x="16907" y="616"/>
                      <a:pt x="18754" y="280"/>
                      <a:pt x="20253" y="241"/>
                    </a:cubicBezTo>
                    <a:cubicBezTo>
                      <a:pt x="20591" y="159"/>
                      <a:pt x="21001" y="79"/>
                      <a:pt x="21511" y="0"/>
                    </a:cubicBezTo>
                    <a:lnTo>
                      <a:pt x="21394" y="0"/>
                    </a:lnTo>
                    <a:lnTo>
                      <a:pt x="14880" y="0"/>
                    </a:lnTo>
                    <a:lnTo>
                      <a:pt x="14763" y="0"/>
                    </a:lnTo>
                    <a:close/>
                  </a:path>
                </a:pathLst>
              </a:custGeom>
              <a:solidFill>
                <a:srgbClr val="65707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chemeClr val="bg1"/>
                    </a:solidFill>
                    <a:prstDash val="solid"/>
                    <a:miter lim="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1pPr>
                <a:lvl2pPr marL="457200" indent="-2286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2pPr>
                <a:lvl3pPr marL="914400" indent="-4572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3pPr>
                <a:lvl4pPr marL="1371600" indent="-6858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4pPr>
                <a:lvl5pPr marL="1828800" indent="-9144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5pPr>
                <a:lvl6pPr marL="22860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6pPr>
                <a:lvl7pPr marL="27432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7pPr>
                <a:lvl8pPr marL="32004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8pPr>
                <a:lvl9pPr marL="36576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9pPr>
              </a:lstStyle>
              <a:p>
                <a:pPr algn="ctr" eaLnBrk="1">
                  <a:defRPr/>
                </a:pPr>
                <a:endParaRPr lang="en-US" altLang="en-US"/>
              </a:p>
            </p:txBody>
          </p:sp>
          <p:sp>
            <p:nvSpPr>
              <p:cNvPr id="41" name="îŝ1îḑè">
                <a:extLst>
                  <a:ext uri="{FF2B5EF4-FFF2-40B4-BE49-F238E27FC236}">
                    <a16:creationId xmlns:a16="http://schemas.microsoft.com/office/drawing/2014/main" xmlns="" id="{2769A662-A51D-4229-B345-EF8EACB750E5}"/>
                  </a:ext>
                </a:extLst>
              </p:cNvPr>
              <p:cNvSpPr/>
              <p:nvPr/>
            </p:nvSpPr>
            <p:spPr bwMode="auto">
              <a:xfrm>
                <a:off x="6122826" y="3154797"/>
                <a:ext cx="820094" cy="2992003"/>
              </a:xfrm>
              <a:custGeom>
                <a:avLst/>
                <a:gdLst>
                  <a:gd name="T0" fmla="+- 0 11162 982"/>
                  <a:gd name="T1" fmla="*/ T0 w 20361"/>
                  <a:gd name="T2" fmla="*/ 10800 h 21600"/>
                  <a:gd name="T3" fmla="+- 0 11162 982"/>
                  <a:gd name="T4" fmla="*/ T3 w 20361"/>
                  <a:gd name="T5" fmla="*/ 10800 h 21600"/>
                  <a:gd name="T6" fmla="+- 0 11162 982"/>
                  <a:gd name="T7" fmla="*/ T6 w 20361"/>
                  <a:gd name="T8" fmla="*/ 10800 h 21600"/>
                  <a:gd name="T9" fmla="+- 0 11162 982"/>
                  <a:gd name="T10" fmla="*/ T9 w 20361"/>
                  <a:gd name="T11" fmla="*/ 10800 h 21600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20361" h="21600">
                    <a:moveTo>
                      <a:pt x="17978" y="1544"/>
                    </a:moveTo>
                    <a:cubicBezTo>
                      <a:pt x="17910" y="1319"/>
                      <a:pt x="17691" y="1238"/>
                      <a:pt x="17691" y="1029"/>
                    </a:cubicBezTo>
                    <a:cubicBezTo>
                      <a:pt x="17547" y="1154"/>
                      <a:pt x="17212" y="1099"/>
                      <a:pt x="16925" y="1182"/>
                    </a:cubicBezTo>
                    <a:cubicBezTo>
                      <a:pt x="16207" y="1307"/>
                      <a:pt x="15441" y="1127"/>
                      <a:pt x="15010" y="918"/>
                    </a:cubicBezTo>
                    <a:cubicBezTo>
                      <a:pt x="14435" y="1752"/>
                      <a:pt x="13133" y="2817"/>
                      <a:pt x="10280" y="3199"/>
                    </a:cubicBezTo>
                    <a:cubicBezTo>
                      <a:pt x="9303" y="3304"/>
                      <a:pt x="9324" y="3293"/>
                      <a:pt x="8977" y="3102"/>
                    </a:cubicBezTo>
                    <a:cubicBezTo>
                      <a:pt x="8803" y="3006"/>
                      <a:pt x="8530" y="2889"/>
                      <a:pt x="8450" y="2754"/>
                    </a:cubicBezTo>
                    <a:cubicBezTo>
                      <a:pt x="8371" y="2618"/>
                      <a:pt x="8379" y="2488"/>
                      <a:pt x="8355" y="2337"/>
                    </a:cubicBezTo>
                    <a:cubicBezTo>
                      <a:pt x="8308" y="1833"/>
                      <a:pt x="8375" y="1380"/>
                      <a:pt x="8355" y="862"/>
                    </a:cubicBezTo>
                    <a:cubicBezTo>
                      <a:pt x="8357" y="675"/>
                      <a:pt x="8326" y="473"/>
                      <a:pt x="8307" y="403"/>
                    </a:cubicBezTo>
                    <a:cubicBezTo>
                      <a:pt x="8286" y="330"/>
                      <a:pt x="7820" y="73"/>
                      <a:pt x="7780" y="0"/>
                    </a:cubicBezTo>
                    <a:cubicBezTo>
                      <a:pt x="7045" y="207"/>
                      <a:pt x="6105" y="671"/>
                      <a:pt x="5721" y="918"/>
                    </a:cubicBezTo>
                    <a:cubicBezTo>
                      <a:pt x="5337" y="1165"/>
                      <a:pt x="5053" y="1470"/>
                      <a:pt x="4907" y="1742"/>
                    </a:cubicBezTo>
                    <a:cubicBezTo>
                      <a:pt x="4584" y="2918"/>
                      <a:pt x="4237" y="4117"/>
                      <a:pt x="4093" y="5243"/>
                    </a:cubicBezTo>
                    <a:cubicBezTo>
                      <a:pt x="3950" y="7246"/>
                      <a:pt x="2067" y="9096"/>
                      <a:pt x="200" y="11057"/>
                    </a:cubicBezTo>
                    <a:cubicBezTo>
                      <a:pt x="-375" y="11600"/>
                      <a:pt x="454" y="12379"/>
                      <a:pt x="598" y="12921"/>
                    </a:cubicBezTo>
                    <a:cubicBezTo>
                      <a:pt x="1747" y="12128"/>
                      <a:pt x="2034" y="11127"/>
                      <a:pt x="3040" y="10292"/>
                    </a:cubicBezTo>
                    <a:cubicBezTo>
                      <a:pt x="3040" y="10251"/>
                      <a:pt x="3471" y="10251"/>
                      <a:pt x="3758" y="10209"/>
                    </a:cubicBezTo>
                    <a:cubicBezTo>
                      <a:pt x="3650" y="10991"/>
                      <a:pt x="3785" y="11797"/>
                      <a:pt x="3768" y="12584"/>
                    </a:cubicBezTo>
                    <a:cubicBezTo>
                      <a:pt x="3762" y="12846"/>
                      <a:pt x="3740" y="13107"/>
                      <a:pt x="3686" y="13363"/>
                    </a:cubicBezTo>
                    <a:cubicBezTo>
                      <a:pt x="3699" y="13625"/>
                      <a:pt x="3640" y="13881"/>
                      <a:pt x="3526" y="14134"/>
                    </a:cubicBezTo>
                    <a:cubicBezTo>
                      <a:pt x="3413" y="14387"/>
                      <a:pt x="3245" y="14636"/>
                      <a:pt x="3044" y="14883"/>
                    </a:cubicBezTo>
                    <a:cubicBezTo>
                      <a:pt x="2609" y="15842"/>
                      <a:pt x="311" y="16676"/>
                      <a:pt x="454" y="17636"/>
                    </a:cubicBezTo>
                    <a:cubicBezTo>
                      <a:pt x="885" y="17427"/>
                      <a:pt x="454" y="17177"/>
                      <a:pt x="1173" y="17010"/>
                    </a:cubicBezTo>
                    <a:cubicBezTo>
                      <a:pt x="1316" y="18554"/>
                      <a:pt x="-982" y="20098"/>
                      <a:pt x="1029" y="21600"/>
                    </a:cubicBezTo>
                    <a:cubicBezTo>
                      <a:pt x="1173" y="21183"/>
                      <a:pt x="1316" y="20765"/>
                      <a:pt x="1603" y="20306"/>
                    </a:cubicBezTo>
                    <a:cubicBezTo>
                      <a:pt x="3184" y="18387"/>
                      <a:pt x="4907" y="16593"/>
                      <a:pt x="5829" y="14690"/>
                    </a:cubicBezTo>
                    <a:cubicBezTo>
                      <a:pt x="6060" y="14325"/>
                      <a:pt x="6307" y="13960"/>
                      <a:pt x="6569" y="13595"/>
                    </a:cubicBezTo>
                    <a:cubicBezTo>
                      <a:pt x="7062" y="13463"/>
                      <a:pt x="7205" y="13297"/>
                      <a:pt x="7493" y="13130"/>
                    </a:cubicBezTo>
                    <a:cubicBezTo>
                      <a:pt x="8785" y="12170"/>
                      <a:pt x="8498" y="11127"/>
                      <a:pt x="10365" y="10167"/>
                    </a:cubicBezTo>
                    <a:cubicBezTo>
                      <a:pt x="10653" y="10021"/>
                      <a:pt x="10876" y="9869"/>
                      <a:pt x="11054" y="9713"/>
                    </a:cubicBezTo>
                    <a:cubicBezTo>
                      <a:pt x="12089" y="8957"/>
                      <a:pt x="12520" y="7997"/>
                      <a:pt x="14100" y="7288"/>
                    </a:cubicBezTo>
                    <a:cubicBezTo>
                      <a:pt x="16255" y="6328"/>
                      <a:pt x="13525" y="5077"/>
                      <a:pt x="14813" y="3969"/>
                    </a:cubicBezTo>
                    <a:cubicBezTo>
                      <a:pt x="15010" y="3815"/>
                      <a:pt x="15243" y="3664"/>
                      <a:pt x="15505" y="3516"/>
                    </a:cubicBezTo>
                    <a:cubicBezTo>
                      <a:pt x="16291" y="3074"/>
                      <a:pt x="19253" y="1997"/>
                      <a:pt x="20331" y="1579"/>
                    </a:cubicBezTo>
                    <a:cubicBezTo>
                      <a:pt x="20618" y="1538"/>
                      <a:pt x="18740" y="1881"/>
                      <a:pt x="18361" y="1742"/>
                    </a:cubicBezTo>
                    <a:cubicBezTo>
                      <a:pt x="18208" y="1620"/>
                      <a:pt x="17989" y="1558"/>
                      <a:pt x="17978" y="1544"/>
                    </a:cubicBezTo>
                    <a:close/>
                  </a:path>
                </a:pathLst>
              </a:custGeom>
              <a:solidFill>
                <a:srgbClr val="414A5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chemeClr val="bg1"/>
                    </a:solidFill>
                    <a:prstDash val="solid"/>
                    <a:miter lim="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1pPr>
                <a:lvl2pPr marL="457200" indent="-2286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2pPr>
                <a:lvl3pPr marL="914400" indent="-4572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3pPr>
                <a:lvl4pPr marL="1371600" indent="-6858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4pPr>
                <a:lvl5pPr marL="1828800" indent="-914400" algn="l" defTabSz="8255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400" kern="1200">
                    <a:solidFill>
                      <a:srgbClr val="000000"/>
                    </a:solidFill>
                  </a:defRPr>
                </a:lvl5pPr>
                <a:lvl6pPr marL="22860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6pPr>
                <a:lvl7pPr marL="27432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7pPr>
                <a:lvl8pPr marL="32004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8pPr>
                <a:lvl9pPr marL="3657600" algn="l" defTabSz="914400" rtl="0" eaLnBrk="1" latinLnBrk="0" hangingPunct="1">
                  <a:defRPr sz="3400" kern="1200">
                    <a:solidFill>
                      <a:srgbClr val="000000"/>
                    </a:solidFill>
                  </a:defRPr>
                </a:lvl9pPr>
              </a:lstStyle>
              <a:p>
                <a:pPr algn="ctr" eaLnBrk="1">
                  <a:defRPr/>
                </a:pPr>
                <a:endParaRPr lang="en-US" altLang="en-US"/>
              </a:p>
            </p:txBody>
          </p:sp>
        </p:grpSp>
        <p:sp>
          <p:nvSpPr>
            <p:cNvPr id="8" name="îSļiḓe">
              <a:extLst>
                <a:ext uri="{FF2B5EF4-FFF2-40B4-BE49-F238E27FC236}">
                  <a16:creationId xmlns:a16="http://schemas.microsoft.com/office/drawing/2014/main" xmlns="" id="{7B99BFD7-C3A7-4C32-A76C-4A3E78CE590C}"/>
                </a:ext>
              </a:extLst>
            </p:cNvPr>
            <p:cNvSpPr txBox="1"/>
            <p:nvPr/>
          </p:nvSpPr>
          <p:spPr>
            <a:xfrm>
              <a:off x="673103" y="1435123"/>
              <a:ext cx="4205210" cy="8521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/>
            <a:p>
              <a:pPr>
                <a:buSzPct val="25000"/>
              </a:pPr>
              <a:r>
                <a:rPr lang="en-US" sz="2000" b="1" dirty="0"/>
                <a:t>Unified fonts make reading more fluent.</a:t>
              </a:r>
            </a:p>
          </p:txBody>
        </p:sp>
        <p:grpSp>
          <p:nvGrpSpPr>
            <p:cNvPr id="9" name="íṩḷïḑe">
              <a:extLst>
                <a:ext uri="{FF2B5EF4-FFF2-40B4-BE49-F238E27FC236}">
                  <a16:creationId xmlns:a16="http://schemas.microsoft.com/office/drawing/2014/main" xmlns="" id="{AA2E3765-5FF6-4524-B12D-27AAC373088D}"/>
                </a:ext>
              </a:extLst>
            </p:cNvPr>
            <p:cNvGrpSpPr/>
            <p:nvPr/>
          </p:nvGrpSpPr>
          <p:grpSpPr>
            <a:xfrm>
              <a:off x="4569634" y="3545480"/>
              <a:ext cx="1135570" cy="1138574"/>
              <a:chOff x="4792602" y="3701950"/>
              <a:chExt cx="823456" cy="825634"/>
            </a:xfrm>
          </p:grpSpPr>
          <p:sp>
            <p:nvSpPr>
              <p:cNvPr id="27" name="iş1iḍè">
                <a:extLst>
                  <a:ext uri="{FF2B5EF4-FFF2-40B4-BE49-F238E27FC236}">
                    <a16:creationId xmlns:a16="http://schemas.microsoft.com/office/drawing/2014/main" xmlns="" id="{DDAE9763-6CB7-426D-A0C7-B3FC95944B46}"/>
                  </a:ext>
                </a:extLst>
              </p:cNvPr>
              <p:cNvSpPr/>
              <p:nvPr/>
            </p:nvSpPr>
            <p:spPr bwMode="auto">
              <a:xfrm>
                <a:off x="4792602" y="3701950"/>
                <a:ext cx="823456" cy="825634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endParaRPr lang="en-US" sz="3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išļíḑe">
                <a:extLst>
                  <a:ext uri="{FF2B5EF4-FFF2-40B4-BE49-F238E27FC236}">
                    <a16:creationId xmlns:a16="http://schemas.microsoft.com/office/drawing/2014/main" xmlns="" id="{8B9914FA-F146-4D6B-8B80-C7FC3EA90D88}"/>
                  </a:ext>
                </a:extLst>
              </p:cNvPr>
              <p:cNvSpPr/>
              <p:nvPr/>
            </p:nvSpPr>
            <p:spPr bwMode="auto">
              <a:xfrm>
                <a:off x="4993547" y="3938168"/>
                <a:ext cx="421566" cy="353198"/>
              </a:xfrm>
              <a:custGeom>
                <a:avLst/>
                <a:gdLst>
                  <a:gd name="connsiteX0" fmla="*/ 552739 w 609615"/>
                  <a:gd name="connsiteY0" fmla="*/ 397213 h 510753"/>
                  <a:gd name="connsiteX1" fmla="*/ 609615 w 609615"/>
                  <a:gd name="connsiteY1" fmla="*/ 453983 h 510753"/>
                  <a:gd name="connsiteX2" fmla="*/ 552739 w 609615"/>
                  <a:gd name="connsiteY2" fmla="*/ 510753 h 510753"/>
                  <a:gd name="connsiteX3" fmla="*/ 495863 w 609615"/>
                  <a:gd name="connsiteY3" fmla="*/ 453983 h 510753"/>
                  <a:gd name="connsiteX4" fmla="*/ 552739 w 609615"/>
                  <a:gd name="connsiteY4" fmla="*/ 397213 h 510753"/>
                  <a:gd name="connsiteX5" fmla="*/ 547870 w 609615"/>
                  <a:gd name="connsiteY5" fmla="*/ 198571 h 510753"/>
                  <a:gd name="connsiteX6" fmla="*/ 604746 w 609615"/>
                  <a:gd name="connsiteY6" fmla="*/ 255341 h 510753"/>
                  <a:gd name="connsiteX7" fmla="*/ 547870 w 609615"/>
                  <a:gd name="connsiteY7" fmla="*/ 312111 h 510753"/>
                  <a:gd name="connsiteX8" fmla="*/ 490994 w 609615"/>
                  <a:gd name="connsiteY8" fmla="*/ 255341 h 510753"/>
                  <a:gd name="connsiteX9" fmla="*/ 547870 w 609615"/>
                  <a:gd name="connsiteY9" fmla="*/ 198571 h 510753"/>
                  <a:gd name="connsiteX10" fmla="*/ 119644 w 609615"/>
                  <a:gd name="connsiteY10" fmla="*/ 191797 h 510753"/>
                  <a:gd name="connsiteX11" fmla="*/ 127891 w 609615"/>
                  <a:gd name="connsiteY11" fmla="*/ 196674 h 510753"/>
                  <a:gd name="connsiteX12" fmla="*/ 121502 w 609615"/>
                  <a:gd name="connsiteY12" fmla="*/ 203292 h 510753"/>
                  <a:gd name="connsiteX13" fmla="*/ 129982 w 609615"/>
                  <a:gd name="connsiteY13" fmla="*/ 212233 h 510753"/>
                  <a:gd name="connsiteX14" fmla="*/ 122664 w 609615"/>
                  <a:gd name="connsiteY14" fmla="*/ 226050 h 510753"/>
                  <a:gd name="connsiteX15" fmla="*/ 115462 w 609615"/>
                  <a:gd name="connsiteY15" fmla="*/ 225702 h 510753"/>
                  <a:gd name="connsiteX16" fmla="*/ 109306 w 609615"/>
                  <a:gd name="connsiteY16" fmla="*/ 211652 h 510753"/>
                  <a:gd name="connsiteX17" fmla="*/ 117669 w 609615"/>
                  <a:gd name="connsiteY17" fmla="*/ 203176 h 510753"/>
                  <a:gd name="connsiteX18" fmla="*/ 111513 w 609615"/>
                  <a:gd name="connsiteY18" fmla="*/ 196441 h 510753"/>
                  <a:gd name="connsiteX19" fmla="*/ 88250 w 609615"/>
                  <a:gd name="connsiteY19" fmla="*/ 191374 h 510753"/>
                  <a:gd name="connsiteX20" fmla="*/ 111272 w 609615"/>
                  <a:gd name="connsiteY20" fmla="*/ 231774 h 510753"/>
                  <a:gd name="connsiteX21" fmla="*/ 119760 w 609615"/>
                  <a:gd name="connsiteY21" fmla="*/ 238160 h 510753"/>
                  <a:gd name="connsiteX22" fmla="*/ 128364 w 609615"/>
                  <a:gd name="connsiteY22" fmla="*/ 231891 h 510753"/>
                  <a:gd name="connsiteX23" fmla="*/ 152316 w 609615"/>
                  <a:gd name="connsiteY23" fmla="*/ 191490 h 510753"/>
                  <a:gd name="connsiteX24" fmla="*/ 195918 w 609615"/>
                  <a:gd name="connsiteY24" fmla="*/ 193812 h 510753"/>
                  <a:gd name="connsiteX25" fmla="*/ 228241 w 609615"/>
                  <a:gd name="connsiteY25" fmla="*/ 204725 h 510753"/>
                  <a:gd name="connsiteX26" fmla="*/ 239287 w 609615"/>
                  <a:gd name="connsiteY26" fmla="*/ 236302 h 510753"/>
                  <a:gd name="connsiteX27" fmla="*/ 239287 w 609615"/>
                  <a:gd name="connsiteY27" fmla="*/ 249653 h 510753"/>
                  <a:gd name="connsiteX28" fmla="*/ 183360 w 609615"/>
                  <a:gd name="connsiteY28" fmla="*/ 461987 h 510753"/>
                  <a:gd name="connsiteX29" fmla="*/ 132433 w 609615"/>
                  <a:gd name="connsiteY29" fmla="*/ 501227 h 510753"/>
                  <a:gd name="connsiteX30" fmla="*/ 122085 w 609615"/>
                  <a:gd name="connsiteY30" fmla="*/ 501227 h 510753"/>
                  <a:gd name="connsiteX31" fmla="*/ 68949 w 609615"/>
                  <a:gd name="connsiteY31" fmla="*/ 462568 h 510753"/>
                  <a:gd name="connsiteX32" fmla="*/ 0 w 609615"/>
                  <a:gd name="connsiteY32" fmla="*/ 249769 h 510753"/>
                  <a:gd name="connsiteX33" fmla="*/ 0 w 609615"/>
                  <a:gd name="connsiteY33" fmla="*/ 236302 h 510753"/>
                  <a:gd name="connsiteX34" fmla="*/ 11046 w 609615"/>
                  <a:gd name="connsiteY34" fmla="*/ 204725 h 510753"/>
                  <a:gd name="connsiteX35" fmla="*/ 43369 w 609615"/>
                  <a:gd name="connsiteY35" fmla="*/ 193812 h 510753"/>
                  <a:gd name="connsiteX36" fmla="*/ 138106 w 609615"/>
                  <a:gd name="connsiteY36" fmla="*/ 151894 h 510753"/>
                  <a:gd name="connsiteX37" fmla="*/ 143448 w 609615"/>
                  <a:gd name="connsiteY37" fmla="*/ 154218 h 510753"/>
                  <a:gd name="connsiteX38" fmla="*/ 141125 w 609615"/>
                  <a:gd name="connsiteY38" fmla="*/ 159679 h 510753"/>
                  <a:gd name="connsiteX39" fmla="*/ 118014 w 609615"/>
                  <a:gd name="connsiteY39" fmla="*/ 164559 h 510753"/>
                  <a:gd name="connsiteX40" fmla="*/ 98271 w 609615"/>
                  <a:gd name="connsiteY40" fmla="*/ 158982 h 510753"/>
                  <a:gd name="connsiteX41" fmla="*/ 97691 w 609615"/>
                  <a:gd name="connsiteY41" fmla="*/ 153172 h 510753"/>
                  <a:gd name="connsiteX42" fmla="*/ 103497 w 609615"/>
                  <a:gd name="connsiteY42" fmla="*/ 152591 h 510753"/>
                  <a:gd name="connsiteX43" fmla="*/ 138106 w 609615"/>
                  <a:gd name="connsiteY43" fmla="*/ 151894 h 510753"/>
                  <a:gd name="connsiteX44" fmla="*/ 139648 w 609615"/>
                  <a:gd name="connsiteY44" fmla="*/ 119739 h 510753"/>
                  <a:gd name="connsiteX45" fmla="*/ 149316 w 609615"/>
                  <a:gd name="connsiteY45" fmla="*/ 134921 h 510753"/>
                  <a:gd name="connsiteX46" fmla="*/ 129981 w 609615"/>
                  <a:gd name="connsiteY46" fmla="*/ 134921 h 510753"/>
                  <a:gd name="connsiteX47" fmla="*/ 139648 w 609615"/>
                  <a:gd name="connsiteY47" fmla="*/ 119739 h 510753"/>
                  <a:gd name="connsiteX48" fmla="*/ 91170 w 609615"/>
                  <a:gd name="connsiteY48" fmla="*/ 119739 h 510753"/>
                  <a:gd name="connsiteX49" fmla="*/ 100838 w 609615"/>
                  <a:gd name="connsiteY49" fmla="*/ 134921 h 510753"/>
                  <a:gd name="connsiteX50" fmla="*/ 81503 w 609615"/>
                  <a:gd name="connsiteY50" fmla="*/ 134921 h 510753"/>
                  <a:gd name="connsiteX51" fmla="*/ 91170 w 609615"/>
                  <a:gd name="connsiteY51" fmla="*/ 119739 h 510753"/>
                  <a:gd name="connsiteX52" fmla="*/ 95591 w 609615"/>
                  <a:gd name="connsiteY52" fmla="*/ 95554 h 510753"/>
                  <a:gd name="connsiteX53" fmla="*/ 67686 w 609615"/>
                  <a:gd name="connsiteY53" fmla="*/ 130042 h 510753"/>
                  <a:gd name="connsiteX54" fmla="*/ 67686 w 609615"/>
                  <a:gd name="connsiteY54" fmla="*/ 157679 h 510753"/>
                  <a:gd name="connsiteX55" fmla="*/ 84313 w 609615"/>
                  <a:gd name="connsiteY55" fmla="*/ 174168 h 510753"/>
                  <a:gd name="connsiteX56" fmla="*/ 153379 w 609615"/>
                  <a:gd name="connsiteY56" fmla="*/ 174168 h 510753"/>
                  <a:gd name="connsiteX57" fmla="*/ 169890 w 609615"/>
                  <a:gd name="connsiteY57" fmla="*/ 157562 h 510753"/>
                  <a:gd name="connsiteX58" fmla="*/ 169890 w 609615"/>
                  <a:gd name="connsiteY58" fmla="*/ 112043 h 510753"/>
                  <a:gd name="connsiteX59" fmla="*/ 100359 w 609615"/>
                  <a:gd name="connsiteY59" fmla="*/ 95554 h 510753"/>
                  <a:gd name="connsiteX60" fmla="*/ 305807 w 609615"/>
                  <a:gd name="connsiteY60" fmla="*/ 35565 h 510753"/>
                  <a:gd name="connsiteX61" fmla="*/ 415442 w 609615"/>
                  <a:gd name="connsiteY61" fmla="*/ 35565 h 510753"/>
                  <a:gd name="connsiteX62" fmla="*/ 433695 w 609615"/>
                  <a:gd name="connsiteY62" fmla="*/ 53792 h 510753"/>
                  <a:gd name="connsiteX63" fmla="*/ 415442 w 609615"/>
                  <a:gd name="connsiteY63" fmla="*/ 72018 h 510753"/>
                  <a:gd name="connsiteX64" fmla="*/ 324060 w 609615"/>
                  <a:gd name="connsiteY64" fmla="*/ 72018 h 510753"/>
                  <a:gd name="connsiteX65" fmla="*/ 324060 w 609615"/>
                  <a:gd name="connsiteY65" fmla="*/ 237103 h 510753"/>
                  <a:gd name="connsiteX66" fmla="*/ 415442 w 609615"/>
                  <a:gd name="connsiteY66" fmla="*/ 237103 h 510753"/>
                  <a:gd name="connsiteX67" fmla="*/ 433695 w 609615"/>
                  <a:gd name="connsiteY67" fmla="*/ 255330 h 510753"/>
                  <a:gd name="connsiteX68" fmla="*/ 415442 w 609615"/>
                  <a:gd name="connsiteY68" fmla="*/ 273556 h 510753"/>
                  <a:gd name="connsiteX69" fmla="*/ 324060 w 609615"/>
                  <a:gd name="connsiteY69" fmla="*/ 273556 h 510753"/>
                  <a:gd name="connsiteX70" fmla="*/ 324060 w 609615"/>
                  <a:gd name="connsiteY70" fmla="*/ 469290 h 510753"/>
                  <a:gd name="connsiteX71" fmla="*/ 415442 w 609615"/>
                  <a:gd name="connsiteY71" fmla="*/ 469290 h 510753"/>
                  <a:gd name="connsiteX72" fmla="*/ 433695 w 609615"/>
                  <a:gd name="connsiteY72" fmla="*/ 487516 h 510753"/>
                  <a:gd name="connsiteX73" fmla="*/ 415442 w 609615"/>
                  <a:gd name="connsiteY73" fmla="*/ 505743 h 510753"/>
                  <a:gd name="connsiteX74" fmla="*/ 305807 w 609615"/>
                  <a:gd name="connsiteY74" fmla="*/ 505743 h 510753"/>
                  <a:gd name="connsiteX75" fmla="*/ 287554 w 609615"/>
                  <a:gd name="connsiteY75" fmla="*/ 487516 h 510753"/>
                  <a:gd name="connsiteX76" fmla="*/ 287554 w 609615"/>
                  <a:gd name="connsiteY76" fmla="*/ 53792 h 510753"/>
                  <a:gd name="connsiteX77" fmla="*/ 305807 w 609615"/>
                  <a:gd name="connsiteY77" fmla="*/ 35565 h 510753"/>
                  <a:gd name="connsiteX78" fmla="*/ 117102 w 609615"/>
                  <a:gd name="connsiteY78" fmla="*/ 32037 h 510753"/>
                  <a:gd name="connsiteX79" fmla="*/ 179890 w 609615"/>
                  <a:gd name="connsiteY79" fmla="*/ 108676 h 510753"/>
                  <a:gd name="connsiteX80" fmla="*/ 178262 w 609615"/>
                  <a:gd name="connsiteY80" fmla="*/ 109373 h 510753"/>
                  <a:gd name="connsiteX81" fmla="*/ 178262 w 609615"/>
                  <a:gd name="connsiteY81" fmla="*/ 157679 h 510753"/>
                  <a:gd name="connsiteX82" fmla="*/ 153379 w 609615"/>
                  <a:gd name="connsiteY82" fmla="*/ 182412 h 510753"/>
                  <a:gd name="connsiteX83" fmla="*/ 84313 w 609615"/>
                  <a:gd name="connsiteY83" fmla="*/ 182412 h 510753"/>
                  <a:gd name="connsiteX84" fmla="*/ 59430 w 609615"/>
                  <a:gd name="connsiteY84" fmla="*/ 157562 h 510753"/>
                  <a:gd name="connsiteX85" fmla="*/ 59430 w 609615"/>
                  <a:gd name="connsiteY85" fmla="*/ 133642 h 510753"/>
                  <a:gd name="connsiteX86" fmla="*/ 55593 w 609615"/>
                  <a:gd name="connsiteY86" fmla="*/ 134803 h 510753"/>
                  <a:gd name="connsiteX87" fmla="*/ 117102 w 609615"/>
                  <a:gd name="connsiteY87" fmla="*/ 32037 h 510753"/>
                  <a:gd name="connsiteX88" fmla="*/ 543107 w 609615"/>
                  <a:gd name="connsiteY88" fmla="*/ 0 h 510753"/>
                  <a:gd name="connsiteX89" fmla="*/ 599948 w 609615"/>
                  <a:gd name="connsiteY89" fmla="*/ 56770 h 510753"/>
                  <a:gd name="connsiteX90" fmla="*/ 543107 w 609615"/>
                  <a:gd name="connsiteY90" fmla="*/ 113540 h 510753"/>
                  <a:gd name="connsiteX91" fmla="*/ 486266 w 609615"/>
                  <a:gd name="connsiteY91" fmla="*/ 56770 h 510753"/>
                  <a:gd name="connsiteX92" fmla="*/ 543107 w 609615"/>
                  <a:gd name="connsiteY92" fmla="*/ 0 h 510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609615" h="510753">
                    <a:moveTo>
                      <a:pt x="552739" y="397213"/>
                    </a:moveTo>
                    <a:cubicBezTo>
                      <a:pt x="584151" y="397213"/>
                      <a:pt x="609615" y="422630"/>
                      <a:pt x="609615" y="453983"/>
                    </a:cubicBezTo>
                    <a:cubicBezTo>
                      <a:pt x="609615" y="485336"/>
                      <a:pt x="584151" y="510753"/>
                      <a:pt x="552739" y="510753"/>
                    </a:cubicBezTo>
                    <a:cubicBezTo>
                      <a:pt x="521327" y="510753"/>
                      <a:pt x="495863" y="485336"/>
                      <a:pt x="495863" y="453983"/>
                    </a:cubicBezTo>
                    <a:cubicBezTo>
                      <a:pt x="495863" y="422630"/>
                      <a:pt x="521327" y="397213"/>
                      <a:pt x="552739" y="397213"/>
                    </a:cubicBezTo>
                    <a:close/>
                    <a:moveTo>
                      <a:pt x="547870" y="198571"/>
                    </a:moveTo>
                    <a:cubicBezTo>
                      <a:pt x="579282" y="198571"/>
                      <a:pt x="604746" y="223988"/>
                      <a:pt x="604746" y="255341"/>
                    </a:cubicBezTo>
                    <a:cubicBezTo>
                      <a:pt x="604746" y="286694"/>
                      <a:pt x="579282" y="312111"/>
                      <a:pt x="547870" y="312111"/>
                    </a:cubicBezTo>
                    <a:cubicBezTo>
                      <a:pt x="516458" y="312111"/>
                      <a:pt x="490994" y="286694"/>
                      <a:pt x="490994" y="255341"/>
                    </a:cubicBezTo>
                    <a:cubicBezTo>
                      <a:pt x="490994" y="223988"/>
                      <a:pt x="516458" y="198571"/>
                      <a:pt x="547870" y="198571"/>
                    </a:cubicBezTo>
                    <a:close/>
                    <a:moveTo>
                      <a:pt x="119644" y="191797"/>
                    </a:moveTo>
                    <a:lnTo>
                      <a:pt x="127891" y="196674"/>
                    </a:lnTo>
                    <a:lnTo>
                      <a:pt x="121502" y="203292"/>
                    </a:lnTo>
                    <a:lnTo>
                      <a:pt x="129982" y="212233"/>
                    </a:lnTo>
                    <a:lnTo>
                      <a:pt x="122664" y="226050"/>
                    </a:lnTo>
                    <a:cubicBezTo>
                      <a:pt x="120573" y="230114"/>
                      <a:pt x="117321" y="229998"/>
                      <a:pt x="115462" y="225702"/>
                    </a:cubicBezTo>
                    <a:lnTo>
                      <a:pt x="109306" y="211652"/>
                    </a:lnTo>
                    <a:lnTo>
                      <a:pt x="117669" y="203176"/>
                    </a:lnTo>
                    <a:lnTo>
                      <a:pt x="111513" y="196441"/>
                    </a:lnTo>
                    <a:close/>
                    <a:moveTo>
                      <a:pt x="88250" y="191374"/>
                    </a:moveTo>
                    <a:lnTo>
                      <a:pt x="111272" y="231774"/>
                    </a:lnTo>
                    <a:cubicBezTo>
                      <a:pt x="113597" y="235954"/>
                      <a:pt x="116620" y="238160"/>
                      <a:pt x="119760" y="238160"/>
                    </a:cubicBezTo>
                    <a:cubicBezTo>
                      <a:pt x="123015" y="238160"/>
                      <a:pt x="126038" y="235954"/>
                      <a:pt x="128364" y="231891"/>
                    </a:cubicBezTo>
                    <a:lnTo>
                      <a:pt x="152316" y="191490"/>
                    </a:lnTo>
                    <a:lnTo>
                      <a:pt x="195918" y="193812"/>
                    </a:lnTo>
                    <a:cubicBezTo>
                      <a:pt x="207894" y="194392"/>
                      <a:pt x="222195" y="199268"/>
                      <a:pt x="228241" y="204725"/>
                    </a:cubicBezTo>
                    <a:cubicBezTo>
                      <a:pt x="234520" y="210297"/>
                      <a:pt x="239287" y="224112"/>
                      <a:pt x="239287" y="236302"/>
                    </a:cubicBezTo>
                    <a:lnTo>
                      <a:pt x="239287" y="249653"/>
                    </a:lnTo>
                    <a:lnTo>
                      <a:pt x="183360" y="461987"/>
                    </a:lnTo>
                    <a:cubicBezTo>
                      <a:pt x="177663" y="483581"/>
                      <a:pt x="154874" y="501227"/>
                      <a:pt x="132433" y="501227"/>
                    </a:cubicBezTo>
                    <a:lnTo>
                      <a:pt x="122085" y="501227"/>
                    </a:lnTo>
                    <a:cubicBezTo>
                      <a:pt x="99645" y="501227"/>
                      <a:pt x="75925" y="483929"/>
                      <a:pt x="68949" y="462568"/>
                    </a:cubicBezTo>
                    <a:lnTo>
                      <a:pt x="0" y="249769"/>
                    </a:lnTo>
                    <a:lnTo>
                      <a:pt x="0" y="236302"/>
                    </a:lnTo>
                    <a:cubicBezTo>
                      <a:pt x="0" y="224112"/>
                      <a:pt x="4883" y="210297"/>
                      <a:pt x="11046" y="204725"/>
                    </a:cubicBezTo>
                    <a:cubicBezTo>
                      <a:pt x="17208" y="199268"/>
                      <a:pt x="31393" y="194509"/>
                      <a:pt x="43369" y="193812"/>
                    </a:cubicBezTo>
                    <a:close/>
                    <a:moveTo>
                      <a:pt x="138106" y="151894"/>
                    </a:moveTo>
                    <a:cubicBezTo>
                      <a:pt x="140196" y="151081"/>
                      <a:pt x="142635" y="152127"/>
                      <a:pt x="143448" y="154218"/>
                    </a:cubicBezTo>
                    <a:cubicBezTo>
                      <a:pt x="144377" y="156426"/>
                      <a:pt x="143332" y="158866"/>
                      <a:pt x="141125" y="159679"/>
                    </a:cubicBezTo>
                    <a:cubicBezTo>
                      <a:pt x="131950" y="163281"/>
                      <a:pt x="124286" y="164559"/>
                      <a:pt x="118014" y="164559"/>
                    </a:cubicBezTo>
                    <a:cubicBezTo>
                      <a:pt x="105239" y="164559"/>
                      <a:pt x="98620" y="159330"/>
                      <a:pt x="98271" y="158982"/>
                    </a:cubicBezTo>
                    <a:cubicBezTo>
                      <a:pt x="96529" y="157588"/>
                      <a:pt x="96181" y="154915"/>
                      <a:pt x="97691" y="153172"/>
                    </a:cubicBezTo>
                    <a:cubicBezTo>
                      <a:pt x="99084" y="151430"/>
                      <a:pt x="101639" y="151081"/>
                      <a:pt x="103497" y="152591"/>
                    </a:cubicBezTo>
                    <a:cubicBezTo>
                      <a:pt x="103962" y="152940"/>
                      <a:pt x="114995" y="161073"/>
                      <a:pt x="138106" y="151894"/>
                    </a:cubicBezTo>
                    <a:close/>
                    <a:moveTo>
                      <a:pt x="139648" y="119739"/>
                    </a:moveTo>
                    <a:cubicBezTo>
                      <a:pt x="147918" y="120435"/>
                      <a:pt x="149316" y="134921"/>
                      <a:pt x="149316" y="134921"/>
                    </a:cubicBezTo>
                    <a:lnTo>
                      <a:pt x="129981" y="134921"/>
                    </a:lnTo>
                    <a:cubicBezTo>
                      <a:pt x="129981" y="134921"/>
                      <a:pt x="131379" y="119044"/>
                      <a:pt x="139648" y="119739"/>
                    </a:cubicBezTo>
                    <a:close/>
                    <a:moveTo>
                      <a:pt x="91170" y="119739"/>
                    </a:moveTo>
                    <a:cubicBezTo>
                      <a:pt x="99440" y="120435"/>
                      <a:pt x="100838" y="134921"/>
                      <a:pt x="100838" y="134921"/>
                    </a:cubicBezTo>
                    <a:lnTo>
                      <a:pt x="81503" y="134921"/>
                    </a:lnTo>
                    <a:cubicBezTo>
                      <a:pt x="81503" y="134921"/>
                      <a:pt x="82901" y="119044"/>
                      <a:pt x="91170" y="119739"/>
                    </a:cubicBezTo>
                    <a:close/>
                    <a:moveTo>
                      <a:pt x="95591" y="95554"/>
                    </a:moveTo>
                    <a:cubicBezTo>
                      <a:pt x="92685" y="103451"/>
                      <a:pt x="84429" y="120752"/>
                      <a:pt x="67686" y="130042"/>
                    </a:cubicBezTo>
                    <a:lnTo>
                      <a:pt x="67686" y="157679"/>
                    </a:lnTo>
                    <a:cubicBezTo>
                      <a:pt x="67686" y="166736"/>
                      <a:pt x="75127" y="174168"/>
                      <a:pt x="84313" y="174168"/>
                    </a:cubicBezTo>
                    <a:lnTo>
                      <a:pt x="153379" y="174168"/>
                    </a:lnTo>
                    <a:cubicBezTo>
                      <a:pt x="162449" y="174168"/>
                      <a:pt x="169890" y="166736"/>
                      <a:pt x="169890" y="157562"/>
                    </a:cubicBezTo>
                    <a:lnTo>
                      <a:pt x="169890" y="112043"/>
                    </a:lnTo>
                    <a:cubicBezTo>
                      <a:pt x="153961" y="116340"/>
                      <a:pt x="122102" y="120752"/>
                      <a:pt x="100359" y="95554"/>
                    </a:cubicBezTo>
                    <a:close/>
                    <a:moveTo>
                      <a:pt x="305807" y="35565"/>
                    </a:moveTo>
                    <a:lnTo>
                      <a:pt x="415442" y="35565"/>
                    </a:lnTo>
                    <a:cubicBezTo>
                      <a:pt x="425557" y="35565"/>
                      <a:pt x="433695" y="43692"/>
                      <a:pt x="433695" y="53792"/>
                    </a:cubicBezTo>
                    <a:cubicBezTo>
                      <a:pt x="433695" y="63892"/>
                      <a:pt x="425557" y="72018"/>
                      <a:pt x="415442" y="72018"/>
                    </a:cubicBezTo>
                    <a:lnTo>
                      <a:pt x="324060" y="72018"/>
                    </a:lnTo>
                    <a:lnTo>
                      <a:pt x="324060" y="237103"/>
                    </a:lnTo>
                    <a:lnTo>
                      <a:pt x="415442" y="237103"/>
                    </a:lnTo>
                    <a:cubicBezTo>
                      <a:pt x="425557" y="237103"/>
                      <a:pt x="433695" y="245346"/>
                      <a:pt x="433695" y="255330"/>
                    </a:cubicBezTo>
                    <a:cubicBezTo>
                      <a:pt x="433695" y="265430"/>
                      <a:pt x="425557" y="273556"/>
                      <a:pt x="415442" y="273556"/>
                    </a:cubicBezTo>
                    <a:lnTo>
                      <a:pt x="324060" y="273556"/>
                    </a:lnTo>
                    <a:lnTo>
                      <a:pt x="324060" y="469290"/>
                    </a:lnTo>
                    <a:lnTo>
                      <a:pt x="415442" y="469290"/>
                    </a:lnTo>
                    <a:cubicBezTo>
                      <a:pt x="425557" y="469290"/>
                      <a:pt x="433695" y="477416"/>
                      <a:pt x="433695" y="487516"/>
                    </a:cubicBezTo>
                    <a:cubicBezTo>
                      <a:pt x="433695" y="497617"/>
                      <a:pt x="425557" y="505743"/>
                      <a:pt x="415442" y="505743"/>
                    </a:cubicBezTo>
                    <a:lnTo>
                      <a:pt x="305807" y="505743"/>
                    </a:lnTo>
                    <a:cubicBezTo>
                      <a:pt x="295692" y="505743"/>
                      <a:pt x="287554" y="497617"/>
                      <a:pt x="287554" y="487516"/>
                    </a:cubicBezTo>
                    <a:lnTo>
                      <a:pt x="287554" y="53792"/>
                    </a:lnTo>
                    <a:cubicBezTo>
                      <a:pt x="287554" y="43692"/>
                      <a:pt x="295692" y="35565"/>
                      <a:pt x="305807" y="35565"/>
                    </a:cubicBezTo>
                    <a:close/>
                    <a:moveTo>
                      <a:pt x="117102" y="32037"/>
                    </a:moveTo>
                    <a:cubicBezTo>
                      <a:pt x="195819" y="32037"/>
                      <a:pt x="179890" y="108676"/>
                      <a:pt x="179890" y="108676"/>
                    </a:cubicBezTo>
                    <a:cubicBezTo>
                      <a:pt x="179890" y="108676"/>
                      <a:pt x="179308" y="108908"/>
                      <a:pt x="178262" y="109373"/>
                    </a:cubicBezTo>
                    <a:lnTo>
                      <a:pt x="178262" y="157679"/>
                    </a:lnTo>
                    <a:cubicBezTo>
                      <a:pt x="178262" y="171381"/>
                      <a:pt x="167099" y="182412"/>
                      <a:pt x="153379" y="182412"/>
                    </a:cubicBezTo>
                    <a:lnTo>
                      <a:pt x="84313" y="182412"/>
                    </a:lnTo>
                    <a:cubicBezTo>
                      <a:pt x="70593" y="182412"/>
                      <a:pt x="59430" y="171265"/>
                      <a:pt x="59430" y="157562"/>
                    </a:cubicBezTo>
                    <a:lnTo>
                      <a:pt x="59430" y="133642"/>
                    </a:lnTo>
                    <a:cubicBezTo>
                      <a:pt x="58151" y="134106"/>
                      <a:pt x="56872" y="134571"/>
                      <a:pt x="55593" y="134803"/>
                    </a:cubicBezTo>
                    <a:cubicBezTo>
                      <a:pt x="55593" y="134803"/>
                      <a:pt x="34083" y="32153"/>
                      <a:pt x="117102" y="32037"/>
                    </a:cubicBezTo>
                    <a:close/>
                    <a:moveTo>
                      <a:pt x="543107" y="0"/>
                    </a:moveTo>
                    <a:cubicBezTo>
                      <a:pt x="574499" y="0"/>
                      <a:pt x="599948" y="25417"/>
                      <a:pt x="599948" y="56770"/>
                    </a:cubicBezTo>
                    <a:cubicBezTo>
                      <a:pt x="599948" y="88123"/>
                      <a:pt x="574499" y="113540"/>
                      <a:pt x="543107" y="113540"/>
                    </a:cubicBezTo>
                    <a:cubicBezTo>
                      <a:pt x="511715" y="113540"/>
                      <a:pt x="486266" y="88123"/>
                      <a:pt x="486266" y="56770"/>
                    </a:cubicBezTo>
                    <a:cubicBezTo>
                      <a:pt x="486266" y="25417"/>
                      <a:pt x="511715" y="0"/>
                      <a:pt x="54310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10" name="iṣľiḑê">
              <a:extLst>
                <a:ext uri="{FF2B5EF4-FFF2-40B4-BE49-F238E27FC236}">
                  <a16:creationId xmlns:a16="http://schemas.microsoft.com/office/drawing/2014/main" xmlns="" id="{4B4311B8-A478-47C3-8A01-C3053E09F965}"/>
                </a:ext>
              </a:extLst>
            </p:cNvPr>
            <p:cNvGrpSpPr/>
            <p:nvPr/>
          </p:nvGrpSpPr>
          <p:grpSpPr>
            <a:xfrm>
              <a:off x="6508645" y="3545480"/>
              <a:ext cx="1135570" cy="1138574"/>
              <a:chOff x="4792602" y="3701950"/>
              <a:chExt cx="823456" cy="825634"/>
            </a:xfrm>
          </p:grpSpPr>
          <p:sp>
            <p:nvSpPr>
              <p:cNvPr id="25" name="íSļïḍê">
                <a:extLst>
                  <a:ext uri="{FF2B5EF4-FFF2-40B4-BE49-F238E27FC236}">
                    <a16:creationId xmlns:a16="http://schemas.microsoft.com/office/drawing/2014/main" xmlns="" id="{CEFCA837-2117-46E7-B764-43EE5B1879D5}"/>
                  </a:ext>
                </a:extLst>
              </p:cNvPr>
              <p:cNvSpPr/>
              <p:nvPr/>
            </p:nvSpPr>
            <p:spPr bwMode="auto">
              <a:xfrm>
                <a:off x="4792602" y="3701950"/>
                <a:ext cx="823456" cy="825634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lang="en-US" sz="3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" name="îṧ1ïḑè">
                <a:extLst>
                  <a:ext uri="{FF2B5EF4-FFF2-40B4-BE49-F238E27FC236}">
                    <a16:creationId xmlns:a16="http://schemas.microsoft.com/office/drawing/2014/main" xmlns="" id="{79921EAE-27A8-4BF2-91A9-F474C7309C96}"/>
                  </a:ext>
                </a:extLst>
              </p:cNvPr>
              <p:cNvSpPr/>
              <p:nvPr/>
            </p:nvSpPr>
            <p:spPr bwMode="auto">
              <a:xfrm>
                <a:off x="5007957" y="3903984"/>
                <a:ext cx="392745" cy="421566"/>
              </a:xfrm>
              <a:custGeom>
                <a:avLst/>
                <a:gdLst>
                  <a:gd name="connsiteX0" fmla="*/ 22177 w 562476"/>
                  <a:gd name="connsiteY0" fmla="*/ 326506 h 603752"/>
                  <a:gd name="connsiteX1" fmla="*/ 23850 w 562476"/>
                  <a:gd name="connsiteY1" fmla="*/ 363980 h 603752"/>
                  <a:gd name="connsiteX2" fmla="*/ 24328 w 562476"/>
                  <a:gd name="connsiteY2" fmla="*/ 363980 h 603752"/>
                  <a:gd name="connsiteX3" fmla="*/ 22177 w 562476"/>
                  <a:gd name="connsiteY3" fmla="*/ 326506 h 603752"/>
                  <a:gd name="connsiteX4" fmla="*/ 70306 w 562476"/>
                  <a:gd name="connsiteY4" fmla="*/ 207730 h 603752"/>
                  <a:gd name="connsiteX5" fmla="*/ 138811 w 562476"/>
                  <a:gd name="connsiteY5" fmla="*/ 218620 h 603752"/>
                  <a:gd name="connsiteX6" fmla="*/ 142396 w 562476"/>
                  <a:gd name="connsiteY6" fmla="*/ 230793 h 603752"/>
                  <a:gd name="connsiteX7" fmla="*/ 140484 w 562476"/>
                  <a:gd name="connsiteY7" fmla="*/ 235567 h 603752"/>
                  <a:gd name="connsiteX8" fmla="*/ 129968 w 562476"/>
                  <a:gd name="connsiteY8" fmla="*/ 312424 h 603752"/>
                  <a:gd name="connsiteX9" fmla="*/ 131880 w 562476"/>
                  <a:gd name="connsiteY9" fmla="*/ 383552 h 603752"/>
                  <a:gd name="connsiteX10" fmla="*/ 148850 w 562476"/>
                  <a:gd name="connsiteY10" fmla="*/ 385939 h 603752"/>
                  <a:gd name="connsiteX11" fmla="*/ 156020 w 562476"/>
                  <a:gd name="connsiteY11" fmla="*/ 395486 h 603752"/>
                  <a:gd name="connsiteX12" fmla="*/ 156259 w 562476"/>
                  <a:gd name="connsiteY12" fmla="*/ 516977 h 603752"/>
                  <a:gd name="connsiteX13" fmla="*/ 148372 w 562476"/>
                  <a:gd name="connsiteY13" fmla="*/ 559940 h 603752"/>
                  <a:gd name="connsiteX14" fmla="*/ 120169 w 562476"/>
                  <a:gd name="connsiteY14" fmla="*/ 567578 h 603752"/>
                  <a:gd name="connsiteX15" fmla="*/ 110370 w 562476"/>
                  <a:gd name="connsiteY15" fmla="*/ 557792 h 603752"/>
                  <a:gd name="connsiteX16" fmla="*/ 112999 w 562476"/>
                  <a:gd name="connsiteY16" fmla="*/ 417684 h 603752"/>
                  <a:gd name="connsiteX17" fmla="*/ 99375 w 562476"/>
                  <a:gd name="connsiteY17" fmla="*/ 416490 h 603752"/>
                  <a:gd name="connsiteX18" fmla="*/ 96985 w 562476"/>
                  <a:gd name="connsiteY18" fmla="*/ 555405 h 603752"/>
                  <a:gd name="connsiteX19" fmla="*/ 89815 w 562476"/>
                  <a:gd name="connsiteY19" fmla="*/ 564714 h 603752"/>
                  <a:gd name="connsiteX20" fmla="*/ 58744 w 562476"/>
                  <a:gd name="connsiteY20" fmla="*/ 562327 h 603752"/>
                  <a:gd name="connsiteX21" fmla="*/ 51574 w 562476"/>
                  <a:gd name="connsiteY21" fmla="*/ 553018 h 603752"/>
                  <a:gd name="connsiteX22" fmla="*/ 52291 w 562476"/>
                  <a:gd name="connsiteY22" fmla="*/ 418400 h 603752"/>
                  <a:gd name="connsiteX23" fmla="*/ 57071 w 562476"/>
                  <a:gd name="connsiteY23" fmla="*/ 327699 h 603752"/>
                  <a:gd name="connsiteX24" fmla="*/ 54681 w 562476"/>
                  <a:gd name="connsiteY24" fmla="*/ 296432 h 603752"/>
                  <a:gd name="connsiteX25" fmla="*/ 42970 w 562476"/>
                  <a:gd name="connsiteY25" fmla="*/ 296909 h 603752"/>
                  <a:gd name="connsiteX26" fmla="*/ 42492 w 562476"/>
                  <a:gd name="connsiteY26" fmla="*/ 376869 h 603752"/>
                  <a:gd name="connsiteX27" fmla="*/ 33171 w 562476"/>
                  <a:gd name="connsiteY27" fmla="*/ 384029 h 603752"/>
                  <a:gd name="connsiteX28" fmla="*/ 11660 w 562476"/>
                  <a:gd name="connsiteY28" fmla="*/ 381165 h 603752"/>
                  <a:gd name="connsiteX29" fmla="*/ 4490 w 562476"/>
                  <a:gd name="connsiteY29" fmla="*/ 371856 h 603752"/>
                  <a:gd name="connsiteX30" fmla="*/ 12377 w 562476"/>
                  <a:gd name="connsiteY30" fmla="*/ 233896 h 603752"/>
                  <a:gd name="connsiteX31" fmla="*/ 70306 w 562476"/>
                  <a:gd name="connsiteY31" fmla="*/ 207730 h 603752"/>
                  <a:gd name="connsiteX32" fmla="*/ 492707 w 562476"/>
                  <a:gd name="connsiteY32" fmla="*/ 200794 h 603752"/>
                  <a:gd name="connsiteX33" fmla="*/ 548997 w 562476"/>
                  <a:gd name="connsiteY33" fmla="*/ 235338 h 603752"/>
                  <a:gd name="connsiteX34" fmla="*/ 553539 w 562476"/>
                  <a:gd name="connsiteY34" fmla="*/ 372084 h 603752"/>
                  <a:gd name="connsiteX35" fmla="*/ 538719 w 562476"/>
                  <a:gd name="connsiteY35" fmla="*/ 376618 h 603752"/>
                  <a:gd name="connsiteX36" fmla="*/ 522943 w 562476"/>
                  <a:gd name="connsiteY36" fmla="*/ 376379 h 603752"/>
                  <a:gd name="connsiteX37" fmla="*/ 516251 w 562476"/>
                  <a:gd name="connsiteY37" fmla="*/ 364686 h 603752"/>
                  <a:gd name="connsiteX38" fmla="*/ 512187 w 562476"/>
                  <a:gd name="connsiteY38" fmla="*/ 305501 h 603752"/>
                  <a:gd name="connsiteX39" fmla="*/ 504777 w 562476"/>
                  <a:gd name="connsiteY39" fmla="*/ 279011 h 603752"/>
                  <a:gd name="connsiteX40" fmla="*/ 503821 w 562476"/>
                  <a:gd name="connsiteY40" fmla="*/ 280920 h 603752"/>
                  <a:gd name="connsiteX41" fmla="*/ 497367 w 562476"/>
                  <a:gd name="connsiteY41" fmla="*/ 388312 h 603752"/>
                  <a:gd name="connsiteX42" fmla="*/ 496889 w 562476"/>
                  <a:gd name="connsiteY42" fmla="*/ 553217 h 603752"/>
                  <a:gd name="connsiteX43" fmla="*/ 487806 w 562476"/>
                  <a:gd name="connsiteY43" fmla="*/ 559899 h 603752"/>
                  <a:gd name="connsiteX44" fmla="*/ 468923 w 562476"/>
                  <a:gd name="connsiteY44" fmla="*/ 562286 h 603752"/>
                  <a:gd name="connsiteX45" fmla="*/ 459840 w 562476"/>
                  <a:gd name="connsiteY45" fmla="*/ 552979 h 603752"/>
                  <a:gd name="connsiteX46" fmla="*/ 456255 w 562476"/>
                  <a:gd name="connsiteY46" fmla="*/ 421006 h 603752"/>
                  <a:gd name="connsiteX47" fmla="*/ 433548 w 562476"/>
                  <a:gd name="connsiteY47" fmla="*/ 420768 h 603752"/>
                  <a:gd name="connsiteX48" fmla="*/ 430679 w 562476"/>
                  <a:gd name="connsiteY48" fmla="*/ 552979 h 603752"/>
                  <a:gd name="connsiteX49" fmla="*/ 421835 w 562476"/>
                  <a:gd name="connsiteY49" fmla="*/ 561809 h 603752"/>
                  <a:gd name="connsiteX50" fmla="*/ 397455 w 562476"/>
                  <a:gd name="connsiteY50" fmla="*/ 558945 h 603752"/>
                  <a:gd name="connsiteX51" fmla="*/ 397216 w 562476"/>
                  <a:gd name="connsiteY51" fmla="*/ 558945 h 603752"/>
                  <a:gd name="connsiteX52" fmla="*/ 389806 w 562476"/>
                  <a:gd name="connsiteY52" fmla="*/ 552979 h 603752"/>
                  <a:gd name="connsiteX53" fmla="*/ 388850 w 562476"/>
                  <a:gd name="connsiteY53" fmla="*/ 444155 h 603752"/>
                  <a:gd name="connsiteX54" fmla="*/ 410123 w 562476"/>
                  <a:gd name="connsiteY54" fmla="*/ 355378 h 603752"/>
                  <a:gd name="connsiteX55" fmla="*/ 403908 w 562476"/>
                  <a:gd name="connsiteY55" fmla="*/ 243930 h 603752"/>
                  <a:gd name="connsiteX56" fmla="*/ 424226 w 562476"/>
                  <a:gd name="connsiteY56" fmla="*/ 210280 h 603752"/>
                  <a:gd name="connsiteX57" fmla="*/ 492707 w 562476"/>
                  <a:gd name="connsiteY57" fmla="*/ 200794 h 603752"/>
                  <a:gd name="connsiteX58" fmla="*/ 292311 w 562476"/>
                  <a:gd name="connsiteY58" fmla="*/ 164681 h 603752"/>
                  <a:gd name="connsiteX59" fmla="*/ 381238 w 562476"/>
                  <a:gd name="connsiteY59" fmla="*/ 206209 h 603752"/>
                  <a:gd name="connsiteX60" fmla="*/ 389366 w 562476"/>
                  <a:gd name="connsiteY60" fmla="*/ 287832 h 603752"/>
                  <a:gd name="connsiteX61" fmla="*/ 384346 w 562476"/>
                  <a:gd name="connsiteY61" fmla="*/ 365158 h 603752"/>
                  <a:gd name="connsiteX62" fmla="*/ 372393 w 562476"/>
                  <a:gd name="connsiteY62" fmla="*/ 371602 h 603752"/>
                  <a:gd name="connsiteX63" fmla="*/ 363548 w 562476"/>
                  <a:gd name="connsiteY63" fmla="*/ 368500 h 603752"/>
                  <a:gd name="connsiteX64" fmla="*/ 356377 w 562476"/>
                  <a:gd name="connsiteY64" fmla="*/ 291889 h 603752"/>
                  <a:gd name="connsiteX65" fmla="*/ 350640 w 562476"/>
                  <a:gd name="connsiteY65" fmla="*/ 256328 h 603752"/>
                  <a:gd name="connsiteX66" fmla="*/ 339165 w 562476"/>
                  <a:gd name="connsiteY66" fmla="*/ 249884 h 603752"/>
                  <a:gd name="connsiteX67" fmla="*/ 338209 w 562476"/>
                  <a:gd name="connsiteY67" fmla="*/ 593081 h 603752"/>
                  <a:gd name="connsiteX68" fmla="*/ 330081 w 562476"/>
                  <a:gd name="connsiteY68" fmla="*/ 597855 h 603752"/>
                  <a:gd name="connsiteX69" fmla="*/ 329603 w 562476"/>
                  <a:gd name="connsiteY69" fmla="*/ 598571 h 603752"/>
                  <a:gd name="connsiteX70" fmla="*/ 305220 w 562476"/>
                  <a:gd name="connsiteY70" fmla="*/ 598809 h 603752"/>
                  <a:gd name="connsiteX71" fmla="*/ 296614 w 562476"/>
                  <a:gd name="connsiteY71" fmla="*/ 595468 h 603752"/>
                  <a:gd name="connsiteX72" fmla="*/ 297092 w 562476"/>
                  <a:gd name="connsiteY72" fmla="*/ 504060 h 603752"/>
                  <a:gd name="connsiteX73" fmla="*/ 293746 w 562476"/>
                  <a:gd name="connsiteY73" fmla="*/ 446542 h 603752"/>
                  <a:gd name="connsiteX74" fmla="*/ 272231 w 562476"/>
                  <a:gd name="connsiteY74" fmla="*/ 445110 h 603752"/>
                  <a:gd name="connsiteX75" fmla="*/ 266972 w 562476"/>
                  <a:gd name="connsiteY75" fmla="*/ 446065 h 603752"/>
                  <a:gd name="connsiteX76" fmla="*/ 267211 w 562476"/>
                  <a:gd name="connsiteY76" fmla="*/ 448690 h 603752"/>
                  <a:gd name="connsiteX77" fmla="*/ 267928 w 562476"/>
                  <a:gd name="connsiteY77" fmla="*/ 458237 h 603752"/>
                  <a:gd name="connsiteX78" fmla="*/ 267450 w 562476"/>
                  <a:gd name="connsiteY78" fmla="*/ 498810 h 603752"/>
                  <a:gd name="connsiteX79" fmla="*/ 260757 w 562476"/>
                  <a:gd name="connsiteY79" fmla="*/ 595468 h 603752"/>
                  <a:gd name="connsiteX80" fmla="*/ 250000 w 562476"/>
                  <a:gd name="connsiteY80" fmla="*/ 603582 h 603752"/>
                  <a:gd name="connsiteX81" fmla="*/ 222748 w 562476"/>
                  <a:gd name="connsiteY81" fmla="*/ 599764 h 603752"/>
                  <a:gd name="connsiteX82" fmla="*/ 220118 w 562476"/>
                  <a:gd name="connsiteY82" fmla="*/ 593320 h 603752"/>
                  <a:gd name="connsiteX83" fmla="*/ 219640 w 562476"/>
                  <a:gd name="connsiteY83" fmla="*/ 590695 h 603752"/>
                  <a:gd name="connsiteX84" fmla="*/ 222270 w 562476"/>
                  <a:gd name="connsiteY84" fmla="*/ 400003 h 603752"/>
                  <a:gd name="connsiteX85" fmla="*/ 218684 w 562476"/>
                  <a:gd name="connsiteY85" fmla="*/ 264920 h 603752"/>
                  <a:gd name="connsiteX86" fmla="*/ 218923 w 562476"/>
                  <a:gd name="connsiteY86" fmla="*/ 258715 h 603752"/>
                  <a:gd name="connsiteX87" fmla="*/ 220118 w 562476"/>
                  <a:gd name="connsiteY87" fmla="*/ 255851 h 603752"/>
                  <a:gd name="connsiteX88" fmla="*/ 220118 w 562476"/>
                  <a:gd name="connsiteY88" fmla="*/ 251794 h 603752"/>
                  <a:gd name="connsiteX89" fmla="*/ 195974 w 562476"/>
                  <a:gd name="connsiteY89" fmla="*/ 367068 h 603752"/>
                  <a:gd name="connsiteX90" fmla="*/ 188564 w 562476"/>
                  <a:gd name="connsiteY90" fmla="*/ 374466 h 603752"/>
                  <a:gd name="connsiteX91" fmla="*/ 173265 w 562476"/>
                  <a:gd name="connsiteY91" fmla="*/ 370170 h 603752"/>
                  <a:gd name="connsiteX92" fmla="*/ 159400 w 562476"/>
                  <a:gd name="connsiteY92" fmla="*/ 364681 h 603752"/>
                  <a:gd name="connsiteX93" fmla="*/ 177328 w 562476"/>
                  <a:gd name="connsiteY93" fmla="*/ 193321 h 603752"/>
                  <a:gd name="connsiteX94" fmla="*/ 292311 w 562476"/>
                  <a:gd name="connsiteY94" fmla="*/ 164681 h 603752"/>
                  <a:gd name="connsiteX95" fmla="*/ 114779 w 562476"/>
                  <a:gd name="connsiteY95" fmla="*/ 76260 h 603752"/>
                  <a:gd name="connsiteX96" fmla="*/ 145559 w 562476"/>
                  <a:gd name="connsiteY96" fmla="*/ 95259 h 603752"/>
                  <a:gd name="connsiteX97" fmla="*/ 148906 w 562476"/>
                  <a:gd name="connsiteY97" fmla="*/ 101939 h 603752"/>
                  <a:gd name="connsiteX98" fmla="*/ 162533 w 562476"/>
                  <a:gd name="connsiteY98" fmla="*/ 133434 h 603752"/>
                  <a:gd name="connsiteX99" fmla="*/ 102287 w 562476"/>
                  <a:gd name="connsiteY99" fmla="*/ 204774 h 603752"/>
                  <a:gd name="connsiteX100" fmla="*/ 44671 w 562476"/>
                  <a:gd name="connsiteY100" fmla="*/ 155862 h 603752"/>
                  <a:gd name="connsiteX101" fmla="*/ 77902 w 562476"/>
                  <a:gd name="connsiteY101" fmla="*/ 82852 h 603752"/>
                  <a:gd name="connsiteX102" fmla="*/ 114779 w 562476"/>
                  <a:gd name="connsiteY102" fmla="*/ 76260 h 603752"/>
                  <a:gd name="connsiteX103" fmla="*/ 460880 w 562476"/>
                  <a:gd name="connsiteY103" fmla="*/ 55561 h 603752"/>
                  <a:gd name="connsiteX104" fmla="*/ 525572 w 562476"/>
                  <a:gd name="connsiteY104" fmla="*/ 110027 h 603752"/>
                  <a:gd name="connsiteX105" fmla="*/ 471802 w 562476"/>
                  <a:gd name="connsiteY105" fmla="*/ 181621 h 603752"/>
                  <a:gd name="connsiteX106" fmla="*/ 446948 w 562476"/>
                  <a:gd name="connsiteY106" fmla="*/ 183530 h 603752"/>
                  <a:gd name="connsiteX107" fmla="*/ 421139 w 562476"/>
                  <a:gd name="connsiteY107" fmla="*/ 159904 h 603752"/>
                  <a:gd name="connsiteX108" fmla="*/ 412297 w 562476"/>
                  <a:gd name="connsiteY108" fmla="*/ 112653 h 603752"/>
                  <a:gd name="connsiteX109" fmla="*/ 432849 w 562476"/>
                  <a:gd name="connsiteY109" fmla="*/ 65401 h 603752"/>
                  <a:gd name="connsiteX110" fmla="*/ 460880 w 562476"/>
                  <a:gd name="connsiteY110" fmla="*/ 55561 h 603752"/>
                  <a:gd name="connsiteX111" fmla="*/ 258113 w 562476"/>
                  <a:gd name="connsiteY111" fmla="*/ 1217 h 603752"/>
                  <a:gd name="connsiteX112" fmla="*/ 300888 w 562476"/>
                  <a:gd name="connsiteY112" fmla="*/ 5751 h 603752"/>
                  <a:gd name="connsiteX113" fmla="*/ 314270 w 562476"/>
                  <a:gd name="connsiteY113" fmla="*/ 11000 h 603752"/>
                  <a:gd name="connsiteX114" fmla="*/ 338167 w 562476"/>
                  <a:gd name="connsiteY114" fmla="*/ 38919 h 603752"/>
                  <a:gd name="connsiteX115" fmla="*/ 342707 w 562476"/>
                  <a:gd name="connsiteY115" fmla="*/ 123870 h 603752"/>
                  <a:gd name="connsiteX116" fmla="*/ 308774 w 562476"/>
                  <a:gd name="connsiteY116" fmla="*/ 146300 h 603752"/>
                  <a:gd name="connsiteX117" fmla="*/ 229915 w 562476"/>
                  <a:gd name="connsiteY117" fmla="*/ 140335 h 603752"/>
                  <a:gd name="connsiteX118" fmla="*/ 258113 w 562476"/>
                  <a:gd name="connsiteY118" fmla="*/ 1217 h 603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</a:cxnLst>
                <a:rect l="l" t="t" r="r" b="b"/>
                <a:pathLst>
                  <a:path w="562476" h="603752">
                    <a:moveTo>
                      <a:pt x="22177" y="326506"/>
                    </a:moveTo>
                    <a:cubicBezTo>
                      <a:pt x="22655" y="338918"/>
                      <a:pt x="23372" y="351568"/>
                      <a:pt x="23850" y="363980"/>
                    </a:cubicBezTo>
                    <a:cubicBezTo>
                      <a:pt x="23850" y="363980"/>
                      <a:pt x="24089" y="363980"/>
                      <a:pt x="24328" y="363980"/>
                    </a:cubicBezTo>
                    <a:cubicBezTo>
                      <a:pt x="24806" y="352523"/>
                      <a:pt x="23133" y="339395"/>
                      <a:pt x="22177" y="326506"/>
                    </a:cubicBezTo>
                    <a:close/>
                    <a:moveTo>
                      <a:pt x="70306" y="207730"/>
                    </a:moveTo>
                    <a:cubicBezTo>
                      <a:pt x="94536" y="208118"/>
                      <a:pt x="120528" y="214682"/>
                      <a:pt x="138811" y="218620"/>
                    </a:cubicBezTo>
                    <a:cubicBezTo>
                      <a:pt x="145026" y="219814"/>
                      <a:pt x="145504" y="226736"/>
                      <a:pt x="142396" y="230793"/>
                    </a:cubicBezTo>
                    <a:cubicBezTo>
                      <a:pt x="142157" y="232464"/>
                      <a:pt x="141679" y="234135"/>
                      <a:pt x="140484" y="235567"/>
                    </a:cubicBezTo>
                    <a:cubicBezTo>
                      <a:pt x="126622" y="254662"/>
                      <a:pt x="130207" y="290226"/>
                      <a:pt x="129968" y="312424"/>
                    </a:cubicBezTo>
                    <a:cubicBezTo>
                      <a:pt x="129968" y="336053"/>
                      <a:pt x="130685" y="359922"/>
                      <a:pt x="131880" y="383552"/>
                    </a:cubicBezTo>
                    <a:cubicBezTo>
                      <a:pt x="137377" y="384029"/>
                      <a:pt x="142874" y="384984"/>
                      <a:pt x="148850" y="385939"/>
                    </a:cubicBezTo>
                    <a:cubicBezTo>
                      <a:pt x="153152" y="386655"/>
                      <a:pt x="155781" y="391428"/>
                      <a:pt x="156020" y="395486"/>
                    </a:cubicBezTo>
                    <a:cubicBezTo>
                      <a:pt x="157932" y="435824"/>
                      <a:pt x="160083" y="476639"/>
                      <a:pt x="156259" y="516977"/>
                    </a:cubicBezTo>
                    <a:cubicBezTo>
                      <a:pt x="155064" y="527240"/>
                      <a:pt x="156259" y="552302"/>
                      <a:pt x="148372" y="559940"/>
                    </a:cubicBezTo>
                    <a:cubicBezTo>
                      <a:pt x="141918" y="566623"/>
                      <a:pt x="129012" y="566862"/>
                      <a:pt x="120169" y="567578"/>
                    </a:cubicBezTo>
                    <a:cubicBezTo>
                      <a:pt x="114672" y="568055"/>
                      <a:pt x="110609" y="562804"/>
                      <a:pt x="110370" y="557792"/>
                    </a:cubicBezTo>
                    <a:cubicBezTo>
                      <a:pt x="108697" y="511009"/>
                      <a:pt x="113716" y="464466"/>
                      <a:pt x="112999" y="417684"/>
                    </a:cubicBezTo>
                    <a:cubicBezTo>
                      <a:pt x="108458" y="416729"/>
                      <a:pt x="103917" y="416490"/>
                      <a:pt x="99375" y="416490"/>
                    </a:cubicBezTo>
                    <a:cubicBezTo>
                      <a:pt x="99614" y="462795"/>
                      <a:pt x="101048" y="509100"/>
                      <a:pt x="96985" y="555405"/>
                    </a:cubicBezTo>
                    <a:cubicBezTo>
                      <a:pt x="96507" y="559462"/>
                      <a:pt x="94356" y="563997"/>
                      <a:pt x="89815" y="564714"/>
                    </a:cubicBezTo>
                    <a:cubicBezTo>
                      <a:pt x="78821" y="566384"/>
                      <a:pt x="69500" y="565430"/>
                      <a:pt x="58744" y="562327"/>
                    </a:cubicBezTo>
                    <a:cubicBezTo>
                      <a:pt x="54442" y="561133"/>
                      <a:pt x="51813" y="557314"/>
                      <a:pt x="51574" y="553018"/>
                    </a:cubicBezTo>
                    <a:cubicBezTo>
                      <a:pt x="50140" y="508145"/>
                      <a:pt x="50379" y="463272"/>
                      <a:pt x="52291" y="418400"/>
                    </a:cubicBezTo>
                    <a:cubicBezTo>
                      <a:pt x="53725" y="388325"/>
                      <a:pt x="57549" y="357774"/>
                      <a:pt x="57071" y="327699"/>
                    </a:cubicBezTo>
                    <a:cubicBezTo>
                      <a:pt x="56832" y="317436"/>
                      <a:pt x="56593" y="306695"/>
                      <a:pt x="54681" y="296432"/>
                    </a:cubicBezTo>
                    <a:cubicBezTo>
                      <a:pt x="52052" y="283543"/>
                      <a:pt x="47033" y="277814"/>
                      <a:pt x="42970" y="296909"/>
                    </a:cubicBezTo>
                    <a:cubicBezTo>
                      <a:pt x="37473" y="323164"/>
                      <a:pt x="46555" y="350136"/>
                      <a:pt x="42492" y="376869"/>
                    </a:cubicBezTo>
                    <a:cubicBezTo>
                      <a:pt x="41775" y="380926"/>
                      <a:pt x="36995" y="384029"/>
                      <a:pt x="33171" y="384029"/>
                    </a:cubicBezTo>
                    <a:cubicBezTo>
                      <a:pt x="25523" y="383790"/>
                      <a:pt x="18831" y="383074"/>
                      <a:pt x="11660" y="381165"/>
                    </a:cubicBezTo>
                    <a:cubicBezTo>
                      <a:pt x="7358" y="380210"/>
                      <a:pt x="4490" y="376152"/>
                      <a:pt x="4490" y="371856"/>
                    </a:cubicBezTo>
                    <a:cubicBezTo>
                      <a:pt x="3773" y="329370"/>
                      <a:pt x="-9133" y="273279"/>
                      <a:pt x="12377" y="233896"/>
                    </a:cubicBezTo>
                    <a:cubicBezTo>
                      <a:pt x="23611" y="213131"/>
                      <a:pt x="46077" y="207343"/>
                      <a:pt x="70306" y="207730"/>
                    </a:cubicBezTo>
                    <a:close/>
                    <a:moveTo>
                      <a:pt x="492707" y="200794"/>
                    </a:moveTo>
                    <a:cubicBezTo>
                      <a:pt x="517207" y="204076"/>
                      <a:pt x="539675" y="214695"/>
                      <a:pt x="548997" y="235338"/>
                    </a:cubicBezTo>
                    <a:cubicBezTo>
                      <a:pt x="567880" y="276863"/>
                      <a:pt x="564534" y="328650"/>
                      <a:pt x="553539" y="372084"/>
                    </a:cubicBezTo>
                    <a:cubicBezTo>
                      <a:pt x="551626" y="379482"/>
                      <a:pt x="543499" y="380198"/>
                      <a:pt x="538719" y="376618"/>
                    </a:cubicBezTo>
                    <a:cubicBezTo>
                      <a:pt x="533938" y="378288"/>
                      <a:pt x="528202" y="377572"/>
                      <a:pt x="522943" y="376379"/>
                    </a:cubicBezTo>
                    <a:cubicBezTo>
                      <a:pt x="517685" y="375186"/>
                      <a:pt x="515294" y="369697"/>
                      <a:pt x="516251" y="364686"/>
                    </a:cubicBezTo>
                    <a:cubicBezTo>
                      <a:pt x="519836" y="346071"/>
                      <a:pt x="516012" y="323638"/>
                      <a:pt x="512187" y="305501"/>
                    </a:cubicBezTo>
                    <a:cubicBezTo>
                      <a:pt x="510514" y="296910"/>
                      <a:pt x="508841" y="287125"/>
                      <a:pt x="504777" y="279011"/>
                    </a:cubicBezTo>
                    <a:cubicBezTo>
                      <a:pt x="504538" y="279727"/>
                      <a:pt x="504299" y="280204"/>
                      <a:pt x="503821" y="280920"/>
                    </a:cubicBezTo>
                    <a:cubicBezTo>
                      <a:pt x="509797" y="315524"/>
                      <a:pt x="496889" y="353946"/>
                      <a:pt x="497367" y="388312"/>
                    </a:cubicBezTo>
                    <a:cubicBezTo>
                      <a:pt x="498085" y="443439"/>
                      <a:pt x="508124" y="498328"/>
                      <a:pt x="496889" y="553217"/>
                    </a:cubicBezTo>
                    <a:cubicBezTo>
                      <a:pt x="495933" y="557274"/>
                      <a:pt x="491870" y="559661"/>
                      <a:pt x="487806" y="559899"/>
                    </a:cubicBezTo>
                    <a:cubicBezTo>
                      <a:pt x="481592" y="560377"/>
                      <a:pt x="475377" y="561570"/>
                      <a:pt x="468923" y="562286"/>
                    </a:cubicBezTo>
                    <a:cubicBezTo>
                      <a:pt x="463904" y="562763"/>
                      <a:pt x="459840" y="557513"/>
                      <a:pt x="459840" y="552979"/>
                    </a:cubicBezTo>
                    <a:cubicBezTo>
                      <a:pt x="459362" y="508829"/>
                      <a:pt x="453626" y="465156"/>
                      <a:pt x="456255" y="421006"/>
                    </a:cubicBezTo>
                    <a:cubicBezTo>
                      <a:pt x="448606" y="420052"/>
                      <a:pt x="441196" y="420290"/>
                      <a:pt x="433548" y="420768"/>
                    </a:cubicBezTo>
                    <a:cubicBezTo>
                      <a:pt x="433548" y="464679"/>
                      <a:pt x="433548" y="509067"/>
                      <a:pt x="430679" y="552979"/>
                    </a:cubicBezTo>
                    <a:cubicBezTo>
                      <a:pt x="430440" y="557752"/>
                      <a:pt x="426855" y="561809"/>
                      <a:pt x="421835" y="561809"/>
                    </a:cubicBezTo>
                    <a:cubicBezTo>
                      <a:pt x="413947" y="561570"/>
                      <a:pt x="405343" y="560138"/>
                      <a:pt x="397455" y="558945"/>
                    </a:cubicBezTo>
                    <a:cubicBezTo>
                      <a:pt x="397216" y="558945"/>
                      <a:pt x="397216" y="558945"/>
                      <a:pt x="397216" y="558945"/>
                    </a:cubicBezTo>
                    <a:cubicBezTo>
                      <a:pt x="393869" y="559422"/>
                      <a:pt x="390045" y="557513"/>
                      <a:pt x="389806" y="552979"/>
                    </a:cubicBezTo>
                    <a:cubicBezTo>
                      <a:pt x="387177" y="516704"/>
                      <a:pt x="383352" y="480191"/>
                      <a:pt x="388850" y="444155"/>
                    </a:cubicBezTo>
                    <a:cubicBezTo>
                      <a:pt x="393630" y="413847"/>
                      <a:pt x="410362" y="386402"/>
                      <a:pt x="410123" y="355378"/>
                    </a:cubicBezTo>
                    <a:cubicBezTo>
                      <a:pt x="409884" y="318149"/>
                      <a:pt x="403430" y="280920"/>
                      <a:pt x="403908" y="243930"/>
                    </a:cubicBezTo>
                    <a:cubicBezTo>
                      <a:pt x="404147" y="227940"/>
                      <a:pt x="409645" y="217678"/>
                      <a:pt x="424226" y="210280"/>
                    </a:cubicBezTo>
                    <a:cubicBezTo>
                      <a:pt x="441674" y="201570"/>
                      <a:pt x="468206" y="197513"/>
                      <a:pt x="492707" y="200794"/>
                    </a:cubicBezTo>
                    <a:close/>
                    <a:moveTo>
                      <a:pt x="292311" y="164681"/>
                    </a:moveTo>
                    <a:cubicBezTo>
                      <a:pt x="325778" y="166113"/>
                      <a:pt x="368329" y="168261"/>
                      <a:pt x="381238" y="206209"/>
                    </a:cubicBezTo>
                    <a:cubicBezTo>
                      <a:pt x="389844" y="231746"/>
                      <a:pt x="388888" y="261101"/>
                      <a:pt x="389366" y="287832"/>
                    </a:cubicBezTo>
                    <a:cubicBezTo>
                      <a:pt x="389605" y="313846"/>
                      <a:pt x="389127" y="339621"/>
                      <a:pt x="384346" y="365158"/>
                    </a:cubicBezTo>
                    <a:cubicBezTo>
                      <a:pt x="383150" y="371602"/>
                      <a:pt x="377413" y="373273"/>
                      <a:pt x="372393" y="371602"/>
                    </a:cubicBezTo>
                    <a:cubicBezTo>
                      <a:pt x="369286" y="372557"/>
                      <a:pt x="365700" y="371841"/>
                      <a:pt x="363548" y="368500"/>
                    </a:cubicBezTo>
                    <a:cubicBezTo>
                      <a:pt x="349444" y="346065"/>
                      <a:pt x="355182" y="316949"/>
                      <a:pt x="356377" y="291889"/>
                    </a:cubicBezTo>
                    <a:cubicBezTo>
                      <a:pt x="356855" y="281388"/>
                      <a:pt x="359006" y="264443"/>
                      <a:pt x="350640" y="256328"/>
                    </a:cubicBezTo>
                    <a:cubicBezTo>
                      <a:pt x="347293" y="252987"/>
                      <a:pt x="343229" y="251078"/>
                      <a:pt x="339165" y="249884"/>
                    </a:cubicBezTo>
                    <a:cubicBezTo>
                      <a:pt x="358050" y="362533"/>
                      <a:pt x="342512" y="479717"/>
                      <a:pt x="338209" y="593081"/>
                    </a:cubicBezTo>
                    <a:cubicBezTo>
                      <a:pt x="337970" y="598093"/>
                      <a:pt x="333428" y="599525"/>
                      <a:pt x="330081" y="597855"/>
                    </a:cubicBezTo>
                    <a:cubicBezTo>
                      <a:pt x="329842" y="598093"/>
                      <a:pt x="329842" y="598332"/>
                      <a:pt x="329603" y="598571"/>
                    </a:cubicBezTo>
                    <a:cubicBezTo>
                      <a:pt x="322910" y="604060"/>
                      <a:pt x="312870" y="601912"/>
                      <a:pt x="305220" y="598809"/>
                    </a:cubicBezTo>
                    <a:cubicBezTo>
                      <a:pt x="302591" y="601673"/>
                      <a:pt x="297092" y="600480"/>
                      <a:pt x="296614" y="595468"/>
                    </a:cubicBezTo>
                    <a:cubicBezTo>
                      <a:pt x="294224" y="565158"/>
                      <a:pt x="296614" y="534370"/>
                      <a:pt x="297092" y="504060"/>
                    </a:cubicBezTo>
                    <a:cubicBezTo>
                      <a:pt x="297571" y="484490"/>
                      <a:pt x="295180" y="465635"/>
                      <a:pt x="293746" y="446542"/>
                    </a:cubicBezTo>
                    <a:cubicBezTo>
                      <a:pt x="286574" y="444633"/>
                      <a:pt x="279642" y="444156"/>
                      <a:pt x="272231" y="445110"/>
                    </a:cubicBezTo>
                    <a:cubicBezTo>
                      <a:pt x="270797" y="445349"/>
                      <a:pt x="268885" y="445588"/>
                      <a:pt x="266972" y="446065"/>
                    </a:cubicBezTo>
                    <a:cubicBezTo>
                      <a:pt x="266972" y="446781"/>
                      <a:pt x="266972" y="447736"/>
                      <a:pt x="267211" y="448690"/>
                    </a:cubicBezTo>
                    <a:cubicBezTo>
                      <a:pt x="267450" y="452032"/>
                      <a:pt x="267689" y="455134"/>
                      <a:pt x="267928" y="458237"/>
                    </a:cubicBezTo>
                    <a:cubicBezTo>
                      <a:pt x="268645" y="471602"/>
                      <a:pt x="268406" y="485444"/>
                      <a:pt x="267450" y="498810"/>
                    </a:cubicBezTo>
                    <a:cubicBezTo>
                      <a:pt x="265060" y="531029"/>
                      <a:pt x="261713" y="563248"/>
                      <a:pt x="260757" y="595468"/>
                    </a:cubicBezTo>
                    <a:cubicBezTo>
                      <a:pt x="260518" y="601435"/>
                      <a:pt x="255498" y="604537"/>
                      <a:pt x="250000" y="603582"/>
                    </a:cubicBezTo>
                    <a:cubicBezTo>
                      <a:pt x="240199" y="602151"/>
                      <a:pt x="232071" y="603105"/>
                      <a:pt x="222748" y="599764"/>
                    </a:cubicBezTo>
                    <a:cubicBezTo>
                      <a:pt x="219879" y="598571"/>
                      <a:pt x="219162" y="595468"/>
                      <a:pt x="220118" y="593320"/>
                    </a:cubicBezTo>
                    <a:cubicBezTo>
                      <a:pt x="219879" y="592604"/>
                      <a:pt x="219640" y="591649"/>
                      <a:pt x="219640" y="590695"/>
                    </a:cubicBezTo>
                    <a:cubicBezTo>
                      <a:pt x="227529" y="528165"/>
                      <a:pt x="221075" y="463249"/>
                      <a:pt x="222270" y="400003"/>
                    </a:cubicBezTo>
                    <a:cubicBezTo>
                      <a:pt x="223226" y="354896"/>
                      <a:pt x="219401" y="310027"/>
                      <a:pt x="218684" y="264920"/>
                    </a:cubicBezTo>
                    <a:cubicBezTo>
                      <a:pt x="218445" y="262772"/>
                      <a:pt x="218445" y="261101"/>
                      <a:pt x="218923" y="258715"/>
                    </a:cubicBezTo>
                    <a:cubicBezTo>
                      <a:pt x="219162" y="257760"/>
                      <a:pt x="219640" y="256806"/>
                      <a:pt x="220118" y="255851"/>
                    </a:cubicBezTo>
                    <a:cubicBezTo>
                      <a:pt x="220118" y="254658"/>
                      <a:pt x="220118" y="253226"/>
                      <a:pt x="220118" y="251794"/>
                    </a:cubicBezTo>
                    <a:cubicBezTo>
                      <a:pt x="186651" y="273035"/>
                      <a:pt x="200038" y="331268"/>
                      <a:pt x="195974" y="367068"/>
                    </a:cubicBezTo>
                    <a:cubicBezTo>
                      <a:pt x="195735" y="371125"/>
                      <a:pt x="193106" y="374705"/>
                      <a:pt x="188564" y="374466"/>
                    </a:cubicBezTo>
                    <a:cubicBezTo>
                      <a:pt x="179719" y="374228"/>
                      <a:pt x="177567" y="374466"/>
                      <a:pt x="173265" y="370170"/>
                    </a:cubicBezTo>
                    <a:cubicBezTo>
                      <a:pt x="168962" y="374466"/>
                      <a:pt x="160117" y="372796"/>
                      <a:pt x="159400" y="364681"/>
                    </a:cubicBezTo>
                    <a:cubicBezTo>
                      <a:pt x="155336" y="312891"/>
                      <a:pt x="146252" y="239144"/>
                      <a:pt x="177328" y="193321"/>
                    </a:cubicBezTo>
                    <a:cubicBezTo>
                      <a:pt x="201233" y="157999"/>
                      <a:pt x="255498" y="163011"/>
                      <a:pt x="292311" y="164681"/>
                    </a:cubicBezTo>
                    <a:close/>
                    <a:moveTo>
                      <a:pt x="114779" y="76260"/>
                    </a:moveTo>
                    <a:cubicBezTo>
                      <a:pt x="126911" y="77543"/>
                      <a:pt x="138028" y="83090"/>
                      <a:pt x="145559" y="95259"/>
                    </a:cubicBezTo>
                    <a:cubicBezTo>
                      <a:pt x="146754" y="97406"/>
                      <a:pt x="147950" y="99792"/>
                      <a:pt x="148906" y="101939"/>
                    </a:cubicBezTo>
                    <a:cubicBezTo>
                      <a:pt x="156556" y="111006"/>
                      <a:pt x="161577" y="121981"/>
                      <a:pt x="162533" y="133434"/>
                    </a:cubicBezTo>
                    <a:cubicBezTo>
                      <a:pt x="165163" y="167792"/>
                      <a:pt x="139582" y="205490"/>
                      <a:pt x="102287" y="204774"/>
                    </a:cubicBezTo>
                    <a:cubicBezTo>
                      <a:pt x="74316" y="204297"/>
                      <a:pt x="50887" y="182823"/>
                      <a:pt x="44671" y="155862"/>
                    </a:cubicBezTo>
                    <a:cubicBezTo>
                      <a:pt x="38216" y="126992"/>
                      <a:pt x="48974" y="95259"/>
                      <a:pt x="77902" y="82852"/>
                    </a:cubicBezTo>
                    <a:cubicBezTo>
                      <a:pt x="89497" y="77960"/>
                      <a:pt x="102646" y="74978"/>
                      <a:pt x="114779" y="76260"/>
                    </a:cubicBezTo>
                    <a:close/>
                    <a:moveTo>
                      <a:pt x="460880" y="55561"/>
                    </a:moveTo>
                    <a:cubicBezTo>
                      <a:pt x="490576" y="55124"/>
                      <a:pt x="521987" y="80495"/>
                      <a:pt x="525572" y="110027"/>
                    </a:cubicBezTo>
                    <a:cubicBezTo>
                      <a:pt x="529634" y="144631"/>
                      <a:pt x="502630" y="176848"/>
                      <a:pt x="471802" y="181621"/>
                    </a:cubicBezTo>
                    <a:cubicBezTo>
                      <a:pt x="463677" y="184962"/>
                      <a:pt x="455312" y="186155"/>
                      <a:pt x="446948" y="183530"/>
                    </a:cubicBezTo>
                    <a:cubicBezTo>
                      <a:pt x="434761" y="179711"/>
                      <a:pt x="426396" y="170643"/>
                      <a:pt x="421139" y="159904"/>
                    </a:cubicBezTo>
                    <a:cubicBezTo>
                      <a:pt x="411580" y="146540"/>
                      <a:pt x="408473" y="128880"/>
                      <a:pt x="412297" y="112653"/>
                    </a:cubicBezTo>
                    <a:cubicBezTo>
                      <a:pt x="413253" y="94277"/>
                      <a:pt x="419466" y="76140"/>
                      <a:pt x="432849" y="65401"/>
                    </a:cubicBezTo>
                    <a:cubicBezTo>
                      <a:pt x="441273" y="58719"/>
                      <a:pt x="450981" y="55706"/>
                      <a:pt x="460880" y="55561"/>
                    </a:cubicBezTo>
                    <a:close/>
                    <a:moveTo>
                      <a:pt x="258113" y="1217"/>
                    </a:moveTo>
                    <a:cubicBezTo>
                      <a:pt x="273407" y="-1408"/>
                      <a:pt x="287984" y="262"/>
                      <a:pt x="300888" y="5751"/>
                    </a:cubicBezTo>
                    <a:cubicBezTo>
                      <a:pt x="305429" y="6705"/>
                      <a:pt x="309969" y="8375"/>
                      <a:pt x="314270" y="11000"/>
                    </a:cubicBezTo>
                    <a:cubicBezTo>
                      <a:pt x="325980" y="17682"/>
                      <a:pt x="333627" y="27465"/>
                      <a:pt x="338167" y="38919"/>
                    </a:cubicBezTo>
                    <a:cubicBezTo>
                      <a:pt x="352744" y="63498"/>
                      <a:pt x="360630" y="98814"/>
                      <a:pt x="342707" y="123870"/>
                    </a:cubicBezTo>
                    <a:cubicBezTo>
                      <a:pt x="334105" y="135801"/>
                      <a:pt x="322156" y="143437"/>
                      <a:pt x="308774" y="146300"/>
                    </a:cubicBezTo>
                    <a:cubicBezTo>
                      <a:pt x="287028" y="156800"/>
                      <a:pt x="248316" y="150834"/>
                      <a:pt x="229915" y="140335"/>
                    </a:cubicBezTo>
                    <a:cubicBezTo>
                      <a:pt x="170174" y="106450"/>
                      <a:pt x="189769" y="12193"/>
                      <a:pt x="258113" y="12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11" name="îṩļíďè">
              <a:extLst>
                <a:ext uri="{FF2B5EF4-FFF2-40B4-BE49-F238E27FC236}">
                  <a16:creationId xmlns:a16="http://schemas.microsoft.com/office/drawing/2014/main" xmlns="" id="{858BD68C-04C0-4C76-BB21-AA670AEA9AA7}"/>
                </a:ext>
              </a:extLst>
            </p:cNvPr>
            <p:cNvSpPr/>
            <p:nvPr/>
          </p:nvSpPr>
          <p:spPr>
            <a:xfrm rot="3587995">
              <a:off x="4833030" y="1811937"/>
              <a:ext cx="488196" cy="351798"/>
            </a:xfrm>
            <a:prstGeom prst="bentArrow">
              <a:avLst>
                <a:gd name="adj1" fmla="val 6094"/>
                <a:gd name="adj2" fmla="val 13500"/>
                <a:gd name="adj3" fmla="val 25000"/>
                <a:gd name="adj4" fmla="val 43750"/>
              </a:avLst>
            </a:pr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/>
            </a:p>
          </p:txBody>
        </p:sp>
        <p:sp>
          <p:nvSpPr>
            <p:cNvPr id="12" name="îsḷíďè">
              <a:extLst>
                <a:ext uri="{FF2B5EF4-FFF2-40B4-BE49-F238E27FC236}">
                  <a16:creationId xmlns:a16="http://schemas.microsoft.com/office/drawing/2014/main" xmlns="" id="{736E7B6C-B07C-4D8B-9165-DF5C3F5BB1A3}"/>
                </a:ext>
              </a:extLst>
            </p:cNvPr>
            <p:cNvSpPr/>
            <p:nvPr/>
          </p:nvSpPr>
          <p:spPr bwMode="auto">
            <a:xfrm>
              <a:off x="7432196" y="1539031"/>
              <a:ext cx="945034" cy="947534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sz="1400" b="1" i="1" dirty="0"/>
                <a:t>Text</a:t>
              </a:r>
            </a:p>
          </p:txBody>
        </p:sp>
        <p:sp>
          <p:nvSpPr>
            <p:cNvPr id="13" name="îṧḻidé">
              <a:extLst>
                <a:ext uri="{FF2B5EF4-FFF2-40B4-BE49-F238E27FC236}">
                  <a16:creationId xmlns:a16="http://schemas.microsoft.com/office/drawing/2014/main" xmlns="" id="{708AB663-798B-4A4B-AAF1-0B6A030845D1}"/>
                </a:ext>
              </a:extLst>
            </p:cNvPr>
            <p:cNvSpPr/>
            <p:nvPr/>
          </p:nvSpPr>
          <p:spPr bwMode="auto">
            <a:xfrm>
              <a:off x="8930894" y="1539031"/>
              <a:ext cx="945034" cy="947534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sz="1400" b="1" i="1" dirty="0"/>
                <a:t>Text</a:t>
              </a:r>
            </a:p>
          </p:txBody>
        </p:sp>
        <p:sp>
          <p:nvSpPr>
            <p:cNvPr id="14" name="i$1ïdé">
              <a:extLst>
                <a:ext uri="{FF2B5EF4-FFF2-40B4-BE49-F238E27FC236}">
                  <a16:creationId xmlns:a16="http://schemas.microsoft.com/office/drawing/2014/main" xmlns="" id="{65AB5F75-5271-4244-9E36-425C3D2183BB}"/>
                </a:ext>
              </a:extLst>
            </p:cNvPr>
            <p:cNvSpPr/>
            <p:nvPr/>
          </p:nvSpPr>
          <p:spPr bwMode="auto">
            <a:xfrm>
              <a:off x="10429592" y="1539031"/>
              <a:ext cx="945034" cy="947534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sz="1400" b="1" i="1" dirty="0"/>
                <a:t>Text</a:t>
              </a:r>
            </a:p>
          </p:txBody>
        </p:sp>
        <p:cxnSp>
          <p:nvCxnSpPr>
            <p:cNvPr id="15" name="直接连接符 14">
              <a:extLst>
                <a:ext uri="{FF2B5EF4-FFF2-40B4-BE49-F238E27FC236}">
                  <a16:creationId xmlns:a16="http://schemas.microsoft.com/office/drawing/2014/main" xmlns="" id="{78DC33F8-EBBA-448D-89A1-909CB129FC25}"/>
                </a:ext>
              </a:extLst>
            </p:cNvPr>
            <p:cNvCxnSpPr/>
            <p:nvPr/>
          </p:nvCxnSpPr>
          <p:spPr>
            <a:xfrm>
              <a:off x="8667750" y="1276350"/>
              <a:ext cx="0" cy="149427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xmlns="" id="{9BD373FD-E2C7-4CA6-8146-4F46E152A30E}"/>
                </a:ext>
              </a:extLst>
            </p:cNvPr>
            <p:cNvCxnSpPr/>
            <p:nvPr/>
          </p:nvCxnSpPr>
          <p:spPr>
            <a:xfrm>
              <a:off x="10134600" y="1276350"/>
              <a:ext cx="0" cy="149427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îšļîḑê">
              <a:extLst>
                <a:ext uri="{FF2B5EF4-FFF2-40B4-BE49-F238E27FC236}">
                  <a16:creationId xmlns:a16="http://schemas.microsoft.com/office/drawing/2014/main" xmlns="" id="{23D3104E-7DFB-45B5-BBF6-BEEC8622467A}"/>
                </a:ext>
              </a:extLst>
            </p:cNvPr>
            <p:cNvSpPr txBox="1"/>
            <p:nvPr/>
          </p:nvSpPr>
          <p:spPr>
            <a:xfrm flipH="1">
              <a:off x="673099" y="3640754"/>
              <a:ext cx="3508867" cy="61954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18" name="i$ľîḑê">
              <a:extLst>
                <a:ext uri="{FF2B5EF4-FFF2-40B4-BE49-F238E27FC236}">
                  <a16:creationId xmlns:a16="http://schemas.microsoft.com/office/drawing/2014/main" xmlns="" id="{47AB257C-51B4-4AC4-BB42-A1B477BDA9FA}"/>
                </a:ext>
              </a:extLst>
            </p:cNvPr>
            <p:cNvSpPr/>
            <p:nvPr/>
          </p:nvSpPr>
          <p:spPr>
            <a:xfrm flipH="1">
              <a:off x="673098" y="3105150"/>
              <a:ext cx="3508867" cy="445564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b="1" dirty="0"/>
                <a:t>Text here</a:t>
              </a:r>
              <a:endParaRPr lang="zh-CN" altLang="en-US" b="1" dirty="0"/>
            </a:p>
          </p:txBody>
        </p:sp>
        <p:sp>
          <p:nvSpPr>
            <p:cNvPr id="19" name="ïṣ1iḑè">
              <a:extLst>
                <a:ext uri="{FF2B5EF4-FFF2-40B4-BE49-F238E27FC236}">
                  <a16:creationId xmlns:a16="http://schemas.microsoft.com/office/drawing/2014/main" xmlns="" id="{78A0E3E6-B5E0-4FF4-A35A-1C78C9D31320}"/>
                </a:ext>
              </a:extLst>
            </p:cNvPr>
            <p:cNvSpPr txBox="1"/>
            <p:nvPr/>
          </p:nvSpPr>
          <p:spPr>
            <a:xfrm flipH="1">
              <a:off x="673099" y="4414667"/>
              <a:ext cx="3508867" cy="61954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20" name="i$1ídé">
              <a:extLst>
                <a:ext uri="{FF2B5EF4-FFF2-40B4-BE49-F238E27FC236}">
                  <a16:creationId xmlns:a16="http://schemas.microsoft.com/office/drawing/2014/main" xmlns="" id="{36E64A8C-5A3E-4D7A-AA20-89464F2E1AA6}"/>
                </a:ext>
              </a:extLst>
            </p:cNvPr>
            <p:cNvSpPr txBox="1"/>
            <p:nvPr/>
          </p:nvSpPr>
          <p:spPr>
            <a:xfrm flipH="1">
              <a:off x="673099" y="5188579"/>
              <a:ext cx="3508867" cy="61954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21" name="iṡḷíḓè">
              <a:extLst>
                <a:ext uri="{FF2B5EF4-FFF2-40B4-BE49-F238E27FC236}">
                  <a16:creationId xmlns:a16="http://schemas.microsoft.com/office/drawing/2014/main" xmlns="" id="{5E1B99AE-DBE9-4C03-849D-A67A96B1D4D7}"/>
                </a:ext>
              </a:extLst>
            </p:cNvPr>
            <p:cNvSpPr txBox="1"/>
            <p:nvPr/>
          </p:nvSpPr>
          <p:spPr>
            <a:xfrm flipH="1">
              <a:off x="8010034" y="3640754"/>
              <a:ext cx="3508867" cy="61954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22" name="iŝľïḓe">
              <a:extLst>
                <a:ext uri="{FF2B5EF4-FFF2-40B4-BE49-F238E27FC236}">
                  <a16:creationId xmlns:a16="http://schemas.microsoft.com/office/drawing/2014/main" xmlns="" id="{01C7CC77-E078-4698-99C9-B4A55FD650A4}"/>
                </a:ext>
              </a:extLst>
            </p:cNvPr>
            <p:cNvSpPr/>
            <p:nvPr/>
          </p:nvSpPr>
          <p:spPr>
            <a:xfrm flipH="1">
              <a:off x="8010032" y="3105150"/>
              <a:ext cx="3508867" cy="445564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en-US" altLang="zh-CN" b="1" dirty="0"/>
                <a:t>Text here</a:t>
              </a:r>
              <a:endParaRPr lang="zh-CN" altLang="en-US" b="1" dirty="0"/>
            </a:p>
          </p:txBody>
        </p:sp>
        <p:sp>
          <p:nvSpPr>
            <p:cNvPr id="23" name="ïSļïḋé">
              <a:extLst>
                <a:ext uri="{FF2B5EF4-FFF2-40B4-BE49-F238E27FC236}">
                  <a16:creationId xmlns:a16="http://schemas.microsoft.com/office/drawing/2014/main" xmlns="" id="{FBF22C0D-E775-454C-B75B-DB4661DC39E6}"/>
                </a:ext>
              </a:extLst>
            </p:cNvPr>
            <p:cNvSpPr txBox="1"/>
            <p:nvPr/>
          </p:nvSpPr>
          <p:spPr>
            <a:xfrm flipH="1">
              <a:off x="8010034" y="4414667"/>
              <a:ext cx="3508867" cy="61954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24" name="ïşlïḍè">
              <a:extLst>
                <a:ext uri="{FF2B5EF4-FFF2-40B4-BE49-F238E27FC236}">
                  <a16:creationId xmlns:a16="http://schemas.microsoft.com/office/drawing/2014/main" xmlns="" id="{9A6C3850-A4E6-4A2F-BC85-C45A98462DEE}"/>
                </a:ext>
              </a:extLst>
            </p:cNvPr>
            <p:cNvSpPr txBox="1"/>
            <p:nvPr/>
          </p:nvSpPr>
          <p:spPr>
            <a:xfrm flipH="1">
              <a:off x="8010034" y="5188579"/>
              <a:ext cx="3508867" cy="61954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1566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0EC94C2E-4C54-450B-AB61-343D43FC2F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3B940E9A-0C74-44A2-BA69-48815DE365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BB6A93A8-5753-4477-8894-6322266B1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grpSp>
        <p:nvGrpSpPr>
          <p:cNvPr id="5" name="21565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746F3E4B-AF65-4FDA-A206-7D3AF5F2F95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3100" y="1130297"/>
            <a:ext cx="10783654" cy="5016507"/>
            <a:chOff x="673100" y="1130300"/>
            <a:chExt cx="10783638" cy="5016500"/>
          </a:xfrm>
        </p:grpSpPr>
        <p:grpSp>
          <p:nvGrpSpPr>
            <p:cNvPr id="6" name="îśļïďé">
              <a:extLst>
                <a:ext uri="{FF2B5EF4-FFF2-40B4-BE49-F238E27FC236}">
                  <a16:creationId xmlns:a16="http://schemas.microsoft.com/office/drawing/2014/main" xmlns="" id="{895CE14E-A52E-4279-9A42-49940FA1E9D2}"/>
                </a:ext>
              </a:extLst>
            </p:cNvPr>
            <p:cNvGrpSpPr/>
            <p:nvPr/>
          </p:nvGrpSpPr>
          <p:grpSpPr>
            <a:xfrm>
              <a:off x="2808054" y="1148928"/>
              <a:ext cx="8648684" cy="4997872"/>
              <a:chOff x="1771650" y="1139614"/>
              <a:chExt cx="8648684" cy="4997872"/>
            </a:xfrm>
          </p:grpSpPr>
          <p:grpSp>
            <p:nvGrpSpPr>
              <p:cNvPr id="28" name="iSļîḋé">
                <a:extLst>
                  <a:ext uri="{FF2B5EF4-FFF2-40B4-BE49-F238E27FC236}">
                    <a16:creationId xmlns:a16="http://schemas.microsoft.com/office/drawing/2014/main" xmlns="" id="{16F1D49E-5709-4C59-B525-D91D769291B0}"/>
                  </a:ext>
                </a:extLst>
              </p:cNvPr>
              <p:cNvGrpSpPr/>
              <p:nvPr/>
            </p:nvGrpSpPr>
            <p:grpSpPr>
              <a:xfrm>
                <a:off x="9330699" y="1139614"/>
                <a:ext cx="1089635" cy="662275"/>
                <a:chOff x="10190992" y="274455"/>
                <a:chExt cx="1425853" cy="866628"/>
              </a:xfrm>
            </p:grpSpPr>
            <p:sp>
              <p:nvSpPr>
                <p:cNvPr id="34" name="ïṣlíďè">
                  <a:extLst>
                    <a:ext uri="{FF2B5EF4-FFF2-40B4-BE49-F238E27FC236}">
                      <a16:creationId xmlns:a16="http://schemas.microsoft.com/office/drawing/2014/main" xmlns="" id="{1A97F63F-36DB-4912-AFD8-408DE3B6D0B8}"/>
                    </a:ext>
                  </a:extLst>
                </p:cNvPr>
                <p:cNvSpPr/>
                <p:nvPr/>
              </p:nvSpPr>
              <p:spPr bwMode="auto">
                <a:xfrm rot="1406646">
                  <a:off x="10190992" y="388508"/>
                  <a:ext cx="246063" cy="241300"/>
                </a:xfrm>
                <a:custGeom>
                  <a:avLst/>
                  <a:gdLst>
                    <a:gd name="T0" fmla="*/ 92 w 117"/>
                    <a:gd name="T1" fmla="*/ 115 h 115"/>
                    <a:gd name="T2" fmla="*/ 109 w 117"/>
                    <a:gd name="T3" fmla="*/ 109 h 115"/>
                    <a:gd name="T4" fmla="*/ 109 w 117"/>
                    <a:gd name="T5" fmla="*/ 76 h 115"/>
                    <a:gd name="T6" fmla="*/ 41 w 117"/>
                    <a:gd name="T7" fmla="*/ 9 h 115"/>
                    <a:gd name="T8" fmla="*/ 9 w 117"/>
                    <a:gd name="T9" fmla="*/ 9 h 115"/>
                    <a:gd name="T10" fmla="*/ 9 w 117"/>
                    <a:gd name="T11" fmla="*/ 41 h 115"/>
                    <a:gd name="T12" fmla="*/ 76 w 117"/>
                    <a:gd name="T13" fmla="*/ 109 h 115"/>
                    <a:gd name="T14" fmla="*/ 92 w 117"/>
                    <a:gd name="T15" fmla="*/ 115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17" h="115">
                      <a:moveTo>
                        <a:pt x="92" y="115"/>
                      </a:moveTo>
                      <a:cubicBezTo>
                        <a:pt x="99" y="115"/>
                        <a:pt x="104" y="113"/>
                        <a:pt x="109" y="109"/>
                      </a:cubicBezTo>
                      <a:cubicBezTo>
                        <a:pt x="117" y="100"/>
                        <a:pt x="117" y="85"/>
                        <a:pt x="109" y="76"/>
                      </a:cubicBezTo>
                      <a:lnTo>
                        <a:pt x="41" y="9"/>
                      </a:lnTo>
                      <a:cubicBezTo>
                        <a:pt x="33" y="0"/>
                        <a:pt x="17" y="0"/>
                        <a:pt x="9" y="9"/>
                      </a:cubicBezTo>
                      <a:cubicBezTo>
                        <a:pt x="0" y="18"/>
                        <a:pt x="0" y="32"/>
                        <a:pt x="9" y="41"/>
                      </a:cubicBezTo>
                      <a:lnTo>
                        <a:pt x="76" y="109"/>
                      </a:lnTo>
                      <a:cubicBezTo>
                        <a:pt x="80" y="114"/>
                        <a:pt x="86" y="115"/>
                        <a:pt x="92" y="115"/>
                      </a:cubicBezTo>
                      <a:close/>
                    </a:path>
                  </a:pathLst>
                </a:custGeom>
                <a:solidFill>
                  <a:srgbClr val="F8D35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35" name="ïŝľîďê">
                  <a:extLst>
                    <a:ext uri="{FF2B5EF4-FFF2-40B4-BE49-F238E27FC236}">
                      <a16:creationId xmlns:a16="http://schemas.microsoft.com/office/drawing/2014/main" xmlns="" id="{4A0256AF-78BE-4D3A-84D9-C7B47973EB7C}"/>
                    </a:ext>
                  </a:extLst>
                </p:cNvPr>
                <p:cNvSpPr/>
                <p:nvPr/>
              </p:nvSpPr>
              <p:spPr bwMode="auto">
                <a:xfrm rot="1406646">
                  <a:off x="11369195" y="899783"/>
                  <a:ext cx="247650" cy="241300"/>
                </a:xfrm>
                <a:custGeom>
                  <a:avLst/>
                  <a:gdLst>
                    <a:gd name="T0" fmla="*/ 109 w 118"/>
                    <a:gd name="T1" fmla="*/ 9 h 115"/>
                    <a:gd name="T2" fmla="*/ 77 w 118"/>
                    <a:gd name="T3" fmla="*/ 9 h 115"/>
                    <a:gd name="T4" fmla="*/ 9 w 118"/>
                    <a:gd name="T5" fmla="*/ 76 h 115"/>
                    <a:gd name="T6" fmla="*/ 9 w 118"/>
                    <a:gd name="T7" fmla="*/ 109 h 115"/>
                    <a:gd name="T8" fmla="*/ 25 w 118"/>
                    <a:gd name="T9" fmla="*/ 115 h 115"/>
                    <a:gd name="T10" fmla="*/ 42 w 118"/>
                    <a:gd name="T11" fmla="*/ 109 h 115"/>
                    <a:gd name="T12" fmla="*/ 109 w 118"/>
                    <a:gd name="T13" fmla="*/ 41 h 115"/>
                    <a:gd name="T14" fmla="*/ 109 w 118"/>
                    <a:gd name="T15" fmla="*/ 9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18" h="115">
                      <a:moveTo>
                        <a:pt x="109" y="9"/>
                      </a:moveTo>
                      <a:cubicBezTo>
                        <a:pt x="100" y="0"/>
                        <a:pt x="85" y="0"/>
                        <a:pt x="77" y="9"/>
                      </a:cubicBezTo>
                      <a:lnTo>
                        <a:pt x="9" y="76"/>
                      </a:lnTo>
                      <a:cubicBezTo>
                        <a:pt x="0" y="85"/>
                        <a:pt x="0" y="100"/>
                        <a:pt x="9" y="109"/>
                      </a:cubicBezTo>
                      <a:cubicBezTo>
                        <a:pt x="14" y="114"/>
                        <a:pt x="19" y="115"/>
                        <a:pt x="25" y="115"/>
                      </a:cubicBezTo>
                      <a:cubicBezTo>
                        <a:pt x="32" y="115"/>
                        <a:pt x="37" y="113"/>
                        <a:pt x="42" y="109"/>
                      </a:cubicBezTo>
                      <a:lnTo>
                        <a:pt x="109" y="41"/>
                      </a:lnTo>
                      <a:cubicBezTo>
                        <a:pt x="118" y="31"/>
                        <a:pt x="118" y="18"/>
                        <a:pt x="109" y="9"/>
                      </a:cubicBezTo>
                      <a:close/>
                    </a:path>
                  </a:pathLst>
                </a:custGeom>
                <a:solidFill>
                  <a:srgbClr val="F8D35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36" name="îsļïde">
                  <a:extLst>
                    <a:ext uri="{FF2B5EF4-FFF2-40B4-BE49-F238E27FC236}">
                      <a16:creationId xmlns:a16="http://schemas.microsoft.com/office/drawing/2014/main" xmlns="" id="{1AD0293D-0707-4665-AF58-61D56928DE5D}"/>
                    </a:ext>
                  </a:extLst>
                </p:cNvPr>
                <p:cNvSpPr/>
                <p:nvPr/>
              </p:nvSpPr>
              <p:spPr bwMode="auto">
                <a:xfrm rot="1406646">
                  <a:off x="10684246" y="274455"/>
                  <a:ext cx="177800" cy="319088"/>
                </a:xfrm>
                <a:custGeom>
                  <a:avLst/>
                  <a:gdLst>
                    <a:gd name="T0" fmla="*/ 38 w 85"/>
                    <a:gd name="T1" fmla="*/ 135 h 152"/>
                    <a:gd name="T2" fmla="*/ 59 w 85"/>
                    <a:gd name="T3" fmla="*/ 152 h 152"/>
                    <a:gd name="T4" fmla="*/ 67 w 85"/>
                    <a:gd name="T5" fmla="*/ 150 h 152"/>
                    <a:gd name="T6" fmla="*/ 82 w 85"/>
                    <a:gd name="T7" fmla="*/ 122 h 152"/>
                    <a:gd name="T8" fmla="*/ 48 w 85"/>
                    <a:gd name="T9" fmla="*/ 19 h 152"/>
                    <a:gd name="T10" fmla="*/ 19 w 85"/>
                    <a:gd name="T11" fmla="*/ 4 h 152"/>
                    <a:gd name="T12" fmla="*/ 4 w 85"/>
                    <a:gd name="T13" fmla="*/ 33 h 152"/>
                    <a:gd name="T14" fmla="*/ 38 w 85"/>
                    <a:gd name="T15" fmla="*/ 135 h 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5" h="152">
                      <a:moveTo>
                        <a:pt x="38" y="135"/>
                      </a:moveTo>
                      <a:cubicBezTo>
                        <a:pt x="42" y="145"/>
                        <a:pt x="51" y="152"/>
                        <a:pt x="59" y="152"/>
                      </a:cubicBezTo>
                      <a:cubicBezTo>
                        <a:pt x="62" y="152"/>
                        <a:pt x="64" y="152"/>
                        <a:pt x="67" y="150"/>
                      </a:cubicBezTo>
                      <a:cubicBezTo>
                        <a:pt x="79" y="147"/>
                        <a:pt x="85" y="133"/>
                        <a:pt x="82" y="122"/>
                      </a:cubicBezTo>
                      <a:lnTo>
                        <a:pt x="48" y="19"/>
                      </a:lnTo>
                      <a:cubicBezTo>
                        <a:pt x="44" y="7"/>
                        <a:pt x="30" y="0"/>
                        <a:pt x="19" y="4"/>
                      </a:cubicBezTo>
                      <a:cubicBezTo>
                        <a:pt x="7" y="8"/>
                        <a:pt x="0" y="22"/>
                        <a:pt x="4" y="33"/>
                      </a:cubicBezTo>
                      <a:lnTo>
                        <a:pt x="38" y="135"/>
                      </a:lnTo>
                      <a:close/>
                    </a:path>
                  </a:pathLst>
                </a:custGeom>
                <a:solidFill>
                  <a:srgbClr val="F8D35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37" name="iṩľíḍé">
                  <a:extLst>
                    <a:ext uri="{FF2B5EF4-FFF2-40B4-BE49-F238E27FC236}">
                      <a16:creationId xmlns:a16="http://schemas.microsoft.com/office/drawing/2014/main" xmlns="" id="{FF1732E7-2488-48F7-9847-1BE2D18F64EE}"/>
                    </a:ext>
                  </a:extLst>
                </p:cNvPr>
                <p:cNvSpPr/>
                <p:nvPr/>
              </p:nvSpPr>
              <p:spPr bwMode="auto">
                <a:xfrm rot="1406646">
                  <a:off x="11142712" y="474928"/>
                  <a:ext cx="177800" cy="317500"/>
                </a:xfrm>
                <a:custGeom>
                  <a:avLst/>
                  <a:gdLst>
                    <a:gd name="T0" fmla="*/ 19 w 85"/>
                    <a:gd name="T1" fmla="*/ 150 h 151"/>
                    <a:gd name="T2" fmla="*/ 26 w 85"/>
                    <a:gd name="T3" fmla="*/ 151 h 151"/>
                    <a:gd name="T4" fmla="*/ 47 w 85"/>
                    <a:gd name="T5" fmla="*/ 135 h 151"/>
                    <a:gd name="T6" fmla="*/ 81 w 85"/>
                    <a:gd name="T7" fmla="*/ 32 h 151"/>
                    <a:gd name="T8" fmla="*/ 66 w 85"/>
                    <a:gd name="T9" fmla="*/ 3 h 151"/>
                    <a:gd name="T10" fmla="*/ 37 w 85"/>
                    <a:gd name="T11" fmla="*/ 18 h 151"/>
                    <a:gd name="T12" fmla="*/ 4 w 85"/>
                    <a:gd name="T13" fmla="*/ 121 h 151"/>
                    <a:gd name="T14" fmla="*/ 19 w 85"/>
                    <a:gd name="T15" fmla="*/ 150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5" h="151">
                      <a:moveTo>
                        <a:pt x="19" y="150"/>
                      </a:moveTo>
                      <a:cubicBezTo>
                        <a:pt x="21" y="151"/>
                        <a:pt x="24" y="151"/>
                        <a:pt x="26" y="151"/>
                      </a:cubicBezTo>
                      <a:cubicBezTo>
                        <a:pt x="36" y="151"/>
                        <a:pt x="45" y="145"/>
                        <a:pt x="47" y="135"/>
                      </a:cubicBezTo>
                      <a:lnTo>
                        <a:pt x="81" y="32"/>
                      </a:lnTo>
                      <a:cubicBezTo>
                        <a:pt x="85" y="20"/>
                        <a:pt x="79" y="7"/>
                        <a:pt x="66" y="3"/>
                      </a:cubicBezTo>
                      <a:cubicBezTo>
                        <a:pt x="54" y="0"/>
                        <a:pt x="41" y="6"/>
                        <a:pt x="37" y="18"/>
                      </a:cubicBezTo>
                      <a:lnTo>
                        <a:pt x="4" y="121"/>
                      </a:lnTo>
                      <a:cubicBezTo>
                        <a:pt x="0" y="132"/>
                        <a:pt x="6" y="146"/>
                        <a:pt x="19" y="150"/>
                      </a:cubicBezTo>
                      <a:close/>
                    </a:path>
                  </a:pathLst>
                </a:custGeom>
                <a:solidFill>
                  <a:srgbClr val="F8D35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</p:grpSp>
          <p:grpSp>
            <p:nvGrpSpPr>
              <p:cNvPr id="29" name="íṩ1íďe">
                <a:extLst>
                  <a:ext uri="{FF2B5EF4-FFF2-40B4-BE49-F238E27FC236}">
                    <a16:creationId xmlns:a16="http://schemas.microsoft.com/office/drawing/2014/main" xmlns="" id="{BD1E5E93-39EC-4EE3-AFF0-55F35E63869E}"/>
                  </a:ext>
                </a:extLst>
              </p:cNvPr>
              <p:cNvGrpSpPr/>
              <p:nvPr/>
            </p:nvGrpSpPr>
            <p:grpSpPr>
              <a:xfrm>
                <a:off x="9098018" y="1491722"/>
                <a:ext cx="960426" cy="1515938"/>
                <a:chOff x="9886497" y="735208"/>
                <a:chExt cx="1256773" cy="1983693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31" name="íŝļïḓé">
                  <a:extLst>
                    <a:ext uri="{FF2B5EF4-FFF2-40B4-BE49-F238E27FC236}">
                      <a16:creationId xmlns:a16="http://schemas.microsoft.com/office/drawing/2014/main" xmlns="" id="{BF844299-B035-4EAD-B5D1-CB62CBE5D6B4}"/>
                    </a:ext>
                  </a:extLst>
                </p:cNvPr>
                <p:cNvSpPr/>
                <p:nvPr/>
              </p:nvSpPr>
              <p:spPr bwMode="auto">
                <a:xfrm rot="1406646">
                  <a:off x="9886497" y="2367977"/>
                  <a:ext cx="534988" cy="244475"/>
                </a:xfrm>
                <a:custGeom>
                  <a:avLst/>
                  <a:gdLst>
                    <a:gd name="T0" fmla="*/ 223 w 255"/>
                    <a:gd name="T1" fmla="*/ 3 h 116"/>
                    <a:gd name="T2" fmla="*/ 19 w 255"/>
                    <a:gd name="T3" fmla="*/ 71 h 116"/>
                    <a:gd name="T4" fmla="*/ 4 w 255"/>
                    <a:gd name="T5" fmla="*/ 100 h 116"/>
                    <a:gd name="T6" fmla="*/ 25 w 255"/>
                    <a:gd name="T7" fmla="*/ 116 h 116"/>
                    <a:gd name="T8" fmla="*/ 33 w 255"/>
                    <a:gd name="T9" fmla="*/ 115 h 116"/>
                    <a:gd name="T10" fmla="*/ 236 w 255"/>
                    <a:gd name="T11" fmla="*/ 47 h 116"/>
                    <a:gd name="T12" fmla="*/ 251 w 255"/>
                    <a:gd name="T13" fmla="*/ 18 h 116"/>
                    <a:gd name="T14" fmla="*/ 223 w 255"/>
                    <a:gd name="T15" fmla="*/ 3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55" h="116">
                      <a:moveTo>
                        <a:pt x="223" y="3"/>
                      </a:moveTo>
                      <a:lnTo>
                        <a:pt x="19" y="71"/>
                      </a:lnTo>
                      <a:cubicBezTo>
                        <a:pt x="6" y="75"/>
                        <a:pt x="0" y="88"/>
                        <a:pt x="4" y="100"/>
                      </a:cubicBezTo>
                      <a:cubicBezTo>
                        <a:pt x="8" y="110"/>
                        <a:pt x="17" y="116"/>
                        <a:pt x="25" y="116"/>
                      </a:cubicBezTo>
                      <a:cubicBezTo>
                        <a:pt x="28" y="116"/>
                        <a:pt x="30" y="116"/>
                        <a:pt x="33" y="115"/>
                      </a:cubicBezTo>
                      <a:lnTo>
                        <a:pt x="236" y="47"/>
                      </a:lnTo>
                      <a:cubicBezTo>
                        <a:pt x="249" y="43"/>
                        <a:pt x="255" y="30"/>
                        <a:pt x="251" y="18"/>
                      </a:cubicBezTo>
                      <a:cubicBezTo>
                        <a:pt x="248" y="6"/>
                        <a:pt x="235" y="0"/>
                        <a:pt x="223" y="3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32" name="ïṩlïḍé">
                  <a:extLst>
                    <a:ext uri="{FF2B5EF4-FFF2-40B4-BE49-F238E27FC236}">
                      <a16:creationId xmlns:a16="http://schemas.microsoft.com/office/drawing/2014/main" xmlns="" id="{B104890B-614F-4974-9E17-3E5C58EE1E6C}"/>
                    </a:ext>
                  </a:extLst>
                </p:cNvPr>
                <p:cNvSpPr/>
                <p:nvPr/>
              </p:nvSpPr>
              <p:spPr bwMode="auto">
                <a:xfrm rot="1406646">
                  <a:off x="9897427" y="2523638"/>
                  <a:ext cx="387350" cy="195263"/>
                </a:xfrm>
                <a:custGeom>
                  <a:avLst/>
                  <a:gdLst>
                    <a:gd name="T0" fmla="*/ 151 w 184"/>
                    <a:gd name="T1" fmla="*/ 4 h 93"/>
                    <a:gd name="T2" fmla="*/ 19 w 184"/>
                    <a:gd name="T3" fmla="*/ 47 h 93"/>
                    <a:gd name="T4" fmla="*/ 4 w 184"/>
                    <a:gd name="T5" fmla="*/ 76 h 93"/>
                    <a:gd name="T6" fmla="*/ 25 w 184"/>
                    <a:gd name="T7" fmla="*/ 93 h 93"/>
                    <a:gd name="T8" fmla="*/ 32 w 184"/>
                    <a:gd name="T9" fmla="*/ 91 h 93"/>
                    <a:gd name="T10" fmla="*/ 165 w 184"/>
                    <a:gd name="T11" fmla="*/ 47 h 93"/>
                    <a:gd name="T12" fmla="*/ 180 w 184"/>
                    <a:gd name="T13" fmla="*/ 19 h 93"/>
                    <a:gd name="T14" fmla="*/ 151 w 184"/>
                    <a:gd name="T15" fmla="*/ 4 h 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84" h="93">
                      <a:moveTo>
                        <a:pt x="151" y="4"/>
                      </a:moveTo>
                      <a:lnTo>
                        <a:pt x="19" y="47"/>
                      </a:lnTo>
                      <a:cubicBezTo>
                        <a:pt x="6" y="51"/>
                        <a:pt x="0" y="65"/>
                        <a:pt x="4" y="76"/>
                      </a:cubicBezTo>
                      <a:cubicBezTo>
                        <a:pt x="7" y="86"/>
                        <a:pt x="16" y="93"/>
                        <a:pt x="25" y="93"/>
                      </a:cubicBezTo>
                      <a:cubicBezTo>
                        <a:pt x="27" y="93"/>
                        <a:pt x="30" y="93"/>
                        <a:pt x="32" y="91"/>
                      </a:cubicBezTo>
                      <a:lnTo>
                        <a:pt x="165" y="47"/>
                      </a:lnTo>
                      <a:cubicBezTo>
                        <a:pt x="177" y="44"/>
                        <a:pt x="184" y="30"/>
                        <a:pt x="180" y="19"/>
                      </a:cubicBezTo>
                      <a:cubicBezTo>
                        <a:pt x="177" y="6"/>
                        <a:pt x="164" y="0"/>
                        <a:pt x="151" y="4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33" name="iṧḷîḋê">
                  <a:extLst>
                    <a:ext uri="{FF2B5EF4-FFF2-40B4-BE49-F238E27FC236}">
                      <a16:creationId xmlns:a16="http://schemas.microsoft.com/office/drawing/2014/main" xmlns="" id="{D4028847-83B2-43A1-9587-20E9DA91D87D}"/>
                    </a:ext>
                  </a:extLst>
                </p:cNvPr>
                <p:cNvSpPr/>
                <p:nvPr/>
              </p:nvSpPr>
              <p:spPr bwMode="auto">
                <a:xfrm rot="1406646">
                  <a:off x="9903432" y="735208"/>
                  <a:ext cx="1239838" cy="1814513"/>
                </a:xfrm>
                <a:custGeom>
                  <a:avLst/>
                  <a:gdLst>
                    <a:gd name="T0" fmla="*/ 0 w 590"/>
                    <a:gd name="T1" fmla="*/ 295 h 863"/>
                    <a:gd name="T2" fmla="*/ 170 w 590"/>
                    <a:gd name="T3" fmla="*/ 772 h 863"/>
                    <a:gd name="T4" fmla="*/ 255 w 590"/>
                    <a:gd name="T5" fmla="*/ 794 h 863"/>
                    <a:gd name="T6" fmla="*/ 170 w 590"/>
                    <a:gd name="T7" fmla="*/ 847 h 863"/>
                    <a:gd name="T8" fmla="*/ 199 w 590"/>
                    <a:gd name="T9" fmla="*/ 862 h 863"/>
                    <a:gd name="T10" fmla="*/ 404 w 590"/>
                    <a:gd name="T11" fmla="*/ 794 h 863"/>
                    <a:gd name="T12" fmla="*/ 407 w 590"/>
                    <a:gd name="T13" fmla="*/ 792 h 863"/>
                    <a:gd name="T14" fmla="*/ 410 w 590"/>
                    <a:gd name="T15" fmla="*/ 789 h 863"/>
                    <a:gd name="T16" fmla="*/ 412 w 590"/>
                    <a:gd name="T17" fmla="*/ 786 h 863"/>
                    <a:gd name="T18" fmla="*/ 415 w 590"/>
                    <a:gd name="T19" fmla="*/ 783 h 863"/>
                    <a:gd name="T20" fmla="*/ 417 w 590"/>
                    <a:gd name="T21" fmla="*/ 778 h 863"/>
                    <a:gd name="T22" fmla="*/ 417 w 590"/>
                    <a:gd name="T23" fmla="*/ 773 h 863"/>
                    <a:gd name="T24" fmla="*/ 498 w 590"/>
                    <a:gd name="T25" fmla="*/ 545 h 863"/>
                    <a:gd name="T26" fmla="*/ 295 w 590"/>
                    <a:gd name="T27" fmla="*/ 0 h 863"/>
                    <a:gd name="T28" fmla="*/ 379 w 590"/>
                    <a:gd name="T29" fmla="*/ 658 h 863"/>
                    <a:gd name="T30" fmla="*/ 349 w 590"/>
                    <a:gd name="T31" fmla="*/ 658 h 863"/>
                    <a:gd name="T32" fmla="*/ 364 w 590"/>
                    <a:gd name="T33" fmla="*/ 435 h 863"/>
                    <a:gd name="T34" fmla="*/ 344 w 590"/>
                    <a:gd name="T35" fmla="*/ 461 h 863"/>
                    <a:gd name="T36" fmla="*/ 315 w 590"/>
                    <a:gd name="T37" fmla="*/ 454 h 863"/>
                    <a:gd name="T38" fmla="*/ 310 w 590"/>
                    <a:gd name="T39" fmla="*/ 462 h 863"/>
                    <a:gd name="T40" fmla="*/ 281 w 590"/>
                    <a:gd name="T41" fmla="*/ 454 h 863"/>
                    <a:gd name="T42" fmla="*/ 276 w 590"/>
                    <a:gd name="T43" fmla="*/ 462 h 863"/>
                    <a:gd name="T44" fmla="*/ 247 w 590"/>
                    <a:gd name="T45" fmla="*/ 454 h 863"/>
                    <a:gd name="T46" fmla="*/ 242 w 590"/>
                    <a:gd name="T47" fmla="*/ 462 h 863"/>
                    <a:gd name="T48" fmla="*/ 213 w 590"/>
                    <a:gd name="T49" fmla="*/ 454 h 863"/>
                    <a:gd name="T50" fmla="*/ 188 w 590"/>
                    <a:gd name="T51" fmla="*/ 435 h 863"/>
                    <a:gd name="T52" fmla="*/ 230 w 590"/>
                    <a:gd name="T53" fmla="*/ 673 h 863"/>
                    <a:gd name="T54" fmla="*/ 215 w 590"/>
                    <a:gd name="T55" fmla="*/ 658 h 863"/>
                    <a:gd name="T56" fmla="*/ 149 w 590"/>
                    <a:gd name="T57" fmla="*/ 412 h 863"/>
                    <a:gd name="T58" fmla="*/ 230 w 590"/>
                    <a:gd name="T59" fmla="*/ 404 h 863"/>
                    <a:gd name="T60" fmla="*/ 250 w 590"/>
                    <a:gd name="T61" fmla="*/ 378 h 863"/>
                    <a:gd name="T62" fmla="*/ 279 w 590"/>
                    <a:gd name="T63" fmla="*/ 385 h 863"/>
                    <a:gd name="T64" fmla="*/ 284 w 590"/>
                    <a:gd name="T65" fmla="*/ 378 h 863"/>
                    <a:gd name="T66" fmla="*/ 312 w 590"/>
                    <a:gd name="T67" fmla="*/ 385 h 863"/>
                    <a:gd name="T68" fmla="*/ 317 w 590"/>
                    <a:gd name="T69" fmla="*/ 378 h 863"/>
                    <a:gd name="T70" fmla="*/ 346 w 590"/>
                    <a:gd name="T71" fmla="*/ 385 h 863"/>
                    <a:gd name="T72" fmla="*/ 351 w 590"/>
                    <a:gd name="T73" fmla="*/ 378 h 863"/>
                    <a:gd name="T74" fmla="*/ 380 w 590"/>
                    <a:gd name="T75" fmla="*/ 385 h 863"/>
                    <a:gd name="T76" fmla="*/ 432 w 590"/>
                    <a:gd name="T77" fmla="*/ 404 h 863"/>
                    <a:gd name="T78" fmla="*/ 444 w 590"/>
                    <a:gd name="T79" fmla="*/ 428 h 863"/>
                    <a:gd name="T80" fmla="*/ 532 w 590"/>
                    <a:gd name="T81" fmla="*/ 260 h 8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590" h="863">
                      <a:moveTo>
                        <a:pt x="295" y="0"/>
                      </a:moveTo>
                      <a:cubicBezTo>
                        <a:pt x="140" y="0"/>
                        <a:pt x="0" y="142"/>
                        <a:pt x="0" y="295"/>
                      </a:cubicBezTo>
                      <a:cubicBezTo>
                        <a:pt x="0" y="404"/>
                        <a:pt x="45" y="475"/>
                        <a:pt x="89" y="545"/>
                      </a:cubicBezTo>
                      <a:cubicBezTo>
                        <a:pt x="131" y="613"/>
                        <a:pt x="170" y="675"/>
                        <a:pt x="170" y="772"/>
                      </a:cubicBezTo>
                      <a:cubicBezTo>
                        <a:pt x="170" y="784"/>
                        <a:pt x="180" y="794"/>
                        <a:pt x="192" y="794"/>
                      </a:cubicBezTo>
                      <a:lnTo>
                        <a:pt x="255" y="794"/>
                      </a:lnTo>
                      <a:lnTo>
                        <a:pt x="185" y="818"/>
                      </a:lnTo>
                      <a:cubicBezTo>
                        <a:pt x="172" y="822"/>
                        <a:pt x="166" y="835"/>
                        <a:pt x="170" y="847"/>
                      </a:cubicBezTo>
                      <a:cubicBezTo>
                        <a:pt x="174" y="857"/>
                        <a:pt x="182" y="863"/>
                        <a:pt x="191" y="863"/>
                      </a:cubicBezTo>
                      <a:cubicBezTo>
                        <a:pt x="194" y="863"/>
                        <a:pt x="196" y="863"/>
                        <a:pt x="199" y="862"/>
                      </a:cubicBezTo>
                      <a:lnTo>
                        <a:pt x="402" y="794"/>
                      </a:lnTo>
                      <a:lnTo>
                        <a:pt x="404" y="794"/>
                      </a:lnTo>
                      <a:cubicBezTo>
                        <a:pt x="405" y="794"/>
                        <a:pt x="405" y="793"/>
                        <a:pt x="406" y="793"/>
                      </a:cubicBezTo>
                      <a:cubicBezTo>
                        <a:pt x="407" y="793"/>
                        <a:pt x="407" y="792"/>
                        <a:pt x="407" y="792"/>
                      </a:cubicBezTo>
                      <a:cubicBezTo>
                        <a:pt x="409" y="792"/>
                        <a:pt x="409" y="790"/>
                        <a:pt x="409" y="790"/>
                      </a:cubicBezTo>
                      <a:lnTo>
                        <a:pt x="410" y="789"/>
                      </a:lnTo>
                      <a:lnTo>
                        <a:pt x="411" y="788"/>
                      </a:lnTo>
                      <a:lnTo>
                        <a:pt x="412" y="786"/>
                      </a:lnTo>
                      <a:cubicBezTo>
                        <a:pt x="412" y="785"/>
                        <a:pt x="413" y="785"/>
                        <a:pt x="413" y="784"/>
                      </a:cubicBezTo>
                      <a:lnTo>
                        <a:pt x="415" y="783"/>
                      </a:lnTo>
                      <a:cubicBezTo>
                        <a:pt x="415" y="781"/>
                        <a:pt x="415" y="781"/>
                        <a:pt x="416" y="780"/>
                      </a:cubicBezTo>
                      <a:cubicBezTo>
                        <a:pt x="416" y="779"/>
                        <a:pt x="416" y="779"/>
                        <a:pt x="417" y="778"/>
                      </a:cubicBezTo>
                      <a:lnTo>
                        <a:pt x="417" y="775"/>
                      </a:lnTo>
                      <a:lnTo>
                        <a:pt x="417" y="773"/>
                      </a:lnTo>
                      <a:lnTo>
                        <a:pt x="417" y="771"/>
                      </a:lnTo>
                      <a:cubicBezTo>
                        <a:pt x="417" y="676"/>
                        <a:pt x="457" y="613"/>
                        <a:pt x="498" y="545"/>
                      </a:cubicBezTo>
                      <a:cubicBezTo>
                        <a:pt x="542" y="475"/>
                        <a:pt x="587" y="404"/>
                        <a:pt x="587" y="295"/>
                      </a:cubicBezTo>
                      <a:cubicBezTo>
                        <a:pt x="590" y="140"/>
                        <a:pt x="450" y="0"/>
                        <a:pt x="295" y="0"/>
                      </a:cubicBezTo>
                      <a:close/>
                      <a:moveTo>
                        <a:pt x="444" y="428"/>
                      </a:moveTo>
                      <a:cubicBezTo>
                        <a:pt x="379" y="525"/>
                        <a:pt x="379" y="657"/>
                        <a:pt x="379" y="658"/>
                      </a:cubicBezTo>
                      <a:cubicBezTo>
                        <a:pt x="379" y="666"/>
                        <a:pt x="371" y="673"/>
                        <a:pt x="364" y="673"/>
                      </a:cubicBezTo>
                      <a:cubicBezTo>
                        <a:pt x="355" y="673"/>
                        <a:pt x="349" y="665"/>
                        <a:pt x="349" y="658"/>
                      </a:cubicBezTo>
                      <a:cubicBezTo>
                        <a:pt x="349" y="653"/>
                        <a:pt x="350" y="535"/>
                        <a:pt x="405" y="435"/>
                      </a:cubicBezTo>
                      <a:lnTo>
                        <a:pt x="364" y="435"/>
                      </a:lnTo>
                      <a:cubicBezTo>
                        <a:pt x="361" y="435"/>
                        <a:pt x="359" y="435"/>
                        <a:pt x="357" y="434"/>
                      </a:cubicBezTo>
                      <a:lnTo>
                        <a:pt x="344" y="461"/>
                      </a:lnTo>
                      <a:cubicBezTo>
                        <a:pt x="340" y="468"/>
                        <a:pt x="334" y="471"/>
                        <a:pt x="326" y="469"/>
                      </a:cubicBezTo>
                      <a:cubicBezTo>
                        <a:pt x="319" y="468"/>
                        <a:pt x="315" y="461"/>
                        <a:pt x="315" y="454"/>
                      </a:cubicBezTo>
                      <a:lnTo>
                        <a:pt x="315" y="451"/>
                      </a:lnTo>
                      <a:lnTo>
                        <a:pt x="310" y="462"/>
                      </a:lnTo>
                      <a:cubicBezTo>
                        <a:pt x="306" y="468"/>
                        <a:pt x="300" y="472"/>
                        <a:pt x="292" y="469"/>
                      </a:cubicBezTo>
                      <a:cubicBezTo>
                        <a:pt x="285" y="468"/>
                        <a:pt x="281" y="462"/>
                        <a:pt x="281" y="454"/>
                      </a:cubicBezTo>
                      <a:lnTo>
                        <a:pt x="281" y="452"/>
                      </a:lnTo>
                      <a:lnTo>
                        <a:pt x="276" y="462"/>
                      </a:lnTo>
                      <a:cubicBezTo>
                        <a:pt x="272" y="468"/>
                        <a:pt x="266" y="472"/>
                        <a:pt x="259" y="469"/>
                      </a:cubicBezTo>
                      <a:cubicBezTo>
                        <a:pt x="251" y="468"/>
                        <a:pt x="247" y="462"/>
                        <a:pt x="247" y="454"/>
                      </a:cubicBezTo>
                      <a:lnTo>
                        <a:pt x="247" y="452"/>
                      </a:lnTo>
                      <a:lnTo>
                        <a:pt x="242" y="462"/>
                      </a:lnTo>
                      <a:cubicBezTo>
                        <a:pt x="238" y="468"/>
                        <a:pt x="232" y="472"/>
                        <a:pt x="225" y="469"/>
                      </a:cubicBezTo>
                      <a:cubicBezTo>
                        <a:pt x="217" y="468"/>
                        <a:pt x="213" y="462"/>
                        <a:pt x="213" y="454"/>
                      </a:cubicBezTo>
                      <a:lnTo>
                        <a:pt x="213" y="435"/>
                      </a:lnTo>
                      <a:lnTo>
                        <a:pt x="188" y="435"/>
                      </a:lnTo>
                      <a:cubicBezTo>
                        <a:pt x="243" y="535"/>
                        <a:pt x="245" y="653"/>
                        <a:pt x="245" y="658"/>
                      </a:cubicBezTo>
                      <a:cubicBezTo>
                        <a:pt x="245" y="667"/>
                        <a:pt x="237" y="673"/>
                        <a:pt x="230" y="673"/>
                      </a:cubicBezTo>
                      <a:lnTo>
                        <a:pt x="230" y="673"/>
                      </a:lnTo>
                      <a:cubicBezTo>
                        <a:pt x="221" y="673"/>
                        <a:pt x="215" y="665"/>
                        <a:pt x="215" y="658"/>
                      </a:cubicBezTo>
                      <a:cubicBezTo>
                        <a:pt x="215" y="657"/>
                        <a:pt x="214" y="525"/>
                        <a:pt x="150" y="428"/>
                      </a:cubicBezTo>
                      <a:cubicBezTo>
                        <a:pt x="146" y="423"/>
                        <a:pt x="146" y="417"/>
                        <a:pt x="149" y="412"/>
                      </a:cubicBezTo>
                      <a:cubicBezTo>
                        <a:pt x="151" y="407"/>
                        <a:pt x="156" y="404"/>
                        <a:pt x="162" y="404"/>
                      </a:cubicBezTo>
                      <a:lnTo>
                        <a:pt x="230" y="404"/>
                      </a:lnTo>
                      <a:cubicBezTo>
                        <a:pt x="232" y="404"/>
                        <a:pt x="235" y="404"/>
                        <a:pt x="236" y="405"/>
                      </a:cubicBezTo>
                      <a:lnTo>
                        <a:pt x="250" y="378"/>
                      </a:lnTo>
                      <a:cubicBezTo>
                        <a:pt x="254" y="372"/>
                        <a:pt x="260" y="368"/>
                        <a:pt x="267" y="370"/>
                      </a:cubicBezTo>
                      <a:cubicBezTo>
                        <a:pt x="275" y="372"/>
                        <a:pt x="279" y="378"/>
                        <a:pt x="279" y="385"/>
                      </a:cubicBezTo>
                      <a:lnTo>
                        <a:pt x="279" y="388"/>
                      </a:lnTo>
                      <a:lnTo>
                        <a:pt x="284" y="378"/>
                      </a:lnTo>
                      <a:cubicBezTo>
                        <a:pt x="287" y="372"/>
                        <a:pt x="294" y="368"/>
                        <a:pt x="301" y="370"/>
                      </a:cubicBezTo>
                      <a:cubicBezTo>
                        <a:pt x="309" y="372"/>
                        <a:pt x="312" y="378"/>
                        <a:pt x="312" y="385"/>
                      </a:cubicBezTo>
                      <a:lnTo>
                        <a:pt x="312" y="388"/>
                      </a:lnTo>
                      <a:lnTo>
                        <a:pt x="317" y="378"/>
                      </a:lnTo>
                      <a:cubicBezTo>
                        <a:pt x="321" y="372"/>
                        <a:pt x="327" y="368"/>
                        <a:pt x="335" y="370"/>
                      </a:cubicBezTo>
                      <a:cubicBezTo>
                        <a:pt x="342" y="372"/>
                        <a:pt x="346" y="378"/>
                        <a:pt x="346" y="385"/>
                      </a:cubicBezTo>
                      <a:lnTo>
                        <a:pt x="346" y="388"/>
                      </a:lnTo>
                      <a:lnTo>
                        <a:pt x="351" y="378"/>
                      </a:lnTo>
                      <a:cubicBezTo>
                        <a:pt x="355" y="372"/>
                        <a:pt x="361" y="368"/>
                        <a:pt x="369" y="370"/>
                      </a:cubicBezTo>
                      <a:cubicBezTo>
                        <a:pt x="376" y="372"/>
                        <a:pt x="380" y="378"/>
                        <a:pt x="380" y="385"/>
                      </a:cubicBezTo>
                      <a:lnTo>
                        <a:pt x="380" y="404"/>
                      </a:lnTo>
                      <a:lnTo>
                        <a:pt x="432" y="404"/>
                      </a:lnTo>
                      <a:cubicBezTo>
                        <a:pt x="439" y="404"/>
                        <a:pt x="444" y="408"/>
                        <a:pt x="446" y="412"/>
                      </a:cubicBezTo>
                      <a:cubicBezTo>
                        <a:pt x="447" y="418"/>
                        <a:pt x="447" y="423"/>
                        <a:pt x="444" y="428"/>
                      </a:cubicBezTo>
                      <a:close/>
                      <a:moveTo>
                        <a:pt x="295" y="57"/>
                      </a:moveTo>
                      <a:cubicBezTo>
                        <a:pt x="295" y="57"/>
                        <a:pt x="499" y="57"/>
                        <a:pt x="532" y="260"/>
                      </a:cubicBezTo>
                      <a:cubicBezTo>
                        <a:pt x="532" y="260"/>
                        <a:pt x="498" y="125"/>
                        <a:pt x="295" y="57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</p:grpSp>
          <p:sp>
            <p:nvSpPr>
              <p:cNvPr id="30" name="í$ľîdé">
                <a:extLst>
                  <a:ext uri="{FF2B5EF4-FFF2-40B4-BE49-F238E27FC236}">
                    <a16:creationId xmlns:a16="http://schemas.microsoft.com/office/drawing/2014/main" xmlns="" id="{1D1A07F2-C792-4F31-8397-E9E8E40BB1B8}"/>
                  </a:ext>
                </a:extLst>
              </p:cNvPr>
              <p:cNvSpPr/>
              <p:nvPr/>
            </p:nvSpPr>
            <p:spPr>
              <a:xfrm>
                <a:off x="1771650" y="2784921"/>
                <a:ext cx="7447774" cy="3352565"/>
              </a:xfrm>
              <a:custGeom>
                <a:avLst/>
                <a:gdLst>
                  <a:gd name="connsiteX0" fmla="*/ 0 w 9504990"/>
                  <a:gd name="connsiteY0" fmla="*/ 4404227 h 4404227"/>
                  <a:gd name="connsiteX1" fmla="*/ 2093205 w 9504990"/>
                  <a:gd name="connsiteY1" fmla="*/ 1473740 h 4404227"/>
                  <a:gd name="connsiteX2" fmla="*/ 4406747 w 9504990"/>
                  <a:gd name="connsiteY2" fmla="*/ 2002550 h 4404227"/>
                  <a:gd name="connsiteX3" fmla="*/ 6202497 w 9504990"/>
                  <a:gd name="connsiteY3" fmla="*/ 41547 h 4404227"/>
                  <a:gd name="connsiteX4" fmla="*/ 9221118 w 9504990"/>
                  <a:gd name="connsiteY4" fmla="*/ 636458 h 4404227"/>
                  <a:gd name="connsiteX5" fmla="*/ 9397388 w 9504990"/>
                  <a:gd name="connsiteY5" fmla="*/ 294935 h 4404227"/>
                  <a:gd name="connsiteX6" fmla="*/ 9397388 w 9504990"/>
                  <a:gd name="connsiteY6" fmla="*/ 327986 h 4404227"/>
                  <a:gd name="connsiteX0" fmla="*/ 0 w 9504990"/>
                  <a:gd name="connsiteY0" fmla="*/ 4404227 h 4404227"/>
                  <a:gd name="connsiteX1" fmla="*/ 1836977 w 9504990"/>
                  <a:gd name="connsiteY1" fmla="*/ 1828581 h 4404227"/>
                  <a:gd name="connsiteX2" fmla="*/ 4406747 w 9504990"/>
                  <a:gd name="connsiteY2" fmla="*/ 2002550 h 4404227"/>
                  <a:gd name="connsiteX3" fmla="*/ 6202497 w 9504990"/>
                  <a:gd name="connsiteY3" fmla="*/ 41547 h 4404227"/>
                  <a:gd name="connsiteX4" fmla="*/ 9221118 w 9504990"/>
                  <a:gd name="connsiteY4" fmla="*/ 636458 h 4404227"/>
                  <a:gd name="connsiteX5" fmla="*/ 9397388 w 9504990"/>
                  <a:gd name="connsiteY5" fmla="*/ 294935 h 4404227"/>
                  <a:gd name="connsiteX6" fmla="*/ 9397388 w 9504990"/>
                  <a:gd name="connsiteY6" fmla="*/ 327986 h 4404227"/>
                  <a:gd name="connsiteX0" fmla="*/ 0 w 9504990"/>
                  <a:gd name="connsiteY0" fmla="*/ 4390475 h 4390475"/>
                  <a:gd name="connsiteX1" fmla="*/ 1836977 w 9504990"/>
                  <a:gd name="connsiteY1" fmla="*/ 1814829 h 4390475"/>
                  <a:gd name="connsiteX2" fmla="*/ 4393263 w 9504990"/>
                  <a:gd name="connsiteY2" fmla="*/ 1688547 h 4390475"/>
                  <a:gd name="connsiteX3" fmla="*/ 6202497 w 9504990"/>
                  <a:gd name="connsiteY3" fmla="*/ 27795 h 4390475"/>
                  <a:gd name="connsiteX4" fmla="*/ 9221118 w 9504990"/>
                  <a:gd name="connsiteY4" fmla="*/ 622706 h 4390475"/>
                  <a:gd name="connsiteX5" fmla="*/ 9397388 w 9504990"/>
                  <a:gd name="connsiteY5" fmla="*/ 281183 h 4390475"/>
                  <a:gd name="connsiteX6" fmla="*/ 9397388 w 9504990"/>
                  <a:gd name="connsiteY6" fmla="*/ 314234 h 4390475"/>
                  <a:gd name="connsiteX0" fmla="*/ 0 w 9481204"/>
                  <a:gd name="connsiteY0" fmla="*/ 4258306 h 4258306"/>
                  <a:gd name="connsiteX1" fmla="*/ 1836977 w 9481204"/>
                  <a:gd name="connsiteY1" fmla="*/ 1682660 h 4258306"/>
                  <a:gd name="connsiteX2" fmla="*/ 4393263 w 9481204"/>
                  <a:gd name="connsiteY2" fmla="*/ 1556378 h 4258306"/>
                  <a:gd name="connsiteX3" fmla="*/ 6539640 w 9481204"/>
                  <a:gd name="connsiteY3" fmla="*/ 32104 h 4258306"/>
                  <a:gd name="connsiteX4" fmla="*/ 9221118 w 9481204"/>
                  <a:gd name="connsiteY4" fmla="*/ 490537 h 4258306"/>
                  <a:gd name="connsiteX5" fmla="*/ 9397388 w 9481204"/>
                  <a:gd name="connsiteY5" fmla="*/ 149014 h 4258306"/>
                  <a:gd name="connsiteX6" fmla="*/ 9397388 w 9481204"/>
                  <a:gd name="connsiteY6" fmla="*/ 182065 h 4258306"/>
                  <a:gd name="connsiteX0" fmla="*/ 0 w 9696976"/>
                  <a:gd name="connsiteY0" fmla="*/ 4394783 h 4394783"/>
                  <a:gd name="connsiteX1" fmla="*/ 2052749 w 9696976"/>
                  <a:gd name="connsiteY1" fmla="*/ 1682660 h 4394783"/>
                  <a:gd name="connsiteX2" fmla="*/ 4609035 w 9696976"/>
                  <a:gd name="connsiteY2" fmla="*/ 1556378 h 4394783"/>
                  <a:gd name="connsiteX3" fmla="*/ 6755412 w 9696976"/>
                  <a:gd name="connsiteY3" fmla="*/ 32104 h 4394783"/>
                  <a:gd name="connsiteX4" fmla="*/ 9436890 w 9696976"/>
                  <a:gd name="connsiteY4" fmla="*/ 490537 h 4394783"/>
                  <a:gd name="connsiteX5" fmla="*/ 9613160 w 9696976"/>
                  <a:gd name="connsiteY5" fmla="*/ 149014 h 4394783"/>
                  <a:gd name="connsiteX6" fmla="*/ 9613160 w 9696976"/>
                  <a:gd name="connsiteY6" fmla="*/ 182065 h 4394783"/>
                  <a:gd name="connsiteX0" fmla="*/ 0 w 9630121"/>
                  <a:gd name="connsiteY0" fmla="*/ 4387024 h 4387024"/>
                  <a:gd name="connsiteX1" fmla="*/ 2052749 w 9630121"/>
                  <a:gd name="connsiteY1" fmla="*/ 1674901 h 4387024"/>
                  <a:gd name="connsiteX2" fmla="*/ 4609035 w 9630121"/>
                  <a:gd name="connsiteY2" fmla="*/ 1548619 h 4387024"/>
                  <a:gd name="connsiteX3" fmla="*/ 6755412 w 9630121"/>
                  <a:gd name="connsiteY3" fmla="*/ 24345 h 4387024"/>
                  <a:gd name="connsiteX4" fmla="*/ 9005348 w 9630121"/>
                  <a:gd name="connsiteY4" fmla="*/ 578312 h 4387024"/>
                  <a:gd name="connsiteX5" fmla="*/ 9613160 w 9630121"/>
                  <a:gd name="connsiteY5" fmla="*/ 141255 h 4387024"/>
                  <a:gd name="connsiteX6" fmla="*/ 9613160 w 9630121"/>
                  <a:gd name="connsiteY6" fmla="*/ 174306 h 4387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642538" h="4524397">
                    <a:moveTo>
                      <a:pt x="0" y="4524397"/>
                    </a:moveTo>
                    <a:cubicBezTo>
                      <a:pt x="679373" y="3259293"/>
                      <a:pt x="1284577" y="2285342"/>
                      <a:pt x="2052749" y="1812274"/>
                    </a:cubicBezTo>
                    <a:cubicBezTo>
                      <a:pt x="2820922" y="1339207"/>
                      <a:pt x="3825258" y="1961085"/>
                      <a:pt x="4609035" y="1685992"/>
                    </a:cubicBezTo>
                    <a:cubicBezTo>
                      <a:pt x="5392812" y="1410899"/>
                      <a:pt x="6022693" y="323436"/>
                      <a:pt x="6755412" y="161718"/>
                    </a:cubicBezTo>
                    <a:cubicBezTo>
                      <a:pt x="7488131" y="0"/>
                      <a:pt x="8529057" y="696200"/>
                      <a:pt x="9005348" y="715685"/>
                    </a:cubicBezTo>
                    <a:cubicBezTo>
                      <a:pt x="9481639" y="735170"/>
                      <a:pt x="9583782" y="330040"/>
                      <a:pt x="9613160" y="278628"/>
                    </a:cubicBezTo>
                    <a:cubicBezTo>
                      <a:pt x="9642538" y="227216"/>
                      <a:pt x="9627849" y="269447"/>
                      <a:pt x="9613160" y="311679"/>
                    </a:cubicBezTo>
                  </a:path>
                </a:pathLst>
              </a:custGeom>
              <a:noFill/>
              <a:ln w="762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 dirty="0"/>
              </a:p>
            </p:txBody>
          </p:sp>
        </p:grpSp>
        <p:grpSp>
          <p:nvGrpSpPr>
            <p:cNvPr id="7" name="îśļíḋê">
              <a:extLst>
                <a:ext uri="{FF2B5EF4-FFF2-40B4-BE49-F238E27FC236}">
                  <a16:creationId xmlns:a16="http://schemas.microsoft.com/office/drawing/2014/main" xmlns="" id="{74752846-8D98-42CB-8F9F-4BB527EE03AA}"/>
                </a:ext>
              </a:extLst>
            </p:cNvPr>
            <p:cNvGrpSpPr>
              <a:grpSpLocks/>
            </p:cNvGrpSpPr>
            <p:nvPr/>
          </p:nvGrpSpPr>
          <p:grpSpPr>
            <a:xfrm>
              <a:off x="7749438" y="2618365"/>
              <a:ext cx="648000" cy="648000"/>
              <a:chOff x="2362975" y="4403326"/>
              <a:chExt cx="648000" cy="648000"/>
            </a:xfrm>
          </p:grpSpPr>
          <p:sp>
            <p:nvSpPr>
              <p:cNvPr id="26" name="î$ḻíḑé">
                <a:extLst>
                  <a:ext uri="{FF2B5EF4-FFF2-40B4-BE49-F238E27FC236}">
                    <a16:creationId xmlns:a16="http://schemas.microsoft.com/office/drawing/2014/main" xmlns="" id="{567338E0-D5EA-4EA6-ADFA-2F8FD15647F1}"/>
                  </a:ext>
                </a:extLst>
              </p:cNvPr>
              <p:cNvSpPr/>
              <p:nvPr/>
            </p:nvSpPr>
            <p:spPr>
              <a:xfrm>
                <a:off x="2362975" y="4403326"/>
                <a:ext cx="648000" cy="648000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íṥlîde">
                <a:extLst>
                  <a:ext uri="{FF2B5EF4-FFF2-40B4-BE49-F238E27FC236}">
                    <a16:creationId xmlns:a16="http://schemas.microsoft.com/office/drawing/2014/main" xmlns="" id="{1175A03F-584F-42FA-AAB4-34973BABBF54}"/>
                  </a:ext>
                </a:extLst>
              </p:cNvPr>
              <p:cNvSpPr/>
              <p:nvPr/>
            </p:nvSpPr>
            <p:spPr bwMode="auto">
              <a:xfrm>
                <a:off x="2509560" y="4564310"/>
                <a:ext cx="354830" cy="326032"/>
              </a:xfrm>
              <a:custGeom>
                <a:avLst/>
                <a:gdLst>
                  <a:gd name="connsiteX0" fmla="*/ 373273 h 605239"/>
                  <a:gd name="connsiteY0" fmla="*/ 373273 h 605239"/>
                  <a:gd name="connsiteX1" fmla="*/ 373273 h 605239"/>
                  <a:gd name="connsiteY1" fmla="*/ 373273 h 605239"/>
                  <a:gd name="connsiteX2" fmla="*/ 373273 h 605239"/>
                  <a:gd name="connsiteY2" fmla="*/ 373273 h 605239"/>
                  <a:gd name="connsiteX3" fmla="*/ 373273 h 605239"/>
                  <a:gd name="connsiteY3" fmla="*/ 373273 h 605239"/>
                  <a:gd name="connsiteX4" fmla="*/ 373273 h 605239"/>
                  <a:gd name="connsiteY4" fmla="*/ 373273 h 605239"/>
                  <a:gd name="connsiteX5" fmla="*/ 373273 h 605239"/>
                  <a:gd name="connsiteY5" fmla="*/ 373273 h 605239"/>
                  <a:gd name="connsiteX6" fmla="*/ 373273 h 605239"/>
                  <a:gd name="connsiteY6" fmla="*/ 373273 h 605239"/>
                  <a:gd name="connsiteX7" fmla="*/ 373273 h 605239"/>
                  <a:gd name="connsiteY7" fmla="*/ 373273 h 605239"/>
                  <a:gd name="connsiteX8" fmla="*/ 373273 h 605239"/>
                  <a:gd name="connsiteY8" fmla="*/ 373273 h 605239"/>
                  <a:gd name="connsiteX9" fmla="*/ 373273 h 605239"/>
                  <a:gd name="connsiteY9" fmla="*/ 373273 h 605239"/>
                  <a:gd name="connsiteX10" fmla="*/ 373273 h 605239"/>
                  <a:gd name="connsiteY10" fmla="*/ 373273 h 605239"/>
                  <a:gd name="connsiteX11" fmla="*/ 373273 h 605239"/>
                  <a:gd name="connsiteY11" fmla="*/ 373273 h 605239"/>
                  <a:gd name="connsiteX12" fmla="*/ 373273 h 605239"/>
                  <a:gd name="connsiteY12" fmla="*/ 373273 h 605239"/>
                  <a:gd name="connsiteX13" fmla="*/ 373273 h 605239"/>
                  <a:gd name="connsiteY13" fmla="*/ 373273 h 605239"/>
                  <a:gd name="connsiteX14" fmla="*/ 373273 h 605239"/>
                  <a:gd name="connsiteY14" fmla="*/ 373273 h 605239"/>
                  <a:gd name="connsiteX15" fmla="*/ 373273 h 605239"/>
                  <a:gd name="connsiteY15" fmla="*/ 373273 h 605239"/>
                  <a:gd name="connsiteX16" fmla="*/ 373273 h 605239"/>
                  <a:gd name="connsiteY16" fmla="*/ 373273 h 605239"/>
                  <a:gd name="connsiteX17" fmla="*/ 373273 h 605239"/>
                  <a:gd name="connsiteY17" fmla="*/ 373273 h 605239"/>
                  <a:gd name="connsiteX18" fmla="*/ 373273 h 605239"/>
                  <a:gd name="connsiteY18" fmla="*/ 373273 h 605239"/>
                  <a:gd name="connsiteX19" fmla="*/ 373273 h 605239"/>
                  <a:gd name="connsiteY19" fmla="*/ 373273 h 605239"/>
                  <a:gd name="connsiteX20" fmla="*/ 373273 h 605239"/>
                  <a:gd name="connsiteY20" fmla="*/ 373273 h 605239"/>
                  <a:gd name="connsiteX21" fmla="*/ 373273 h 605239"/>
                  <a:gd name="connsiteY21" fmla="*/ 373273 h 605239"/>
                  <a:gd name="connsiteX22" fmla="*/ 373273 h 605239"/>
                  <a:gd name="connsiteY22" fmla="*/ 373273 h 605239"/>
                  <a:gd name="connsiteX23" fmla="*/ 373273 h 605239"/>
                  <a:gd name="connsiteY23" fmla="*/ 373273 h 605239"/>
                  <a:gd name="connsiteX24" fmla="*/ 373273 h 605239"/>
                  <a:gd name="connsiteY24" fmla="*/ 373273 h 605239"/>
                  <a:gd name="connsiteX25" fmla="*/ 373273 h 605239"/>
                  <a:gd name="connsiteY25" fmla="*/ 373273 h 605239"/>
                  <a:gd name="connsiteX26" fmla="*/ 373273 h 605239"/>
                  <a:gd name="connsiteY26" fmla="*/ 373273 h 605239"/>
                  <a:gd name="connsiteX27" fmla="*/ 373273 h 605239"/>
                  <a:gd name="connsiteY27" fmla="*/ 373273 h 605239"/>
                  <a:gd name="connsiteX28" fmla="*/ 373273 h 605239"/>
                  <a:gd name="connsiteY28" fmla="*/ 373273 h 605239"/>
                  <a:gd name="connsiteX29" fmla="*/ 373273 h 605239"/>
                  <a:gd name="connsiteY29" fmla="*/ 373273 h 605239"/>
                  <a:gd name="connsiteX30" fmla="*/ 373273 h 605239"/>
                  <a:gd name="connsiteY30" fmla="*/ 373273 h 605239"/>
                  <a:gd name="connsiteX31" fmla="*/ 373273 h 605239"/>
                  <a:gd name="connsiteY31" fmla="*/ 373273 h 605239"/>
                  <a:gd name="connsiteX32" fmla="*/ 373273 h 605239"/>
                  <a:gd name="connsiteY32" fmla="*/ 373273 h 605239"/>
                  <a:gd name="connsiteX33" fmla="*/ 373273 h 605239"/>
                  <a:gd name="connsiteY33" fmla="*/ 373273 h 605239"/>
                  <a:gd name="connsiteX34" fmla="*/ 373273 h 605239"/>
                  <a:gd name="connsiteY34" fmla="*/ 373273 h 605239"/>
                  <a:gd name="connsiteX35" fmla="*/ 373273 h 605239"/>
                  <a:gd name="connsiteY35" fmla="*/ 373273 h 605239"/>
                  <a:gd name="connsiteX36" fmla="*/ 373273 h 605239"/>
                  <a:gd name="connsiteY36" fmla="*/ 373273 h 605239"/>
                  <a:gd name="connsiteX37" fmla="*/ 373273 h 605239"/>
                  <a:gd name="connsiteY37" fmla="*/ 373273 h 605239"/>
                  <a:gd name="connsiteX38" fmla="*/ 373273 h 605239"/>
                  <a:gd name="connsiteY38" fmla="*/ 373273 h 605239"/>
                  <a:gd name="connsiteX39" fmla="*/ 373273 h 605239"/>
                  <a:gd name="connsiteY39" fmla="*/ 373273 h 605239"/>
                  <a:gd name="connsiteX40" fmla="*/ 373273 h 605239"/>
                  <a:gd name="connsiteY40" fmla="*/ 373273 h 605239"/>
                  <a:gd name="connsiteX41" fmla="*/ 373273 h 605239"/>
                  <a:gd name="connsiteY41" fmla="*/ 373273 h 605239"/>
                  <a:gd name="connsiteX42" fmla="*/ 373273 h 605239"/>
                  <a:gd name="connsiteY42" fmla="*/ 373273 h 605239"/>
                  <a:gd name="connsiteX43" fmla="*/ 373273 h 605239"/>
                  <a:gd name="connsiteY43" fmla="*/ 373273 h 605239"/>
                  <a:gd name="connsiteX44" fmla="*/ 373273 h 605239"/>
                  <a:gd name="connsiteY44" fmla="*/ 373273 h 605239"/>
                  <a:gd name="connsiteX45" fmla="*/ 373273 h 605239"/>
                  <a:gd name="connsiteY45" fmla="*/ 373273 h 605239"/>
                  <a:gd name="connsiteX46" fmla="*/ 373273 h 605239"/>
                  <a:gd name="connsiteY46" fmla="*/ 373273 h 605239"/>
                  <a:gd name="connsiteX47" fmla="*/ 373273 h 605239"/>
                  <a:gd name="connsiteY47" fmla="*/ 373273 h 605239"/>
                  <a:gd name="connsiteX48" fmla="*/ 373273 h 605239"/>
                  <a:gd name="connsiteY48" fmla="*/ 373273 h 605239"/>
                  <a:gd name="connsiteX49" fmla="*/ 373273 h 605239"/>
                  <a:gd name="connsiteY49" fmla="*/ 373273 h 605239"/>
                  <a:gd name="connsiteX50" fmla="*/ 373273 h 605239"/>
                  <a:gd name="connsiteY50" fmla="*/ 373273 h 605239"/>
                  <a:gd name="connsiteX51" fmla="*/ 373273 h 605239"/>
                  <a:gd name="connsiteY51" fmla="*/ 373273 h 605239"/>
                  <a:gd name="connsiteX52" fmla="*/ 373273 h 605239"/>
                  <a:gd name="connsiteY52" fmla="*/ 373273 h 605239"/>
                  <a:gd name="connsiteX53" fmla="*/ 373273 h 605239"/>
                  <a:gd name="connsiteY53" fmla="*/ 373273 h 605239"/>
                  <a:gd name="connsiteX54" fmla="*/ 373273 h 605239"/>
                  <a:gd name="connsiteY54" fmla="*/ 373273 h 605239"/>
                  <a:gd name="connsiteX55" fmla="*/ 373273 h 605239"/>
                  <a:gd name="connsiteY55" fmla="*/ 373273 h 605239"/>
                  <a:gd name="connsiteX56" fmla="*/ 373273 h 605239"/>
                  <a:gd name="connsiteY56" fmla="*/ 373273 h 605239"/>
                  <a:gd name="connsiteX57" fmla="*/ 373273 h 605239"/>
                  <a:gd name="connsiteY57" fmla="*/ 373273 h 605239"/>
                  <a:gd name="connsiteX58" fmla="*/ 373273 h 605239"/>
                  <a:gd name="connsiteY58" fmla="*/ 373273 h 605239"/>
                  <a:gd name="connsiteX59" fmla="*/ 373273 h 605239"/>
                  <a:gd name="connsiteY59" fmla="*/ 373273 h 605239"/>
                  <a:gd name="connsiteX60" fmla="*/ 373273 h 605239"/>
                  <a:gd name="connsiteY60" fmla="*/ 373273 h 605239"/>
                  <a:gd name="connsiteX61" fmla="*/ 373273 h 605239"/>
                  <a:gd name="connsiteY61" fmla="*/ 373273 h 605239"/>
                  <a:gd name="connsiteX62" fmla="*/ 373273 h 605239"/>
                  <a:gd name="connsiteY62" fmla="*/ 373273 h 605239"/>
                  <a:gd name="connsiteX63" fmla="*/ 373273 h 605239"/>
                  <a:gd name="connsiteY63" fmla="*/ 373273 h 605239"/>
                  <a:gd name="connsiteX64" fmla="*/ 373273 h 605239"/>
                  <a:gd name="connsiteY64" fmla="*/ 373273 h 605239"/>
                  <a:gd name="connsiteX65" fmla="*/ 373273 h 605239"/>
                  <a:gd name="connsiteY65" fmla="*/ 373273 h 605239"/>
                  <a:gd name="connsiteX66" fmla="*/ 373273 h 605239"/>
                  <a:gd name="connsiteY66" fmla="*/ 373273 h 605239"/>
                  <a:gd name="connsiteX67" fmla="*/ 373273 h 605239"/>
                  <a:gd name="connsiteY67" fmla="*/ 373273 h 605239"/>
                  <a:gd name="connsiteX68" fmla="*/ 373273 h 605239"/>
                  <a:gd name="connsiteY68" fmla="*/ 373273 h 605239"/>
                  <a:gd name="connsiteX69" fmla="*/ 373273 h 605239"/>
                  <a:gd name="connsiteY69" fmla="*/ 373273 h 605239"/>
                  <a:gd name="connsiteX70" fmla="*/ 373273 h 605239"/>
                  <a:gd name="connsiteY70" fmla="*/ 373273 h 605239"/>
                  <a:gd name="connsiteX71" fmla="*/ 373273 h 605239"/>
                  <a:gd name="connsiteY71" fmla="*/ 373273 h 605239"/>
                  <a:gd name="connsiteX72" fmla="*/ 373273 h 605239"/>
                  <a:gd name="connsiteY72" fmla="*/ 373273 h 605239"/>
                  <a:gd name="connsiteX73" fmla="*/ 373273 h 605239"/>
                  <a:gd name="connsiteY73" fmla="*/ 373273 h 605239"/>
                  <a:gd name="connsiteX74" fmla="*/ 373273 h 605239"/>
                  <a:gd name="connsiteY74" fmla="*/ 373273 h 605239"/>
                  <a:gd name="connsiteX75" fmla="*/ 373273 h 605239"/>
                  <a:gd name="connsiteY75" fmla="*/ 373273 h 605239"/>
                  <a:gd name="connsiteX76" fmla="*/ 373273 h 605239"/>
                  <a:gd name="connsiteY76" fmla="*/ 373273 h 605239"/>
                  <a:gd name="connsiteX77" fmla="*/ 373273 h 605239"/>
                  <a:gd name="connsiteY77" fmla="*/ 373273 h 605239"/>
                  <a:gd name="connsiteX78" fmla="*/ 373273 h 605239"/>
                  <a:gd name="connsiteY78" fmla="*/ 373273 h 605239"/>
                  <a:gd name="connsiteX79" fmla="*/ 373273 h 605239"/>
                  <a:gd name="connsiteY79" fmla="*/ 373273 h 605239"/>
                  <a:gd name="connsiteX80" fmla="*/ 373273 h 605239"/>
                  <a:gd name="connsiteY80" fmla="*/ 373273 h 605239"/>
                  <a:gd name="connsiteX81" fmla="*/ 373273 h 605239"/>
                  <a:gd name="connsiteY81" fmla="*/ 373273 h 605239"/>
                  <a:gd name="connsiteX82" fmla="*/ 373273 h 605239"/>
                  <a:gd name="connsiteY82" fmla="*/ 373273 h 605239"/>
                  <a:gd name="connsiteX83" fmla="*/ 373273 h 605239"/>
                  <a:gd name="connsiteY83" fmla="*/ 373273 h 605239"/>
                  <a:gd name="connsiteX84" fmla="*/ 373273 h 605239"/>
                  <a:gd name="connsiteY84" fmla="*/ 373273 h 605239"/>
                  <a:gd name="connsiteX85" fmla="*/ 373273 h 605239"/>
                  <a:gd name="connsiteY85" fmla="*/ 373273 h 605239"/>
                  <a:gd name="connsiteX86" fmla="*/ 373273 h 605239"/>
                  <a:gd name="connsiteY86" fmla="*/ 373273 h 605239"/>
                  <a:gd name="connsiteX87" fmla="*/ 373273 h 605239"/>
                  <a:gd name="connsiteY87" fmla="*/ 373273 h 605239"/>
                  <a:gd name="connsiteX88" fmla="*/ 373273 h 605239"/>
                  <a:gd name="connsiteY88" fmla="*/ 373273 h 605239"/>
                  <a:gd name="connsiteX89" fmla="*/ 373273 h 605239"/>
                  <a:gd name="connsiteY89" fmla="*/ 373273 h 605239"/>
                  <a:gd name="connsiteX90" fmla="*/ 373273 h 605239"/>
                  <a:gd name="connsiteY90" fmla="*/ 373273 h 605239"/>
                  <a:gd name="connsiteX91" fmla="*/ 373273 h 605239"/>
                  <a:gd name="connsiteY91" fmla="*/ 373273 h 605239"/>
                  <a:gd name="connsiteX92" fmla="*/ 373273 h 605239"/>
                  <a:gd name="connsiteY92" fmla="*/ 373273 h 605239"/>
                  <a:gd name="connsiteX93" fmla="*/ 373273 h 605239"/>
                  <a:gd name="connsiteY93" fmla="*/ 373273 h 605239"/>
                  <a:gd name="connsiteX94" fmla="*/ 373273 h 605239"/>
                  <a:gd name="connsiteY94" fmla="*/ 373273 h 605239"/>
                  <a:gd name="connsiteX95" fmla="*/ 373273 h 605239"/>
                  <a:gd name="connsiteY95" fmla="*/ 373273 h 605239"/>
                  <a:gd name="connsiteX96" fmla="*/ 373273 h 605239"/>
                  <a:gd name="connsiteY96" fmla="*/ 373273 h 605239"/>
                  <a:gd name="connsiteX97" fmla="*/ 373273 h 605239"/>
                  <a:gd name="connsiteY97" fmla="*/ 373273 h 605239"/>
                  <a:gd name="connsiteX98" fmla="*/ 373273 h 605239"/>
                  <a:gd name="connsiteY98" fmla="*/ 373273 h 605239"/>
                  <a:gd name="connsiteX99" fmla="*/ 373273 h 605239"/>
                  <a:gd name="connsiteY99" fmla="*/ 373273 h 605239"/>
                  <a:gd name="connsiteX100" fmla="*/ 373273 h 605239"/>
                  <a:gd name="connsiteY100" fmla="*/ 373273 h 605239"/>
                  <a:gd name="connsiteX101" fmla="*/ 373273 h 605239"/>
                  <a:gd name="connsiteY101" fmla="*/ 373273 h 605239"/>
                  <a:gd name="connsiteX102" fmla="*/ 373273 h 605239"/>
                  <a:gd name="connsiteY102" fmla="*/ 373273 h 605239"/>
                  <a:gd name="connsiteX103" fmla="*/ 373273 h 605239"/>
                  <a:gd name="connsiteY103" fmla="*/ 373273 h 605239"/>
                  <a:gd name="connsiteX104" fmla="*/ 373273 h 605239"/>
                  <a:gd name="connsiteY104" fmla="*/ 373273 h 605239"/>
                  <a:gd name="connsiteX105" fmla="*/ 373273 h 605239"/>
                  <a:gd name="connsiteY105" fmla="*/ 373273 h 605239"/>
                  <a:gd name="connsiteX106" fmla="*/ 373273 h 605239"/>
                  <a:gd name="connsiteY106" fmla="*/ 373273 h 60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608909" h="559493">
                    <a:moveTo>
                      <a:pt x="470180" y="272856"/>
                    </a:moveTo>
                    <a:lnTo>
                      <a:pt x="476019" y="272856"/>
                    </a:lnTo>
                    <a:lnTo>
                      <a:pt x="481953" y="272856"/>
                    </a:lnTo>
                    <a:cubicBezTo>
                      <a:pt x="509171" y="272856"/>
                      <a:pt x="531210" y="294963"/>
                      <a:pt x="531210" y="322056"/>
                    </a:cubicBezTo>
                    <a:lnTo>
                      <a:pt x="531210" y="376617"/>
                    </a:lnTo>
                    <a:cubicBezTo>
                      <a:pt x="531210" y="385084"/>
                      <a:pt x="526783" y="392609"/>
                      <a:pt x="520096" y="397031"/>
                    </a:cubicBezTo>
                    <a:lnTo>
                      <a:pt x="520096" y="449711"/>
                    </a:lnTo>
                    <a:cubicBezTo>
                      <a:pt x="520096" y="450558"/>
                      <a:pt x="520661" y="451498"/>
                      <a:pt x="521509" y="451875"/>
                    </a:cubicBezTo>
                    <a:cubicBezTo>
                      <a:pt x="528949" y="455450"/>
                      <a:pt x="565492" y="473888"/>
                      <a:pt x="599209" y="501639"/>
                    </a:cubicBezTo>
                    <a:cubicBezTo>
                      <a:pt x="605425" y="506625"/>
                      <a:pt x="608909" y="514150"/>
                      <a:pt x="608909" y="522052"/>
                    </a:cubicBezTo>
                    <a:lnTo>
                      <a:pt x="608909" y="559493"/>
                    </a:lnTo>
                    <a:lnTo>
                      <a:pt x="483083" y="559493"/>
                    </a:lnTo>
                    <a:lnTo>
                      <a:pt x="483083" y="515561"/>
                    </a:lnTo>
                    <a:cubicBezTo>
                      <a:pt x="483083" y="499475"/>
                      <a:pt x="476019" y="484424"/>
                      <a:pt x="463587" y="474264"/>
                    </a:cubicBezTo>
                    <a:cubicBezTo>
                      <a:pt x="453039" y="465609"/>
                      <a:pt x="442302" y="457707"/>
                      <a:pt x="431848" y="450558"/>
                    </a:cubicBezTo>
                    <a:cubicBezTo>
                      <a:pt x="431848" y="450370"/>
                      <a:pt x="431942" y="450087"/>
                      <a:pt x="431942" y="449711"/>
                    </a:cubicBezTo>
                    <a:lnTo>
                      <a:pt x="431942" y="397031"/>
                    </a:lnTo>
                    <a:cubicBezTo>
                      <a:pt x="425350" y="392609"/>
                      <a:pt x="420923" y="385084"/>
                      <a:pt x="420923" y="376617"/>
                    </a:cubicBezTo>
                    <a:lnTo>
                      <a:pt x="420923" y="322056"/>
                    </a:lnTo>
                    <a:cubicBezTo>
                      <a:pt x="420923" y="294775"/>
                      <a:pt x="443056" y="272856"/>
                      <a:pt x="470180" y="272856"/>
                    </a:cubicBezTo>
                    <a:close/>
                    <a:moveTo>
                      <a:pt x="127004" y="272856"/>
                    </a:moveTo>
                    <a:lnTo>
                      <a:pt x="132940" y="272856"/>
                    </a:lnTo>
                    <a:lnTo>
                      <a:pt x="138781" y="272856"/>
                    </a:lnTo>
                    <a:cubicBezTo>
                      <a:pt x="166104" y="272856"/>
                      <a:pt x="188057" y="294963"/>
                      <a:pt x="188057" y="322056"/>
                    </a:cubicBezTo>
                    <a:lnTo>
                      <a:pt x="188057" y="376617"/>
                    </a:lnTo>
                    <a:cubicBezTo>
                      <a:pt x="188057" y="385084"/>
                      <a:pt x="183629" y="392609"/>
                      <a:pt x="177033" y="397031"/>
                    </a:cubicBezTo>
                    <a:lnTo>
                      <a:pt x="177033" y="449711"/>
                    </a:lnTo>
                    <a:cubicBezTo>
                      <a:pt x="177033" y="449993"/>
                      <a:pt x="177128" y="450370"/>
                      <a:pt x="177128" y="450558"/>
                    </a:cubicBezTo>
                    <a:cubicBezTo>
                      <a:pt x="166670" y="457613"/>
                      <a:pt x="155929" y="465609"/>
                      <a:pt x="145376" y="474264"/>
                    </a:cubicBezTo>
                    <a:cubicBezTo>
                      <a:pt x="133034" y="484424"/>
                      <a:pt x="125874" y="499475"/>
                      <a:pt x="125874" y="515561"/>
                    </a:cubicBezTo>
                    <a:lnTo>
                      <a:pt x="125874" y="559493"/>
                    </a:lnTo>
                    <a:lnTo>
                      <a:pt x="0" y="559493"/>
                    </a:lnTo>
                    <a:lnTo>
                      <a:pt x="0" y="522052"/>
                    </a:lnTo>
                    <a:cubicBezTo>
                      <a:pt x="0" y="514150"/>
                      <a:pt x="3486" y="506625"/>
                      <a:pt x="9704" y="501639"/>
                    </a:cubicBezTo>
                    <a:cubicBezTo>
                      <a:pt x="43434" y="473888"/>
                      <a:pt x="79990" y="455450"/>
                      <a:pt x="87433" y="451875"/>
                    </a:cubicBezTo>
                    <a:cubicBezTo>
                      <a:pt x="88281" y="451498"/>
                      <a:pt x="88846" y="450558"/>
                      <a:pt x="88846" y="449711"/>
                    </a:cubicBezTo>
                    <a:lnTo>
                      <a:pt x="88846" y="397031"/>
                    </a:lnTo>
                    <a:cubicBezTo>
                      <a:pt x="82157" y="392609"/>
                      <a:pt x="77729" y="385084"/>
                      <a:pt x="77729" y="376617"/>
                    </a:cubicBezTo>
                    <a:lnTo>
                      <a:pt x="77729" y="322056"/>
                    </a:lnTo>
                    <a:cubicBezTo>
                      <a:pt x="77729" y="294775"/>
                      <a:pt x="99870" y="272856"/>
                      <a:pt x="127004" y="272856"/>
                    </a:cubicBezTo>
                    <a:close/>
                    <a:moveTo>
                      <a:pt x="297600" y="222543"/>
                    </a:moveTo>
                    <a:lnTo>
                      <a:pt x="304477" y="222543"/>
                    </a:lnTo>
                    <a:lnTo>
                      <a:pt x="311260" y="222543"/>
                    </a:lnTo>
                    <a:cubicBezTo>
                      <a:pt x="343291" y="222543"/>
                      <a:pt x="369198" y="248506"/>
                      <a:pt x="369198" y="280395"/>
                    </a:cubicBezTo>
                    <a:lnTo>
                      <a:pt x="369198" y="344455"/>
                    </a:lnTo>
                    <a:cubicBezTo>
                      <a:pt x="369198" y="354520"/>
                      <a:pt x="364017" y="363456"/>
                      <a:pt x="356198" y="368536"/>
                    </a:cubicBezTo>
                    <a:lnTo>
                      <a:pt x="356198" y="430432"/>
                    </a:lnTo>
                    <a:cubicBezTo>
                      <a:pt x="356198" y="431561"/>
                      <a:pt x="356857" y="432502"/>
                      <a:pt x="357893" y="433066"/>
                    </a:cubicBezTo>
                    <a:cubicBezTo>
                      <a:pt x="366655" y="437299"/>
                      <a:pt x="409520" y="459029"/>
                      <a:pt x="449275" y="491576"/>
                    </a:cubicBezTo>
                    <a:cubicBezTo>
                      <a:pt x="456435" y="497502"/>
                      <a:pt x="460580" y="506251"/>
                      <a:pt x="460580" y="515563"/>
                    </a:cubicBezTo>
                    <a:lnTo>
                      <a:pt x="460580" y="559493"/>
                    </a:lnTo>
                    <a:lnTo>
                      <a:pt x="304477" y="559493"/>
                    </a:lnTo>
                    <a:lnTo>
                      <a:pt x="148187" y="559493"/>
                    </a:lnTo>
                    <a:lnTo>
                      <a:pt x="148187" y="515563"/>
                    </a:lnTo>
                    <a:cubicBezTo>
                      <a:pt x="148187" y="506251"/>
                      <a:pt x="152332" y="497502"/>
                      <a:pt x="159492" y="491576"/>
                    </a:cubicBezTo>
                    <a:cubicBezTo>
                      <a:pt x="199342" y="459029"/>
                      <a:pt x="242206" y="437299"/>
                      <a:pt x="250967" y="433066"/>
                    </a:cubicBezTo>
                    <a:cubicBezTo>
                      <a:pt x="252004" y="432502"/>
                      <a:pt x="252569" y="431561"/>
                      <a:pt x="252569" y="430432"/>
                    </a:cubicBezTo>
                    <a:lnTo>
                      <a:pt x="252569" y="368536"/>
                    </a:lnTo>
                    <a:cubicBezTo>
                      <a:pt x="244844" y="363456"/>
                      <a:pt x="239663" y="354520"/>
                      <a:pt x="239663" y="344455"/>
                    </a:cubicBezTo>
                    <a:lnTo>
                      <a:pt x="239663" y="280395"/>
                    </a:lnTo>
                    <a:cubicBezTo>
                      <a:pt x="239663" y="248412"/>
                      <a:pt x="265664" y="222543"/>
                      <a:pt x="297600" y="222543"/>
                    </a:cubicBezTo>
                    <a:close/>
                    <a:moveTo>
                      <a:pt x="492495" y="40775"/>
                    </a:moveTo>
                    <a:cubicBezTo>
                      <a:pt x="488350" y="40775"/>
                      <a:pt x="487596" y="41528"/>
                      <a:pt x="487502" y="45854"/>
                    </a:cubicBezTo>
                    <a:lnTo>
                      <a:pt x="487502" y="51498"/>
                    </a:lnTo>
                    <a:cubicBezTo>
                      <a:pt x="487502" y="57142"/>
                      <a:pt x="487502" y="56953"/>
                      <a:pt x="482038" y="59023"/>
                    </a:cubicBezTo>
                    <a:cubicBezTo>
                      <a:pt x="469036" y="63726"/>
                      <a:pt x="460934" y="72661"/>
                      <a:pt x="460086" y="86864"/>
                    </a:cubicBezTo>
                    <a:cubicBezTo>
                      <a:pt x="459332" y="99374"/>
                      <a:pt x="465833" y="107934"/>
                      <a:pt x="476196" y="114048"/>
                    </a:cubicBezTo>
                    <a:cubicBezTo>
                      <a:pt x="482414" y="117810"/>
                      <a:pt x="489480" y="120068"/>
                      <a:pt x="496264" y="123078"/>
                    </a:cubicBezTo>
                    <a:cubicBezTo>
                      <a:pt x="498902" y="124206"/>
                      <a:pt x="501445" y="125617"/>
                      <a:pt x="503706" y="127310"/>
                    </a:cubicBezTo>
                    <a:cubicBezTo>
                      <a:pt x="510207" y="132578"/>
                      <a:pt x="508982" y="141513"/>
                      <a:pt x="501257" y="144900"/>
                    </a:cubicBezTo>
                    <a:cubicBezTo>
                      <a:pt x="497112" y="146781"/>
                      <a:pt x="492778" y="147157"/>
                      <a:pt x="488350" y="146687"/>
                    </a:cubicBezTo>
                    <a:cubicBezTo>
                      <a:pt x="481472" y="145746"/>
                      <a:pt x="474783" y="144053"/>
                      <a:pt x="468659" y="140761"/>
                    </a:cubicBezTo>
                    <a:cubicBezTo>
                      <a:pt x="464985" y="138880"/>
                      <a:pt x="463949" y="139350"/>
                      <a:pt x="462724" y="143301"/>
                    </a:cubicBezTo>
                    <a:cubicBezTo>
                      <a:pt x="461593" y="146687"/>
                      <a:pt x="460557" y="150167"/>
                      <a:pt x="459709" y="153553"/>
                    </a:cubicBezTo>
                    <a:cubicBezTo>
                      <a:pt x="458484" y="158162"/>
                      <a:pt x="458861" y="159291"/>
                      <a:pt x="463572" y="161548"/>
                    </a:cubicBezTo>
                    <a:cubicBezTo>
                      <a:pt x="469130" y="164370"/>
                      <a:pt x="475160" y="165687"/>
                      <a:pt x="481284" y="166722"/>
                    </a:cubicBezTo>
                    <a:cubicBezTo>
                      <a:pt x="486089" y="167474"/>
                      <a:pt x="486371" y="167568"/>
                      <a:pt x="486371" y="172647"/>
                    </a:cubicBezTo>
                    <a:lnTo>
                      <a:pt x="486371" y="179420"/>
                    </a:lnTo>
                    <a:cubicBezTo>
                      <a:pt x="486371" y="182147"/>
                      <a:pt x="487690" y="183934"/>
                      <a:pt x="490611" y="183934"/>
                    </a:cubicBezTo>
                    <a:cubicBezTo>
                      <a:pt x="493908" y="184029"/>
                      <a:pt x="497300" y="184029"/>
                      <a:pt x="500503" y="183934"/>
                    </a:cubicBezTo>
                    <a:cubicBezTo>
                      <a:pt x="503330" y="183934"/>
                      <a:pt x="504649" y="182430"/>
                      <a:pt x="504649" y="179608"/>
                    </a:cubicBezTo>
                    <a:cubicBezTo>
                      <a:pt x="504649" y="176504"/>
                      <a:pt x="504837" y="173494"/>
                      <a:pt x="504649" y="170390"/>
                    </a:cubicBezTo>
                    <a:cubicBezTo>
                      <a:pt x="504554" y="167192"/>
                      <a:pt x="505968" y="165687"/>
                      <a:pt x="508982" y="164840"/>
                    </a:cubicBezTo>
                    <a:cubicBezTo>
                      <a:pt x="515860" y="162959"/>
                      <a:pt x="521889" y="159197"/>
                      <a:pt x="526412" y="153647"/>
                    </a:cubicBezTo>
                    <a:cubicBezTo>
                      <a:pt x="538942" y="138221"/>
                      <a:pt x="534231" y="115835"/>
                      <a:pt x="516237" y="105865"/>
                    </a:cubicBezTo>
                    <a:cubicBezTo>
                      <a:pt x="510584" y="102761"/>
                      <a:pt x="504554" y="100503"/>
                      <a:pt x="498619" y="97964"/>
                    </a:cubicBezTo>
                    <a:cubicBezTo>
                      <a:pt x="495227" y="96647"/>
                      <a:pt x="492024" y="94860"/>
                      <a:pt x="489104" y="92602"/>
                    </a:cubicBezTo>
                    <a:cubicBezTo>
                      <a:pt x="483451" y="88087"/>
                      <a:pt x="484581" y="80657"/>
                      <a:pt x="491270" y="77835"/>
                    </a:cubicBezTo>
                    <a:cubicBezTo>
                      <a:pt x="493155" y="76894"/>
                      <a:pt x="495133" y="76706"/>
                      <a:pt x="497112" y="76518"/>
                    </a:cubicBezTo>
                    <a:cubicBezTo>
                      <a:pt x="504931" y="76142"/>
                      <a:pt x="512186" y="77553"/>
                      <a:pt x="519252" y="80939"/>
                    </a:cubicBezTo>
                    <a:cubicBezTo>
                      <a:pt x="522643" y="82538"/>
                      <a:pt x="523868" y="82067"/>
                      <a:pt x="524998" y="78399"/>
                    </a:cubicBezTo>
                    <a:cubicBezTo>
                      <a:pt x="526317" y="74543"/>
                      <a:pt x="527260" y="70686"/>
                      <a:pt x="528390" y="66736"/>
                    </a:cubicBezTo>
                    <a:cubicBezTo>
                      <a:pt x="529144" y="64102"/>
                      <a:pt x="528296" y="62503"/>
                      <a:pt x="525752" y="61374"/>
                    </a:cubicBezTo>
                    <a:cubicBezTo>
                      <a:pt x="521230" y="59399"/>
                      <a:pt x="516708" y="57988"/>
                      <a:pt x="511809" y="57236"/>
                    </a:cubicBezTo>
                    <a:cubicBezTo>
                      <a:pt x="505402" y="56201"/>
                      <a:pt x="505402" y="56201"/>
                      <a:pt x="505402" y="49805"/>
                    </a:cubicBezTo>
                    <a:cubicBezTo>
                      <a:pt x="505402" y="40775"/>
                      <a:pt x="505402" y="40775"/>
                      <a:pt x="496358" y="40775"/>
                    </a:cubicBezTo>
                    <a:close/>
                    <a:moveTo>
                      <a:pt x="496111" y="0"/>
                    </a:moveTo>
                    <a:cubicBezTo>
                      <a:pt x="524951" y="0"/>
                      <a:pt x="553781" y="10958"/>
                      <a:pt x="575779" y="32874"/>
                    </a:cubicBezTo>
                    <a:cubicBezTo>
                      <a:pt x="619776" y="76894"/>
                      <a:pt x="619776" y="148192"/>
                      <a:pt x="575779" y="192024"/>
                    </a:cubicBezTo>
                    <a:cubicBezTo>
                      <a:pt x="538754" y="229083"/>
                      <a:pt x="482226" y="234821"/>
                      <a:pt x="438982" y="209519"/>
                    </a:cubicBezTo>
                    <a:lnTo>
                      <a:pt x="438700" y="209237"/>
                    </a:lnTo>
                    <a:cubicBezTo>
                      <a:pt x="421742" y="222029"/>
                      <a:pt x="403559" y="224286"/>
                      <a:pt x="390840" y="222311"/>
                    </a:cubicBezTo>
                    <a:cubicBezTo>
                      <a:pt x="386600" y="221653"/>
                      <a:pt x="385752" y="215915"/>
                      <a:pt x="389615" y="214034"/>
                    </a:cubicBezTo>
                    <a:cubicBezTo>
                      <a:pt x="401297" y="208202"/>
                      <a:pt x="408552" y="196915"/>
                      <a:pt x="412886" y="187791"/>
                    </a:cubicBezTo>
                    <a:lnTo>
                      <a:pt x="411567" y="187038"/>
                    </a:lnTo>
                    <a:cubicBezTo>
                      <a:pt x="372374" y="142736"/>
                      <a:pt x="374070" y="75201"/>
                      <a:pt x="416371" y="32874"/>
                    </a:cubicBezTo>
                    <a:cubicBezTo>
                      <a:pt x="438417" y="10958"/>
                      <a:pt x="467270" y="0"/>
                      <a:pt x="4961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8" name="î$1ïde">
              <a:extLst>
                <a:ext uri="{FF2B5EF4-FFF2-40B4-BE49-F238E27FC236}">
                  <a16:creationId xmlns:a16="http://schemas.microsoft.com/office/drawing/2014/main" xmlns="" id="{E4A2A930-C979-4C09-ABEE-FCA0EB2BC0A0}"/>
                </a:ext>
              </a:extLst>
            </p:cNvPr>
            <p:cNvGrpSpPr/>
            <p:nvPr/>
          </p:nvGrpSpPr>
          <p:grpSpPr>
            <a:xfrm>
              <a:off x="5883941" y="3712632"/>
              <a:ext cx="648000" cy="648000"/>
              <a:chOff x="4847537" y="3703318"/>
              <a:chExt cx="648000" cy="648000"/>
            </a:xfrm>
          </p:grpSpPr>
          <p:sp>
            <p:nvSpPr>
              <p:cNvPr id="24" name="ïş1îḓé">
                <a:extLst>
                  <a:ext uri="{FF2B5EF4-FFF2-40B4-BE49-F238E27FC236}">
                    <a16:creationId xmlns:a16="http://schemas.microsoft.com/office/drawing/2014/main" xmlns="" id="{DBD5DD2F-FC13-407E-8A80-95E9A8E6A4CB}"/>
                  </a:ext>
                </a:extLst>
              </p:cNvPr>
              <p:cNvSpPr/>
              <p:nvPr/>
            </p:nvSpPr>
            <p:spPr>
              <a:xfrm>
                <a:off x="4847537" y="3703318"/>
                <a:ext cx="648000" cy="64800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îṥḷiďè">
                <a:extLst>
                  <a:ext uri="{FF2B5EF4-FFF2-40B4-BE49-F238E27FC236}">
                    <a16:creationId xmlns:a16="http://schemas.microsoft.com/office/drawing/2014/main" xmlns="" id="{A1FB5617-0A71-4653-91E7-F18005193F84}"/>
                  </a:ext>
                </a:extLst>
              </p:cNvPr>
              <p:cNvSpPr/>
              <p:nvPr/>
            </p:nvSpPr>
            <p:spPr bwMode="auto">
              <a:xfrm>
                <a:off x="4994202" y="3864376"/>
                <a:ext cx="354670" cy="325884"/>
              </a:xfrm>
              <a:custGeom>
                <a:avLst/>
                <a:gdLst>
                  <a:gd name="connsiteX0" fmla="*/ 560224 w 607107"/>
                  <a:gd name="connsiteY0" fmla="*/ 279860 h 518750"/>
                  <a:gd name="connsiteX1" fmla="*/ 582459 w 607107"/>
                  <a:gd name="connsiteY1" fmla="*/ 280220 h 518750"/>
                  <a:gd name="connsiteX2" fmla="*/ 606440 w 607107"/>
                  <a:gd name="connsiteY2" fmla="*/ 300513 h 518750"/>
                  <a:gd name="connsiteX3" fmla="*/ 596135 w 607107"/>
                  <a:gd name="connsiteY3" fmla="*/ 329751 h 518750"/>
                  <a:gd name="connsiteX4" fmla="*/ 571865 w 607107"/>
                  <a:gd name="connsiteY4" fmla="*/ 348793 h 518750"/>
                  <a:gd name="connsiteX5" fmla="*/ 371834 w 607107"/>
                  <a:gd name="connsiteY5" fmla="*/ 500269 h 518750"/>
                  <a:gd name="connsiteX6" fmla="*/ 134050 w 607107"/>
                  <a:gd name="connsiteY6" fmla="*/ 494210 h 518750"/>
                  <a:gd name="connsiteX7" fmla="*/ 67213 w 607107"/>
                  <a:gd name="connsiteY7" fmla="*/ 511040 h 518750"/>
                  <a:gd name="connsiteX8" fmla="*/ 61145 w 607107"/>
                  <a:gd name="connsiteY8" fmla="*/ 511040 h 518750"/>
                  <a:gd name="connsiteX9" fmla="*/ 59701 w 607107"/>
                  <a:gd name="connsiteY9" fmla="*/ 510560 h 518750"/>
                  <a:gd name="connsiteX10" fmla="*/ 55656 w 607107"/>
                  <a:gd name="connsiteY10" fmla="*/ 507674 h 518750"/>
                  <a:gd name="connsiteX11" fmla="*/ 7502 w 607107"/>
                  <a:gd name="connsiteY11" fmla="*/ 432081 h 518750"/>
                  <a:gd name="connsiteX12" fmla="*/ 1435 w 607107"/>
                  <a:gd name="connsiteY12" fmla="*/ 423521 h 518750"/>
                  <a:gd name="connsiteX13" fmla="*/ 183 w 607107"/>
                  <a:gd name="connsiteY13" fmla="*/ 417077 h 518750"/>
                  <a:gd name="connsiteX14" fmla="*/ 4131 w 607107"/>
                  <a:gd name="connsiteY14" fmla="*/ 411788 h 518750"/>
                  <a:gd name="connsiteX15" fmla="*/ 95527 w 607107"/>
                  <a:gd name="connsiteY15" fmla="*/ 376588 h 518750"/>
                  <a:gd name="connsiteX16" fmla="*/ 266570 w 607107"/>
                  <a:gd name="connsiteY16" fmla="*/ 330231 h 518750"/>
                  <a:gd name="connsiteX17" fmla="*/ 327147 w 607107"/>
                  <a:gd name="connsiteY17" fmla="*/ 372741 h 518750"/>
                  <a:gd name="connsiteX18" fmla="*/ 233536 w 607107"/>
                  <a:gd name="connsiteY18" fmla="*/ 417943 h 518750"/>
                  <a:gd name="connsiteX19" fmla="*/ 360084 w 607107"/>
                  <a:gd name="connsiteY19" fmla="*/ 366393 h 518750"/>
                  <a:gd name="connsiteX20" fmla="*/ 365285 w 607107"/>
                  <a:gd name="connsiteY20" fmla="*/ 359372 h 518750"/>
                  <a:gd name="connsiteX21" fmla="*/ 524482 w 607107"/>
                  <a:gd name="connsiteY21" fmla="*/ 291473 h 518750"/>
                  <a:gd name="connsiteX22" fmla="*/ 560224 w 607107"/>
                  <a:gd name="connsiteY22" fmla="*/ 279860 h 518750"/>
                  <a:gd name="connsiteX23" fmla="*/ 231201 w 607107"/>
                  <a:gd name="connsiteY23" fmla="*/ 114447 h 518750"/>
                  <a:gd name="connsiteX24" fmla="*/ 227733 w 607107"/>
                  <a:gd name="connsiteY24" fmla="*/ 115409 h 518750"/>
                  <a:gd name="connsiteX25" fmla="*/ 204232 w 607107"/>
                  <a:gd name="connsiteY25" fmla="*/ 127912 h 518750"/>
                  <a:gd name="connsiteX26" fmla="*/ 200572 w 607107"/>
                  <a:gd name="connsiteY26" fmla="*/ 136280 h 518750"/>
                  <a:gd name="connsiteX27" fmla="*/ 203269 w 607107"/>
                  <a:gd name="connsiteY27" fmla="*/ 146860 h 518750"/>
                  <a:gd name="connsiteX28" fmla="*/ 207410 w 607107"/>
                  <a:gd name="connsiteY28" fmla="*/ 151862 h 518750"/>
                  <a:gd name="connsiteX29" fmla="*/ 213960 w 607107"/>
                  <a:gd name="connsiteY29" fmla="*/ 151573 h 518750"/>
                  <a:gd name="connsiteX30" fmla="*/ 222340 w 607107"/>
                  <a:gd name="connsiteY30" fmla="*/ 147053 h 518750"/>
                  <a:gd name="connsiteX31" fmla="*/ 222340 w 607107"/>
                  <a:gd name="connsiteY31" fmla="*/ 230058 h 518750"/>
                  <a:gd name="connsiteX32" fmla="*/ 229756 w 607107"/>
                  <a:gd name="connsiteY32" fmla="*/ 237464 h 518750"/>
                  <a:gd name="connsiteX33" fmla="*/ 243433 w 607107"/>
                  <a:gd name="connsiteY33" fmla="*/ 237464 h 518750"/>
                  <a:gd name="connsiteX34" fmla="*/ 250850 w 607107"/>
                  <a:gd name="connsiteY34" fmla="*/ 230058 h 518750"/>
                  <a:gd name="connsiteX35" fmla="*/ 250850 w 607107"/>
                  <a:gd name="connsiteY35" fmla="*/ 121853 h 518750"/>
                  <a:gd name="connsiteX36" fmla="*/ 243433 w 607107"/>
                  <a:gd name="connsiteY36" fmla="*/ 114447 h 518750"/>
                  <a:gd name="connsiteX37" fmla="*/ 230719 w 607107"/>
                  <a:gd name="connsiteY37" fmla="*/ 76070 h 518750"/>
                  <a:gd name="connsiteX38" fmla="*/ 330794 w 607107"/>
                  <a:gd name="connsiteY38" fmla="*/ 176004 h 518750"/>
                  <a:gd name="connsiteX39" fmla="*/ 230719 w 607107"/>
                  <a:gd name="connsiteY39" fmla="*/ 275841 h 518750"/>
                  <a:gd name="connsiteX40" fmla="*/ 130741 w 607107"/>
                  <a:gd name="connsiteY40" fmla="*/ 176004 h 518750"/>
                  <a:gd name="connsiteX41" fmla="*/ 230719 w 607107"/>
                  <a:gd name="connsiteY41" fmla="*/ 76070 h 518750"/>
                  <a:gd name="connsiteX42" fmla="*/ 371906 w 607107"/>
                  <a:gd name="connsiteY42" fmla="*/ 39432 h 518750"/>
                  <a:gd name="connsiteX43" fmla="*/ 368246 w 607107"/>
                  <a:gd name="connsiteY43" fmla="*/ 40297 h 518750"/>
                  <a:gd name="connsiteX44" fmla="*/ 344168 w 607107"/>
                  <a:gd name="connsiteY44" fmla="*/ 53185 h 518750"/>
                  <a:gd name="connsiteX45" fmla="*/ 340412 w 607107"/>
                  <a:gd name="connsiteY45" fmla="*/ 61744 h 518750"/>
                  <a:gd name="connsiteX46" fmla="*/ 343109 w 607107"/>
                  <a:gd name="connsiteY46" fmla="*/ 72612 h 518750"/>
                  <a:gd name="connsiteX47" fmla="*/ 347443 w 607107"/>
                  <a:gd name="connsiteY47" fmla="*/ 77709 h 518750"/>
                  <a:gd name="connsiteX48" fmla="*/ 354089 w 607107"/>
                  <a:gd name="connsiteY48" fmla="*/ 77421 h 518750"/>
                  <a:gd name="connsiteX49" fmla="*/ 362757 w 607107"/>
                  <a:gd name="connsiteY49" fmla="*/ 72804 h 518750"/>
                  <a:gd name="connsiteX50" fmla="*/ 362757 w 607107"/>
                  <a:gd name="connsiteY50" fmla="*/ 157919 h 518750"/>
                  <a:gd name="connsiteX51" fmla="*/ 370365 w 607107"/>
                  <a:gd name="connsiteY51" fmla="*/ 165517 h 518750"/>
                  <a:gd name="connsiteX52" fmla="*/ 384331 w 607107"/>
                  <a:gd name="connsiteY52" fmla="*/ 165517 h 518750"/>
                  <a:gd name="connsiteX53" fmla="*/ 391939 w 607107"/>
                  <a:gd name="connsiteY53" fmla="*/ 157919 h 518750"/>
                  <a:gd name="connsiteX54" fmla="*/ 391939 w 607107"/>
                  <a:gd name="connsiteY54" fmla="*/ 47029 h 518750"/>
                  <a:gd name="connsiteX55" fmla="*/ 384331 w 607107"/>
                  <a:gd name="connsiteY55" fmla="*/ 39432 h 518750"/>
                  <a:gd name="connsiteX56" fmla="*/ 371328 w 607107"/>
                  <a:gd name="connsiteY56" fmla="*/ 0 h 518750"/>
                  <a:gd name="connsiteX57" fmla="*/ 473901 w 607107"/>
                  <a:gd name="connsiteY57" fmla="*/ 102426 h 518750"/>
                  <a:gd name="connsiteX58" fmla="*/ 371328 w 607107"/>
                  <a:gd name="connsiteY58" fmla="*/ 204852 h 518750"/>
                  <a:gd name="connsiteX59" fmla="*/ 342531 w 607107"/>
                  <a:gd name="connsiteY59" fmla="*/ 200717 h 518750"/>
                  <a:gd name="connsiteX60" fmla="*/ 348117 w 607107"/>
                  <a:gd name="connsiteY60" fmla="*/ 167440 h 518750"/>
                  <a:gd name="connsiteX61" fmla="*/ 274342 w 607107"/>
                  <a:gd name="connsiteY61" fmla="*/ 69150 h 518750"/>
                  <a:gd name="connsiteX62" fmla="*/ 371328 w 607107"/>
                  <a:gd name="connsiteY62" fmla="*/ 0 h 51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607107" h="518750">
                    <a:moveTo>
                      <a:pt x="560224" y="279860"/>
                    </a:moveTo>
                    <a:cubicBezTo>
                      <a:pt x="569819" y="278441"/>
                      <a:pt x="577162" y="279018"/>
                      <a:pt x="582459" y="280220"/>
                    </a:cubicBezTo>
                    <a:cubicBezTo>
                      <a:pt x="595268" y="283010"/>
                      <a:pt x="604032" y="289742"/>
                      <a:pt x="606440" y="300513"/>
                    </a:cubicBezTo>
                    <a:cubicBezTo>
                      <a:pt x="608751" y="310804"/>
                      <a:pt x="604995" y="322826"/>
                      <a:pt x="596135" y="329751"/>
                    </a:cubicBezTo>
                    <a:cubicBezTo>
                      <a:pt x="587949" y="336098"/>
                      <a:pt x="579762" y="342542"/>
                      <a:pt x="571865" y="348793"/>
                    </a:cubicBezTo>
                    <a:lnTo>
                      <a:pt x="371834" y="500269"/>
                    </a:lnTo>
                    <a:cubicBezTo>
                      <a:pt x="306826" y="545471"/>
                      <a:pt x="137614" y="493440"/>
                      <a:pt x="134050" y="494210"/>
                    </a:cubicBezTo>
                    <a:lnTo>
                      <a:pt x="67213" y="511040"/>
                    </a:lnTo>
                    <a:cubicBezTo>
                      <a:pt x="65479" y="511521"/>
                      <a:pt x="63264" y="511425"/>
                      <a:pt x="61145" y="511040"/>
                    </a:cubicBezTo>
                    <a:cubicBezTo>
                      <a:pt x="60567" y="510848"/>
                      <a:pt x="60086" y="510752"/>
                      <a:pt x="59701" y="510560"/>
                    </a:cubicBezTo>
                    <a:cubicBezTo>
                      <a:pt x="58063" y="510079"/>
                      <a:pt x="56715" y="509021"/>
                      <a:pt x="55656" y="507674"/>
                    </a:cubicBezTo>
                    <a:cubicBezTo>
                      <a:pt x="40150" y="486131"/>
                      <a:pt x="22430" y="453335"/>
                      <a:pt x="7502" y="432081"/>
                    </a:cubicBezTo>
                    <a:lnTo>
                      <a:pt x="1435" y="423521"/>
                    </a:lnTo>
                    <a:cubicBezTo>
                      <a:pt x="183" y="421694"/>
                      <a:pt x="-299" y="419289"/>
                      <a:pt x="183" y="417077"/>
                    </a:cubicBezTo>
                    <a:cubicBezTo>
                      <a:pt x="664" y="414865"/>
                      <a:pt x="1723" y="412750"/>
                      <a:pt x="4131" y="411788"/>
                    </a:cubicBezTo>
                    <a:lnTo>
                      <a:pt x="95527" y="376588"/>
                    </a:lnTo>
                    <a:cubicBezTo>
                      <a:pt x="155816" y="356487"/>
                      <a:pt x="154179" y="328885"/>
                      <a:pt x="266570" y="330231"/>
                    </a:cubicBezTo>
                    <a:cubicBezTo>
                      <a:pt x="296618" y="330520"/>
                      <a:pt x="351706" y="324172"/>
                      <a:pt x="327147" y="372741"/>
                    </a:cubicBezTo>
                    <a:cubicBezTo>
                      <a:pt x="316650" y="393515"/>
                      <a:pt x="281979" y="420059"/>
                      <a:pt x="233536" y="417943"/>
                    </a:cubicBezTo>
                    <a:cubicBezTo>
                      <a:pt x="233344" y="419193"/>
                      <a:pt x="327244" y="456605"/>
                      <a:pt x="360084" y="366393"/>
                    </a:cubicBezTo>
                    <a:cubicBezTo>
                      <a:pt x="360084" y="366393"/>
                      <a:pt x="361433" y="361007"/>
                      <a:pt x="365285" y="359372"/>
                    </a:cubicBezTo>
                    <a:cubicBezTo>
                      <a:pt x="389940" y="348793"/>
                      <a:pt x="522459" y="292338"/>
                      <a:pt x="524482" y="291473"/>
                    </a:cubicBezTo>
                    <a:cubicBezTo>
                      <a:pt x="538784" y="284693"/>
                      <a:pt x="550629" y="281278"/>
                      <a:pt x="560224" y="279860"/>
                    </a:cubicBezTo>
                    <a:close/>
                    <a:moveTo>
                      <a:pt x="231201" y="114447"/>
                    </a:moveTo>
                    <a:cubicBezTo>
                      <a:pt x="230045" y="114447"/>
                      <a:pt x="228793" y="114832"/>
                      <a:pt x="227733" y="115409"/>
                    </a:cubicBezTo>
                    <a:lnTo>
                      <a:pt x="204232" y="127912"/>
                    </a:lnTo>
                    <a:cubicBezTo>
                      <a:pt x="201246" y="129548"/>
                      <a:pt x="199705" y="133010"/>
                      <a:pt x="200572" y="136280"/>
                    </a:cubicBezTo>
                    <a:lnTo>
                      <a:pt x="203269" y="146860"/>
                    </a:lnTo>
                    <a:cubicBezTo>
                      <a:pt x="203847" y="149073"/>
                      <a:pt x="205388" y="150900"/>
                      <a:pt x="207410" y="151862"/>
                    </a:cubicBezTo>
                    <a:cubicBezTo>
                      <a:pt x="209529" y="152727"/>
                      <a:pt x="211937" y="152631"/>
                      <a:pt x="213960" y="151573"/>
                    </a:cubicBezTo>
                    <a:lnTo>
                      <a:pt x="222340" y="147053"/>
                    </a:lnTo>
                    <a:lnTo>
                      <a:pt x="222340" y="230058"/>
                    </a:lnTo>
                    <a:cubicBezTo>
                      <a:pt x="222340" y="234098"/>
                      <a:pt x="225711" y="237464"/>
                      <a:pt x="229756" y="237464"/>
                    </a:cubicBezTo>
                    <a:lnTo>
                      <a:pt x="243433" y="237464"/>
                    </a:lnTo>
                    <a:cubicBezTo>
                      <a:pt x="247479" y="237464"/>
                      <a:pt x="250850" y="234098"/>
                      <a:pt x="250850" y="230058"/>
                    </a:cubicBezTo>
                    <a:lnTo>
                      <a:pt x="250850" y="121853"/>
                    </a:lnTo>
                    <a:cubicBezTo>
                      <a:pt x="250850" y="117813"/>
                      <a:pt x="247479" y="114447"/>
                      <a:pt x="243433" y="114447"/>
                    </a:cubicBezTo>
                    <a:close/>
                    <a:moveTo>
                      <a:pt x="230719" y="76070"/>
                    </a:moveTo>
                    <a:cubicBezTo>
                      <a:pt x="286006" y="76070"/>
                      <a:pt x="330794" y="120795"/>
                      <a:pt x="330794" y="176004"/>
                    </a:cubicBezTo>
                    <a:cubicBezTo>
                      <a:pt x="330794" y="231116"/>
                      <a:pt x="286006" y="275841"/>
                      <a:pt x="230719" y="275841"/>
                    </a:cubicBezTo>
                    <a:cubicBezTo>
                      <a:pt x="175529" y="275841"/>
                      <a:pt x="130741" y="231116"/>
                      <a:pt x="130741" y="176004"/>
                    </a:cubicBezTo>
                    <a:cubicBezTo>
                      <a:pt x="130741" y="120795"/>
                      <a:pt x="175529" y="76070"/>
                      <a:pt x="230719" y="76070"/>
                    </a:cubicBezTo>
                    <a:close/>
                    <a:moveTo>
                      <a:pt x="371906" y="39432"/>
                    </a:moveTo>
                    <a:cubicBezTo>
                      <a:pt x="370654" y="39432"/>
                      <a:pt x="369402" y="39720"/>
                      <a:pt x="368246" y="40297"/>
                    </a:cubicBezTo>
                    <a:lnTo>
                      <a:pt x="344168" y="53185"/>
                    </a:lnTo>
                    <a:cubicBezTo>
                      <a:pt x="341086" y="54819"/>
                      <a:pt x="339545" y="58378"/>
                      <a:pt x="340412" y="61744"/>
                    </a:cubicBezTo>
                    <a:lnTo>
                      <a:pt x="343109" y="72612"/>
                    </a:lnTo>
                    <a:cubicBezTo>
                      <a:pt x="343687" y="74920"/>
                      <a:pt x="345324" y="76747"/>
                      <a:pt x="347443" y="77709"/>
                    </a:cubicBezTo>
                    <a:cubicBezTo>
                      <a:pt x="349562" y="78671"/>
                      <a:pt x="352066" y="78575"/>
                      <a:pt x="354089" y="77421"/>
                    </a:cubicBezTo>
                    <a:lnTo>
                      <a:pt x="362757" y="72804"/>
                    </a:lnTo>
                    <a:lnTo>
                      <a:pt x="362757" y="157919"/>
                    </a:lnTo>
                    <a:cubicBezTo>
                      <a:pt x="362757" y="162054"/>
                      <a:pt x="366224" y="165517"/>
                      <a:pt x="370365" y="165517"/>
                    </a:cubicBezTo>
                    <a:lnTo>
                      <a:pt x="384331" y="165517"/>
                    </a:lnTo>
                    <a:cubicBezTo>
                      <a:pt x="388568" y="165517"/>
                      <a:pt x="391939" y="162054"/>
                      <a:pt x="391939" y="157919"/>
                    </a:cubicBezTo>
                    <a:lnTo>
                      <a:pt x="391939" y="47029"/>
                    </a:lnTo>
                    <a:cubicBezTo>
                      <a:pt x="391939" y="42798"/>
                      <a:pt x="388568" y="39432"/>
                      <a:pt x="384331" y="39432"/>
                    </a:cubicBezTo>
                    <a:close/>
                    <a:moveTo>
                      <a:pt x="371328" y="0"/>
                    </a:moveTo>
                    <a:cubicBezTo>
                      <a:pt x="428056" y="0"/>
                      <a:pt x="473901" y="45875"/>
                      <a:pt x="473901" y="102426"/>
                    </a:cubicBezTo>
                    <a:cubicBezTo>
                      <a:pt x="473901" y="158977"/>
                      <a:pt x="428056" y="204852"/>
                      <a:pt x="371328" y="204852"/>
                    </a:cubicBezTo>
                    <a:cubicBezTo>
                      <a:pt x="361312" y="204852"/>
                      <a:pt x="351681" y="203409"/>
                      <a:pt x="342531" y="200717"/>
                    </a:cubicBezTo>
                    <a:cubicBezTo>
                      <a:pt x="346095" y="190234"/>
                      <a:pt x="348117" y="179077"/>
                      <a:pt x="348117" y="167440"/>
                    </a:cubicBezTo>
                    <a:cubicBezTo>
                      <a:pt x="348117" y="120892"/>
                      <a:pt x="317008" y="81556"/>
                      <a:pt x="274342" y="69150"/>
                    </a:cubicBezTo>
                    <a:cubicBezTo>
                      <a:pt x="288211" y="28949"/>
                      <a:pt x="326447" y="0"/>
                      <a:pt x="371328" y="0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92500" lnSpcReduction="10000"/>
              </a:bodyPr>
              <a:lstStyle/>
              <a:p>
                <a:endParaRPr lang="zh-CN" altLang="en-US" dirty="0"/>
              </a:p>
            </p:txBody>
          </p:sp>
        </p:grpSp>
        <p:grpSp>
          <p:nvGrpSpPr>
            <p:cNvPr id="9" name="ïṥ1íḋê">
              <a:extLst>
                <a:ext uri="{FF2B5EF4-FFF2-40B4-BE49-F238E27FC236}">
                  <a16:creationId xmlns:a16="http://schemas.microsoft.com/office/drawing/2014/main" xmlns="" id="{3433AD78-552C-4E91-8E23-894837F08A7F}"/>
                </a:ext>
              </a:extLst>
            </p:cNvPr>
            <p:cNvGrpSpPr/>
            <p:nvPr/>
          </p:nvGrpSpPr>
          <p:grpSpPr>
            <a:xfrm>
              <a:off x="3399379" y="4412640"/>
              <a:ext cx="648000" cy="648000"/>
              <a:chOff x="2362975" y="4403326"/>
              <a:chExt cx="648000" cy="648000"/>
            </a:xfrm>
          </p:grpSpPr>
          <p:sp>
            <p:nvSpPr>
              <p:cNvPr id="22" name="íṡ1îďe">
                <a:extLst>
                  <a:ext uri="{FF2B5EF4-FFF2-40B4-BE49-F238E27FC236}">
                    <a16:creationId xmlns:a16="http://schemas.microsoft.com/office/drawing/2014/main" xmlns="" id="{E85B8DF7-676B-42F1-8C25-CD1C7F5F7A8D}"/>
                  </a:ext>
                </a:extLst>
              </p:cNvPr>
              <p:cNvSpPr/>
              <p:nvPr/>
            </p:nvSpPr>
            <p:spPr>
              <a:xfrm>
                <a:off x="2362975" y="4403326"/>
                <a:ext cx="648000" cy="64800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íŝļïḋé">
                <a:extLst>
                  <a:ext uri="{FF2B5EF4-FFF2-40B4-BE49-F238E27FC236}">
                    <a16:creationId xmlns:a16="http://schemas.microsoft.com/office/drawing/2014/main" xmlns="" id="{835C7624-4047-4A80-B3DD-0F7229ABB7BC}"/>
                  </a:ext>
                </a:extLst>
              </p:cNvPr>
              <p:cNvSpPr/>
              <p:nvPr/>
            </p:nvSpPr>
            <p:spPr bwMode="auto">
              <a:xfrm>
                <a:off x="2527544" y="4579826"/>
                <a:ext cx="318862" cy="295000"/>
              </a:xfrm>
              <a:custGeom>
                <a:avLst/>
                <a:gdLst/>
                <a:ahLst/>
                <a:cxnLst>
                  <a:cxn ang="0">
                    <a:pos x="39" y="36"/>
                  </a:cxn>
                  <a:cxn ang="0">
                    <a:pos x="41" y="44"/>
                  </a:cxn>
                  <a:cxn ang="0">
                    <a:pos x="35" y="50"/>
                  </a:cxn>
                  <a:cxn ang="0">
                    <a:pos x="27" y="53"/>
                  </a:cxn>
                  <a:cxn ang="0">
                    <a:pos x="18" y="53"/>
                  </a:cxn>
                  <a:cxn ang="0">
                    <a:pos x="11" y="50"/>
                  </a:cxn>
                  <a:cxn ang="0">
                    <a:pos x="4" y="44"/>
                  </a:cxn>
                  <a:cxn ang="0">
                    <a:pos x="6" y="36"/>
                  </a:cxn>
                  <a:cxn ang="0">
                    <a:pos x="0" y="28"/>
                  </a:cxn>
                  <a:cxn ang="0">
                    <a:pos x="7" y="23"/>
                  </a:cxn>
                  <a:cxn ang="0">
                    <a:pos x="4" y="18"/>
                  </a:cxn>
                  <a:cxn ang="0">
                    <a:pos x="15" y="16"/>
                  </a:cxn>
                  <a:cxn ang="0">
                    <a:pos x="19" y="8"/>
                  </a:cxn>
                  <a:cxn ang="0">
                    <a:pos x="28" y="15"/>
                  </a:cxn>
                  <a:cxn ang="0">
                    <a:pos x="35" y="12"/>
                  </a:cxn>
                  <a:cxn ang="0">
                    <a:pos x="41" y="19"/>
                  </a:cxn>
                  <a:cxn ang="0">
                    <a:pos x="45" y="27"/>
                  </a:cxn>
                  <a:cxn ang="0">
                    <a:pos x="23" y="22"/>
                  </a:cxn>
                  <a:cxn ang="0">
                    <a:pos x="32" y="31"/>
                  </a:cxn>
                  <a:cxn ang="0">
                    <a:pos x="63" y="16"/>
                  </a:cxn>
                  <a:cxn ang="0">
                    <a:pos x="64" y="24"/>
                  </a:cxn>
                  <a:cxn ang="0">
                    <a:pos x="55" y="22"/>
                  </a:cxn>
                  <a:cxn ang="0">
                    <a:pos x="46" y="24"/>
                  </a:cxn>
                  <a:cxn ang="0">
                    <a:pos x="46" y="16"/>
                  </a:cxn>
                  <a:cxn ang="0">
                    <a:pos x="46" y="9"/>
                  </a:cxn>
                  <a:cxn ang="0">
                    <a:pos x="46" y="2"/>
                  </a:cxn>
                  <a:cxn ang="0">
                    <a:pos x="55" y="4"/>
                  </a:cxn>
                  <a:cxn ang="0">
                    <a:pos x="59" y="0"/>
                  </a:cxn>
                  <a:cxn ang="0">
                    <a:pos x="62" y="7"/>
                  </a:cxn>
                  <a:cxn ang="0">
                    <a:pos x="68" y="15"/>
                  </a:cxn>
                  <a:cxn ang="0">
                    <a:pos x="62" y="55"/>
                  </a:cxn>
                  <a:cxn ang="0">
                    <a:pos x="59" y="63"/>
                  </a:cxn>
                  <a:cxn ang="0">
                    <a:pos x="54" y="59"/>
                  </a:cxn>
                  <a:cxn ang="0">
                    <a:pos x="45" y="60"/>
                  </a:cxn>
                  <a:cxn ang="0">
                    <a:pos x="41" y="52"/>
                  </a:cxn>
                  <a:cxn ang="0">
                    <a:pos x="47" y="44"/>
                  </a:cxn>
                  <a:cxn ang="0">
                    <a:pos x="50" y="36"/>
                  </a:cxn>
                  <a:cxn ang="0">
                    <a:pos x="56" y="40"/>
                  </a:cxn>
                  <a:cxn ang="0">
                    <a:pos x="64" y="39"/>
                  </a:cxn>
                  <a:cxn ang="0">
                    <a:pos x="63" y="46"/>
                  </a:cxn>
                  <a:cxn ang="0">
                    <a:pos x="55" y="8"/>
                  </a:cxn>
                  <a:cxn ang="0">
                    <a:pos x="59" y="13"/>
                  </a:cxn>
                  <a:cxn ang="0">
                    <a:pos x="50" y="49"/>
                  </a:cxn>
                  <a:cxn ang="0">
                    <a:pos x="55" y="45"/>
                  </a:cxn>
                </a:cxnLst>
                <a:rect l="0" t="0" r="r" b="b"/>
                <a:pathLst>
                  <a:path w="68" h="63">
                    <a:moveTo>
                      <a:pt x="45" y="35"/>
                    </a:moveTo>
                    <a:cubicBezTo>
                      <a:pt x="45" y="35"/>
                      <a:pt x="45" y="36"/>
                      <a:pt x="45" y="36"/>
                    </a:cubicBezTo>
                    <a:cubicBezTo>
                      <a:pt x="39" y="36"/>
                      <a:pt x="39" y="36"/>
                      <a:pt x="39" y="36"/>
                    </a:cubicBezTo>
                    <a:cubicBezTo>
                      <a:pt x="39" y="37"/>
                      <a:pt x="38" y="38"/>
                      <a:pt x="38" y="39"/>
                    </a:cubicBezTo>
                    <a:cubicBezTo>
                      <a:pt x="39" y="41"/>
                      <a:pt x="40" y="42"/>
                      <a:pt x="41" y="43"/>
                    </a:cubicBezTo>
                    <a:cubicBezTo>
                      <a:pt x="41" y="43"/>
                      <a:pt x="41" y="44"/>
                      <a:pt x="41" y="44"/>
                    </a:cubicBezTo>
                    <a:cubicBezTo>
                      <a:pt x="41" y="44"/>
                      <a:pt x="41" y="44"/>
                      <a:pt x="41" y="45"/>
                    </a:cubicBezTo>
                    <a:cubicBezTo>
                      <a:pt x="40" y="46"/>
                      <a:pt x="36" y="50"/>
                      <a:pt x="35" y="50"/>
                    </a:cubicBezTo>
                    <a:cubicBezTo>
                      <a:pt x="35" y="50"/>
                      <a:pt x="35" y="50"/>
                      <a:pt x="35" y="50"/>
                    </a:cubicBezTo>
                    <a:cubicBezTo>
                      <a:pt x="31" y="47"/>
                      <a:pt x="31" y="47"/>
                      <a:pt x="31" y="47"/>
                    </a:cubicBezTo>
                    <a:cubicBezTo>
                      <a:pt x="30" y="47"/>
                      <a:pt x="29" y="47"/>
                      <a:pt x="28" y="48"/>
                    </a:cubicBezTo>
                    <a:cubicBezTo>
                      <a:pt x="28" y="49"/>
                      <a:pt x="27" y="51"/>
                      <a:pt x="27" y="53"/>
                    </a:cubicBezTo>
                    <a:cubicBezTo>
                      <a:pt x="27" y="54"/>
                      <a:pt x="26" y="54"/>
                      <a:pt x="26" y="54"/>
                    </a:cubicBezTo>
                    <a:cubicBezTo>
                      <a:pt x="19" y="54"/>
                      <a:pt x="19" y="54"/>
                      <a:pt x="19" y="54"/>
                    </a:cubicBezTo>
                    <a:cubicBezTo>
                      <a:pt x="19" y="54"/>
                      <a:pt x="18" y="54"/>
                      <a:pt x="18" y="53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6" y="47"/>
                      <a:pt x="16" y="47"/>
                      <a:pt x="15" y="47"/>
                    </a:cubicBezTo>
                    <a:cubicBezTo>
                      <a:pt x="11" y="50"/>
                      <a:pt x="11" y="50"/>
                      <a:pt x="11" y="50"/>
                    </a:cubicBezTo>
                    <a:cubicBezTo>
                      <a:pt x="10" y="50"/>
                      <a:pt x="10" y="50"/>
                      <a:pt x="10" y="50"/>
                    </a:cubicBezTo>
                    <a:cubicBezTo>
                      <a:pt x="10" y="50"/>
                      <a:pt x="9" y="50"/>
                      <a:pt x="9" y="50"/>
                    </a:cubicBezTo>
                    <a:cubicBezTo>
                      <a:pt x="8" y="49"/>
                      <a:pt x="4" y="45"/>
                      <a:pt x="4" y="44"/>
                    </a:cubicBezTo>
                    <a:cubicBezTo>
                      <a:pt x="4" y="44"/>
                      <a:pt x="4" y="44"/>
                      <a:pt x="4" y="43"/>
                    </a:cubicBezTo>
                    <a:cubicBezTo>
                      <a:pt x="5" y="42"/>
                      <a:pt x="6" y="41"/>
                      <a:pt x="7" y="39"/>
                    </a:cubicBezTo>
                    <a:cubicBezTo>
                      <a:pt x="7" y="38"/>
                      <a:pt x="6" y="37"/>
                      <a:pt x="6" y="36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0" y="35"/>
                      <a:pt x="0" y="35"/>
                      <a:pt x="0" y="3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7"/>
                      <a:pt x="0" y="27"/>
                      <a:pt x="1" y="27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6" y="25"/>
                      <a:pt x="7" y="24"/>
                      <a:pt x="7" y="23"/>
                    </a:cubicBezTo>
                    <a:cubicBezTo>
                      <a:pt x="6" y="22"/>
                      <a:pt x="5" y="20"/>
                      <a:pt x="4" y="19"/>
                    </a:cubicBezTo>
                    <a:cubicBezTo>
                      <a:pt x="4" y="19"/>
                      <a:pt x="4" y="19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5" y="17"/>
                      <a:pt x="9" y="12"/>
                      <a:pt x="10" y="12"/>
                    </a:cubicBezTo>
                    <a:cubicBezTo>
                      <a:pt x="10" y="12"/>
                      <a:pt x="10" y="12"/>
                      <a:pt x="11" y="13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6" y="15"/>
                      <a:pt x="16" y="15"/>
                      <a:pt x="17" y="15"/>
                    </a:cubicBezTo>
                    <a:cubicBezTo>
                      <a:pt x="18" y="13"/>
                      <a:pt x="18" y="11"/>
                      <a:pt x="18" y="9"/>
                    </a:cubicBezTo>
                    <a:cubicBezTo>
                      <a:pt x="18" y="9"/>
                      <a:pt x="19" y="8"/>
                      <a:pt x="19" y="8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6" y="8"/>
                      <a:pt x="27" y="9"/>
                      <a:pt x="27" y="9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9" y="15"/>
                      <a:pt x="30" y="15"/>
                      <a:pt x="31" y="16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6" y="12"/>
                      <a:pt x="36" y="12"/>
                      <a:pt x="36" y="13"/>
                    </a:cubicBezTo>
                    <a:cubicBezTo>
                      <a:pt x="37" y="13"/>
                      <a:pt x="41" y="17"/>
                      <a:pt x="41" y="18"/>
                    </a:cubicBezTo>
                    <a:cubicBezTo>
                      <a:pt x="41" y="19"/>
                      <a:pt x="41" y="19"/>
                      <a:pt x="41" y="19"/>
                    </a:cubicBezTo>
                    <a:cubicBezTo>
                      <a:pt x="40" y="20"/>
                      <a:pt x="39" y="22"/>
                      <a:pt x="38" y="23"/>
                    </a:cubicBezTo>
                    <a:cubicBezTo>
                      <a:pt x="38" y="24"/>
                      <a:pt x="39" y="25"/>
                      <a:pt x="39" y="26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45" y="27"/>
                      <a:pt x="45" y="27"/>
                      <a:pt x="45" y="28"/>
                    </a:cubicBezTo>
                    <a:lnTo>
                      <a:pt x="45" y="35"/>
                    </a:lnTo>
                    <a:close/>
                    <a:moveTo>
                      <a:pt x="23" y="22"/>
                    </a:moveTo>
                    <a:cubicBezTo>
                      <a:pt x="18" y="22"/>
                      <a:pt x="13" y="26"/>
                      <a:pt x="13" y="31"/>
                    </a:cubicBezTo>
                    <a:cubicBezTo>
                      <a:pt x="13" y="36"/>
                      <a:pt x="18" y="40"/>
                      <a:pt x="23" y="40"/>
                    </a:cubicBezTo>
                    <a:cubicBezTo>
                      <a:pt x="28" y="40"/>
                      <a:pt x="32" y="36"/>
                      <a:pt x="32" y="31"/>
                    </a:cubicBezTo>
                    <a:cubicBezTo>
                      <a:pt x="32" y="26"/>
                      <a:pt x="28" y="22"/>
                      <a:pt x="23" y="22"/>
                    </a:cubicBezTo>
                    <a:close/>
                    <a:moveTo>
                      <a:pt x="68" y="15"/>
                    </a:moveTo>
                    <a:cubicBezTo>
                      <a:pt x="68" y="16"/>
                      <a:pt x="64" y="16"/>
                      <a:pt x="63" y="16"/>
                    </a:cubicBezTo>
                    <a:cubicBezTo>
                      <a:pt x="63" y="17"/>
                      <a:pt x="62" y="18"/>
                      <a:pt x="62" y="18"/>
                    </a:cubicBezTo>
                    <a:cubicBezTo>
                      <a:pt x="62" y="19"/>
                      <a:pt x="64" y="23"/>
                      <a:pt x="64" y="23"/>
                    </a:cubicBezTo>
                    <a:cubicBezTo>
                      <a:pt x="64" y="23"/>
                      <a:pt x="64" y="23"/>
                      <a:pt x="64" y="24"/>
                    </a:cubicBezTo>
                    <a:cubicBezTo>
                      <a:pt x="63" y="24"/>
                      <a:pt x="59" y="26"/>
                      <a:pt x="59" y="26"/>
                    </a:cubicBezTo>
                    <a:cubicBezTo>
                      <a:pt x="59" y="26"/>
                      <a:pt x="56" y="22"/>
                      <a:pt x="56" y="22"/>
                    </a:cubicBezTo>
                    <a:cubicBezTo>
                      <a:pt x="55" y="22"/>
                      <a:pt x="55" y="22"/>
                      <a:pt x="55" y="22"/>
                    </a:cubicBezTo>
                    <a:cubicBezTo>
                      <a:pt x="54" y="22"/>
                      <a:pt x="54" y="22"/>
                      <a:pt x="54" y="22"/>
                    </a:cubicBezTo>
                    <a:cubicBezTo>
                      <a:pt x="53" y="22"/>
                      <a:pt x="50" y="26"/>
                      <a:pt x="50" y="26"/>
                    </a:cubicBezTo>
                    <a:cubicBezTo>
                      <a:pt x="50" y="26"/>
                      <a:pt x="46" y="24"/>
                      <a:pt x="46" y="24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23"/>
                      <a:pt x="47" y="19"/>
                      <a:pt x="47" y="18"/>
                    </a:cubicBezTo>
                    <a:cubicBezTo>
                      <a:pt x="47" y="18"/>
                      <a:pt x="46" y="17"/>
                      <a:pt x="46" y="16"/>
                    </a:cubicBezTo>
                    <a:cubicBezTo>
                      <a:pt x="45" y="16"/>
                      <a:pt x="41" y="16"/>
                      <a:pt x="41" y="15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10"/>
                      <a:pt x="45" y="9"/>
                      <a:pt x="46" y="9"/>
                    </a:cubicBezTo>
                    <a:cubicBezTo>
                      <a:pt x="46" y="9"/>
                      <a:pt x="47" y="8"/>
                      <a:pt x="47" y="7"/>
                    </a:cubicBezTo>
                    <a:cubicBezTo>
                      <a:pt x="47" y="7"/>
                      <a:pt x="45" y="3"/>
                      <a:pt x="45" y="2"/>
                    </a:cubicBezTo>
                    <a:cubicBezTo>
                      <a:pt x="45" y="2"/>
                      <a:pt x="45" y="2"/>
                      <a:pt x="46" y="2"/>
                    </a:cubicBezTo>
                    <a:cubicBezTo>
                      <a:pt x="46" y="2"/>
                      <a:pt x="50" y="0"/>
                      <a:pt x="50" y="0"/>
                    </a:cubicBezTo>
                    <a:cubicBezTo>
                      <a:pt x="50" y="0"/>
                      <a:pt x="53" y="3"/>
                      <a:pt x="54" y="4"/>
                    </a:cubicBezTo>
                    <a:cubicBezTo>
                      <a:pt x="54" y="4"/>
                      <a:pt x="54" y="4"/>
                      <a:pt x="55" y="4"/>
                    </a:cubicBezTo>
                    <a:cubicBezTo>
                      <a:pt x="55" y="4"/>
                      <a:pt x="55" y="4"/>
                      <a:pt x="56" y="4"/>
                    </a:cubicBezTo>
                    <a:cubicBezTo>
                      <a:pt x="57" y="2"/>
                      <a:pt x="58" y="1"/>
                      <a:pt x="59" y="0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59" y="0"/>
                      <a:pt x="63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ubicBezTo>
                      <a:pt x="64" y="3"/>
                      <a:pt x="62" y="7"/>
                      <a:pt x="62" y="7"/>
                    </a:cubicBezTo>
                    <a:cubicBezTo>
                      <a:pt x="62" y="8"/>
                      <a:pt x="63" y="9"/>
                      <a:pt x="63" y="9"/>
                    </a:cubicBezTo>
                    <a:cubicBezTo>
                      <a:pt x="64" y="9"/>
                      <a:pt x="68" y="10"/>
                      <a:pt x="68" y="10"/>
                    </a:cubicBezTo>
                    <a:lnTo>
                      <a:pt x="68" y="15"/>
                    </a:lnTo>
                    <a:close/>
                    <a:moveTo>
                      <a:pt x="68" y="52"/>
                    </a:moveTo>
                    <a:cubicBezTo>
                      <a:pt x="68" y="52"/>
                      <a:pt x="64" y="53"/>
                      <a:pt x="63" y="53"/>
                    </a:cubicBezTo>
                    <a:cubicBezTo>
                      <a:pt x="63" y="54"/>
                      <a:pt x="62" y="54"/>
                      <a:pt x="62" y="55"/>
                    </a:cubicBezTo>
                    <a:cubicBezTo>
                      <a:pt x="62" y="56"/>
                      <a:pt x="64" y="59"/>
                      <a:pt x="64" y="60"/>
                    </a:cubicBezTo>
                    <a:cubicBezTo>
                      <a:pt x="64" y="60"/>
                      <a:pt x="64" y="60"/>
                      <a:pt x="64" y="60"/>
                    </a:cubicBezTo>
                    <a:cubicBezTo>
                      <a:pt x="63" y="60"/>
                      <a:pt x="59" y="63"/>
                      <a:pt x="59" y="63"/>
                    </a:cubicBezTo>
                    <a:cubicBezTo>
                      <a:pt x="59" y="63"/>
                      <a:pt x="56" y="59"/>
                      <a:pt x="56" y="59"/>
                    </a:cubicBezTo>
                    <a:cubicBezTo>
                      <a:pt x="55" y="59"/>
                      <a:pt x="55" y="59"/>
                      <a:pt x="55" y="59"/>
                    </a:cubicBezTo>
                    <a:cubicBezTo>
                      <a:pt x="54" y="59"/>
                      <a:pt x="54" y="59"/>
                      <a:pt x="54" y="59"/>
                    </a:cubicBezTo>
                    <a:cubicBezTo>
                      <a:pt x="53" y="59"/>
                      <a:pt x="50" y="63"/>
                      <a:pt x="50" y="63"/>
                    </a:cubicBezTo>
                    <a:cubicBezTo>
                      <a:pt x="50" y="63"/>
                      <a:pt x="46" y="60"/>
                      <a:pt x="46" y="60"/>
                    </a:cubicBezTo>
                    <a:cubicBezTo>
                      <a:pt x="45" y="60"/>
                      <a:pt x="45" y="60"/>
                      <a:pt x="45" y="60"/>
                    </a:cubicBezTo>
                    <a:cubicBezTo>
                      <a:pt x="45" y="59"/>
                      <a:pt x="47" y="56"/>
                      <a:pt x="47" y="55"/>
                    </a:cubicBezTo>
                    <a:cubicBezTo>
                      <a:pt x="47" y="54"/>
                      <a:pt x="46" y="54"/>
                      <a:pt x="46" y="53"/>
                    </a:cubicBezTo>
                    <a:cubicBezTo>
                      <a:pt x="45" y="53"/>
                      <a:pt x="41" y="52"/>
                      <a:pt x="41" y="52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41" y="46"/>
                      <a:pt x="45" y="46"/>
                      <a:pt x="46" y="46"/>
                    </a:cubicBezTo>
                    <a:cubicBezTo>
                      <a:pt x="46" y="45"/>
                      <a:pt x="47" y="45"/>
                      <a:pt x="47" y="44"/>
                    </a:cubicBezTo>
                    <a:cubicBezTo>
                      <a:pt x="47" y="43"/>
                      <a:pt x="45" y="40"/>
                      <a:pt x="45" y="39"/>
                    </a:cubicBezTo>
                    <a:cubicBezTo>
                      <a:pt x="45" y="39"/>
                      <a:pt x="45" y="39"/>
                      <a:pt x="46" y="39"/>
                    </a:cubicBezTo>
                    <a:cubicBezTo>
                      <a:pt x="46" y="39"/>
                      <a:pt x="50" y="36"/>
                      <a:pt x="50" y="36"/>
                    </a:cubicBezTo>
                    <a:cubicBezTo>
                      <a:pt x="50" y="36"/>
                      <a:pt x="53" y="40"/>
                      <a:pt x="54" y="40"/>
                    </a:cubicBezTo>
                    <a:cubicBezTo>
                      <a:pt x="54" y="40"/>
                      <a:pt x="54" y="40"/>
                      <a:pt x="55" y="40"/>
                    </a:cubicBezTo>
                    <a:cubicBezTo>
                      <a:pt x="55" y="40"/>
                      <a:pt x="55" y="40"/>
                      <a:pt x="56" y="40"/>
                    </a:cubicBezTo>
                    <a:cubicBezTo>
                      <a:pt x="57" y="39"/>
                      <a:pt x="58" y="38"/>
                      <a:pt x="59" y="36"/>
                    </a:cubicBezTo>
                    <a:cubicBezTo>
                      <a:pt x="59" y="36"/>
                      <a:pt x="59" y="36"/>
                      <a:pt x="59" y="36"/>
                    </a:cubicBezTo>
                    <a:cubicBezTo>
                      <a:pt x="59" y="36"/>
                      <a:pt x="63" y="39"/>
                      <a:pt x="64" y="39"/>
                    </a:cubicBezTo>
                    <a:cubicBezTo>
                      <a:pt x="64" y="39"/>
                      <a:pt x="64" y="39"/>
                      <a:pt x="64" y="39"/>
                    </a:cubicBezTo>
                    <a:cubicBezTo>
                      <a:pt x="64" y="40"/>
                      <a:pt x="62" y="43"/>
                      <a:pt x="62" y="44"/>
                    </a:cubicBezTo>
                    <a:cubicBezTo>
                      <a:pt x="62" y="45"/>
                      <a:pt x="63" y="45"/>
                      <a:pt x="63" y="46"/>
                    </a:cubicBezTo>
                    <a:cubicBezTo>
                      <a:pt x="64" y="46"/>
                      <a:pt x="68" y="46"/>
                      <a:pt x="68" y="47"/>
                    </a:cubicBezTo>
                    <a:lnTo>
                      <a:pt x="68" y="52"/>
                    </a:lnTo>
                    <a:close/>
                    <a:moveTo>
                      <a:pt x="55" y="8"/>
                    </a:moveTo>
                    <a:cubicBezTo>
                      <a:pt x="52" y="8"/>
                      <a:pt x="50" y="10"/>
                      <a:pt x="50" y="13"/>
                    </a:cubicBezTo>
                    <a:cubicBezTo>
                      <a:pt x="50" y="15"/>
                      <a:pt x="52" y="17"/>
                      <a:pt x="55" y="17"/>
                    </a:cubicBezTo>
                    <a:cubicBezTo>
                      <a:pt x="57" y="17"/>
                      <a:pt x="59" y="15"/>
                      <a:pt x="59" y="13"/>
                    </a:cubicBezTo>
                    <a:cubicBezTo>
                      <a:pt x="59" y="10"/>
                      <a:pt x="57" y="8"/>
                      <a:pt x="55" y="8"/>
                    </a:cubicBezTo>
                    <a:close/>
                    <a:moveTo>
                      <a:pt x="55" y="45"/>
                    </a:moveTo>
                    <a:cubicBezTo>
                      <a:pt x="52" y="45"/>
                      <a:pt x="50" y="47"/>
                      <a:pt x="50" y="49"/>
                    </a:cubicBezTo>
                    <a:cubicBezTo>
                      <a:pt x="50" y="52"/>
                      <a:pt x="52" y="54"/>
                      <a:pt x="55" y="54"/>
                    </a:cubicBezTo>
                    <a:cubicBezTo>
                      <a:pt x="57" y="54"/>
                      <a:pt x="59" y="52"/>
                      <a:pt x="59" y="49"/>
                    </a:cubicBezTo>
                    <a:cubicBezTo>
                      <a:pt x="59" y="47"/>
                      <a:pt x="57" y="45"/>
                      <a:pt x="55" y="45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85000" lnSpcReduction="20000"/>
              </a:bodyPr>
              <a:lstStyle/>
              <a:p>
                <a:endParaRPr/>
              </a:p>
            </p:txBody>
          </p:sp>
        </p:grpSp>
        <p:grpSp>
          <p:nvGrpSpPr>
            <p:cNvPr id="10" name="îṣ1iḋe">
              <a:extLst>
                <a:ext uri="{FF2B5EF4-FFF2-40B4-BE49-F238E27FC236}">
                  <a16:creationId xmlns:a16="http://schemas.microsoft.com/office/drawing/2014/main" xmlns="" id="{31B3B97B-FE3D-42DD-8F2A-1128A7CA7473}"/>
                </a:ext>
              </a:extLst>
            </p:cNvPr>
            <p:cNvGrpSpPr/>
            <p:nvPr/>
          </p:nvGrpSpPr>
          <p:grpSpPr>
            <a:xfrm>
              <a:off x="5883941" y="4360632"/>
              <a:ext cx="2663890" cy="1035942"/>
              <a:chOff x="673100" y="2369060"/>
              <a:chExt cx="2663890" cy="1035942"/>
            </a:xfrm>
          </p:grpSpPr>
          <p:sp>
            <p:nvSpPr>
              <p:cNvPr id="20" name="îṥḻîḑê">
                <a:extLst>
                  <a:ext uri="{FF2B5EF4-FFF2-40B4-BE49-F238E27FC236}">
                    <a16:creationId xmlns:a16="http://schemas.microsoft.com/office/drawing/2014/main" xmlns="" id="{6B7C3B94-656E-4279-BF02-2C73261E0CC6}"/>
                  </a:ext>
                </a:extLst>
              </p:cNvPr>
              <p:cNvSpPr txBox="1"/>
              <p:nvPr/>
            </p:nvSpPr>
            <p:spPr>
              <a:xfrm flipH="1">
                <a:off x="673100" y="2876891"/>
                <a:ext cx="2663888" cy="52811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21" name="íṩḷîďè">
                <a:extLst>
                  <a:ext uri="{FF2B5EF4-FFF2-40B4-BE49-F238E27FC236}">
                    <a16:creationId xmlns:a16="http://schemas.microsoft.com/office/drawing/2014/main" xmlns="" id="{CC10FB2F-1CBF-4A29-B89B-364D697EC6FE}"/>
                  </a:ext>
                </a:extLst>
              </p:cNvPr>
              <p:cNvSpPr/>
              <p:nvPr/>
            </p:nvSpPr>
            <p:spPr>
              <a:xfrm flipH="1">
                <a:off x="673102" y="2369060"/>
                <a:ext cx="2663888" cy="507831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en-US" altLang="zh-CN" sz="2000" b="1" dirty="0"/>
                  <a:t>Text here</a:t>
                </a:r>
                <a:endParaRPr lang="zh-CN" altLang="en-US" sz="2000" b="1" dirty="0"/>
              </a:p>
            </p:txBody>
          </p:sp>
        </p:grpSp>
        <p:grpSp>
          <p:nvGrpSpPr>
            <p:cNvPr id="11" name="îşḷiḑe">
              <a:extLst>
                <a:ext uri="{FF2B5EF4-FFF2-40B4-BE49-F238E27FC236}">
                  <a16:creationId xmlns:a16="http://schemas.microsoft.com/office/drawing/2014/main" xmlns="" id="{1B30F3CB-A08C-407E-AEE7-70686C65B9BA}"/>
                </a:ext>
              </a:extLst>
            </p:cNvPr>
            <p:cNvGrpSpPr/>
            <p:nvPr/>
          </p:nvGrpSpPr>
          <p:grpSpPr>
            <a:xfrm>
              <a:off x="7749438" y="3266365"/>
              <a:ext cx="2663890" cy="1035942"/>
              <a:chOff x="673100" y="2369060"/>
              <a:chExt cx="2663890" cy="1035942"/>
            </a:xfrm>
          </p:grpSpPr>
          <p:sp>
            <p:nvSpPr>
              <p:cNvPr id="18" name="ïŝľïdé">
                <a:extLst>
                  <a:ext uri="{FF2B5EF4-FFF2-40B4-BE49-F238E27FC236}">
                    <a16:creationId xmlns:a16="http://schemas.microsoft.com/office/drawing/2014/main" xmlns="" id="{6B7C3B94-656E-4279-BF02-2C73261E0CC6}"/>
                  </a:ext>
                </a:extLst>
              </p:cNvPr>
              <p:cNvSpPr txBox="1"/>
              <p:nvPr/>
            </p:nvSpPr>
            <p:spPr>
              <a:xfrm flipH="1">
                <a:off x="673100" y="2876891"/>
                <a:ext cx="2663888" cy="52811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19" name="iṣlîďe">
                <a:extLst>
                  <a:ext uri="{FF2B5EF4-FFF2-40B4-BE49-F238E27FC236}">
                    <a16:creationId xmlns:a16="http://schemas.microsoft.com/office/drawing/2014/main" xmlns="" id="{CC10FB2F-1CBF-4A29-B89B-364D697EC6FE}"/>
                  </a:ext>
                </a:extLst>
              </p:cNvPr>
              <p:cNvSpPr/>
              <p:nvPr/>
            </p:nvSpPr>
            <p:spPr>
              <a:xfrm flipH="1">
                <a:off x="673102" y="2369060"/>
                <a:ext cx="2663888" cy="507831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en-US" altLang="zh-CN" sz="2000" b="1" dirty="0"/>
                  <a:t>Text here</a:t>
                </a:r>
                <a:endParaRPr lang="zh-CN" altLang="en-US" sz="2000" b="1" dirty="0"/>
              </a:p>
            </p:txBody>
          </p:sp>
        </p:grpSp>
        <p:grpSp>
          <p:nvGrpSpPr>
            <p:cNvPr id="12" name="í$ḻíḋè">
              <a:extLst>
                <a:ext uri="{FF2B5EF4-FFF2-40B4-BE49-F238E27FC236}">
                  <a16:creationId xmlns:a16="http://schemas.microsoft.com/office/drawing/2014/main" xmlns="" id="{E623D933-4D2C-461B-9F65-FD6AEDDFB966}"/>
                </a:ext>
              </a:extLst>
            </p:cNvPr>
            <p:cNvGrpSpPr/>
            <p:nvPr/>
          </p:nvGrpSpPr>
          <p:grpSpPr>
            <a:xfrm>
              <a:off x="3399379" y="5060640"/>
              <a:ext cx="2663890" cy="1035942"/>
              <a:chOff x="673100" y="2369060"/>
              <a:chExt cx="2663890" cy="1035942"/>
            </a:xfrm>
          </p:grpSpPr>
          <p:sp>
            <p:nvSpPr>
              <p:cNvPr id="16" name="íṧļïḋè">
                <a:extLst>
                  <a:ext uri="{FF2B5EF4-FFF2-40B4-BE49-F238E27FC236}">
                    <a16:creationId xmlns:a16="http://schemas.microsoft.com/office/drawing/2014/main" xmlns="" id="{6B7C3B94-656E-4279-BF02-2C73261E0CC6}"/>
                  </a:ext>
                </a:extLst>
              </p:cNvPr>
              <p:cNvSpPr txBox="1"/>
              <p:nvPr/>
            </p:nvSpPr>
            <p:spPr>
              <a:xfrm flipH="1">
                <a:off x="673100" y="2876891"/>
                <a:ext cx="2663888" cy="52811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17" name="îšḷîde">
                <a:extLst>
                  <a:ext uri="{FF2B5EF4-FFF2-40B4-BE49-F238E27FC236}">
                    <a16:creationId xmlns:a16="http://schemas.microsoft.com/office/drawing/2014/main" xmlns="" id="{CC10FB2F-1CBF-4A29-B89B-364D697EC6FE}"/>
                  </a:ext>
                </a:extLst>
              </p:cNvPr>
              <p:cNvSpPr/>
              <p:nvPr/>
            </p:nvSpPr>
            <p:spPr>
              <a:xfrm flipH="1">
                <a:off x="673102" y="2369060"/>
                <a:ext cx="2663888" cy="507831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en-US" altLang="zh-CN" sz="2000" b="1" dirty="0"/>
                  <a:t>Text here</a:t>
                </a:r>
                <a:endParaRPr lang="zh-CN" altLang="en-US" sz="2000" b="1" dirty="0"/>
              </a:p>
            </p:txBody>
          </p:sp>
        </p:grpSp>
        <p:grpSp>
          <p:nvGrpSpPr>
            <p:cNvPr id="13" name="îṡ1îḍé">
              <a:extLst>
                <a:ext uri="{FF2B5EF4-FFF2-40B4-BE49-F238E27FC236}">
                  <a16:creationId xmlns:a16="http://schemas.microsoft.com/office/drawing/2014/main" xmlns="" id="{81786D5E-F6A2-4FA9-A418-E0D528670B9C}"/>
                </a:ext>
              </a:extLst>
            </p:cNvPr>
            <p:cNvGrpSpPr/>
            <p:nvPr/>
          </p:nvGrpSpPr>
          <p:grpSpPr>
            <a:xfrm>
              <a:off x="673100" y="1130300"/>
              <a:ext cx="4275384" cy="1894333"/>
              <a:chOff x="673100" y="1130300"/>
              <a:chExt cx="4275384" cy="1894333"/>
            </a:xfrm>
          </p:grpSpPr>
          <p:sp>
            <p:nvSpPr>
              <p:cNvPr id="14" name="îSḻïḑè">
                <a:extLst>
                  <a:ext uri="{FF2B5EF4-FFF2-40B4-BE49-F238E27FC236}">
                    <a16:creationId xmlns:a16="http://schemas.microsoft.com/office/drawing/2014/main" xmlns="" id="{64DC2847-DA63-4AF3-B015-B0D0DC7F9B4A}"/>
                  </a:ext>
                </a:extLst>
              </p:cNvPr>
              <p:cNvSpPr txBox="1"/>
              <p:nvPr/>
            </p:nvSpPr>
            <p:spPr>
              <a:xfrm>
                <a:off x="673102" y="1130300"/>
                <a:ext cx="4275382" cy="8521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buSzPct val="25000"/>
                </a:pPr>
                <a:r>
                  <a:rPr lang="en-US" sz="2000" b="1" dirty="0"/>
                  <a:t>Unified fonts make</a:t>
                </a:r>
              </a:p>
              <a:p>
                <a:pPr>
                  <a:buSzPct val="25000"/>
                </a:pPr>
                <a:r>
                  <a:rPr lang="en-US" sz="2000" b="1" dirty="0"/>
                  <a:t>reading more fluent.</a:t>
                </a:r>
              </a:p>
            </p:txBody>
          </p:sp>
          <p:sp>
            <p:nvSpPr>
              <p:cNvPr id="15" name="îṧľïḓè">
                <a:extLst>
                  <a:ext uri="{FF2B5EF4-FFF2-40B4-BE49-F238E27FC236}">
                    <a16:creationId xmlns:a16="http://schemas.microsoft.com/office/drawing/2014/main" xmlns="" id="{23E9BBEA-FB54-47C3-BA28-CE85931B8740}"/>
                  </a:ext>
                </a:extLst>
              </p:cNvPr>
              <p:cNvSpPr txBox="1"/>
              <p:nvPr/>
            </p:nvSpPr>
            <p:spPr>
              <a:xfrm>
                <a:off x="673100" y="1982461"/>
                <a:ext cx="4275383" cy="10421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1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100" dirty="0"/>
                  <a:t>Adjust the spacing to adapt to Chinese typesetting, use the reference line in PPT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44616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957451C9-B163-4AB9-A0A9-A7DABD33A8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B5D4F99E-9E76-4634-8348-A27FBCB1FD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4D9300F0-DDA3-4533-AF49-82E68E13C7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5" name="21208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477388B4-B2F8-48AC-814A-DD6896AF2F70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739655" y="1134898"/>
            <a:ext cx="8712690" cy="5033981"/>
            <a:chOff x="1739655" y="1134898"/>
            <a:chExt cx="8712690" cy="5033981"/>
          </a:xfrm>
        </p:grpSpPr>
        <p:sp>
          <p:nvSpPr>
            <p:cNvPr id="6" name="ïşlîḋê">
              <a:extLst>
                <a:ext uri="{FF2B5EF4-FFF2-40B4-BE49-F238E27FC236}">
                  <a16:creationId xmlns:a16="http://schemas.microsoft.com/office/drawing/2014/main" xmlns="" id="{496A15DF-C94F-488F-B99C-2AA7DBAC0112}"/>
                </a:ext>
              </a:extLst>
            </p:cNvPr>
            <p:cNvSpPr/>
            <p:nvPr/>
          </p:nvSpPr>
          <p:spPr>
            <a:xfrm>
              <a:off x="3323830" y="3681175"/>
              <a:ext cx="568192" cy="568192"/>
            </a:xfrm>
            <a:prstGeom prst="ellipse">
              <a:avLst/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sz="1400" b="1" dirty="0"/>
            </a:p>
          </p:txBody>
        </p:sp>
        <p:sp>
          <p:nvSpPr>
            <p:cNvPr id="7" name="ïs1íḓè">
              <a:extLst>
                <a:ext uri="{FF2B5EF4-FFF2-40B4-BE49-F238E27FC236}">
                  <a16:creationId xmlns:a16="http://schemas.microsoft.com/office/drawing/2014/main" xmlns="" id="{390FD7B0-CEF8-406E-BAB3-3404E87EEBEB}"/>
                </a:ext>
              </a:extLst>
            </p:cNvPr>
            <p:cNvSpPr/>
            <p:nvPr/>
          </p:nvSpPr>
          <p:spPr>
            <a:xfrm>
              <a:off x="4036039" y="3681175"/>
              <a:ext cx="568192" cy="568192"/>
            </a:xfrm>
            <a:prstGeom prst="ellipse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 altLang="zh-CN" sz="1400" b="1" dirty="0"/>
            </a:p>
          </p:txBody>
        </p:sp>
        <p:sp>
          <p:nvSpPr>
            <p:cNvPr id="8" name="ïṩ1íḓê">
              <a:extLst>
                <a:ext uri="{FF2B5EF4-FFF2-40B4-BE49-F238E27FC236}">
                  <a16:creationId xmlns:a16="http://schemas.microsoft.com/office/drawing/2014/main" xmlns="" id="{05217BE7-D76D-46CE-AFD0-173117F145DC}"/>
                </a:ext>
              </a:extLst>
            </p:cNvPr>
            <p:cNvSpPr/>
            <p:nvPr/>
          </p:nvSpPr>
          <p:spPr>
            <a:xfrm>
              <a:off x="4748247" y="3681175"/>
              <a:ext cx="568192" cy="568192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 altLang="zh-CN" sz="1400" b="1" dirty="0"/>
            </a:p>
          </p:txBody>
        </p:sp>
        <p:sp>
          <p:nvSpPr>
            <p:cNvPr id="9" name="ïṣļiḓê">
              <a:extLst>
                <a:ext uri="{FF2B5EF4-FFF2-40B4-BE49-F238E27FC236}">
                  <a16:creationId xmlns:a16="http://schemas.microsoft.com/office/drawing/2014/main" xmlns="" id="{D7DC4C83-D292-4C8E-908E-AEFAE99ACC70}"/>
                </a:ext>
              </a:extLst>
            </p:cNvPr>
            <p:cNvSpPr/>
            <p:nvPr/>
          </p:nvSpPr>
          <p:spPr>
            <a:xfrm>
              <a:off x="7186833" y="3681175"/>
              <a:ext cx="568192" cy="568192"/>
            </a:xfrm>
            <a:prstGeom prst="ellipse">
              <a:avLst/>
            </a:prstGeom>
            <a:solidFill>
              <a:schemeClr val="bg1">
                <a:lumMod val="7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en-US" altLang="zh-CN" dirty="0"/>
            </a:p>
          </p:txBody>
        </p:sp>
        <p:sp>
          <p:nvSpPr>
            <p:cNvPr id="10" name="ïSľiďê">
              <a:extLst>
                <a:ext uri="{FF2B5EF4-FFF2-40B4-BE49-F238E27FC236}">
                  <a16:creationId xmlns:a16="http://schemas.microsoft.com/office/drawing/2014/main" xmlns="" id="{33BB1B2E-093A-4BD7-AF61-839FD5B3152C}"/>
                </a:ext>
              </a:extLst>
            </p:cNvPr>
            <p:cNvSpPr/>
            <p:nvPr/>
          </p:nvSpPr>
          <p:spPr>
            <a:xfrm>
              <a:off x="7899040" y="3681175"/>
              <a:ext cx="568192" cy="568192"/>
            </a:xfrm>
            <a:prstGeom prst="ellipse">
              <a:avLst/>
            </a:prstGeom>
            <a:solidFill>
              <a:schemeClr val="bg1">
                <a:lumMod val="75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en-US" altLang="zh-CN" dirty="0"/>
            </a:p>
          </p:txBody>
        </p:sp>
        <p:sp>
          <p:nvSpPr>
            <p:cNvPr id="11" name="íŝ1íḋè">
              <a:extLst>
                <a:ext uri="{FF2B5EF4-FFF2-40B4-BE49-F238E27FC236}">
                  <a16:creationId xmlns:a16="http://schemas.microsoft.com/office/drawing/2014/main" xmlns="" id="{282A6FD8-E31B-4197-86CA-EF2C03E2DC97}"/>
                </a:ext>
              </a:extLst>
            </p:cNvPr>
            <p:cNvSpPr/>
            <p:nvPr/>
          </p:nvSpPr>
          <p:spPr>
            <a:xfrm>
              <a:off x="5602656" y="3245191"/>
              <a:ext cx="1440160" cy="144016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2" name="îśḷîḓe">
              <a:extLst>
                <a:ext uri="{FF2B5EF4-FFF2-40B4-BE49-F238E27FC236}">
                  <a16:creationId xmlns:a16="http://schemas.microsoft.com/office/drawing/2014/main" xmlns="" id="{A1FB5617-0A71-4653-91E7-F18005193F84}"/>
                </a:ext>
              </a:extLst>
            </p:cNvPr>
            <p:cNvSpPr/>
            <p:nvPr/>
          </p:nvSpPr>
          <p:spPr bwMode="auto">
            <a:xfrm>
              <a:off x="5961393" y="3702343"/>
              <a:ext cx="722688" cy="525855"/>
            </a:xfrm>
            <a:custGeom>
              <a:avLst/>
              <a:gdLst>
                <a:gd name="connsiteX0" fmla="*/ 202379 w 606724"/>
                <a:gd name="connsiteY0" fmla="*/ 264752 h 441476"/>
                <a:gd name="connsiteX1" fmla="*/ 277521 w 606724"/>
                <a:gd name="connsiteY1" fmla="*/ 264752 h 441476"/>
                <a:gd name="connsiteX2" fmla="*/ 366033 w 606724"/>
                <a:gd name="connsiteY2" fmla="*/ 349892 h 441476"/>
                <a:gd name="connsiteX3" fmla="*/ 328692 w 606724"/>
                <a:gd name="connsiteY3" fmla="*/ 349892 h 441476"/>
                <a:gd name="connsiteX4" fmla="*/ 311635 w 606724"/>
                <a:gd name="connsiteY4" fmla="*/ 340228 h 441476"/>
                <a:gd name="connsiteX5" fmla="*/ 277521 w 606724"/>
                <a:gd name="connsiteY5" fmla="*/ 316757 h 441476"/>
                <a:gd name="connsiteX6" fmla="*/ 202379 w 606724"/>
                <a:gd name="connsiteY6" fmla="*/ 316757 h 441476"/>
                <a:gd name="connsiteX7" fmla="*/ 165960 w 606724"/>
                <a:gd name="connsiteY7" fmla="*/ 353114 h 441476"/>
                <a:gd name="connsiteX8" fmla="*/ 202379 w 606724"/>
                <a:gd name="connsiteY8" fmla="*/ 389471 h 441476"/>
                <a:gd name="connsiteX9" fmla="*/ 242485 w 606724"/>
                <a:gd name="connsiteY9" fmla="*/ 389471 h 441476"/>
                <a:gd name="connsiteX10" fmla="*/ 314401 w 606724"/>
                <a:gd name="connsiteY10" fmla="*/ 433652 h 441476"/>
                <a:gd name="connsiteX11" fmla="*/ 277521 w 606724"/>
                <a:gd name="connsiteY11" fmla="*/ 441476 h 441476"/>
                <a:gd name="connsiteX12" fmla="*/ 202379 w 606724"/>
                <a:gd name="connsiteY12" fmla="*/ 441476 h 441476"/>
                <a:gd name="connsiteX13" fmla="*/ 113867 w 606724"/>
                <a:gd name="connsiteY13" fmla="*/ 353114 h 441476"/>
                <a:gd name="connsiteX14" fmla="*/ 202379 w 606724"/>
                <a:gd name="connsiteY14" fmla="*/ 264752 h 441476"/>
                <a:gd name="connsiteX15" fmla="*/ 328704 w 606724"/>
                <a:gd name="connsiteY15" fmla="*/ 241209 h 441476"/>
                <a:gd name="connsiteX16" fmla="*/ 403863 w 606724"/>
                <a:gd name="connsiteY16" fmla="*/ 241209 h 441476"/>
                <a:gd name="connsiteX17" fmla="*/ 492856 w 606724"/>
                <a:gd name="connsiteY17" fmla="*/ 329637 h 441476"/>
                <a:gd name="connsiteX18" fmla="*/ 403863 w 606724"/>
                <a:gd name="connsiteY18" fmla="*/ 418525 h 441476"/>
                <a:gd name="connsiteX19" fmla="*/ 328704 w 606724"/>
                <a:gd name="connsiteY19" fmla="*/ 418525 h 441476"/>
                <a:gd name="connsiteX20" fmla="*/ 320404 w 606724"/>
                <a:gd name="connsiteY20" fmla="*/ 418064 h 441476"/>
                <a:gd name="connsiteX21" fmla="*/ 316715 w 606724"/>
                <a:gd name="connsiteY21" fmla="*/ 417604 h 441476"/>
                <a:gd name="connsiteX22" fmla="*/ 240172 w 606724"/>
                <a:gd name="connsiteY22" fmla="*/ 332861 h 441476"/>
                <a:gd name="connsiteX23" fmla="*/ 277521 w 606724"/>
                <a:gd name="connsiteY23" fmla="*/ 332861 h 441476"/>
                <a:gd name="connsiteX24" fmla="*/ 294582 w 606724"/>
                <a:gd name="connsiteY24" fmla="*/ 342532 h 441476"/>
                <a:gd name="connsiteX25" fmla="*/ 328704 w 606724"/>
                <a:gd name="connsiteY25" fmla="*/ 366021 h 441476"/>
                <a:gd name="connsiteX26" fmla="*/ 383114 w 606724"/>
                <a:gd name="connsiteY26" fmla="*/ 366021 h 441476"/>
                <a:gd name="connsiteX27" fmla="*/ 403863 w 606724"/>
                <a:gd name="connsiteY27" fmla="*/ 366021 h 441476"/>
                <a:gd name="connsiteX28" fmla="*/ 440290 w 606724"/>
                <a:gd name="connsiteY28" fmla="*/ 329637 h 441476"/>
                <a:gd name="connsiteX29" fmla="*/ 403863 w 606724"/>
                <a:gd name="connsiteY29" fmla="*/ 293252 h 441476"/>
                <a:gd name="connsiteX30" fmla="*/ 364208 w 606724"/>
                <a:gd name="connsiteY30" fmla="*/ 293252 h 441476"/>
                <a:gd name="connsiteX31" fmla="*/ 291815 w 606724"/>
                <a:gd name="connsiteY31" fmla="*/ 249499 h 441476"/>
                <a:gd name="connsiteX32" fmla="*/ 328704 w 606724"/>
                <a:gd name="connsiteY32" fmla="*/ 241209 h 441476"/>
                <a:gd name="connsiteX33" fmla="*/ 260025 w 606724"/>
                <a:gd name="connsiteY33" fmla="*/ 0 h 441476"/>
                <a:gd name="connsiteX34" fmla="*/ 349466 w 606724"/>
                <a:gd name="connsiteY34" fmla="*/ 29925 h 441476"/>
                <a:gd name="connsiteX35" fmla="*/ 360069 w 606724"/>
                <a:gd name="connsiteY35" fmla="*/ 33148 h 441476"/>
                <a:gd name="connsiteX36" fmla="*/ 367446 w 606724"/>
                <a:gd name="connsiteY36" fmla="*/ 32687 h 441476"/>
                <a:gd name="connsiteX37" fmla="*/ 473945 w 606724"/>
                <a:gd name="connsiteY37" fmla="*/ 86553 h 441476"/>
                <a:gd name="connsiteX38" fmla="*/ 485471 w 606724"/>
                <a:gd name="connsiteY38" fmla="*/ 92998 h 441476"/>
                <a:gd name="connsiteX39" fmla="*/ 606724 w 606724"/>
                <a:gd name="connsiteY39" fmla="*/ 224669 h 441476"/>
                <a:gd name="connsiteX40" fmla="*/ 516822 w 606724"/>
                <a:gd name="connsiteY40" fmla="*/ 349894 h 441476"/>
                <a:gd name="connsiteX41" fmla="*/ 518666 w 606724"/>
                <a:gd name="connsiteY41" fmla="*/ 329637 h 441476"/>
                <a:gd name="connsiteX42" fmla="*/ 513134 w 606724"/>
                <a:gd name="connsiteY42" fmla="*/ 294648 h 441476"/>
                <a:gd name="connsiteX43" fmla="*/ 554166 w 606724"/>
                <a:gd name="connsiteY43" fmla="*/ 224669 h 441476"/>
                <a:gd name="connsiteX44" fmla="*/ 473945 w 606724"/>
                <a:gd name="connsiteY44" fmla="*/ 144561 h 441476"/>
                <a:gd name="connsiteX45" fmla="*/ 466108 w 606724"/>
                <a:gd name="connsiteY45" fmla="*/ 145022 h 441476"/>
                <a:gd name="connsiteX46" fmla="*/ 439829 w 606724"/>
                <a:gd name="connsiteY46" fmla="*/ 130289 h 441476"/>
                <a:gd name="connsiteX47" fmla="*/ 367446 w 606724"/>
                <a:gd name="connsiteY47" fmla="*/ 84711 h 441476"/>
                <a:gd name="connsiteX48" fmla="*/ 351310 w 606724"/>
                <a:gd name="connsiteY48" fmla="*/ 86553 h 441476"/>
                <a:gd name="connsiteX49" fmla="*/ 327797 w 606724"/>
                <a:gd name="connsiteY49" fmla="*/ 79647 h 441476"/>
                <a:gd name="connsiteX50" fmla="*/ 260025 w 606724"/>
                <a:gd name="connsiteY50" fmla="*/ 52024 h 441476"/>
                <a:gd name="connsiteX51" fmla="*/ 166434 w 606724"/>
                <a:gd name="connsiteY51" fmla="*/ 125225 h 441476"/>
                <a:gd name="connsiteX52" fmla="*/ 139233 w 606724"/>
                <a:gd name="connsiteY52" fmla="*/ 145022 h 441476"/>
                <a:gd name="connsiteX53" fmla="*/ 132317 w 606724"/>
                <a:gd name="connsiteY53" fmla="*/ 144561 h 441476"/>
                <a:gd name="connsiteX54" fmla="*/ 52097 w 606724"/>
                <a:gd name="connsiteY54" fmla="*/ 224669 h 441476"/>
                <a:gd name="connsiteX55" fmla="*/ 101428 w 606724"/>
                <a:gd name="connsiteY55" fmla="*/ 298791 h 441476"/>
                <a:gd name="connsiteX56" fmla="*/ 88058 w 606724"/>
                <a:gd name="connsiteY56" fmla="*/ 348973 h 441476"/>
                <a:gd name="connsiteX57" fmla="*/ 0 w 606724"/>
                <a:gd name="connsiteY57" fmla="*/ 224669 h 441476"/>
                <a:gd name="connsiteX58" fmla="*/ 113876 w 606724"/>
                <a:gd name="connsiteY58" fmla="*/ 93459 h 441476"/>
                <a:gd name="connsiteX59" fmla="*/ 125863 w 606724"/>
                <a:gd name="connsiteY59" fmla="*/ 84711 h 441476"/>
                <a:gd name="connsiteX60" fmla="*/ 260025 w 606724"/>
                <a:gd name="connsiteY60" fmla="*/ 0 h 441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606724" h="441476">
                  <a:moveTo>
                    <a:pt x="202379" y="264752"/>
                  </a:moveTo>
                  <a:lnTo>
                    <a:pt x="277521" y="264752"/>
                  </a:lnTo>
                  <a:cubicBezTo>
                    <a:pt x="325465" y="264752"/>
                    <a:pt x="364650" y="302490"/>
                    <a:pt x="366033" y="349892"/>
                  </a:cubicBezTo>
                  <a:lnTo>
                    <a:pt x="328692" y="349892"/>
                  </a:lnTo>
                  <a:cubicBezTo>
                    <a:pt x="321316" y="349892"/>
                    <a:pt x="314401" y="346211"/>
                    <a:pt x="311635" y="340228"/>
                  </a:cubicBezTo>
                  <a:cubicBezTo>
                    <a:pt x="305642" y="325961"/>
                    <a:pt x="293195" y="316757"/>
                    <a:pt x="277521" y="316757"/>
                  </a:cubicBezTo>
                  <a:lnTo>
                    <a:pt x="202379" y="316757"/>
                  </a:lnTo>
                  <a:cubicBezTo>
                    <a:pt x="182556" y="316757"/>
                    <a:pt x="165960" y="332864"/>
                    <a:pt x="165960" y="353114"/>
                  </a:cubicBezTo>
                  <a:cubicBezTo>
                    <a:pt x="165960" y="373364"/>
                    <a:pt x="182556" y="389471"/>
                    <a:pt x="202379" y="389471"/>
                  </a:cubicBezTo>
                  <a:lnTo>
                    <a:pt x="242485" y="389471"/>
                  </a:lnTo>
                  <a:cubicBezTo>
                    <a:pt x="259081" y="412942"/>
                    <a:pt x="284897" y="429510"/>
                    <a:pt x="314401" y="433652"/>
                  </a:cubicBezTo>
                  <a:cubicBezTo>
                    <a:pt x="303337" y="438715"/>
                    <a:pt x="290890" y="441476"/>
                    <a:pt x="277521" y="441476"/>
                  </a:cubicBezTo>
                  <a:lnTo>
                    <a:pt x="202379" y="441476"/>
                  </a:lnTo>
                  <a:cubicBezTo>
                    <a:pt x="153513" y="441476"/>
                    <a:pt x="113867" y="401897"/>
                    <a:pt x="113867" y="353114"/>
                  </a:cubicBezTo>
                  <a:cubicBezTo>
                    <a:pt x="113867" y="304331"/>
                    <a:pt x="153513" y="264752"/>
                    <a:pt x="202379" y="264752"/>
                  </a:cubicBezTo>
                  <a:close/>
                  <a:moveTo>
                    <a:pt x="328704" y="241209"/>
                  </a:moveTo>
                  <a:lnTo>
                    <a:pt x="403863" y="241209"/>
                  </a:lnTo>
                  <a:cubicBezTo>
                    <a:pt x="452740" y="241209"/>
                    <a:pt x="492856" y="280817"/>
                    <a:pt x="492856" y="329637"/>
                  </a:cubicBezTo>
                  <a:cubicBezTo>
                    <a:pt x="492856" y="378456"/>
                    <a:pt x="452740" y="418525"/>
                    <a:pt x="403863" y="418525"/>
                  </a:cubicBezTo>
                  <a:lnTo>
                    <a:pt x="328704" y="418525"/>
                  </a:lnTo>
                  <a:cubicBezTo>
                    <a:pt x="325937" y="418525"/>
                    <a:pt x="323170" y="418064"/>
                    <a:pt x="320404" y="418064"/>
                  </a:cubicBezTo>
                  <a:lnTo>
                    <a:pt x="316715" y="417604"/>
                  </a:lnTo>
                  <a:cubicBezTo>
                    <a:pt x="265994" y="411617"/>
                    <a:pt x="240172" y="364639"/>
                    <a:pt x="240172" y="332861"/>
                  </a:cubicBezTo>
                  <a:lnTo>
                    <a:pt x="277521" y="332861"/>
                  </a:lnTo>
                  <a:cubicBezTo>
                    <a:pt x="284438" y="332861"/>
                    <a:pt x="291815" y="336085"/>
                    <a:pt x="294582" y="342532"/>
                  </a:cubicBezTo>
                  <a:cubicBezTo>
                    <a:pt x="305649" y="366482"/>
                    <a:pt x="327320" y="366021"/>
                    <a:pt x="328704" y="366021"/>
                  </a:cubicBezTo>
                  <a:lnTo>
                    <a:pt x="383114" y="366021"/>
                  </a:lnTo>
                  <a:lnTo>
                    <a:pt x="403863" y="366021"/>
                  </a:lnTo>
                  <a:cubicBezTo>
                    <a:pt x="424152" y="366021"/>
                    <a:pt x="440290" y="349901"/>
                    <a:pt x="440290" y="329637"/>
                  </a:cubicBezTo>
                  <a:cubicBezTo>
                    <a:pt x="440290" y="309833"/>
                    <a:pt x="424152" y="293252"/>
                    <a:pt x="403863" y="293252"/>
                  </a:cubicBezTo>
                  <a:lnTo>
                    <a:pt x="364208" y="293252"/>
                  </a:lnTo>
                  <a:cubicBezTo>
                    <a:pt x="347609" y="269764"/>
                    <a:pt x="321787" y="253184"/>
                    <a:pt x="291815" y="249499"/>
                  </a:cubicBezTo>
                  <a:cubicBezTo>
                    <a:pt x="303343" y="243972"/>
                    <a:pt x="315793" y="241209"/>
                    <a:pt x="328704" y="241209"/>
                  </a:cubicBezTo>
                  <a:close/>
                  <a:moveTo>
                    <a:pt x="260025" y="0"/>
                  </a:moveTo>
                  <a:cubicBezTo>
                    <a:pt x="292758" y="0"/>
                    <a:pt x="323648" y="10589"/>
                    <a:pt x="349466" y="29925"/>
                  </a:cubicBezTo>
                  <a:cubicBezTo>
                    <a:pt x="352232" y="32227"/>
                    <a:pt x="355920" y="33148"/>
                    <a:pt x="360069" y="33148"/>
                  </a:cubicBezTo>
                  <a:cubicBezTo>
                    <a:pt x="362375" y="32687"/>
                    <a:pt x="365141" y="32687"/>
                    <a:pt x="367446" y="32687"/>
                  </a:cubicBezTo>
                  <a:cubicBezTo>
                    <a:pt x="409861" y="32687"/>
                    <a:pt x="449511" y="53405"/>
                    <a:pt x="473945" y="86553"/>
                  </a:cubicBezTo>
                  <a:cubicBezTo>
                    <a:pt x="476712" y="90236"/>
                    <a:pt x="480861" y="92538"/>
                    <a:pt x="485471" y="92998"/>
                  </a:cubicBezTo>
                  <a:cubicBezTo>
                    <a:pt x="553244" y="98523"/>
                    <a:pt x="606724" y="155611"/>
                    <a:pt x="606724" y="224669"/>
                  </a:cubicBezTo>
                  <a:cubicBezTo>
                    <a:pt x="606724" y="282678"/>
                    <a:pt x="568919" y="331939"/>
                    <a:pt x="516822" y="349894"/>
                  </a:cubicBezTo>
                  <a:cubicBezTo>
                    <a:pt x="518205" y="343449"/>
                    <a:pt x="518666" y="336543"/>
                    <a:pt x="518666" y="329637"/>
                  </a:cubicBezTo>
                  <a:cubicBezTo>
                    <a:pt x="518666" y="317667"/>
                    <a:pt x="516822" y="305697"/>
                    <a:pt x="513134" y="294648"/>
                  </a:cubicBezTo>
                  <a:cubicBezTo>
                    <a:pt x="537569" y="280836"/>
                    <a:pt x="554166" y="254594"/>
                    <a:pt x="554166" y="224669"/>
                  </a:cubicBezTo>
                  <a:cubicBezTo>
                    <a:pt x="554166" y="180472"/>
                    <a:pt x="518205" y="144561"/>
                    <a:pt x="473945" y="144561"/>
                  </a:cubicBezTo>
                  <a:cubicBezTo>
                    <a:pt x="471179" y="144561"/>
                    <a:pt x="468874" y="144561"/>
                    <a:pt x="466108" y="145022"/>
                  </a:cubicBezTo>
                  <a:cubicBezTo>
                    <a:pt x="455043" y="145943"/>
                    <a:pt x="444439" y="139958"/>
                    <a:pt x="439829" y="130289"/>
                  </a:cubicBezTo>
                  <a:cubicBezTo>
                    <a:pt x="426459" y="102206"/>
                    <a:pt x="398797" y="84711"/>
                    <a:pt x="367446" y="84711"/>
                  </a:cubicBezTo>
                  <a:cubicBezTo>
                    <a:pt x="361914" y="84711"/>
                    <a:pt x="356381" y="85632"/>
                    <a:pt x="351310" y="86553"/>
                  </a:cubicBezTo>
                  <a:cubicBezTo>
                    <a:pt x="342550" y="88394"/>
                    <a:pt x="333790" y="85632"/>
                    <a:pt x="327797" y="79647"/>
                  </a:cubicBezTo>
                  <a:cubicBezTo>
                    <a:pt x="309355" y="62152"/>
                    <a:pt x="285382" y="52024"/>
                    <a:pt x="260025" y="52024"/>
                  </a:cubicBezTo>
                  <a:cubicBezTo>
                    <a:pt x="215765" y="52024"/>
                    <a:pt x="177499" y="82409"/>
                    <a:pt x="166434" y="125225"/>
                  </a:cubicBezTo>
                  <a:cubicBezTo>
                    <a:pt x="163668" y="137656"/>
                    <a:pt x="151681" y="145943"/>
                    <a:pt x="139233" y="145022"/>
                  </a:cubicBezTo>
                  <a:cubicBezTo>
                    <a:pt x="136928" y="144561"/>
                    <a:pt x="134623" y="144561"/>
                    <a:pt x="132317" y="144561"/>
                  </a:cubicBezTo>
                  <a:cubicBezTo>
                    <a:pt x="88058" y="144561"/>
                    <a:pt x="52097" y="180472"/>
                    <a:pt x="52097" y="224669"/>
                  </a:cubicBezTo>
                  <a:cubicBezTo>
                    <a:pt x="52097" y="257817"/>
                    <a:pt x="72844" y="286361"/>
                    <a:pt x="101428" y="298791"/>
                  </a:cubicBezTo>
                  <a:cubicBezTo>
                    <a:pt x="93590" y="313523"/>
                    <a:pt x="88519" y="331018"/>
                    <a:pt x="88058" y="348973"/>
                  </a:cubicBezTo>
                  <a:cubicBezTo>
                    <a:pt x="36883" y="331018"/>
                    <a:pt x="0" y="282217"/>
                    <a:pt x="0" y="224669"/>
                  </a:cubicBezTo>
                  <a:cubicBezTo>
                    <a:pt x="0" y="157913"/>
                    <a:pt x="49331" y="102666"/>
                    <a:pt x="113876" y="93459"/>
                  </a:cubicBezTo>
                  <a:cubicBezTo>
                    <a:pt x="118947" y="92998"/>
                    <a:pt x="123558" y="89775"/>
                    <a:pt x="125863" y="84711"/>
                  </a:cubicBezTo>
                  <a:cubicBezTo>
                    <a:pt x="150298" y="33608"/>
                    <a:pt x="201934" y="0"/>
                    <a:pt x="26002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lang="zh-CN" altLang="en-US"/>
            </a:p>
          </p:txBody>
        </p:sp>
        <p:grpSp>
          <p:nvGrpSpPr>
            <p:cNvPr id="13" name="íṣ1iḑê">
              <a:extLst>
                <a:ext uri="{FF2B5EF4-FFF2-40B4-BE49-F238E27FC236}">
                  <a16:creationId xmlns:a16="http://schemas.microsoft.com/office/drawing/2014/main" xmlns="" id="{A6805E7F-D847-497D-8C0C-71F0A1324FDA}"/>
                </a:ext>
              </a:extLst>
            </p:cNvPr>
            <p:cNvGrpSpPr/>
            <p:nvPr/>
          </p:nvGrpSpPr>
          <p:grpSpPr>
            <a:xfrm>
              <a:off x="1739655" y="3245191"/>
              <a:ext cx="1440160" cy="1440160"/>
              <a:chOff x="1512918" y="2057265"/>
              <a:chExt cx="1440160" cy="1440160"/>
            </a:xfrm>
          </p:grpSpPr>
          <p:sp>
            <p:nvSpPr>
              <p:cNvPr id="27" name="ïṡľiďe">
                <a:extLst>
                  <a:ext uri="{FF2B5EF4-FFF2-40B4-BE49-F238E27FC236}">
                    <a16:creationId xmlns:a16="http://schemas.microsoft.com/office/drawing/2014/main" xmlns="" id="{CE75E0A7-A790-41B6-AB09-BBA3836B2123}"/>
                  </a:ext>
                </a:extLst>
              </p:cNvPr>
              <p:cNvSpPr/>
              <p:nvPr/>
            </p:nvSpPr>
            <p:spPr>
              <a:xfrm>
                <a:off x="1512918" y="2057265"/>
                <a:ext cx="1440160" cy="144016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8" name="ís1ïdè">
                <a:extLst>
                  <a:ext uri="{FF2B5EF4-FFF2-40B4-BE49-F238E27FC236}">
                    <a16:creationId xmlns:a16="http://schemas.microsoft.com/office/drawing/2014/main" xmlns="" id="{A1FB5617-0A71-4653-91E7-F18005193F84}"/>
                  </a:ext>
                </a:extLst>
              </p:cNvPr>
              <p:cNvSpPr/>
              <p:nvPr/>
            </p:nvSpPr>
            <p:spPr bwMode="auto">
              <a:xfrm>
                <a:off x="1871654" y="2468590"/>
                <a:ext cx="722688" cy="617510"/>
              </a:xfrm>
              <a:custGeom>
                <a:avLst/>
                <a:gdLst>
                  <a:gd name="connsiteX0" fmla="*/ 560224 w 607107"/>
                  <a:gd name="connsiteY0" fmla="*/ 279860 h 518750"/>
                  <a:gd name="connsiteX1" fmla="*/ 582459 w 607107"/>
                  <a:gd name="connsiteY1" fmla="*/ 280220 h 518750"/>
                  <a:gd name="connsiteX2" fmla="*/ 606440 w 607107"/>
                  <a:gd name="connsiteY2" fmla="*/ 300513 h 518750"/>
                  <a:gd name="connsiteX3" fmla="*/ 596135 w 607107"/>
                  <a:gd name="connsiteY3" fmla="*/ 329751 h 518750"/>
                  <a:gd name="connsiteX4" fmla="*/ 571865 w 607107"/>
                  <a:gd name="connsiteY4" fmla="*/ 348793 h 518750"/>
                  <a:gd name="connsiteX5" fmla="*/ 371834 w 607107"/>
                  <a:gd name="connsiteY5" fmla="*/ 500269 h 518750"/>
                  <a:gd name="connsiteX6" fmla="*/ 134050 w 607107"/>
                  <a:gd name="connsiteY6" fmla="*/ 494210 h 518750"/>
                  <a:gd name="connsiteX7" fmla="*/ 67213 w 607107"/>
                  <a:gd name="connsiteY7" fmla="*/ 511040 h 518750"/>
                  <a:gd name="connsiteX8" fmla="*/ 61145 w 607107"/>
                  <a:gd name="connsiteY8" fmla="*/ 511040 h 518750"/>
                  <a:gd name="connsiteX9" fmla="*/ 59701 w 607107"/>
                  <a:gd name="connsiteY9" fmla="*/ 510560 h 518750"/>
                  <a:gd name="connsiteX10" fmla="*/ 55656 w 607107"/>
                  <a:gd name="connsiteY10" fmla="*/ 507674 h 518750"/>
                  <a:gd name="connsiteX11" fmla="*/ 7502 w 607107"/>
                  <a:gd name="connsiteY11" fmla="*/ 432081 h 518750"/>
                  <a:gd name="connsiteX12" fmla="*/ 1435 w 607107"/>
                  <a:gd name="connsiteY12" fmla="*/ 423521 h 518750"/>
                  <a:gd name="connsiteX13" fmla="*/ 183 w 607107"/>
                  <a:gd name="connsiteY13" fmla="*/ 417077 h 518750"/>
                  <a:gd name="connsiteX14" fmla="*/ 4131 w 607107"/>
                  <a:gd name="connsiteY14" fmla="*/ 411788 h 518750"/>
                  <a:gd name="connsiteX15" fmla="*/ 95527 w 607107"/>
                  <a:gd name="connsiteY15" fmla="*/ 376588 h 518750"/>
                  <a:gd name="connsiteX16" fmla="*/ 266570 w 607107"/>
                  <a:gd name="connsiteY16" fmla="*/ 330231 h 518750"/>
                  <a:gd name="connsiteX17" fmla="*/ 327147 w 607107"/>
                  <a:gd name="connsiteY17" fmla="*/ 372741 h 518750"/>
                  <a:gd name="connsiteX18" fmla="*/ 233536 w 607107"/>
                  <a:gd name="connsiteY18" fmla="*/ 417943 h 518750"/>
                  <a:gd name="connsiteX19" fmla="*/ 360084 w 607107"/>
                  <a:gd name="connsiteY19" fmla="*/ 366393 h 518750"/>
                  <a:gd name="connsiteX20" fmla="*/ 365285 w 607107"/>
                  <a:gd name="connsiteY20" fmla="*/ 359372 h 518750"/>
                  <a:gd name="connsiteX21" fmla="*/ 524482 w 607107"/>
                  <a:gd name="connsiteY21" fmla="*/ 291473 h 518750"/>
                  <a:gd name="connsiteX22" fmla="*/ 560224 w 607107"/>
                  <a:gd name="connsiteY22" fmla="*/ 279860 h 518750"/>
                  <a:gd name="connsiteX23" fmla="*/ 231201 w 607107"/>
                  <a:gd name="connsiteY23" fmla="*/ 114447 h 518750"/>
                  <a:gd name="connsiteX24" fmla="*/ 227733 w 607107"/>
                  <a:gd name="connsiteY24" fmla="*/ 115409 h 518750"/>
                  <a:gd name="connsiteX25" fmla="*/ 204232 w 607107"/>
                  <a:gd name="connsiteY25" fmla="*/ 127912 h 518750"/>
                  <a:gd name="connsiteX26" fmla="*/ 200572 w 607107"/>
                  <a:gd name="connsiteY26" fmla="*/ 136280 h 518750"/>
                  <a:gd name="connsiteX27" fmla="*/ 203269 w 607107"/>
                  <a:gd name="connsiteY27" fmla="*/ 146860 h 518750"/>
                  <a:gd name="connsiteX28" fmla="*/ 207410 w 607107"/>
                  <a:gd name="connsiteY28" fmla="*/ 151862 h 518750"/>
                  <a:gd name="connsiteX29" fmla="*/ 213960 w 607107"/>
                  <a:gd name="connsiteY29" fmla="*/ 151573 h 518750"/>
                  <a:gd name="connsiteX30" fmla="*/ 222340 w 607107"/>
                  <a:gd name="connsiteY30" fmla="*/ 147053 h 518750"/>
                  <a:gd name="connsiteX31" fmla="*/ 222340 w 607107"/>
                  <a:gd name="connsiteY31" fmla="*/ 230058 h 518750"/>
                  <a:gd name="connsiteX32" fmla="*/ 229756 w 607107"/>
                  <a:gd name="connsiteY32" fmla="*/ 237464 h 518750"/>
                  <a:gd name="connsiteX33" fmla="*/ 243433 w 607107"/>
                  <a:gd name="connsiteY33" fmla="*/ 237464 h 518750"/>
                  <a:gd name="connsiteX34" fmla="*/ 250850 w 607107"/>
                  <a:gd name="connsiteY34" fmla="*/ 230058 h 518750"/>
                  <a:gd name="connsiteX35" fmla="*/ 250850 w 607107"/>
                  <a:gd name="connsiteY35" fmla="*/ 121853 h 518750"/>
                  <a:gd name="connsiteX36" fmla="*/ 243433 w 607107"/>
                  <a:gd name="connsiteY36" fmla="*/ 114447 h 518750"/>
                  <a:gd name="connsiteX37" fmla="*/ 230719 w 607107"/>
                  <a:gd name="connsiteY37" fmla="*/ 76070 h 518750"/>
                  <a:gd name="connsiteX38" fmla="*/ 330794 w 607107"/>
                  <a:gd name="connsiteY38" fmla="*/ 176004 h 518750"/>
                  <a:gd name="connsiteX39" fmla="*/ 230719 w 607107"/>
                  <a:gd name="connsiteY39" fmla="*/ 275841 h 518750"/>
                  <a:gd name="connsiteX40" fmla="*/ 130741 w 607107"/>
                  <a:gd name="connsiteY40" fmla="*/ 176004 h 518750"/>
                  <a:gd name="connsiteX41" fmla="*/ 230719 w 607107"/>
                  <a:gd name="connsiteY41" fmla="*/ 76070 h 518750"/>
                  <a:gd name="connsiteX42" fmla="*/ 371906 w 607107"/>
                  <a:gd name="connsiteY42" fmla="*/ 39432 h 518750"/>
                  <a:gd name="connsiteX43" fmla="*/ 368246 w 607107"/>
                  <a:gd name="connsiteY43" fmla="*/ 40297 h 518750"/>
                  <a:gd name="connsiteX44" fmla="*/ 344168 w 607107"/>
                  <a:gd name="connsiteY44" fmla="*/ 53185 h 518750"/>
                  <a:gd name="connsiteX45" fmla="*/ 340412 w 607107"/>
                  <a:gd name="connsiteY45" fmla="*/ 61744 h 518750"/>
                  <a:gd name="connsiteX46" fmla="*/ 343109 w 607107"/>
                  <a:gd name="connsiteY46" fmla="*/ 72612 h 518750"/>
                  <a:gd name="connsiteX47" fmla="*/ 347443 w 607107"/>
                  <a:gd name="connsiteY47" fmla="*/ 77709 h 518750"/>
                  <a:gd name="connsiteX48" fmla="*/ 354089 w 607107"/>
                  <a:gd name="connsiteY48" fmla="*/ 77421 h 518750"/>
                  <a:gd name="connsiteX49" fmla="*/ 362757 w 607107"/>
                  <a:gd name="connsiteY49" fmla="*/ 72804 h 518750"/>
                  <a:gd name="connsiteX50" fmla="*/ 362757 w 607107"/>
                  <a:gd name="connsiteY50" fmla="*/ 157919 h 518750"/>
                  <a:gd name="connsiteX51" fmla="*/ 370365 w 607107"/>
                  <a:gd name="connsiteY51" fmla="*/ 165517 h 518750"/>
                  <a:gd name="connsiteX52" fmla="*/ 384331 w 607107"/>
                  <a:gd name="connsiteY52" fmla="*/ 165517 h 518750"/>
                  <a:gd name="connsiteX53" fmla="*/ 391939 w 607107"/>
                  <a:gd name="connsiteY53" fmla="*/ 157919 h 518750"/>
                  <a:gd name="connsiteX54" fmla="*/ 391939 w 607107"/>
                  <a:gd name="connsiteY54" fmla="*/ 47029 h 518750"/>
                  <a:gd name="connsiteX55" fmla="*/ 384331 w 607107"/>
                  <a:gd name="connsiteY55" fmla="*/ 39432 h 518750"/>
                  <a:gd name="connsiteX56" fmla="*/ 371328 w 607107"/>
                  <a:gd name="connsiteY56" fmla="*/ 0 h 518750"/>
                  <a:gd name="connsiteX57" fmla="*/ 473901 w 607107"/>
                  <a:gd name="connsiteY57" fmla="*/ 102426 h 518750"/>
                  <a:gd name="connsiteX58" fmla="*/ 371328 w 607107"/>
                  <a:gd name="connsiteY58" fmla="*/ 204852 h 518750"/>
                  <a:gd name="connsiteX59" fmla="*/ 342531 w 607107"/>
                  <a:gd name="connsiteY59" fmla="*/ 200717 h 518750"/>
                  <a:gd name="connsiteX60" fmla="*/ 348117 w 607107"/>
                  <a:gd name="connsiteY60" fmla="*/ 167440 h 518750"/>
                  <a:gd name="connsiteX61" fmla="*/ 274342 w 607107"/>
                  <a:gd name="connsiteY61" fmla="*/ 69150 h 518750"/>
                  <a:gd name="connsiteX62" fmla="*/ 371328 w 607107"/>
                  <a:gd name="connsiteY62" fmla="*/ 0 h 51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607107" h="518750">
                    <a:moveTo>
                      <a:pt x="560224" y="279860"/>
                    </a:moveTo>
                    <a:cubicBezTo>
                      <a:pt x="569819" y="278441"/>
                      <a:pt x="577162" y="279018"/>
                      <a:pt x="582459" y="280220"/>
                    </a:cubicBezTo>
                    <a:cubicBezTo>
                      <a:pt x="595268" y="283010"/>
                      <a:pt x="604032" y="289742"/>
                      <a:pt x="606440" y="300513"/>
                    </a:cubicBezTo>
                    <a:cubicBezTo>
                      <a:pt x="608751" y="310804"/>
                      <a:pt x="604995" y="322826"/>
                      <a:pt x="596135" y="329751"/>
                    </a:cubicBezTo>
                    <a:cubicBezTo>
                      <a:pt x="587949" y="336098"/>
                      <a:pt x="579762" y="342542"/>
                      <a:pt x="571865" y="348793"/>
                    </a:cubicBezTo>
                    <a:lnTo>
                      <a:pt x="371834" y="500269"/>
                    </a:lnTo>
                    <a:cubicBezTo>
                      <a:pt x="306826" y="545471"/>
                      <a:pt x="137614" y="493440"/>
                      <a:pt x="134050" y="494210"/>
                    </a:cubicBezTo>
                    <a:lnTo>
                      <a:pt x="67213" y="511040"/>
                    </a:lnTo>
                    <a:cubicBezTo>
                      <a:pt x="65479" y="511521"/>
                      <a:pt x="63264" y="511425"/>
                      <a:pt x="61145" y="511040"/>
                    </a:cubicBezTo>
                    <a:cubicBezTo>
                      <a:pt x="60567" y="510848"/>
                      <a:pt x="60086" y="510752"/>
                      <a:pt x="59701" y="510560"/>
                    </a:cubicBezTo>
                    <a:cubicBezTo>
                      <a:pt x="58063" y="510079"/>
                      <a:pt x="56715" y="509021"/>
                      <a:pt x="55656" y="507674"/>
                    </a:cubicBezTo>
                    <a:cubicBezTo>
                      <a:pt x="40150" y="486131"/>
                      <a:pt x="22430" y="453335"/>
                      <a:pt x="7502" y="432081"/>
                    </a:cubicBezTo>
                    <a:lnTo>
                      <a:pt x="1435" y="423521"/>
                    </a:lnTo>
                    <a:cubicBezTo>
                      <a:pt x="183" y="421694"/>
                      <a:pt x="-299" y="419289"/>
                      <a:pt x="183" y="417077"/>
                    </a:cubicBezTo>
                    <a:cubicBezTo>
                      <a:pt x="664" y="414865"/>
                      <a:pt x="1723" y="412750"/>
                      <a:pt x="4131" y="411788"/>
                    </a:cubicBezTo>
                    <a:lnTo>
                      <a:pt x="95527" y="376588"/>
                    </a:lnTo>
                    <a:cubicBezTo>
                      <a:pt x="155816" y="356487"/>
                      <a:pt x="154179" y="328885"/>
                      <a:pt x="266570" y="330231"/>
                    </a:cubicBezTo>
                    <a:cubicBezTo>
                      <a:pt x="296618" y="330520"/>
                      <a:pt x="351706" y="324172"/>
                      <a:pt x="327147" y="372741"/>
                    </a:cubicBezTo>
                    <a:cubicBezTo>
                      <a:pt x="316650" y="393515"/>
                      <a:pt x="281979" y="420059"/>
                      <a:pt x="233536" y="417943"/>
                    </a:cubicBezTo>
                    <a:cubicBezTo>
                      <a:pt x="233344" y="419193"/>
                      <a:pt x="327244" y="456605"/>
                      <a:pt x="360084" y="366393"/>
                    </a:cubicBezTo>
                    <a:cubicBezTo>
                      <a:pt x="360084" y="366393"/>
                      <a:pt x="361433" y="361007"/>
                      <a:pt x="365285" y="359372"/>
                    </a:cubicBezTo>
                    <a:cubicBezTo>
                      <a:pt x="389940" y="348793"/>
                      <a:pt x="522459" y="292338"/>
                      <a:pt x="524482" y="291473"/>
                    </a:cubicBezTo>
                    <a:cubicBezTo>
                      <a:pt x="538784" y="284693"/>
                      <a:pt x="550629" y="281278"/>
                      <a:pt x="560224" y="279860"/>
                    </a:cubicBezTo>
                    <a:close/>
                    <a:moveTo>
                      <a:pt x="231201" y="114447"/>
                    </a:moveTo>
                    <a:cubicBezTo>
                      <a:pt x="230045" y="114447"/>
                      <a:pt x="228793" y="114832"/>
                      <a:pt x="227733" y="115409"/>
                    </a:cubicBezTo>
                    <a:lnTo>
                      <a:pt x="204232" y="127912"/>
                    </a:lnTo>
                    <a:cubicBezTo>
                      <a:pt x="201246" y="129548"/>
                      <a:pt x="199705" y="133010"/>
                      <a:pt x="200572" y="136280"/>
                    </a:cubicBezTo>
                    <a:lnTo>
                      <a:pt x="203269" y="146860"/>
                    </a:lnTo>
                    <a:cubicBezTo>
                      <a:pt x="203847" y="149073"/>
                      <a:pt x="205388" y="150900"/>
                      <a:pt x="207410" y="151862"/>
                    </a:cubicBezTo>
                    <a:cubicBezTo>
                      <a:pt x="209529" y="152727"/>
                      <a:pt x="211937" y="152631"/>
                      <a:pt x="213960" y="151573"/>
                    </a:cubicBezTo>
                    <a:lnTo>
                      <a:pt x="222340" y="147053"/>
                    </a:lnTo>
                    <a:lnTo>
                      <a:pt x="222340" y="230058"/>
                    </a:lnTo>
                    <a:cubicBezTo>
                      <a:pt x="222340" y="234098"/>
                      <a:pt x="225711" y="237464"/>
                      <a:pt x="229756" y="237464"/>
                    </a:cubicBezTo>
                    <a:lnTo>
                      <a:pt x="243433" y="237464"/>
                    </a:lnTo>
                    <a:cubicBezTo>
                      <a:pt x="247479" y="237464"/>
                      <a:pt x="250850" y="234098"/>
                      <a:pt x="250850" y="230058"/>
                    </a:cubicBezTo>
                    <a:lnTo>
                      <a:pt x="250850" y="121853"/>
                    </a:lnTo>
                    <a:cubicBezTo>
                      <a:pt x="250850" y="117813"/>
                      <a:pt x="247479" y="114447"/>
                      <a:pt x="243433" y="114447"/>
                    </a:cubicBezTo>
                    <a:close/>
                    <a:moveTo>
                      <a:pt x="230719" y="76070"/>
                    </a:moveTo>
                    <a:cubicBezTo>
                      <a:pt x="286006" y="76070"/>
                      <a:pt x="330794" y="120795"/>
                      <a:pt x="330794" y="176004"/>
                    </a:cubicBezTo>
                    <a:cubicBezTo>
                      <a:pt x="330794" y="231116"/>
                      <a:pt x="286006" y="275841"/>
                      <a:pt x="230719" y="275841"/>
                    </a:cubicBezTo>
                    <a:cubicBezTo>
                      <a:pt x="175529" y="275841"/>
                      <a:pt x="130741" y="231116"/>
                      <a:pt x="130741" y="176004"/>
                    </a:cubicBezTo>
                    <a:cubicBezTo>
                      <a:pt x="130741" y="120795"/>
                      <a:pt x="175529" y="76070"/>
                      <a:pt x="230719" y="76070"/>
                    </a:cubicBezTo>
                    <a:close/>
                    <a:moveTo>
                      <a:pt x="371906" y="39432"/>
                    </a:moveTo>
                    <a:cubicBezTo>
                      <a:pt x="370654" y="39432"/>
                      <a:pt x="369402" y="39720"/>
                      <a:pt x="368246" y="40297"/>
                    </a:cubicBezTo>
                    <a:lnTo>
                      <a:pt x="344168" y="53185"/>
                    </a:lnTo>
                    <a:cubicBezTo>
                      <a:pt x="341086" y="54819"/>
                      <a:pt x="339545" y="58378"/>
                      <a:pt x="340412" y="61744"/>
                    </a:cubicBezTo>
                    <a:lnTo>
                      <a:pt x="343109" y="72612"/>
                    </a:lnTo>
                    <a:cubicBezTo>
                      <a:pt x="343687" y="74920"/>
                      <a:pt x="345324" y="76747"/>
                      <a:pt x="347443" y="77709"/>
                    </a:cubicBezTo>
                    <a:cubicBezTo>
                      <a:pt x="349562" y="78671"/>
                      <a:pt x="352066" y="78575"/>
                      <a:pt x="354089" y="77421"/>
                    </a:cubicBezTo>
                    <a:lnTo>
                      <a:pt x="362757" y="72804"/>
                    </a:lnTo>
                    <a:lnTo>
                      <a:pt x="362757" y="157919"/>
                    </a:lnTo>
                    <a:cubicBezTo>
                      <a:pt x="362757" y="162054"/>
                      <a:pt x="366224" y="165517"/>
                      <a:pt x="370365" y="165517"/>
                    </a:cubicBezTo>
                    <a:lnTo>
                      <a:pt x="384331" y="165517"/>
                    </a:lnTo>
                    <a:cubicBezTo>
                      <a:pt x="388568" y="165517"/>
                      <a:pt x="391939" y="162054"/>
                      <a:pt x="391939" y="157919"/>
                    </a:cubicBezTo>
                    <a:lnTo>
                      <a:pt x="391939" y="47029"/>
                    </a:lnTo>
                    <a:cubicBezTo>
                      <a:pt x="391939" y="42798"/>
                      <a:pt x="388568" y="39432"/>
                      <a:pt x="384331" y="39432"/>
                    </a:cubicBezTo>
                    <a:close/>
                    <a:moveTo>
                      <a:pt x="371328" y="0"/>
                    </a:moveTo>
                    <a:cubicBezTo>
                      <a:pt x="428056" y="0"/>
                      <a:pt x="473901" y="45875"/>
                      <a:pt x="473901" y="102426"/>
                    </a:cubicBezTo>
                    <a:cubicBezTo>
                      <a:pt x="473901" y="158977"/>
                      <a:pt x="428056" y="204852"/>
                      <a:pt x="371328" y="204852"/>
                    </a:cubicBezTo>
                    <a:cubicBezTo>
                      <a:pt x="361312" y="204852"/>
                      <a:pt x="351681" y="203409"/>
                      <a:pt x="342531" y="200717"/>
                    </a:cubicBezTo>
                    <a:cubicBezTo>
                      <a:pt x="346095" y="190234"/>
                      <a:pt x="348117" y="179077"/>
                      <a:pt x="348117" y="167440"/>
                    </a:cubicBezTo>
                    <a:cubicBezTo>
                      <a:pt x="348117" y="120892"/>
                      <a:pt x="317008" y="81556"/>
                      <a:pt x="274342" y="69150"/>
                    </a:cubicBezTo>
                    <a:cubicBezTo>
                      <a:pt x="288211" y="28949"/>
                      <a:pt x="326447" y="0"/>
                      <a:pt x="37132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xmlns="" id="{C0691A15-82D4-45F7-8AE6-8813D937A1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41543" y="1134898"/>
              <a:ext cx="1509564" cy="2077737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>
              <a:extLst>
                <a:ext uri="{FF2B5EF4-FFF2-40B4-BE49-F238E27FC236}">
                  <a16:creationId xmlns:a16="http://schemas.microsoft.com/office/drawing/2014/main" xmlns="" id="{8125503F-92F4-44D9-8615-D8FA931A7270}"/>
                </a:ext>
              </a:extLst>
            </p:cNvPr>
            <p:cNvCxnSpPr/>
            <p:nvPr/>
          </p:nvCxnSpPr>
          <p:spPr>
            <a:xfrm rot="2160000" flipH="1" flipV="1">
              <a:off x="6678839" y="2368443"/>
              <a:ext cx="1" cy="93331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xmlns="" id="{1343148D-A556-4CEA-8B50-0E34196885AD}"/>
                </a:ext>
              </a:extLst>
            </p:cNvPr>
            <p:cNvCxnSpPr/>
            <p:nvPr/>
          </p:nvCxnSpPr>
          <p:spPr>
            <a:xfrm rot="2160000">
              <a:off x="3336173" y="4198197"/>
              <a:ext cx="0" cy="710459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xmlns="" id="{9AE12A11-B1AD-432C-B7E1-999DAC04A842}"/>
                </a:ext>
              </a:extLst>
            </p:cNvPr>
            <p:cNvCxnSpPr/>
            <p:nvPr/>
          </p:nvCxnSpPr>
          <p:spPr>
            <a:xfrm rot="2160000">
              <a:off x="4048380" y="4198197"/>
              <a:ext cx="0" cy="710459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xmlns="" id="{09936FE8-7ACA-43E2-8392-A930F63C48AB}"/>
                </a:ext>
              </a:extLst>
            </p:cNvPr>
            <p:cNvCxnSpPr/>
            <p:nvPr/>
          </p:nvCxnSpPr>
          <p:spPr>
            <a:xfrm rot="2160000">
              <a:off x="4760588" y="4198197"/>
              <a:ext cx="0" cy="710459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>
              <a:extLst>
                <a:ext uri="{FF2B5EF4-FFF2-40B4-BE49-F238E27FC236}">
                  <a16:creationId xmlns:a16="http://schemas.microsoft.com/office/drawing/2014/main" xmlns="" id="{E06C3703-1E34-40EC-A477-8B4A8F1E4AF5}"/>
                </a:ext>
              </a:extLst>
            </p:cNvPr>
            <p:cNvCxnSpPr/>
            <p:nvPr/>
          </p:nvCxnSpPr>
          <p:spPr>
            <a:xfrm rot="2160000">
              <a:off x="7199175" y="4198197"/>
              <a:ext cx="0" cy="710459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xmlns="" id="{8CE95A87-7AA5-4BA5-94C0-4DCEBED781A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737687" y="4266040"/>
              <a:ext cx="1382494" cy="1902839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" name="ïṡļîďè">
              <a:extLst>
                <a:ext uri="{FF2B5EF4-FFF2-40B4-BE49-F238E27FC236}">
                  <a16:creationId xmlns:a16="http://schemas.microsoft.com/office/drawing/2014/main" xmlns="" id="{AC154820-A647-4C0D-B375-23ADE559E2AD}"/>
                </a:ext>
              </a:extLst>
            </p:cNvPr>
            <p:cNvGrpSpPr/>
            <p:nvPr/>
          </p:nvGrpSpPr>
          <p:grpSpPr>
            <a:xfrm>
              <a:off x="3458461" y="1948899"/>
              <a:ext cx="2697321" cy="1016579"/>
              <a:chOff x="669925" y="5338591"/>
              <a:chExt cx="3844925" cy="1016579"/>
            </a:xfrm>
          </p:grpSpPr>
          <p:sp>
            <p:nvSpPr>
              <p:cNvPr id="25" name="îšlíḓe">
                <a:extLst>
                  <a:ext uri="{FF2B5EF4-FFF2-40B4-BE49-F238E27FC236}">
                    <a16:creationId xmlns:a16="http://schemas.microsoft.com/office/drawing/2014/main" xmlns="" id="{3344ADDA-8B0D-44F0-B7EF-5C5DF4804D53}"/>
                  </a:ext>
                </a:extLst>
              </p:cNvPr>
              <p:cNvSpPr txBox="1"/>
              <p:nvPr/>
            </p:nvSpPr>
            <p:spPr bwMode="auto">
              <a:xfrm>
                <a:off x="669925" y="5338591"/>
                <a:ext cx="3844925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  <p:sp>
            <p:nvSpPr>
              <p:cNvPr id="26" name="îş1ide">
                <a:extLst>
                  <a:ext uri="{FF2B5EF4-FFF2-40B4-BE49-F238E27FC236}">
                    <a16:creationId xmlns:a16="http://schemas.microsoft.com/office/drawing/2014/main" xmlns="" id="{3C322566-1C6D-40DD-B755-6B6BF90342AA}"/>
                  </a:ext>
                </a:extLst>
              </p:cNvPr>
              <p:cNvSpPr/>
              <p:nvPr/>
            </p:nvSpPr>
            <p:spPr bwMode="auto">
              <a:xfrm>
                <a:off x="669925" y="5780396"/>
                <a:ext cx="3844925" cy="5747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</p:grpSp>
        <p:grpSp>
          <p:nvGrpSpPr>
            <p:cNvPr id="22" name="isļîďê">
              <a:extLst>
                <a:ext uri="{FF2B5EF4-FFF2-40B4-BE49-F238E27FC236}">
                  <a16:creationId xmlns:a16="http://schemas.microsoft.com/office/drawing/2014/main" xmlns="" id="{9A97A9FA-CD91-42BE-AEE1-EC77A30252CD}"/>
                </a:ext>
              </a:extLst>
            </p:cNvPr>
            <p:cNvGrpSpPr/>
            <p:nvPr/>
          </p:nvGrpSpPr>
          <p:grpSpPr>
            <a:xfrm>
              <a:off x="7755024" y="4967814"/>
              <a:ext cx="2697321" cy="1016579"/>
              <a:chOff x="669925" y="5338591"/>
              <a:chExt cx="3844925" cy="1016579"/>
            </a:xfrm>
          </p:grpSpPr>
          <p:sp>
            <p:nvSpPr>
              <p:cNvPr id="23" name="íṥlïḓè">
                <a:extLst>
                  <a:ext uri="{FF2B5EF4-FFF2-40B4-BE49-F238E27FC236}">
                    <a16:creationId xmlns:a16="http://schemas.microsoft.com/office/drawing/2014/main" xmlns="" id="{F74ED6E1-EE61-4340-95E8-ABEC8FF2810F}"/>
                  </a:ext>
                </a:extLst>
              </p:cNvPr>
              <p:cNvSpPr txBox="1"/>
              <p:nvPr/>
            </p:nvSpPr>
            <p:spPr bwMode="auto">
              <a:xfrm>
                <a:off x="669925" y="5338591"/>
                <a:ext cx="3844925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  <p:sp>
            <p:nvSpPr>
              <p:cNvPr id="24" name="isḷíḋè">
                <a:extLst>
                  <a:ext uri="{FF2B5EF4-FFF2-40B4-BE49-F238E27FC236}">
                    <a16:creationId xmlns:a16="http://schemas.microsoft.com/office/drawing/2014/main" xmlns="" id="{FA31AA00-3F8F-4A02-964C-BA378061FDD9}"/>
                  </a:ext>
                </a:extLst>
              </p:cNvPr>
              <p:cNvSpPr/>
              <p:nvPr/>
            </p:nvSpPr>
            <p:spPr bwMode="auto">
              <a:xfrm>
                <a:off x="669925" y="5780396"/>
                <a:ext cx="3844925" cy="5747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27065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C78464ED-1B92-42BE-93A7-95190DC1DB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2C812B92-A470-4637-AA1F-94E46AD48C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A35B5EC9-A798-49CA-9F0F-1A8C0345B6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grpSp>
        <p:nvGrpSpPr>
          <p:cNvPr id="5" name="299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83BA7FF8-126E-41B1-9359-1240E5D903B0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341642"/>
            <a:ext cx="10848975" cy="4776930"/>
            <a:chOff x="669925" y="1341642"/>
            <a:chExt cx="10848975" cy="4776930"/>
          </a:xfrm>
        </p:grpSpPr>
        <p:sp>
          <p:nvSpPr>
            <p:cNvPr id="6" name="îsḻiďé">
              <a:extLst>
                <a:ext uri="{FF2B5EF4-FFF2-40B4-BE49-F238E27FC236}">
                  <a16:creationId xmlns:a16="http://schemas.microsoft.com/office/drawing/2014/main" xmlns="" id="{A9881C0E-EA7C-435A-B559-27A382F98CF1}"/>
                </a:ext>
              </a:extLst>
            </p:cNvPr>
            <p:cNvSpPr/>
            <p:nvPr/>
          </p:nvSpPr>
          <p:spPr>
            <a:xfrm>
              <a:off x="4521200" y="1341642"/>
              <a:ext cx="3149600" cy="4776930"/>
            </a:xfrm>
            <a:custGeom>
              <a:avLst/>
              <a:gdLst>
                <a:gd name="connsiteX0" fmla="*/ 1373324 w 2792478"/>
                <a:gd name="connsiteY0" fmla="*/ 4214037 h 4235290"/>
                <a:gd name="connsiteX1" fmla="*/ 1373324 w 2792478"/>
                <a:gd name="connsiteY1" fmla="*/ 4224598 h 4235290"/>
                <a:gd name="connsiteX2" fmla="*/ 1390727 w 2792478"/>
                <a:gd name="connsiteY2" fmla="*/ 4224598 h 4235290"/>
                <a:gd name="connsiteX3" fmla="*/ 1390727 w 2792478"/>
                <a:gd name="connsiteY3" fmla="*/ 4214037 h 4235290"/>
                <a:gd name="connsiteX4" fmla="*/ 1202119 w 2792478"/>
                <a:gd name="connsiteY4" fmla="*/ 4213852 h 4235290"/>
                <a:gd name="connsiteX5" fmla="*/ 1205104 w 2792478"/>
                <a:gd name="connsiteY5" fmla="*/ 4216829 h 4235290"/>
                <a:gd name="connsiteX6" fmla="*/ 1205104 w 2792478"/>
                <a:gd name="connsiteY6" fmla="*/ 4222863 h 4235290"/>
                <a:gd name="connsiteX7" fmla="*/ 1218278 w 2792478"/>
                <a:gd name="connsiteY7" fmla="*/ 4228826 h 4235290"/>
                <a:gd name="connsiteX8" fmla="*/ 1231451 w 2792478"/>
                <a:gd name="connsiteY8" fmla="*/ 4222548 h 4235290"/>
                <a:gd name="connsiteX9" fmla="*/ 1231451 w 2792478"/>
                <a:gd name="connsiteY9" fmla="*/ 4216829 h 4235290"/>
                <a:gd name="connsiteX10" fmla="*/ 1234436 w 2792478"/>
                <a:gd name="connsiteY10" fmla="*/ 4213852 h 4235290"/>
                <a:gd name="connsiteX11" fmla="*/ 1237483 w 2792478"/>
                <a:gd name="connsiteY11" fmla="*/ 4216829 h 4235290"/>
                <a:gd name="connsiteX12" fmla="*/ 1237483 w 2792478"/>
                <a:gd name="connsiteY12" fmla="*/ 4224474 h 4235290"/>
                <a:gd name="connsiteX13" fmla="*/ 1235743 w 2792478"/>
                <a:gd name="connsiteY13" fmla="*/ 4227208 h 4235290"/>
                <a:gd name="connsiteX14" fmla="*/ 1219522 w 2792478"/>
                <a:gd name="connsiteY14" fmla="*/ 4234853 h 4235290"/>
                <a:gd name="connsiteX15" fmla="*/ 1218278 w 2792478"/>
                <a:gd name="connsiteY15" fmla="*/ 4235103 h 4235290"/>
                <a:gd name="connsiteX16" fmla="*/ 1217033 w 2792478"/>
                <a:gd name="connsiteY16" fmla="*/ 4234853 h 4235290"/>
                <a:gd name="connsiteX17" fmla="*/ 1200875 w 2792478"/>
                <a:gd name="connsiteY17" fmla="*/ 4227459 h 4235290"/>
                <a:gd name="connsiteX18" fmla="*/ 1199135 w 2792478"/>
                <a:gd name="connsiteY18" fmla="*/ 4224724 h 4235290"/>
                <a:gd name="connsiteX19" fmla="*/ 1199135 w 2792478"/>
                <a:gd name="connsiteY19" fmla="*/ 4216829 h 4235290"/>
                <a:gd name="connsiteX20" fmla="*/ 1202119 w 2792478"/>
                <a:gd name="connsiteY20" fmla="*/ 4213852 h 4235290"/>
                <a:gd name="connsiteX21" fmla="*/ 1196528 w 2792478"/>
                <a:gd name="connsiteY21" fmla="*/ 4197940 h 4235290"/>
                <a:gd name="connsiteX22" fmla="*/ 1195158 w 2792478"/>
                <a:gd name="connsiteY22" fmla="*/ 4199307 h 4235290"/>
                <a:gd name="connsiteX23" fmla="*/ 1195158 w 2792478"/>
                <a:gd name="connsiteY23" fmla="*/ 4201855 h 4235290"/>
                <a:gd name="connsiteX24" fmla="*/ 1196528 w 2792478"/>
                <a:gd name="connsiteY24" fmla="*/ 4203222 h 4235290"/>
                <a:gd name="connsiteX25" fmla="*/ 1236924 w 2792478"/>
                <a:gd name="connsiteY25" fmla="*/ 4203222 h 4235290"/>
                <a:gd name="connsiteX26" fmla="*/ 1238286 w 2792478"/>
                <a:gd name="connsiteY26" fmla="*/ 4201855 h 4235290"/>
                <a:gd name="connsiteX27" fmla="*/ 1238286 w 2792478"/>
                <a:gd name="connsiteY27" fmla="*/ 4199307 h 4235290"/>
                <a:gd name="connsiteX28" fmla="*/ 1236924 w 2792478"/>
                <a:gd name="connsiteY28" fmla="*/ 4197940 h 4235290"/>
                <a:gd name="connsiteX29" fmla="*/ 1196528 w 2792478"/>
                <a:gd name="connsiteY29" fmla="*/ 4191977 h 4235290"/>
                <a:gd name="connsiteX30" fmla="*/ 1236924 w 2792478"/>
                <a:gd name="connsiteY30" fmla="*/ 4191977 h 4235290"/>
                <a:gd name="connsiteX31" fmla="*/ 1244318 w 2792478"/>
                <a:gd name="connsiteY31" fmla="*/ 4199307 h 4235290"/>
                <a:gd name="connsiteX32" fmla="*/ 1244318 w 2792478"/>
                <a:gd name="connsiteY32" fmla="*/ 4201855 h 4235290"/>
                <a:gd name="connsiteX33" fmla="*/ 1236924 w 2792478"/>
                <a:gd name="connsiteY33" fmla="*/ 4209249 h 4235290"/>
                <a:gd name="connsiteX34" fmla="*/ 1196528 w 2792478"/>
                <a:gd name="connsiteY34" fmla="*/ 4209249 h 4235290"/>
                <a:gd name="connsiteX35" fmla="*/ 1189197 w 2792478"/>
                <a:gd name="connsiteY35" fmla="*/ 4201855 h 4235290"/>
                <a:gd name="connsiteX36" fmla="*/ 1189197 w 2792478"/>
                <a:gd name="connsiteY36" fmla="*/ 4199307 h 4235290"/>
                <a:gd name="connsiteX37" fmla="*/ 1196528 w 2792478"/>
                <a:gd name="connsiteY37" fmla="*/ 4191977 h 4235290"/>
                <a:gd name="connsiteX38" fmla="*/ 1265319 w 2792478"/>
                <a:gd name="connsiteY38" fmla="*/ 4166123 h 4235290"/>
                <a:gd name="connsiteX39" fmla="*/ 1267556 w 2792478"/>
                <a:gd name="connsiteY39" fmla="*/ 4166681 h 4235290"/>
                <a:gd name="connsiteX40" fmla="*/ 1287880 w 2792478"/>
                <a:gd name="connsiteY40" fmla="*/ 4181655 h 4235290"/>
                <a:gd name="connsiteX41" fmla="*/ 1288502 w 2792478"/>
                <a:gd name="connsiteY41" fmla="*/ 4185886 h 4235290"/>
                <a:gd name="connsiteX42" fmla="*/ 1286076 w 2792478"/>
                <a:gd name="connsiteY42" fmla="*/ 4187067 h 4235290"/>
                <a:gd name="connsiteX43" fmla="*/ 1284336 w 2792478"/>
                <a:gd name="connsiteY43" fmla="*/ 4186508 h 4235290"/>
                <a:gd name="connsiteX44" fmla="*/ 1263957 w 2792478"/>
                <a:gd name="connsiteY44" fmla="*/ 4171527 h 4235290"/>
                <a:gd name="connsiteX45" fmla="*/ 1263335 w 2792478"/>
                <a:gd name="connsiteY45" fmla="*/ 4167304 h 4235290"/>
                <a:gd name="connsiteX46" fmla="*/ 1265319 w 2792478"/>
                <a:gd name="connsiteY46" fmla="*/ 4166123 h 4235290"/>
                <a:gd name="connsiteX47" fmla="*/ 1172606 w 2792478"/>
                <a:gd name="connsiteY47" fmla="*/ 4164133 h 4235290"/>
                <a:gd name="connsiteX48" fmla="*/ 1174527 w 2792478"/>
                <a:gd name="connsiteY48" fmla="*/ 4165314 h 4235290"/>
                <a:gd name="connsiteX49" fmla="*/ 1173905 w 2792478"/>
                <a:gd name="connsiteY49" fmla="*/ 4169537 h 4235290"/>
                <a:gd name="connsiteX50" fmla="*/ 1152219 w 2792478"/>
                <a:gd name="connsiteY50" fmla="*/ 4185571 h 4235290"/>
                <a:gd name="connsiteX51" fmla="*/ 1150416 w 2792478"/>
                <a:gd name="connsiteY51" fmla="*/ 4186136 h 4235290"/>
                <a:gd name="connsiteX52" fmla="*/ 1147990 w 2792478"/>
                <a:gd name="connsiteY52" fmla="*/ 4184891 h 4235290"/>
                <a:gd name="connsiteX53" fmla="*/ 1148612 w 2792478"/>
                <a:gd name="connsiteY53" fmla="*/ 4180725 h 4235290"/>
                <a:gd name="connsiteX54" fmla="*/ 1170362 w 2792478"/>
                <a:gd name="connsiteY54" fmla="*/ 4164691 h 4235290"/>
                <a:gd name="connsiteX55" fmla="*/ 1172606 w 2792478"/>
                <a:gd name="connsiteY55" fmla="*/ 4164133 h 4235290"/>
                <a:gd name="connsiteX56" fmla="*/ 1322613 w 2792478"/>
                <a:gd name="connsiteY56" fmla="*/ 4130518 h 4235290"/>
                <a:gd name="connsiteX57" fmla="*/ 1322613 w 2792478"/>
                <a:gd name="connsiteY57" fmla="*/ 4203909 h 4235290"/>
                <a:gd name="connsiteX58" fmla="*/ 1441438 w 2792478"/>
                <a:gd name="connsiteY58" fmla="*/ 4203909 h 4235290"/>
                <a:gd name="connsiteX59" fmla="*/ 1441438 w 2792478"/>
                <a:gd name="connsiteY59" fmla="*/ 4130518 h 4235290"/>
                <a:gd name="connsiteX60" fmla="*/ 1275698 w 2792478"/>
                <a:gd name="connsiteY60" fmla="*/ 4130326 h 4235290"/>
                <a:gd name="connsiteX61" fmla="*/ 1298628 w 2792478"/>
                <a:gd name="connsiteY61" fmla="*/ 4130326 h 4235290"/>
                <a:gd name="connsiteX62" fmla="*/ 1301613 w 2792478"/>
                <a:gd name="connsiteY62" fmla="*/ 4133311 h 4235290"/>
                <a:gd name="connsiteX63" fmla="*/ 1298628 w 2792478"/>
                <a:gd name="connsiteY63" fmla="*/ 4136289 h 4235290"/>
                <a:gd name="connsiteX64" fmla="*/ 1275698 w 2792478"/>
                <a:gd name="connsiteY64" fmla="*/ 4136289 h 4235290"/>
                <a:gd name="connsiteX65" fmla="*/ 1272714 w 2792478"/>
                <a:gd name="connsiteY65" fmla="*/ 4133311 h 4235290"/>
                <a:gd name="connsiteX66" fmla="*/ 1275698 w 2792478"/>
                <a:gd name="connsiteY66" fmla="*/ 4130326 h 4235290"/>
                <a:gd name="connsiteX67" fmla="*/ 1134509 w 2792478"/>
                <a:gd name="connsiteY67" fmla="*/ 4130326 h 4235290"/>
                <a:gd name="connsiteX68" fmla="*/ 1158188 w 2792478"/>
                <a:gd name="connsiteY68" fmla="*/ 4130326 h 4235290"/>
                <a:gd name="connsiteX69" fmla="*/ 1161164 w 2792478"/>
                <a:gd name="connsiteY69" fmla="*/ 4133311 h 4235290"/>
                <a:gd name="connsiteX70" fmla="*/ 1158188 w 2792478"/>
                <a:gd name="connsiteY70" fmla="*/ 4136289 h 4235290"/>
                <a:gd name="connsiteX71" fmla="*/ 1134509 w 2792478"/>
                <a:gd name="connsiteY71" fmla="*/ 4136289 h 4235290"/>
                <a:gd name="connsiteX72" fmla="*/ 1131525 w 2792478"/>
                <a:gd name="connsiteY72" fmla="*/ 4133311 h 4235290"/>
                <a:gd name="connsiteX73" fmla="*/ 1134509 w 2792478"/>
                <a:gd name="connsiteY73" fmla="*/ 4130326 h 4235290"/>
                <a:gd name="connsiteX74" fmla="*/ 1317580 w 2792478"/>
                <a:gd name="connsiteY74" fmla="*/ 4120383 h 4235290"/>
                <a:gd name="connsiteX75" fmla="*/ 1446530 w 2792478"/>
                <a:gd name="connsiteY75" fmla="*/ 4120383 h 4235290"/>
                <a:gd name="connsiteX76" fmla="*/ 1451631 w 2792478"/>
                <a:gd name="connsiteY76" fmla="*/ 4125416 h 4235290"/>
                <a:gd name="connsiteX77" fmla="*/ 1451631 w 2792478"/>
                <a:gd name="connsiteY77" fmla="*/ 4209004 h 4235290"/>
                <a:gd name="connsiteX78" fmla="*/ 1446530 w 2792478"/>
                <a:gd name="connsiteY78" fmla="*/ 4214037 h 4235290"/>
                <a:gd name="connsiteX79" fmla="*/ 1400920 w 2792478"/>
                <a:gd name="connsiteY79" fmla="*/ 4214037 h 4235290"/>
                <a:gd name="connsiteX80" fmla="*/ 1400920 w 2792478"/>
                <a:gd name="connsiteY80" fmla="*/ 4225101 h 4235290"/>
                <a:gd name="connsiteX81" fmla="*/ 1409060 w 2792478"/>
                <a:gd name="connsiteY81" fmla="*/ 4225101 h 4235290"/>
                <a:gd name="connsiteX82" fmla="*/ 1414152 w 2792478"/>
                <a:gd name="connsiteY82" fmla="*/ 4230196 h 4235290"/>
                <a:gd name="connsiteX83" fmla="*/ 1409060 w 2792478"/>
                <a:gd name="connsiteY83" fmla="*/ 4235290 h 4235290"/>
                <a:gd name="connsiteX84" fmla="*/ 1354991 w 2792478"/>
                <a:gd name="connsiteY84" fmla="*/ 4235290 h 4235290"/>
                <a:gd name="connsiteX85" fmla="*/ 1349899 w 2792478"/>
                <a:gd name="connsiteY85" fmla="*/ 4230196 h 4235290"/>
                <a:gd name="connsiteX86" fmla="*/ 1354991 w 2792478"/>
                <a:gd name="connsiteY86" fmla="*/ 4225101 h 4235290"/>
                <a:gd name="connsiteX87" fmla="*/ 1363132 w 2792478"/>
                <a:gd name="connsiteY87" fmla="*/ 4225101 h 4235290"/>
                <a:gd name="connsiteX88" fmla="*/ 1363132 w 2792478"/>
                <a:gd name="connsiteY88" fmla="*/ 4214037 h 4235290"/>
                <a:gd name="connsiteX89" fmla="*/ 1317580 w 2792478"/>
                <a:gd name="connsiteY89" fmla="*/ 4214037 h 4235290"/>
                <a:gd name="connsiteX90" fmla="*/ 1312488 w 2792478"/>
                <a:gd name="connsiteY90" fmla="*/ 4209004 h 4235290"/>
                <a:gd name="connsiteX91" fmla="*/ 1312488 w 2792478"/>
                <a:gd name="connsiteY91" fmla="*/ 4125416 h 4235290"/>
                <a:gd name="connsiteX92" fmla="*/ 1317580 w 2792478"/>
                <a:gd name="connsiteY92" fmla="*/ 4120383 h 4235290"/>
                <a:gd name="connsiteX93" fmla="*/ 1216600 w 2792478"/>
                <a:gd name="connsiteY93" fmla="*/ 4100500 h 4235290"/>
                <a:gd name="connsiteX94" fmla="*/ 1219585 w 2792478"/>
                <a:gd name="connsiteY94" fmla="*/ 4103477 h 4235290"/>
                <a:gd name="connsiteX95" fmla="*/ 1216600 w 2792478"/>
                <a:gd name="connsiteY95" fmla="*/ 4106462 h 4235290"/>
                <a:gd name="connsiteX96" fmla="*/ 1191182 w 2792478"/>
                <a:gd name="connsiteY96" fmla="*/ 4131880 h 4235290"/>
                <a:gd name="connsiteX97" fmla="*/ 1188197 w 2792478"/>
                <a:gd name="connsiteY97" fmla="*/ 4134864 h 4235290"/>
                <a:gd name="connsiteX98" fmla="*/ 1185221 w 2792478"/>
                <a:gd name="connsiteY98" fmla="*/ 4131880 h 4235290"/>
                <a:gd name="connsiteX99" fmla="*/ 1216600 w 2792478"/>
                <a:gd name="connsiteY99" fmla="*/ 4100500 h 4235290"/>
                <a:gd name="connsiteX100" fmla="*/ 1359346 w 2792478"/>
                <a:gd name="connsiteY100" fmla="*/ 4086579 h 4235290"/>
                <a:gd name="connsiteX101" fmla="*/ 1488297 w 2792478"/>
                <a:gd name="connsiteY101" fmla="*/ 4086579 h 4235290"/>
                <a:gd name="connsiteX102" fmla="*/ 1493389 w 2792478"/>
                <a:gd name="connsiteY102" fmla="*/ 4091674 h 4235290"/>
                <a:gd name="connsiteX103" fmla="*/ 1493389 w 2792478"/>
                <a:gd name="connsiteY103" fmla="*/ 4175200 h 4235290"/>
                <a:gd name="connsiteX104" fmla="*/ 1488297 w 2792478"/>
                <a:gd name="connsiteY104" fmla="*/ 4180295 h 4235290"/>
                <a:gd name="connsiteX105" fmla="*/ 1467912 w 2792478"/>
                <a:gd name="connsiteY105" fmla="*/ 4180295 h 4235290"/>
                <a:gd name="connsiteX106" fmla="*/ 1462811 w 2792478"/>
                <a:gd name="connsiteY106" fmla="*/ 4175200 h 4235290"/>
                <a:gd name="connsiteX107" fmla="*/ 1467912 w 2792478"/>
                <a:gd name="connsiteY107" fmla="*/ 4170098 h 4235290"/>
                <a:gd name="connsiteX108" fmla="*/ 1483196 w 2792478"/>
                <a:gd name="connsiteY108" fmla="*/ 4170098 h 4235290"/>
                <a:gd name="connsiteX109" fmla="*/ 1483196 w 2792478"/>
                <a:gd name="connsiteY109" fmla="*/ 4096707 h 4235290"/>
                <a:gd name="connsiteX110" fmla="*/ 1364380 w 2792478"/>
                <a:gd name="connsiteY110" fmla="*/ 4096707 h 4235290"/>
                <a:gd name="connsiteX111" fmla="*/ 1364380 w 2792478"/>
                <a:gd name="connsiteY111" fmla="*/ 4111247 h 4235290"/>
                <a:gd name="connsiteX112" fmla="*/ 1359346 w 2792478"/>
                <a:gd name="connsiteY112" fmla="*/ 4116349 h 4235290"/>
                <a:gd name="connsiteX113" fmla="*/ 1354246 w 2792478"/>
                <a:gd name="connsiteY113" fmla="*/ 4111247 h 4235290"/>
                <a:gd name="connsiteX114" fmla="*/ 1354246 w 2792478"/>
                <a:gd name="connsiteY114" fmla="*/ 4091674 h 4235290"/>
                <a:gd name="connsiteX115" fmla="*/ 1359346 w 2792478"/>
                <a:gd name="connsiteY115" fmla="*/ 4086579 h 4235290"/>
                <a:gd name="connsiteX116" fmla="*/ 1217222 w 2792478"/>
                <a:gd name="connsiteY116" fmla="*/ 4084588 h 4235290"/>
                <a:gd name="connsiteX117" fmla="*/ 1263146 w 2792478"/>
                <a:gd name="connsiteY117" fmla="*/ 4130513 h 4235290"/>
                <a:gd name="connsiteX118" fmla="*/ 1253634 w 2792478"/>
                <a:gd name="connsiteY118" fmla="*/ 4158478 h 4235290"/>
                <a:gd name="connsiteX119" fmla="*/ 1243877 w 2792478"/>
                <a:gd name="connsiteY119" fmla="*/ 4185635 h 4235290"/>
                <a:gd name="connsiteX120" fmla="*/ 1242326 w 2792478"/>
                <a:gd name="connsiteY120" fmla="*/ 4189551 h 4235290"/>
                <a:gd name="connsiteX121" fmla="*/ 1238412 w 2792478"/>
                <a:gd name="connsiteY121" fmla="*/ 4188183 h 4235290"/>
                <a:gd name="connsiteX122" fmla="*/ 1248854 w 2792478"/>
                <a:gd name="connsiteY122" fmla="*/ 4154871 h 4235290"/>
                <a:gd name="connsiteX123" fmla="*/ 1257114 w 2792478"/>
                <a:gd name="connsiteY123" fmla="*/ 4130513 h 4235290"/>
                <a:gd name="connsiteX124" fmla="*/ 1217222 w 2792478"/>
                <a:gd name="connsiteY124" fmla="*/ 4090550 h 4235290"/>
                <a:gd name="connsiteX125" fmla="*/ 1177260 w 2792478"/>
                <a:gd name="connsiteY125" fmla="*/ 4130513 h 4235290"/>
                <a:gd name="connsiteX126" fmla="*/ 1185465 w 2792478"/>
                <a:gd name="connsiteY126" fmla="*/ 4154749 h 4235290"/>
                <a:gd name="connsiteX127" fmla="*/ 1185717 w 2792478"/>
                <a:gd name="connsiteY127" fmla="*/ 4155000 h 4235290"/>
                <a:gd name="connsiteX128" fmla="*/ 1196276 w 2792478"/>
                <a:gd name="connsiteY128" fmla="*/ 4188119 h 4235290"/>
                <a:gd name="connsiteX129" fmla="*/ 1193544 w 2792478"/>
                <a:gd name="connsiteY129" fmla="*/ 4189858 h 4235290"/>
                <a:gd name="connsiteX130" fmla="*/ 1192300 w 2792478"/>
                <a:gd name="connsiteY130" fmla="*/ 4189615 h 4235290"/>
                <a:gd name="connsiteX131" fmla="*/ 1190874 w 2792478"/>
                <a:gd name="connsiteY131" fmla="*/ 4185571 h 4235290"/>
                <a:gd name="connsiteX132" fmla="*/ 1180992 w 2792478"/>
                <a:gd name="connsiteY132" fmla="*/ 4158729 h 4235290"/>
                <a:gd name="connsiteX133" fmla="*/ 1180866 w 2792478"/>
                <a:gd name="connsiteY133" fmla="*/ 4158600 h 4235290"/>
                <a:gd name="connsiteX134" fmla="*/ 1171299 w 2792478"/>
                <a:gd name="connsiteY134" fmla="*/ 4130513 h 4235290"/>
                <a:gd name="connsiteX135" fmla="*/ 1217222 w 2792478"/>
                <a:gd name="connsiteY135" fmla="*/ 4084588 h 4235290"/>
                <a:gd name="connsiteX136" fmla="*/ 1285643 w 2792478"/>
                <a:gd name="connsiteY136" fmla="*/ 4080608 h 4235290"/>
                <a:gd name="connsiteX137" fmla="*/ 1287628 w 2792478"/>
                <a:gd name="connsiteY137" fmla="*/ 4081789 h 4235290"/>
                <a:gd name="connsiteX138" fmla="*/ 1286951 w 2792478"/>
                <a:gd name="connsiteY138" fmla="*/ 4086019 h 4235290"/>
                <a:gd name="connsiteX139" fmla="*/ 1267556 w 2792478"/>
                <a:gd name="connsiteY139" fmla="*/ 4100371 h 4235290"/>
                <a:gd name="connsiteX140" fmla="*/ 1265753 w 2792478"/>
                <a:gd name="connsiteY140" fmla="*/ 4100929 h 4235290"/>
                <a:gd name="connsiteX141" fmla="*/ 1263335 w 2792478"/>
                <a:gd name="connsiteY141" fmla="*/ 4099691 h 4235290"/>
                <a:gd name="connsiteX142" fmla="*/ 1263957 w 2792478"/>
                <a:gd name="connsiteY142" fmla="*/ 4095525 h 4235290"/>
                <a:gd name="connsiteX143" fmla="*/ 1283407 w 2792478"/>
                <a:gd name="connsiteY143" fmla="*/ 4081166 h 4235290"/>
                <a:gd name="connsiteX144" fmla="*/ 1285643 w 2792478"/>
                <a:gd name="connsiteY144" fmla="*/ 4080608 h 4235290"/>
                <a:gd name="connsiteX145" fmla="*/ 1149982 w 2792478"/>
                <a:gd name="connsiteY145" fmla="*/ 4080608 h 4235290"/>
                <a:gd name="connsiteX146" fmla="*/ 1152219 w 2792478"/>
                <a:gd name="connsiteY146" fmla="*/ 4081166 h 4235290"/>
                <a:gd name="connsiteX147" fmla="*/ 1172976 w 2792478"/>
                <a:gd name="connsiteY147" fmla="*/ 4096520 h 4235290"/>
                <a:gd name="connsiteX148" fmla="*/ 1173598 w 2792478"/>
                <a:gd name="connsiteY148" fmla="*/ 4100686 h 4235290"/>
                <a:gd name="connsiteX149" fmla="*/ 1171236 w 2792478"/>
                <a:gd name="connsiteY149" fmla="*/ 4101924 h 4235290"/>
                <a:gd name="connsiteX150" fmla="*/ 1169432 w 2792478"/>
                <a:gd name="connsiteY150" fmla="*/ 4101301 h 4235290"/>
                <a:gd name="connsiteX151" fmla="*/ 1148612 w 2792478"/>
                <a:gd name="connsiteY151" fmla="*/ 4086019 h 4235290"/>
                <a:gd name="connsiteX152" fmla="*/ 1147990 w 2792478"/>
                <a:gd name="connsiteY152" fmla="*/ 4081789 h 4235290"/>
                <a:gd name="connsiteX153" fmla="*/ 1149982 w 2792478"/>
                <a:gd name="connsiteY153" fmla="*/ 4080608 h 4235290"/>
                <a:gd name="connsiteX154" fmla="*/ 995432 w 2792478"/>
                <a:gd name="connsiteY154" fmla="*/ 4034008 h 4235290"/>
                <a:gd name="connsiteX155" fmla="*/ 995432 w 2792478"/>
                <a:gd name="connsiteY155" fmla="*/ 4098698 h 4235290"/>
                <a:gd name="connsiteX156" fmla="*/ 1100643 w 2792478"/>
                <a:gd name="connsiteY156" fmla="*/ 4098698 h 4235290"/>
                <a:gd name="connsiteX157" fmla="*/ 1100643 w 2792478"/>
                <a:gd name="connsiteY157" fmla="*/ 4034008 h 4235290"/>
                <a:gd name="connsiteX158" fmla="*/ 1599032 w 2792478"/>
                <a:gd name="connsiteY158" fmla="*/ 4028712 h 4235290"/>
                <a:gd name="connsiteX159" fmla="*/ 1580754 w 2792478"/>
                <a:gd name="connsiteY159" fmla="*/ 4036276 h 4235290"/>
                <a:gd name="connsiteX160" fmla="*/ 1536194 w 2792478"/>
                <a:gd name="connsiteY160" fmla="*/ 4080828 h 4235290"/>
                <a:gd name="connsiteX161" fmla="*/ 1536194 w 2792478"/>
                <a:gd name="connsiteY161" fmla="*/ 4117396 h 4235290"/>
                <a:gd name="connsiteX162" fmla="*/ 1556281 w 2792478"/>
                <a:gd name="connsiteY162" fmla="*/ 4137438 h 4235290"/>
                <a:gd name="connsiteX163" fmla="*/ 1591962 w 2792478"/>
                <a:gd name="connsiteY163" fmla="*/ 4138189 h 4235290"/>
                <a:gd name="connsiteX164" fmla="*/ 1573386 w 2792478"/>
                <a:gd name="connsiteY164" fmla="*/ 4119610 h 4235290"/>
                <a:gd name="connsiteX165" fmla="*/ 1573386 w 2792478"/>
                <a:gd name="connsiteY165" fmla="*/ 4110196 h 4235290"/>
                <a:gd name="connsiteX166" fmla="*/ 1582835 w 2792478"/>
                <a:gd name="connsiteY166" fmla="*/ 4110196 h 4235290"/>
                <a:gd name="connsiteX167" fmla="*/ 1601477 w 2792478"/>
                <a:gd name="connsiteY167" fmla="*/ 4128839 h 4235290"/>
                <a:gd name="connsiteX168" fmla="*/ 1612074 w 2792478"/>
                <a:gd name="connsiteY168" fmla="*/ 4118245 h 4235290"/>
                <a:gd name="connsiteX169" fmla="*/ 1593424 w 2792478"/>
                <a:gd name="connsiteY169" fmla="*/ 4099601 h 4235290"/>
                <a:gd name="connsiteX170" fmla="*/ 1593424 w 2792478"/>
                <a:gd name="connsiteY170" fmla="*/ 4090178 h 4235290"/>
                <a:gd name="connsiteX171" fmla="*/ 1602840 w 2792478"/>
                <a:gd name="connsiteY171" fmla="*/ 4090178 h 4235290"/>
                <a:gd name="connsiteX172" fmla="*/ 1621481 w 2792478"/>
                <a:gd name="connsiteY172" fmla="*/ 4108822 h 4235290"/>
                <a:gd name="connsiteX173" fmla="*/ 1632078 w 2792478"/>
                <a:gd name="connsiteY173" fmla="*/ 4098227 h 4235290"/>
                <a:gd name="connsiteX174" fmla="*/ 1613437 w 2792478"/>
                <a:gd name="connsiteY174" fmla="*/ 4079600 h 4235290"/>
                <a:gd name="connsiteX175" fmla="*/ 1613437 w 2792478"/>
                <a:gd name="connsiteY175" fmla="*/ 4070137 h 4235290"/>
                <a:gd name="connsiteX176" fmla="*/ 1622886 w 2792478"/>
                <a:gd name="connsiteY176" fmla="*/ 4070137 h 4235290"/>
                <a:gd name="connsiteX177" fmla="*/ 1641015 w 2792478"/>
                <a:gd name="connsiteY177" fmla="*/ 4088263 h 4235290"/>
                <a:gd name="connsiteX178" fmla="*/ 1644988 w 2792478"/>
                <a:gd name="connsiteY178" fmla="*/ 4074638 h 4235290"/>
                <a:gd name="connsiteX179" fmla="*/ 1637389 w 2792478"/>
                <a:gd name="connsiteY179" fmla="*/ 4056342 h 4235290"/>
                <a:gd name="connsiteX180" fmla="*/ 1617310 w 2792478"/>
                <a:gd name="connsiteY180" fmla="*/ 4036276 h 4235290"/>
                <a:gd name="connsiteX181" fmla="*/ 1599032 w 2792478"/>
                <a:gd name="connsiteY181" fmla="*/ 4028712 h 4235290"/>
                <a:gd name="connsiteX182" fmla="*/ 984369 w 2792478"/>
                <a:gd name="connsiteY182" fmla="*/ 4022946 h 4235290"/>
                <a:gd name="connsiteX183" fmla="*/ 1111699 w 2792478"/>
                <a:gd name="connsiteY183" fmla="*/ 4022946 h 4235290"/>
                <a:gd name="connsiteX184" fmla="*/ 1111699 w 2792478"/>
                <a:gd name="connsiteY184" fmla="*/ 4109761 h 4235290"/>
                <a:gd name="connsiteX185" fmla="*/ 1061492 w 2792478"/>
                <a:gd name="connsiteY185" fmla="*/ 4109761 h 4235290"/>
                <a:gd name="connsiteX186" fmla="*/ 1061492 w 2792478"/>
                <a:gd name="connsiteY186" fmla="*/ 4117836 h 4235290"/>
                <a:gd name="connsiteX187" fmla="*/ 1072362 w 2792478"/>
                <a:gd name="connsiteY187" fmla="*/ 4117836 h 4235290"/>
                <a:gd name="connsiteX188" fmla="*/ 1072362 w 2792478"/>
                <a:gd name="connsiteY188" fmla="*/ 4130453 h 4235290"/>
                <a:gd name="connsiteX189" fmla="*/ 1023706 w 2792478"/>
                <a:gd name="connsiteY189" fmla="*/ 4130453 h 4235290"/>
                <a:gd name="connsiteX190" fmla="*/ 1023706 w 2792478"/>
                <a:gd name="connsiteY190" fmla="*/ 4117836 h 4235290"/>
                <a:gd name="connsiteX191" fmla="*/ 1034583 w 2792478"/>
                <a:gd name="connsiteY191" fmla="*/ 4117836 h 4235290"/>
                <a:gd name="connsiteX192" fmla="*/ 1034583 w 2792478"/>
                <a:gd name="connsiteY192" fmla="*/ 4109761 h 4235290"/>
                <a:gd name="connsiteX193" fmla="*/ 984369 w 2792478"/>
                <a:gd name="connsiteY193" fmla="*/ 4109761 h 4235290"/>
                <a:gd name="connsiteX194" fmla="*/ 1599032 w 2792478"/>
                <a:gd name="connsiteY194" fmla="*/ 4015354 h 4235290"/>
                <a:gd name="connsiteX195" fmla="*/ 1626768 w 2792478"/>
                <a:gd name="connsiteY195" fmla="*/ 4026854 h 4235290"/>
                <a:gd name="connsiteX196" fmla="*/ 1646838 w 2792478"/>
                <a:gd name="connsiteY196" fmla="*/ 4046903 h 4235290"/>
                <a:gd name="connsiteX197" fmla="*/ 1658319 w 2792478"/>
                <a:gd name="connsiteY197" fmla="*/ 4074638 h 4235290"/>
                <a:gd name="connsiteX198" fmla="*/ 1646838 w 2792478"/>
                <a:gd name="connsiteY198" fmla="*/ 4102373 h 4235290"/>
                <a:gd name="connsiteX199" fmla="*/ 1602295 w 2792478"/>
                <a:gd name="connsiteY199" fmla="*/ 4146925 h 4235290"/>
                <a:gd name="connsiteX200" fmla="*/ 1574551 w 2792478"/>
                <a:gd name="connsiteY200" fmla="*/ 4158392 h 4235290"/>
                <a:gd name="connsiteX201" fmla="*/ 1546816 w 2792478"/>
                <a:gd name="connsiteY201" fmla="*/ 4146893 h 4235290"/>
                <a:gd name="connsiteX202" fmla="*/ 1526778 w 2792478"/>
                <a:gd name="connsiteY202" fmla="*/ 4126851 h 4235290"/>
                <a:gd name="connsiteX203" fmla="*/ 1526778 w 2792478"/>
                <a:gd name="connsiteY203" fmla="*/ 4071373 h 4235290"/>
                <a:gd name="connsiteX204" fmla="*/ 1571297 w 2792478"/>
                <a:gd name="connsiteY204" fmla="*/ 4026854 h 4235290"/>
                <a:gd name="connsiteX205" fmla="*/ 1599032 w 2792478"/>
                <a:gd name="connsiteY205" fmla="*/ 4015354 h 4235290"/>
                <a:gd name="connsiteX206" fmla="*/ 1018178 w 2792478"/>
                <a:gd name="connsiteY206" fmla="*/ 3991126 h 4235290"/>
                <a:gd name="connsiteX207" fmla="*/ 1145509 w 2792478"/>
                <a:gd name="connsiteY207" fmla="*/ 3991126 h 4235290"/>
                <a:gd name="connsiteX208" fmla="*/ 1145509 w 2792478"/>
                <a:gd name="connsiteY208" fmla="*/ 4078006 h 4235290"/>
                <a:gd name="connsiteX209" fmla="*/ 1119532 w 2792478"/>
                <a:gd name="connsiteY209" fmla="*/ 4078006 h 4235290"/>
                <a:gd name="connsiteX210" fmla="*/ 1119532 w 2792478"/>
                <a:gd name="connsiteY210" fmla="*/ 4066879 h 4235290"/>
                <a:gd name="connsiteX211" fmla="*/ 1134445 w 2792478"/>
                <a:gd name="connsiteY211" fmla="*/ 4066879 h 4235290"/>
                <a:gd name="connsiteX212" fmla="*/ 1134445 w 2792478"/>
                <a:gd name="connsiteY212" fmla="*/ 4002189 h 4235290"/>
                <a:gd name="connsiteX213" fmla="*/ 1029234 w 2792478"/>
                <a:gd name="connsiteY213" fmla="*/ 4002189 h 4235290"/>
                <a:gd name="connsiteX214" fmla="*/ 1029234 w 2792478"/>
                <a:gd name="connsiteY214" fmla="*/ 4017037 h 4235290"/>
                <a:gd name="connsiteX215" fmla="*/ 1018178 w 2792478"/>
                <a:gd name="connsiteY215" fmla="*/ 4017037 h 4235290"/>
                <a:gd name="connsiteX216" fmla="*/ 1669692 w 2792478"/>
                <a:gd name="connsiteY216" fmla="*/ 3987029 h 4235290"/>
                <a:gd name="connsiteX217" fmla="*/ 1680025 w 2792478"/>
                <a:gd name="connsiteY217" fmla="*/ 3988201 h 4235290"/>
                <a:gd name="connsiteX218" fmla="*/ 1685526 w 2792478"/>
                <a:gd name="connsiteY218" fmla="*/ 3993745 h 4235290"/>
                <a:gd name="connsiteX219" fmla="*/ 1686699 w 2792478"/>
                <a:gd name="connsiteY219" fmla="*/ 4004040 h 4235290"/>
                <a:gd name="connsiteX220" fmla="*/ 1679430 w 2792478"/>
                <a:gd name="connsiteY220" fmla="*/ 4011313 h 4235290"/>
                <a:gd name="connsiteX221" fmla="*/ 1678596 w 2792478"/>
                <a:gd name="connsiteY221" fmla="*/ 4019233 h 4235290"/>
                <a:gd name="connsiteX222" fmla="*/ 1675102 w 2792478"/>
                <a:gd name="connsiteY222" fmla="*/ 4042790 h 4235290"/>
                <a:gd name="connsiteX223" fmla="*/ 1667404 w 2792478"/>
                <a:gd name="connsiteY223" fmla="*/ 4050516 h 4235290"/>
                <a:gd name="connsiteX224" fmla="*/ 1646227 w 2792478"/>
                <a:gd name="connsiteY224" fmla="*/ 4035800 h 4235290"/>
                <a:gd name="connsiteX225" fmla="*/ 1637951 w 2792478"/>
                <a:gd name="connsiteY225" fmla="*/ 4027508 h 4235290"/>
                <a:gd name="connsiteX226" fmla="*/ 1623216 w 2792478"/>
                <a:gd name="connsiteY226" fmla="*/ 4006327 h 4235290"/>
                <a:gd name="connsiteX227" fmla="*/ 1630947 w 2792478"/>
                <a:gd name="connsiteY227" fmla="*/ 3998602 h 4235290"/>
                <a:gd name="connsiteX228" fmla="*/ 1654272 w 2792478"/>
                <a:gd name="connsiteY228" fmla="*/ 3994981 h 4235290"/>
                <a:gd name="connsiteX229" fmla="*/ 1662416 w 2792478"/>
                <a:gd name="connsiteY229" fmla="*/ 3994262 h 4235290"/>
                <a:gd name="connsiteX230" fmla="*/ 1669692 w 2792478"/>
                <a:gd name="connsiteY230" fmla="*/ 3987029 h 4235290"/>
                <a:gd name="connsiteX231" fmla="*/ 1306582 w 2792478"/>
                <a:gd name="connsiteY231" fmla="*/ 3977204 h 4235290"/>
                <a:gd name="connsiteX232" fmla="*/ 1310625 w 2792478"/>
                <a:gd name="connsiteY232" fmla="*/ 3981245 h 4235290"/>
                <a:gd name="connsiteX233" fmla="*/ 1310625 w 2792478"/>
                <a:gd name="connsiteY233" fmla="*/ 4026733 h 4235290"/>
                <a:gd name="connsiteX234" fmla="*/ 1306582 w 2792478"/>
                <a:gd name="connsiteY234" fmla="*/ 4030774 h 4235290"/>
                <a:gd name="connsiteX235" fmla="*/ 1302544 w 2792478"/>
                <a:gd name="connsiteY235" fmla="*/ 4026733 h 4235290"/>
                <a:gd name="connsiteX236" fmla="*/ 1302544 w 2792478"/>
                <a:gd name="connsiteY236" fmla="*/ 3981245 h 4235290"/>
                <a:gd name="connsiteX237" fmla="*/ 1306582 w 2792478"/>
                <a:gd name="connsiteY237" fmla="*/ 3977204 h 4235290"/>
                <a:gd name="connsiteX238" fmla="*/ 1284708 w 2792478"/>
                <a:gd name="connsiteY238" fmla="*/ 3977204 h 4235290"/>
                <a:gd name="connsiteX239" fmla="*/ 1288751 w 2792478"/>
                <a:gd name="connsiteY239" fmla="*/ 3981245 h 4235290"/>
                <a:gd name="connsiteX240" fmla="*/ 1288751 w 2792478"/>
                <a:gd name="connsiteY240" fmla="*/ 4026733 h 4235290"/>
                <a:gd name="connsiteX241" fmla="*/ 1284708 w 2792478"/>
                <a:gd name="connsiteY241" fmla="*/ 4030774 h 4235290"/>
                <a:gd name="connsiteX242" fmla="*/ 1280670 w 2792478"/>
                <a:gd name="connsiteY242" fmla="*/ 4026733 h 4235290"/>
                <a:gd name="connsiteX243" fmla="*/ 1280670 w 2792478"/>
                <a:gd name="connsiteY243" fmla="*/ 3981245 h 4235290"/>
                <a:gd name="connsiteX244" fmla="*/ 1284708 w 2792478"/>
                <a:gd name="connsiteY244" fmla="*/ 3977204 h 4235290"/>
                <a:gd name="connsiteX245" fmla="*/ 1262834 w 2792478"/>
                <a:gd name="connsiteY245" fmla="*/ 3977204 h 4235290"/>
                <a:gd name="connsiteX246" fmla="*/ 1266871 w 2792478"/>
                <a:gd name="connsiteY246" fmla="*/ 3981245 h 4235290"/>
                <a:gd name="connsiteX247" fmla="*/ 1266871 w 2792478"/>
                <a:gd name="connsiteY247" fmla="*/ 4026733 h 4235290"/>
                <a:gd name="connsiteX248" fmla="*/ 1262834 w 2792478"/>
                <a:gd name="connsiteY248" fmla="*/ 4030774 h 4235290"/>
                <a:gd name="connsiteX249" fmla="*/ 1258796 w 2792478"/>
                <a:gd name="connsiteY249" fmla="*/ 4026733 h 4235290"/>
                <a:gd name="connsiteX250" fmla="*/ 1258796 w 2792478"/>
                <a:gd name="connsiteY250" fmla="*/ 3981245 h 4235290"/>
                <a:gd name="connsiteX251" fmla="*/ 1262834 w 2792478"/>
                <a:gd name="connsiteY251" fmla="*/ 3977204 h 4235290"/>
                <a:gd name="connsiteX252" fmla="*/ 1556841 w 2792478"/>
                <a:gd name="connsiteY252" fmla="*/ 3971315 h 4235290"/>
                <a:gd name="connsiteX253" fmla="*/ 1567147 w 2792478"/>
                <a:gd name="connsiteY253" fmla="*/ 3971315 h 4235290"/>
                <a:gd name="connsiteX254" fmla="*/ 1573741 w 2792478"/>
                <a:gd name="connsiteY254" fmla="*/ 3985643 h 4235290"/>
                <a:gd name="connsiteX255" fmla="*/ 1576609 w 2792478"/>
                <a:gd name="connsiteY255" fmla="*/ 3990514 h 4235290"/>
                <a:gd name="connsiteX256" fmla="*/ 1573162 w 2792478"/>
                <a:gd name="connsiteY256" fmla="*/ 3994235 h 4235290"/>
                <a:gd name="connsiteX257" fmla="*/ 1566284 w 2792478"/>
                <a:gd name="connsiteY257" fmla="*/ 3994235 h 4235290"/>
                <a:gd name="connsiteX258" fmla="*/ 1562560 w 2792478"/>
                <a:gd name="connsiteY258" fmla="*/ 3990514 h 4235290"/>
                <a:gd name="connsiteX259" fmla="*/ 1556841 w 2792478"/>
                <a:gd name="connsiteY259" fmla="*/ 3974177 h 4235290"/>
                <a:gd name="connsiteX260" fmla="*/ 1482825 w 2792478"/>
                <a:gd name="connsiteY260" fmla="*/ 3961294 h 4235290"/>
                <a:gd name="connsiteX261" fmla="*/ 1489533 w 2792478"/>
                <a:gd name="connsiteY261" fmla="*/ 3961294 h 4235290"/>
                <a:gd name="connsiteX262" fmla="*/ 1491898 w 2792478"/>
                <a:gd name="connsiteY262" fmla="*/ 3962233 h 4235290"/>
                <a:gd name="connsiteX263" fmla="*/ 1492826 w 2792478"/>
                <a:gd name="connsiteY263" fmla="*/ 3964592 h 4235290"/>
                <a:gd name="connsiteX264" fmla="*/ 1492826 w 2792478"/>
                <a:gd name="connsiteY264" fmla="*/ 4024498 h 4235290"/>
                <a:gd name="connsiteX265" fmla="*/ 1491898 w 2792478"/>
                <a:gd name="connsiteY265" fmla="*/ 4026856 h 4235290"/>
                <a:gd name="connsiteX266" fmla="*/ 1489533 w 2792478"/>
                <a:gd name="connsiteY266" fmla="*/ 4027788 h 4235290"/>
                <a:gd name="connsiteX267" fmla="*/ 1482825 w 2792478"/>
                <a:gd name="connsiteY267" fmla="*/ 4027788 h 4235290"/>
                <a:gd name="connsiteX268" fmla="*/ 1480461 w 2792478"/>
                <a:gd name="connsiteY268" fmla="*/ 4026856 h 4235290"/>
                <a:gd name="connsiteX269" fmla="*/ 1479533 w 2792478"/>
                <a:gd name="connsiteY269" fmla="*/ 4024498 h 4235290"/>
                <a:gd name="connsiteX270" fmla="*/ 1479533 w 2792478"/>
                <a:gd name="connsiteY270" fmla="*/ 3964592 h 4235290"/>
                <a:gd name="connsiteX271" fmla="*/ 1480461 w 2792478"/>
                <a:gd name="connsiteY271" fmla="*/ 3962233 h 4235290"/>
                <a:gd name="connsiteX272" fmla="*/ 1482825 w 2792478"/>
                <a:gd name="connsiteY272" fmla="*/ 3961294 h 4235290"/>
                <a:gd name="connsiteX273" fmla="*/ 1454985 w 2792478"/>
                <a:gd name="connsiteY273" fmla="*/ 3961294 h 4235290"/>
                <a:gd name="connsiteX274" fmla="*/ 1461693 w 2792478"/>
                <a:gd name="connsiteY274" fmla="*/ 3961294 h 4235290"/>
                <a:gd name="connsiteX275" fmla="*/ 1464058 w 2792478"/>
                <a:gd name="connsiteY275" fmla="*/ 3962233 h 4235290"/>
                <a:gd name="connsiteX276" fmla="*/ 1464986 w 2792478"/>
                <a:gd name="connsiteY276" fmla="*/ 3964592 h 4235290"/>
                <a:gd name="connsiteX277" fmla="*/ 1464986 w 2792478"/>
                <a:gd name="connsiteY277" fmla="*/ 4024498 h 4235290"/>
                <a:gd name="connsiteX278" fmla="*/ 1464058 w 2792478"/>
                <a:gd name="connsiteY278" fmla="*/ 4026856 h 4235290"/>
                <a:gd name="connsiteX279" fmla="*/ 1461693 w 2792478"/>
                <a:gd name="connsiteY279" fmla="*/ 4027788 h 4235290"/>
                <a:gd name="connsiteX280" fmla="*/ 1454985 w 2792478"/>
                <a:gd name="connsiteY280" fmla="*/ 4027788 h 4235290"/>
                <a:gd name="connsiteX281" fmla="*/ 1452621 w 2792478"/>
                <a:gd name="connsiteY281" fmla="*/ 4026856 h 4235290"/>
                <a:gd name="connsiteX282" fmla="*/ 1451692 w 2792478"/>
                <a:gd name="connsiteY282" fmla="*/ 4024498 h 4235290"/>
                <a:gd name="connsiteX283" fmla="*/ 1451692 w 2792478"/>
                <a:gd name="connsiteY283" fmla="*/ 3964592 h 4235290"/>
                <a:gd name="connsiteX284" fmla="*/ 1452621 w 2792478"/>
                <a:gd name="connsiteY284" fmla="*/ 3962233 h 4235290"/>
                <a:gd name="connsiteX285" fmla="*/ 1454985 w 2792478"/>
                <a:gd name="connsiteY285" fmla="*/ 3961294 h 4235290"/>
                <a:gd name="connsiteX286" fmla="*/ 1429130 w 2792478"/>
                <a:gd name="connsiteY286" fmla="*/ 3961294 h 4235290"/>
                <a:gd name="connsiteX287" fmla="*/ 1435784 w 2792478"/>
                <a:gd name="connsiteY287" fmla="*/ 3961294 h 4235290"/>
                <a:gd name="connsiteX288" fmla="*/ 1438203 w 2792478"/>
                <a:gd name="connsiteY288" fmla="*/ 3962233 h 4235290"/>
                <a:gd name="connsiteX289" fmla="*/ 1439138 w 2792478"/>
                <a:gd name="connsiteY289" fmla="*/ 3964592 h 4235290"/>
                <a:gd name="connsiteX290" fmla="*/ 1439138 w 2792478"/>
                <a:gd name="connsiteY290" fmla="*/ 4024498 h 4235290"/>
                <a:gd name="connsiteX291" fmla="*/ 1438203 w 2792478"/>
                <a:gd name="connsiteY291" fmla="*/ 4026856 h 4235290"/>
                <a:gd name="connsiteX292" fmla="*/ 1435784 w 2792478"/>
                <a:gd name="connsiteY292" fmla="*/ 4027788 h 4235290"/>
                <a:gd name="connsiteX293" fmla="*/ 1429130 w 2792478"/>
                <a:gd name="connsiteY293" fmla="*/ 4027788 h 4235290"/>
                <a:gd name="connsiteX294" fmla="*/ 1426772 w 2792478"/>
                <a:gd name="connsiteY294" fmla="*/ 4026856 h 4235290"/>
                <a:gd name="connsiteX295" fmla="*/ 1425837 w 2792478"/>
                <a:gd name="connsiteY295" fmla="*/ 4024498 h 4235290"/>
                <a:gd name="connsiteX296" fmla="*/ 1425837 w 2792478"/>
                <a:gd name="connsiteY296" fmla="*/ 3964592 h 4235290"/>
                <a:gd name="connsiteX297" fmla="*/ 1426772 w 2792478"/>
                <a:gd name="connsiteY297" fmla="*/ 3962233 h 4235290"/>
                <a:gd name="connsiteX298" fmla="*/ 1429130 w 2792478"/>
                <a:gd name="connsiteY298" fmla="*/ 3961294 h 4235290"/>
                <a:gd name="connsiteX299" fmla="*/ 1006058 w 2792478"/>
                <a:gd name="connsiteY299" fmla="*/ 3957324 h 4235290"/>
                <a:gd name="connsiteX300" fmla="*/ 1011838 w 2792478"/>
                <a:gd name="connsiteY300" fmla="*/ 3963097 h 4235290"/>
                <a:gd name="connsiteX301" fmla="*/ 1006058 w 2792478"/>
                <a:gd name="connsiteY301" fmla="*/ 3968879 h 4235290"/>
                <a:gd name="connsiteX302" fmla="*/ 1000278 w 2792478"/>
                <a:gd name="connsiteY302" fmla="*/ 3963097 h 4235290"/>
                <a:gd name="connsiteX303" fmla="*/ 1006058 w 2792478"/>
                <a:gd name="connsiteY303" fmla="*/ 3957324 h 4235290"/>
                <a:gd name="connsiteX304" fmla="*/ 1037883 w 2792478"/>
                <a:gd name="connsiteY304" fmla="*/ 3955334 h 4235290"/>
                <a:gd name="connsiteX305" fmla="*/ 1043663 w 2792478"/>
                <a:gd name="connsiteY305" fmla="*/ 3961107 h 4235290"/>
                <a:gd name="connsiteX306" fmla="*/ 1037883 w 2792478"/>
                <a:gd name="connsiteY306" fmla="*/ 3966890 h 4235290"/>
                <a:gd name="connsiteX307" fmla="*/ 1032103 w 2792478"/>
                <a:gd name="connsiteY307" fmla="*/ 3961107 h 4235290"/>
                <a:gd name="connsiteX308" fmla="*/ 1037883 w 2792478"/>
                <a:gd name="connsiteY308" fmla="*/ 3955334 h 4235290"/>
                <a:gd name="connsiteX309" fmla="*/ 1243819 w 2792478"/>
                <a:gd name="connsiteY309" fmla="*/ 3952474 h 4235290"/>
                <a:gd name="connsiteX310" fmla="*/ 1243819 w 2792478"/>
                <a:gd name="connsiteY310" fmla="*/ 4031768 h 4235290"/>
                <a:gd name="connsiteX311" fmla="*/ 1252827 w 2792478"/>
                <a:gd name="connsiteY311" fmla="*/ 4040776 h 4235290"/>
                <a:gd name="connsiteX312" fmla="*/ 1317834 w 2792478"/>
                <a:gd name="connsiteY312" fmla="*/ 4040776 h 4235290"/>
                <a:gd name="connsiteX313" fmla="*/ 1326780 w 2792478"/>
                <a:gd name="connsiteY313" fmla="*/ 4031768 h 4235290"/>
                <a:gd name="connsiteX314" fmla="*/ 1326780 w 2792478"/>
                <a:gd name="connsiteY314" fmla="*/ 3952474 h 4235290"/>
                <a:gd name="connsiteX315" fmla="*/ 1412666 w 2792478"/>
                <a:gd name="connsiteY315" fmla="*/ 3941537 h 4235290"/>
                <a:gd name="connsiteX316" fmla="*/ 1412666 w 2792478"/>
                <a:gd name="connsiteY316" fmla="*/ 4040099 h 4235290"/>
                <a:gd name="connsiteX317" fmla="*/ 1413411 w 2792478"/>
                <a:gd name="connsiteY317" fmla="*/ 4044321 h 4235290"/>
                <a:gd name="connsiteX318" fmla="*/ 1414902 w 2792478"/>
                <a:gd name="connsiteY318" fmla="*/ 4047116 h 4235290"/>
                <a:gd name="connsiteX319" fmla="*/ 1416020 w 2792478"/>
                <a:gd name="connsiteY319" fmla="*/ 4047988 h 4235290"/>
                <a:gd name="connsiteX320" fmla="*/ 1502522 w 2792478"/>
                <a:gd name="connsiteY320" fmla="*/ 4047988 h 4235290"/>
                <a:gd name="connsiteX321" fmla="*/ 1503579 w 2792478"/>
                <a:gd name="connsiteY321" fmla="*/ 4047116 h 4235290"/>
                <a:gd name="connsiteX322" fmla="*/ 1505069 w 2792478"/>
                <a:gd name="connsiteY322" fmla="*/ 4044321 h 4235290"/>
                <a:gd name="connsiteX323" fmla="*/ 1505814 w 2792478"/>
                <a:gd name="connsiteY323" fmla="*/ 4040099 h 4235290"/>
                <a:gd name="connsiteX324" fmla="*/ 1505814 w 2792478"/>
                <a:gd name="connsiteY324" fmla="*/ 3941537 h 4235290"/>
                <a:gd name="connsiteX325" fmla="*/ 1140776 w 2792478"/>
                <a:gd name="connsiteY325" fmla="*/ 3939408 h 4235290"/>
                <a:gd name="connsiteX326" fmla="*/ 1165086 w 2792478"/>
                <a:gd name="connsiteY326" fmla="*/ 3959668 h 4235290"/>
                <a:gd name="connsiteX327" fmla="*/ 1165479 w 2792478"/>
                <a:gd name="connsiteY327" fmla="*/ 3968291 h 4235290"/>
                <a:gd name="connsiteX328" fmla="*/ 1156414 w 2792478"/>
                <a:gd name="connsiteY328" fmla="*/ 3977355 h 4235290"/>
                <a:gd name="connsiteX329" fmla="*/ 1147788 w 2792478"/>
                <a:gd name="connsiteY329" fmla="*/ 3976958 h 4235290"/>
                <a:gd name="connsiteX330" fmla="*/ 1127537 w 2792478"/>
                <a:gd name="connsiteY330" fmla="*/ 3952653 h 4235290"/>
                <a:gd name="connsiteX331" fmla="*/ 1140776 w 2792478"/>
                <a:gd name="connsiteY331" fmla="*/ 3939408 h 4235290"/>
                <a:gd name="connsiteX332" fmla="*/ 1608395 w 2792478"/>
                <a:gd name="connsiteY332" fmla="*/ 3935926 h 4235290"/>
                <a:gd name="connsiteX333" fmla="*/ 1576886 w 2792478"/>
                <a:gd name="connsiteY333" fmla="*/ 3951161 h 4235290"/>
                <a:gd name="connsiteX334" fmla="*/ 1576886 w 2792478"/>
                <a:gd name="connsiteY334" fmla="*/ 3962832 h 4235290"/>
                <a:gd name="connsiteX335" fmla="*/ 1608395 w 2792478"/>
                <a:gd name="connsiteY335" fmla="*/ 3978061 h 4235290"/>
                <a:gd name="connsiteX336" fmla="*/ 1608395 w 2792478"/>
                <a:gd name="connsiteY336" fmla="*/ 3935926 h 4235290"/>
                <a:gd name="connsiteX337" fmla="*/ 1612147 w 2792478"/>
                <a:gd name="connsiteY337" fmla="*/ 3925626 h 4235290"/>
                <a:gd name="connsiteX338" fmla="*/ 1614130 w 2792478"/>
                <a:gd name="connsiteY338" fmla="*/ 3928353 h 4235290"/>
                <a:gd name="connsiteX339" fmla="*/ 1614130 w 2792478"/>
                <a:gd name="connsiteY339" fmla="*/ 3951260 h 4235290"/>
                <a:gd name="connsiteX340" fmla="*/ 1619856 w 2792478"/>
                <a:gd name="connsiteY340" fmla="*/ 3956994 h 4235290"/>
                <a:gd name="connsiteX341" fmla="*/ 1614130 w 2792478"/>
                <a:gd name="connsiteY341" fmla="*/ 3962717 h 4235290"/>
                <a:gd name="connsiteX342" fmla="*/ 1614130 w 2792478"/>
                <a:gd name="connsiteY342" fmla="*/ 3985643 h 4235290"/>
                <a:gd name="connsiteX343" fmla="*/ 1612147 w 2792478"/>
                <a:gd name="connsiteY343" fmla="*/ 3988355 h 4235290"/>
                <a:gd name="connsiteX344" fmla="*/ 1611266 w 2792478"/>
                <a:gd name="connsiteY344" fmla="*/ 3988496 h 4235290"/>
                <a:gd name="connsiteX345" fmla="*/ 1608942 w 2792478"/>
                <a:gd name="connsiteY345" fmla="*/ 3987308 h 4235290"/>
                <a:gd name="connsiteX346" fmla="*/ 1574018 w 2792478"/>
                <a:gd name="connsiteY346" fmla="*/ 3968447 h 4235290"/>
                <a:gd name="connsiteX347" fmla="*/ 1556268 w 2792478"/>
                <a:gd name="connsiteY347" fmla="*/ 3968447 h 4235290"/>
                <a:gd name="connsiteX348" fmla="*/ 1551109 w 2792478"/>
                <a:gd name="connsiteY348" fmla="*/ 3963295 h 4235290"/>
                <a:gd name="connsiteX349" fmla="*/ 1551109 w 2792478"/>
                <a:gd name="connsiteY349" fmla="*/ 3950692 h 4235290"/>
                <a:gd name="connsiteX350" fmla="*/ 1556268 w 2792478"/>
                <a:gd name="connsiteY350" fmla="*/ 3945527 h 4235290"/>
                <a:gd name="connsiteX351" fmla="*/ 1574018 w 2792478"/>
                <a:gd name="connsiteY351" fmla="*/ 3945527 h 4235290"/>
                <a:gd name="connsiteX352" fmla="*/ 1608942 w 2792478"/>
                <a:gd name="connsiteY352" fmla="*/ 3926676 h 4235290"/>
                <a:gd name="connsiteX353" fmla="*/ 1612147 w 2792478"/>
                <a:gd name="connsiteY353" fmla="*/ 3925626 h 4235290"/>
                <a:gd name="connsiteX354" fmla="*/ 1242015 w 2792478"/>
                <a:gd name="connsiteY354" fmla="*/ 3925623 h 4235290"/>
                <a:gd name="connsiteX355" fmla="*/ 1233069 w 2792478"/>
                <a:gd name="connsiteY355" fmla="*/ 3934576 h 4235290"/>
                <a:gd name="connsiteX356" fmla="*/ 1233069 w 2792478"/>
                <a:gd name="connsiteY356" fmla="*/ 3935446 h 4235290"/>
                <a:gd name="connsiteX357" fmla="*/ 1242015 w 2792478"/>
                <a:gd name="connsiteY357" fmla="*/ 3944392 h 4235290"/>
                <a:gd name="connsiteX358" fmla="*/ 1328584 w 2792478"/>
                <a:gd name="connsiteY358" fmla="*/ 3944392 h 4235290"/>
                <a:gd name="connsiteX359" fmla="*/ 1337530 w 2792478"/>
                <a:gd name="connsiteY359" fmla="*/ 3935446 h 4235290"/>
                <a:gd name="connsiteX360" fmla="*/ 1337530 w 2792478"/>
                <a:gd name="connsiteY360" fmla="*/ 3934576 h 4235290"/>
                <a:gd name="connsiteX361" fmla="*/ 1328584 w 2792478"/>
                <a:gd name="connsiteY361" fmla="*/ 3925623 h 4235290"/>
                <a:gd name="connsiteX362" fmla="*/ 1031602 w 2792478"/>
                <a:gd name="connsiteY362" fmla="*/ 3925504 h 4235290"/>
                <a:gd name="connsiteX363" fmla="*/ 1043097 w 2792478"/>
                <a:gd name="connsiteY363" fmla="*/ 3936933 h 4235290"/>
                <a:gd name="connsiteX364" fmla="*/ 1031602 w 2792478"/>
                <a:gd name="connsiteY364" fmla="*/ 3948372 h 4235290"/>
                <a:gd name="connsiteX365" fmla="*/ 1020170 w 2792478"/>
                <a:gd name="connsiteY365" fmla="*/ 3936933 h 4235290"/>
                <a:gd name="connsiteX366" fmla="*/ 1031602 w 2792478"/>
                <a:gd name="connsiteY366" fmla="*/ 3925504 h 4235290"/>
                <a:gd name="connsiteX367" fmla="*/ 1442803 w 2792478"/>
                <a:gd name="connsiteY367" fmla="*/ 3914941 h 4235290"/>
                <a:gd name="connsiteX368" fmla="*/ 1441062 w 2792478"/>
                <a:gd name="connsiteY368" fmla="*/ 3916058 h 4235290"/>
                <a:gd name="connsiteX369" fmla="*/ 1435967 w 2792478"/>
                <a:gd name="connsiteY369" fmla="*/ 3928235 h 4235290"/>
                <a:gd name="connsiteX370" fmla="*/ 1482514 w 2792478"/>
                <a:gd name="connsiteY370" fmla="*/ 3928235 h 4235290"/>
                <a:gd name="connsiteX371" fmla="*/ 1477541 w 2792478"/>
                <a:gd name="connsiteY371" fmla="*/ 3916058 h 4235290"/>
                <a:gd name="connsiteX372" fmla="*/ 1475799 w 2792478"/>
                <a:gd name="connsiteY372" fmla="*/ 3914941 h 4235290"/>
                <a:gd name="connsiteX373" fmla="*/ 1285333 w 2792478"/>
                <a:gd name="connsiteY373" fmla="*/ 3907732 h 4235290"/>
                <a:gd name="connsiteX374" fmla="*/ 1273399 w 2792478"/>
                <a:gd name="connsiteY374" fmla="*/ 3917486 h 4235290"/>
                <a:gd name="connsiteX375" fmla="*/ 1297200 w 2792478"/>
                <a:gd name="connsiteY375" fmla="*/ 3917486 h 4235290"/>
                <a:gd name="connsiteX376" fmla="*/ 1285333 w 2792478"/>
                <a:gd name="connsiteY376" fmla="*/ 3907732 h 4235290"/>
                <a:gd name="connsiteX377" fmla="*/ 1442613 w 2792478"/>
                <a:gd name="connsiteY377" fmla="*/ 3901639 h 4235290"/>
                <a:gd name="connsiteX378" fmla="*/ 1475860 w 2792478"/>
                <a:gd name="connsiteY378" fmla="*/ 3901639 h 4235290"/>
                <a:gd name="connsiteX379" fmla="*/ 1484126 w 2792478"/>
                <a:gd name="connsiteY379" fmla="*/ 3904308 h 4235290"/>
                <a:gd name="connsiteX380" fmla="*/ 1489723 w 2792478"/>
                <a:gd name="connsiteY380" fmla="*/ 3910897 h 4235290"/>
                <a:gd name="connsiteX381" fmla="*/ 1496993 w 2792478"/>
                <a:gd name="connsiteY381" fmla="*/ 3928235 h 4235290"/>
                <a:gd name="connsiteX382" fmla="*/ 1529122 w 2792478"/>
                <a:gd name="connsiteY382" fmla="*/ 3928235 h 4235290"/>
                <a:gd name="connsiteX383" fmla="*/ 1531480 w 2792478"/>
                <a:gd name="connsiteY383" fmla="*/ 3929167 h 4235290"/>
                <a:gd name="connsiteX384" fmla="*/ 1532415 w 2792478"/>
                <a:gd name="connsiteY384" fmla="*/ 3931592 h 4235290"/>
                <a:gd name="connsiteX385" fmla="*/ 1532415 w 2792478"/>
                <a:gd name="connsiteY385" fmla="*/ 3938239 h 4235290"/>
                <a:gd name="connsiteX386" fmla="*/ 1531480 w 2792478"/>
                <a:gd name="connsiteY386" fmla="*/ 3940606 h 4235290"/>
                <a:gd name="connsiteX387" fmla="*/ 1529122 w 2792478"/>
                <a:gd name="connsiteY387" fmla="*/ 3941537 h 4235290"/>
                <a:gd name="connsiteX388" fmla="*/ 1519115 w 2792478"/>
                <a:gd name="connsiteY388" fmla="*/ 3941537 h 4235290"/>
                <a:gd name="connsiteX389" fmla="*/ 1519115 w 2792478"/>
                <a:gd name="connsiteY389" fmla="*/ 4040099 h 4235290"/>
                <a:gd name="connsiteX390" fmla="*/ 1514270 w 2792478"/>
                <a:gd name="connsiteY390" fmla="*/ 4055013 h 4235290"/>
                <a:gd name="connsiteX391" fmla="*/ 1502522 w 2792478"/>
                <a:gd name="connsiteY391" fmla="*/ 4061349 h 4235290"/>
                <a:gd name="connsiteX392" fmla="*/ 1416020 w 2792478"/>
                <a:gd name="connsiteY392" fmla="*/ 4061349 h 4235290"/>
                <a:gd name="connsiteX393" fmla="*/ 1404271 w 2792478"/>
                <a:gd name="connsiteY393" fmla="*/ 4055257 h 4235290"/>
                <a:gd name="connsiteX394" fmla="*/ 1399366 w 2792478"/>
                <a:gd name="connsiteY394" fmla="*/ 4040528 h 4235290"/>
                <a:gd name="connsiteX395" fmla="*/ 1399366 w 2792478"/>
                <a:gd name="connsiteY395" fmla="*/ 3941537 h 4235290"/>
                <a:gd name="connsiteX396" fmla="*/ 1389359 w 2792478"/>
                <a:gd name="connsiteY396" fmla="*/ 3941537 h 4235290"/>
                <a:gd name="connsiteX397" fmla="*/ 1387001 w 2792478"/>
                <a:gd name="connsiteY397" fmla="*/ 3940606 h 4235290"/>
                <a:gd name="connsiteX398" fmla="*/ 1386066 w 2792478"/>
                <a:gd name="connsiteY398" fmla="*/ 3938239 h 4235290"/>
                <a:gd name="connsiteX399" fmla="*/ 1386066 w 2792478"/>
                <a:gd name="connsiteY399" fmla="*/ 3931592 h 4235290"/>
                <a:gd name="connsiteX400" fmla="*/ 1387001 w 2792478"/>
                <a:gd name="connsiteY400" fmla="*/ 3929167 h 4235290"/>
                <a:gd name="connsiteX401" fmla="*/ 1389359 w 2792478"/>
                <a:gd name="connsiteY401" fmla="*/ 3928235 h 4235290"/>
                <a:gd name="connsiteX402" fmla="*/ 1421488 w 2792478"/>
                <a:gd name="connsiteY402" fmla="*/ 3928235 h 4235290"/>
                <a:gd name="connsiteX403" fmla="*/ 1428758 w 2792478"/>
                <a:gd name="connsiteY403" fmla="*/ 3910897 h 4235290"/>
                <a:gd name="connsiteX404" fmla="*/ 1434415 w 2792478"/>
                <a:gd name="connsiteY404" fmla="*/ 3904308 h 4235290"/>
                <a:gd name="connsiteX405" fmla="*/ 1442613 w 2792478"/>
                <a:gd name="connsiteY405" fmla="*/ 3901639 h 4235290"/>
                <a:gd name="connsiteX406" fmla="*/ 1285333 w 2792478"/>
                <a:gd name="connsiteY406" fmla="*/ 3899650 h 4235290"/>
                <a:gd name="connsiteX407" fmla="*/ 1305342 w 2792478"/>
                <a:gd name="connsiteY407" fmla="*/ 3917486 h 4235290"/>
                <a:gd name="connsiteX408" fmla="*/ 1328584 w 2792478"/>
                <a:gd name="connsiteY408" fmla="*/ 3917486 h 4235290"/>
                <a:gd name="connsiteX409" fmla="*/ 1345611 w 2792478"/>
                <a:gd name="connsiteY409" fmla="*/ 3934576 h 4235290"/>
                <a:gd name="connsiteX410" fmla="*/ 1345611 w 2792478"/>
                <a:gd name="connsiteY410" fmla="*/ 3935446 h 4235290"/>
                <a:gd name="connsiteX411" fmla="*/ 1334861 w 2792478"/>
                <a:gd name="connsiteY411" fmla="*/ 3951293 h 4235290"/>
                <a:gd name="connsiteX412" fmla="*/ 1334861 w 2792478"/>
                <a:gd name="connsiteY412" fmla="*/ 4031768 h 4235290"/>
                <a:gd name="connsiteX413" fmla="*/ 1317834 w 2792478"/>
                <a:gd name="connsiteY413" fmla="*/ 4048858 h 4235290"/>
                <a:gd name="connsiteX414" fmla="*/ 1252827 w 2792478"/>
                <a:gd name="connsiteY414" fmla="*/ 4048858 h 4235290"/>
                <a:gd name="connsiteX415" fmla="*/ 1235739 w 2792478"/>
                <a:gd name="connsiteY415" fmla="*/ 4031768 h 4235290"/>
                <a:gd name="connsiteX416" fmla="*/ 1235739 w 2792478"/>
                <a:gd name="connsiteY416" fmla="*/ 3951293 h 4235290"/>
                <a:gd name="connsiteX417" fmla="*/ 1224989 w 2792478"/>
                <a:gd name="connsiteY417" fmla="*/ 3935446 h 4235290"/>
                <a:gd name="connsiteX418" fmla="*/ 1224989 w 2792478"/>
                <a:gd name="connsiteY418" fmla="*/ 3934576 h 4235290"/>
                <a:gd name="connsiteX419" fmla="*/ 1242015 w 2792478"/>
                <a:gd name="connsiteY419" fmla="*/ 3917486 h 4235290"/>
                <a:gd name="connsiteX420" fmla="*/ 1265258 w 2792478"/>
                <a:gd name="connsiteY420" fmla="*/ 3917486 h 4235290"/>
                <a:gd name="connsiteX421" fmla="*/ 1285333 w 2792478"/>
                <a:gd name="connsiteY421" fmla="*/ 3899650 h 4235290"/>
                <a:gd name="connsiteX422" fmla="*/ 963986 w 2792478"/>
                <a:gd name="connsiteY422" fmla="*/ 3892251 h 4235290"/>
                <a:gd name="connsiteX423" fmla="*/ 962619 w 2792478"/>
                <a:gd name="connsiteY423" fmla="*/ 3892631 h 4235290"/>
                <a:gd name="connsiteX424" fmla="*/ 905205 w 2792478"/>
                <a:gd name="connsiteY424" fmla="*/ 3909716 h 4235290"/>
                <a:gd name="connsiteX425" fmla="*/ 876926 w 2792478"/>
                <a:gd name="connsiteY425" fmla="*/ 3911335 h 4235290"/>
                <a:gd name="connsiteX426" fmla="*/ 875431 w 2792478"/>
                <a:gd name="connsiteY426" fmla="*/ 3911335 h 4235290"/>
                <a:gd name="connsiteX427" fmla="*/ 874255 w 2792478"/>
                <a:gd name="connsiteY427" fmla="*/ 3913197 h 4235290"/>
                <a:gd name="connsiteX428" fmla="*/ 879469 w 2792478"/>
                <a:gd name="connsiteY428" fmla="*/ 3921340 h 4235290"/>
                <a:gd name="connsiteX429" fmla="*/ 884137 w 2792478"/>
                <a:gd name="connsiteY429" fmla="*/ 3921467 h 4235290"/>
                <a:gd name="connsiteX430" fmla="*/ 888923 w 2792478"/>
                <a:gd name="connsiteY430" fmla="*/ 3921525 h 4235290"/>
                <a:gd name="connsiteX431" fmla="*/ 908933 w 2792478"/>
                <a:gd name="connsiteY431" fmla="*/ 3921028 h 4235290"/>
                <a:gd name="connsiteX432" fmla="*/ 909179 w 2792478"/>
                <a:gd name="connsiteY432" fmla="*/ 3922149 h 4235290"/>
                <a:gd name="connsiteX433" fmla="*/ 894448 w 2792478"/>
                <a:gd name="connsiteY433" fmla="*/ 3926928 h 4235290"/>
                <a:gd name="connsiteX434" fmla="*/ 890163 w 2792478"/>
                <a:gd name="connsiteY434" fmla="*/ 3927864 h 4235290"/>
                <a:gd name="connsiteX435" fmla="*/ 885687 w 2792478"/>
                <a:gd name="connsiteY435" fmla="*/ 3928547 h 4235290"/>
                <a:gd name="connsiteX436" fmla="*/ 888613 w 2792478"/>
                <a:gd name="connsiteY436" fmla="*/ 3931277 h 4235290"/>
                <a:gd name="connsiteX437" fmla="*/ 890974 w 2792478"/>
                <a:gd name="connsiteY437" fmla="*/ 3933335 h 4235290"/>
                <a:gd name="connsiteX438" fmla="*/ 897000 w 2792478"/>
                <a:gd name="connsiteY438" fmla="*/ 3933578 h 4235290"/>
                <a:gd name="connsiteX439" fmla="*/ 903463 w 2792478"/>
                <a:gd name="connsiteY439" fmla="*/ 3933705 h 4235290"/>
                <a:gd name="connsiteX440" fmla="*/ 924777 w 2792478"/>
                <a:gd name="connsiteY440" fmla="*/ 3933208 h 4235290"/>
                <a:gd name="connsiteX441" fmla="*/ 925023 w 2792478"/>
                <a:gd name="connsiteY441" fmla="*/ 3934261 h 4235290"/>
                <a:gd name="connsiteX442" fmla="*/ 911914 w 2792478"/>
                <a:gd name="connsiteY442" fmla="*/ 3938678 h 4235290"/>
                <a:gd name="connsiteX443" fmla="*/ 906754 w 2792478"/>
                <a:gd name="connsiteY443" fmla="*/ 3939917 h 4235290"/>
                <a:gd name="connsiteX444" fmla="*/ 901221 w 2792478"/>
                <a:gd name="connsiteY444" fmla="*/ 3940726 h 4235290"/>
                <a:gd name="connsiteX445" fmla="*/ 914403 w 2792478"/>
                <a:gd name="connsiteY445" fmla="*/ 3947816 h 4235290"/>
                <a:gd name="connsiteX446" fmla="*/ 916017 w 2792478"/>
                <a:gd name="connsiteY446" fmla="*/ 3948557 h 4235290"/>
                <a:gd name="connsiteX447" fmla="*/ 923410 w 2792478"/>
                <a:gd name="connsiteY447" fmla="*/ 3947747 h 4235290"/>
                <a:gd name="connsiteX448" fmla="*/ 930995 w 2792478"/>
                <a:gd name="connsiteY448" fmla="*/ 3946694 h 4235290"/>
                <a:gd name="connsiteX449" fmla="*/ 956347 w 2792478"/>
                <a:gd name="connsiteY449" fmla="*/ 3940102 h 4235290"/>
                <a:gd name="connsiteX450" fmla="*/ 957213 w 2792478"/>
                <a:gd name="connsiteY450" fmla="*/ 3941536 h 4235290"/>
                <a:gd name="connsiteX451" fmla="*/ 944970 w 2792478"/>
                <a:gd name="connsiteY451" fmla="*/ 3950488 h 4235290"/>
                <a:gd name="connsiteX452" fmla="*/ 940621 w 2792478"/>
                <a:gd name="connsiteY452" fmla="*/ 3953160 h 4235290"/>
                <a:gd name="connsiteX453" fmla="*/ 935835 w 2792478"/>
                <a:gd name="connsiteY453" fmla="*/ 3955578 h 4235290"/>
                <a:gd name="connsiteX454" fmla="*/ 947021 w 2792478"/>
                <a:gd name="connsiteY454" fmla="*/ 3958123 h 4235290"/>
                <a:gd name="connsiteX455" fmla="*/ 947650 w 2792478"/>
                <a:gd name="connsiteY455" fmla="*/ 3958191 h 4235290"/>
                <a:gd name="connsiteX456" fmla="*/ 947769 w 2792478"/>
                <a:gd name="connsiteY456" fmla="*/ 3958191 h 4235290"/>
                <a:gd name="connsiteX457" fmla="*/ 985364 w 2792478"/>
                <a:gd name="connsiteY457" fmla="*/ 3942218 h 4235290"/>
                <a:gd name="connsiteX458" fmla="*/ 997981 w 2792478"/>
                <a:gd name="connsiteY458" fmla="*/ 3910272 h 4235290"/>
                <a:gd name="connsiteX459" fmla="*/ 996240 w 2792478"/>
                <a:gd name="connsiteY459" fmla="*/ 3907483 h 4235290"/>
                <a:gd name="connsiteX460" fmla="*/ 965235 w 2792478"/>
                <a:gd name="connsiteY460" fmla="*/ 3892563 h 4235290"/>
                <a:gd name="connsiteX461" fmla="*/ 963986 w 2792478"/>
                <a:gd name="connsiteY461" fmla="*/ 3892251 h 4235290"/>
                <a:gd name="connsiteX462" fmla="*/ 1197486 w 2792478"/>
                <a:gd name="connsiteY462" fmla="*/ 3889204 h 4235290"/>
                <a:gd name="connsiteX463" fmla="*/ 1197486 w 2792478"/>
                <a:gd name="connsiteY463" fmla="*/ 3890222 h 4235290"/>
                <a:gd name="connsiteX464" fmla="*/ 1196197 w 2792478"/>
                <a:gd name="connsiteY464" fmla="*/ 3894479 h 4235290"/>
                <a:gd name="connsiteX465" fmla="*/ 1211634 w 2792478"/>
                <a:gd name="connsiteY465" fmla="*/ 3894479 h 4235290"/>
                <a:gd name="connsiteX466" fmla="*/ 1210337 w 2792478"/>
                <a:gd name="connsiteY466" fmla="*/ 3890239 h 4235290"/>
                <a:gd name="connsiteX467" fmla="*/ 1210337 w 2792478"/>
                <a:gd name="connsiteY467" fmla="*/ 3889204 h 4235290"/>
                <a:gd name="connsiteX468" fmla="*/ 1104322 w 2792478"/>
                <a:gd name="connsiteY468" fmla="*/ 3887374 h 4235290"/>
                <a:gd name="connsiteX469" fmla="*/ 1075498 w 2792478"/>
                <a:gd name="connsiteY469" fmla="*/ 3916204 h 4235290"/>
                <a:gd name="connsiteX470" fmla="*/ 1104322 w 2792478"/>
                <a:gd name="connsiteY470" fmla="*/ 3945030 h 4235290"/>
                <a:gd name="connsiteX471" fmla="*/ 1133147 w 2792478"/>
                <a:gd name="connsiteY471" fmla="*/ 3916204 h 4235290"/>
                <a:gd name="connsiteX472" fmla="*/ 1104322 w 2792478"/>
                <a:gd name="connsiteY472" fmla="*/ 3887374 h 4235290"/>
                <a:gd name="connsiteX473" fmla="*/ 1588905 w 2792478"/>
                <a:gd name="connsiteY473" fmla="*/ 3883743 h 4235290"/>
                <a:gd name="connsiteX474" fmla="*/ 1590955 w 2792478"/>
                <a:gd name="connsiteY474" fmla="*/ 3883743 h 4235290"/>
                <a:gd name="connsiteX475" fmla="*/ 1590955 w 2792478"/>
                <a:gd name="connsiteY475" fmla="*/ 3889959 h 4235290"/>
                <a:gd name="connsiteX476" fmla="*/ 1588905 w 2792478"/>
                <a:gd name="connsiteY476" fmla="*/ 3889959 h 4235290"/>
                <a:gd name="connsiteX477" fmla="*/ 1588905 w 2792478"/>
                <a:gd name="connsiteY477" fmla="*/ 3883743 h 4235290"/>
                <a:gd name="connsiteX478" fmla="*/ 1104322 w 2792478"/>
                <a:gd name="connsiteY478" fmla="*/ 3877762 h 4235290"/>
                <a:gd name="connsiteX479" fmla="*/ 1142755 w 2792478"/>
                <a:gd name="connsiteY479" fmla="*/ 3916204 h 4235290"/>
                <a:gd name="connsiteX480" fmla="*/ 1104322 w 2792478"/>
                <a:gd name="connsiteY480" fmla="*/ 3954631 h 4235290"/>
                <a:gd name="connsiteX481" fmla="*/ 1065890 w 2792478"/>
                <a:gd name="connsiteY481" fmla="*/ 3916204 h 4235290"/>
                <a:gd name="connsiteX482" fmla="*/ 1104322 w 2792478"/>
                <a:gd name="connsiteY482" fmla="*/ 3877762 h 4235290"/>
                <a:gd name="connsiteX483" fmla="*/ 878725 w 2792478"/>
                <a:gd name="connsiteY483" fmla="*/ 3871872 h 4235290"/>
                <a:gd name="connsiteX484" fmla="*/ 880214 w 2792478"/>
                <a:gd name="connsiteY484" fmla="*/ 3872308 h 4235290"/>
                <a:gd name="connsiteX485" fmla="*/ 881208 w 2792478"/>
                <a:gd name="connsiteY485" fmla="*/ 3873924 h 4235290"/>
                <a:gd name="connsiteX486" fmla="*/ 879905 w 2792478"/>
                <a:gd name="connsiteY486" fmla="*/ 3874919 h 4235290"/>
                <a:gd name="connsiteX487" fmla="*/ 879593 w 2792478"/>
                <a:gd name="connsiteY487" fmla="*/ 3874855 h 4235290"/>
                <a:gd name="connsiteX488" fmla="*/ 877917 w 2792478"/>
                <a:gd name="connsiteY488" fmla="*/ 3874360 h 4235290"/>
                <a:gd name="connsiteX489" fmla="*/ 877046 w 2792478"/>
                <a:gd name="connsiteY489" fmla="*/ 3872744 h 4235290"/>
                <a:gd name="connsiteX490" fmla="*/ 878725 w 2792478"/>
                <a:gd name="connsiteY490" fmla="*/ 3871872 h 4235290"/>
                <a:gd name="connsiteX491" fmla="*/ 1608790 w 2792478"/>
                <a:gd name="connsiteY491" fmla="*/ 3865844 h 4235290"/>
                <a:gd name="connsiteX492" fmla="*/ 1615005 w 2792478"/>
                <a:gd name="connsiteY492" fmla="*/ 3865844 h 4235290"/>
                <a:gd name="connsiteX493" fmla="*/ 1615005 w 2792478"/>
                <a:gd name="connsiteY493" fmla="*/ 3867896 h 4235290"/>
                <a:gd name="connsiteX494" fmla="*/ 1608790 w 2792478"/>
                <a:gd name="connsiteY494" fmla="*/ 3867896 h 4235290"/>
                <a:gd name="connsiteX495" fmla="*/ 1608790 w 2792478"/>
                <a:gd name="connsiteY495" fmla="*/ 3865844 h 4235290"/>
                <a:gd name="connsiteX496" fmla="*/ 1565042 w 2792478"/>
                <a:gd name="connsiteY496" fmla="*/ 3865844 h 4235290"/>
                <a:gd name="connsiteX497" fmla="*/ 1571257 w 2792478"/>
                <a:gd name="connsiteY497" fmla="*/ 3865844 h 4235290"/>
                <a:gd name="connsiteX498" fmla="*/ 1571257 w 2792478"/>
                <a:gd name="connsiteY498" fmla="*/ 3867896 h 4235290"/>
                <a:gd name="connsiteX499" fmla="*/ 1565042 w 2792478"/>
                <a:gd name="connsiteY499" fmla="*/ 3867896 h 4235290"/>
                <a:gd name="connsiteX500" fmla="*/ 1565042 w 2792478"/>
                <a:gd name="connsiteY500" fmla="*/ 3865844 h 4235290"/>
                <a:gd name="connsiteX501" fmla="*/ 988719 w 2792478"/>
                <a:gd name="connsiteY501" fmla="*/ 3863854 h 4235290"/>
                <a:gd name="connsiteX502" fmla="*/ 991517 w 2792478"/>
                <a:gd name="connsiteY502" fmla="*/ 3864098 h 4235290"/>
                <a:gd name="connsiteX503" fmla="*/ 993569 w 2792478"/>
                <a:gd name="connsiteY503" fmla="*/ 3864595 h 4235290"/>
                <a:gd name="connsiteX504" fmla="*/ 998291 w 2792478"/>
                <a:gd name="connsiteY504" fmla="*/ 3866585 h 4235290"/>
                <a:gd name="connsiteX505" fmla="*/ 1003141 w 2792478"/>
                <a:gd name="connsiteY505" fmla="*/ 3869939 h 4235290"/>
                <a:gd name="connsiteX506" fmla="*/ 1004071 w 2792478"/>
                <a:gd name="connsiteY506" fmla="*/ 3870875 h 4235290"/>
                <a:gd name="connsiteX507" fmla="*/ 1010662 w 2792478"/>
                <a:gd name="connsiteY507" fmla="*/ 3887278 h 4235290"/>
                <a:gd name="connsiteX508" fmla="*/ 992766 w 2792478"/>
                <a:gd name="connsiteY508" fmla="*/ 3948498 h 4235290"/>
                <a:gd name="connsiteX509" fmla="*/ 947276 w 2792478"/>
                <a:gd name="connsiteY509" fmla="*/ 3967943 h 4235290"/>
                <a:gd name="connsiteX510" fmla="*/ 947085 w 2792478"/>
                <a:gd name="connsiteY510" fmla="*/ 3967943 h 4235290"/>
                <a:gd name="connsiteX511" fmla="*/ 946401 w 2792478"/>
                <a:gd name="connsiteY511" fmla="*/ 3967885 h 4235290"/>
                <a:gd name="connsiteX512" fmla="*/ 910611 w 2792478"/>
                <a:gd name="connsiteY512" fmla="*/ 3956758 h 4235290"/>
                <a:gd name="connsiteX513" fmla="*/ 882204 w 2792478"/>
                <a:gd name="connsiteY513" fmla="*/ 3938610 h 4235290"/>
                <a:gd name="connsiteX514" fmla="*/ 861328 w 2792478"/>
                <a:gd name="connsiteY514" fmla="*/ 3907727 h 4235290"/>
                <a:gd name="connsiteX515" fmla="*/ 862076 w 2792478"/>
                <a:gd name="connsiteY515" fmla="*/ 3903192 h 4235290"/>
                <a:gd name="connsiteX516" fmla="*/ 865923 w 2792478"/>
                <a:gd name="connsiteY516" fmla="*/ 3901330 h 4235290"/>
                <a:gd name="connsiteX517" fmla="*/ 866233 w 2792478"/>
                <a:gd name="connsiteY517" fmla="*/ 3901330 h 4235290"/>
                <a:gd name="connsiteX518" fmla="*/ 866862 w 2792478"/>
                <a:gd name="connsiteY518" fmla="*/ 3901388 h 4235290"/>
                <a:gd name="connsiteX519" fmla="*/ 877364 w 2792478"/>
                <a:gd name="connsiteY519" fmla="*/ 3901642 h 4235290"/>
                <a:gd name="connsiteX520" fmla="*/ 903773 w 2792478"/>
                <a:gd name="connsiteY520" fmla="*/ 3900082 h 4235290"/>
                <a:gd name="connsiteX521" fmla="*/ 932918 w 2792478"/>
                <a:gd name="connsiteY521" fmla="*/ 3894552 h 4235290"/>
                <a:gd name="connsiteX522" fmla="*/ 953794 w 2792478"/>
                <a:gd name="connsiteY522" fmla="*/ 3886039 h 4235290"/>
                <a:gd name="connsiteX523" fmla="*/ 970204 w 2792478"/>
                <a:gd name="connsiteY523" fmla="*/ 3872553 h 4235290"/>
                <a:gd name="connsiteX524" fmla="*/ 988719 w 2792478"/>
                <a:gd name="connsiteY524" fmla="*/ 3863854 h 4235290"/>
                <a:gd name="connsiteX525" fmla="*/ 1700320 w 2792478"/>
                <a:gd name="connsiteY525" fmla="*/ 3858137 h 4235290"/>
                <a:gd name="connsiteX526" fmla="*/ 1698328 w 2792478"/>
                <a:gd name="connsiteY526" fmla="*/ 3859934 h 4235290"/>
                <a:gd name="connsiteX527" fmla="*/ 1698328 w 2792478"/>
                <a:gd name="connsiteY527" fmla="*/ 3880874 h 4235290"/>
                <a:gd name="connsiteX528" fmla="*/ 1698889 w 2792478"/>
                <a:gd name="connsiteY528" fmla="*/ 3882123 h 4235290"/>
                <a:gd name="connsiteX529" fmla="*/ 1700320 w 2792478"/>
                <a:gd name="connsiteY529" fmla="*/ 3882679 h 4235290"/>
                <a:gd name="connsiteX530" fmla="*/ 1703300 w 2792478"/>
                <a:gd name="connsiteY530" fmla="*/ 3882679 h 4235290"/>
                <a:gd name="connsiteX531" fmla="*/ 1705104 w 2792478"/>
                <a:gd name="connsiteY531" fmla="*/ 3880874 h 4235290"/>
                <a:gd name="connsiteX532" fmla="*/ 1705104 w 2792478"/>
                <a:gd name="connsiteY532" fmla="*/ 3859934 h 4235290"/>
                <a:gd name="connsiteX533" fmla="*/ 1703300 w 2792478"/>
                <a:gd name="connsiteY533" fmla="*/ 3858137 h 4235290"/>
                <a:gd name="connsiteX534" fmla="*/ 1094425 w 2792478"/>
                <a:gd name="connsiteY534" fmla="*/ 3851802 h 4235290"/>
                <a:gd name="connsiteX535" fmla="*/ 1095108 w 2792478"/>
                <a:gd name="connsiteY535" fmla="*/ 3853229 h 4235290"/>
                <a:gd name="connsiteX536" fmla="*/ 1098404 w 2792478"/>
                <a:gd name="connsiteY536" fmla="*/ 3854285 h 4235290"/>
                <a:gd name="connsiteX537" fmla="*/ 1101447 w 2792478"/>
                <a:gd name="connsiteY537" fmla="*/ 3853354 h 4235290"/>
                <a:gd name="connsiteX538" fmla="*/ 1102131 w 2792478"/>
                <a:gd name="connsiteY538" fmla="*/ 3851802 h 4235290"/>
                <a:gd name="connsiteX539" fmla="*/ 1099833 w 2792478"/>
                <a:gd name="connsiteY539" fmla="*/ 3852050 h 4235290"/>
                <a:gd name="connsiteX540" fmla="*/ 1098279 w 2792478"/>
                <a:gd name="connsiteY540" fmla="*/ 3852111 h 4235290"/>
                <a:gd name="connsiteX541" fmla="*/ 1098154 w 2792478"/>
                <a:gd name="connsiteY541" fmla="*/ 3852111 h 4235290"/>
                <a:gd name="connsiteX542" fmla="*/ 1096662 w 2792478"/>
                <a:gd name="connsiteY542" fmla="*/ 3852050 h 4235290"/>
                <a:gd name="connsiteX543" fmla="*/ 1094425 w 2792478"/>
                <a:gd name="connsiteY543" fmla="*/ 3851802 h 4235290"/>
                <a:gd name="connsiteX544" fmla="*/ 1700320 w 2792478"/>
                <a:gd name="connsiteY544" fmla="*/ 3847940 h 4235290"/>
                <a:gd name="connsiteX545" fmla="*/ 1703300 w 2792478"/>
                <a:gd name="connsiteY545" fmla="*/ 3847940 h 4235290"/>
                <a:gd name="connsiteX546" fmla="*/ 1711569 w 2792478"/>
                <a:gd name="connsiteY546" fmla="*/ 3851422 h 4235290"/>
                <a:gd name="connsiteX547" fmla="*/ 1715110 w 2792478"/>
                <a:gd name="connsiteY547" fmla="*/ 3859934 h 4235290"/>
                <a:gd name="connsiteX548" fmla="*/ 1715110 w 2792478"/>
                <a:gd name="connsiteY548" fmla="*/ 3880874 h 4235290"/>
                <a:gd name="connsiteX549" fmla="*/ 1711569 w 2792478"/>
                <a:gd name="connsiteY549" fmla="*/ 3889266 h 4235290"/>
                <a:gd name="connsiteX550" fmla="*/ 1703300 w 2792478"/>
                <a:gd name="connsiteY550" fmla="*/ 3892688 h 4235290"/>
                <a:gd name="connsiteX551" fmla="*/ 1700320 w 2792478"/>
                <a:gd name="connsiteY551" fmla="*/ 3892688 h 4235290"/>
                <a:gd name="connsiteX552" fmla="*/ 1691868 w 2792478"/>
                <a:gd name="connsiteY552" fmla="*/ 3889146 h 4235290"/>
                <a:gd name="connsiteX553" fmla="*/ 1688322 w 2792478"/>
                <a:gd name="connsiteY553" fmla="*/ 3880874 h 4235290"/>
                <a:gd name="connsiteX554" fmla="*/ 1688322 w 2792478"/>
                <a:gd name="connsiteY554" fmla="*/ 3859934 h 4235290"/>
                <a:gd name="connsiteX555" fmla="*/ 1691868 w 2792478"/>
                <a:gd name="connsiteY555" fmla="*/ 3851422 h 4235290"/>
                <a:gd name="connsiteX556" fmla="*/ 1700320 w 2792478"/>
                <a:gd name="connsiteY556" fmla="*/ 3847940 h 4235290"/>
                <a:gd name="connsiteX557" fmla="*/ 858402 w 2792478"/>
                <a:gd name="connsiteY557" fmla="*/ 3841983 h 4235290"/>
                <a:gd name="connsiteX558" fmla="*/ 859708 w 2792478"/>
                <a:gd name="connsiteY558" fmla="*/ 3843286 h 4235290"/>
                <a:gd name="connsiteX559" fmla="*/ 873815 w 2792478"/>
                <a:gd name="connsiteY559" fmla="*/ 3867401 h 4235290"/>
                <a:gd name="connsiteX560" fmla="*/ 874313 w 2792478"/>
                <a:gd name="connsiteY560" fmla="*/ 3869201 h 4235290"/>
                <a:gd name="connsiteX561" fmla="*/ 873130 w 2792478"/>
                <a:gd name="connsiteY561" fmla="*/ 3869884 h 4235290"/>
                <a:gd name="connsiteX562" fmla="*/ 872512 w 2792478"/>
                <a:gd name="connsiteY562" fmla="*/ 3869697 h 4235290"/>
                <a:gd name="connsiteX563" fmla="*/ 857099 w 2792478"/>
                <a:gd name="connsiteY563" fmla="*/ 3843286 h 4235290"/>
                <a:gd name="connsiteX564" fmla="*/ 858402 w 2792478"/>
                <a:gd name="connsiteY564" fmla="*/ 3841983 h 4235290"/>
                <a:gd name="connsiteX565" fmla="*/ 1590955 w 2792478"/>
                <a:gd name="connsiteY565" fmla="*/ 3841982 h 4235290"/>
                <a:gd name="connsiteX566" fmla="*/ 1592012 w 2792478"/>
                <a:gd name="connsiteY566" fmla="*/ 3843038 h 4235290"/>
                <a:gd name="connsiteX567" fmla="*/ 1592012 w 2792478"/>
                <a:gd name="connsiteY567" fmla="*/ 3862425 h 4235290"/>
                <a:gd name="connsiteX568" fmla="*/ 1599472 w 2792478"/>
                <a:gd name="connsiteY568" fmla="*/ 3856773 h 4235290"/>
                <a:gd name="connsiteX569" fmla="*/ 1602392 w 2792478"/>
                <a:gd name="connsiteY569" fmla="*/ 3857143 h 4235290"/>
                <a:gd name="connsiteX570" fmla="*/ 1601957 w 2792478"/>
                <a:gd name="connsiteY570" fmla="*/ 3860066 h 4235290"/>
                <a:gd name="connsiteX571" fmla="*/ 1592200 w 2792478"/>
                <a:gd name="connsiteY571" fmla="*/ 3867459 h 4235290"/>
                <a:gd name="connsiteX572" fmla="*/ 1590955 w 2792478"/>
                <a:gd name="connsiteY572" fmla="*/ 3867896 h 4235290"/>
                <a:gd name="connsiteX573" fmla="*/ 1589340 w 2792478"/>
                <a:gd name="connsiteY573" fmla="*/ 3867089 h 4235290"/>
                <a:gd name="connsiteX574" fmla="*/ 1589715 w 2792478"/>
                <a:gd name="connsiteY574" fmla="*/ 3864166 h 4235290"/>
                <a:gd name="connsiteX575" fmla="*/ 1589962 w 2792478"/>
                <a:gd name="connsiteY575" fmla="*/ 3864044 h 4235290"/>
                <a:gd name="connsiteX576" fmla="*/ 1589962 w 2792478"/>
                <a:gd name="connsiteY576" fmla="*/ 3843038 h 4235290"/>
                <a:gd name="connsiteX577" fmla="*/ 1590955 w 2792478"/>
                <a:gd name="connsiteY577" fmla="*/ 3841982 h 4235290"/>
                <a:gd name="connsiteX578" fmla="*/ 1088460 w 2792478"/>
                <a:gd name="connsiteY578" fmla="*/ 3836885 h 4235290"/>
                <a:gd name="connsiteX579" fmla="*/ 1089080 w 2792478"/>
                <a:gd name="connsiteY579" fmla="*/ 3838068 h 4235290"/>
                <a:gd name="connsiteX580" fmla="*/ 1088335 w 2792478"/>
                <a:gd name="connsiteY580" fmla="*/ 3840304 h 4235290"/>
                <a:gd name="connsiteX581" fmla="*/ 1088335 w 2792478"/>
                <a:gd name="connsiteY581" fmla="*/ 3840799 h 4235290"/>
                <a:gd name="connsiteX582" fmla="*/ 1089454 w 2792478"/>
                <a:gd name="connsiteY582" fmla="*/ 3842417 h 4235290"/>
                <a:gd name="connsiteX583" fmla="*/ 1088645 w 2792478"/>
                <a:gd name="connsiteY583" fmla="*/ 3844653 h 4235290"/>
                <a:gd name="connsiteX584" fmla="*/ 1088584 w 2792478"/>
                <a:gd name="connsiteY584" fmla="*/ 3845152 h 4235290"/>
                <a:gd name="connsiteX585" fmla="*/ 1097036 w 2792478"/>
                <a:gd name="connsiteY585" fmla="*/ 3847575 h 4235290"/>
                <a:gd name="connsiteX586" fmla="*/ 1098215 w 2792478"/>
                <a:gd name="connsiteY586" fmla="*/ 3847636 h 4235290"/>
                <a:gd name="connsiteX587" fmla="*/ 1099459 w 2792478"/>
                <a:gd name="connsiteY587" fmla="*/ 3847575 h 4235290"/>
                <a:gd name="connsiteX588" fmla="*/ 1107974 w 2792478"/>
                <a:gd name="connsiteY588" fmla="*/ 3845087 h 4235290"/>
                <a:gd name="connsiteX589" fmla="*/ 1107910 w 2792478"/>
                <a:gd name="connsiteY589" fmla="*/ 3844778 h 4235290"/>
                <a:gd name="connsiteX590" fmla="*/ 1106980 w 2792478"/>
                <a:gd name="connsiteY590" fmla="*/ 3842417 h 4235290"/>
                <a:gd name="connsiteX591" fmla="*/ 1108159 w 2792478"/>
                <a:gd name="connsiteY591" fmla="*/ 3840799 h 4235290"/>
                <a:gd name="connsiteX592" fmla="*/ 1108284 w 2792478"/>
                <a:gd name="connsiteY592" fmla="*/ 3840738 h 4235290"/>
                <a:gd name="connsiteX593" fmla="*/ 1108159 w 2792478"/>
                <a:gd name="connsiteY593" fmla="*/ 3840365 h 4235290"/>
                <a:gd name="connsiteX594" fmla="*/ 1107414 w 2792478"/>
                <a:gd name="connsiteY594" fmla="*/ 3838068 h 4235290"/>
                <a:gd name="connsiteX595" fmla="*/ 1108035 w 2792478"/>
                <a:gd name="connsiteY595" fmla="*/ 3836946 h 4235290"/>
                <a:gd name="connsiteX596" fmla="*/ 1106420 w 2792478"/>
                <a:gd name="connsiteY596" fmla="*/ 3837568 h 4235290"/>
                <a:gd name="connsiteX597" fmla="*/ 1105548 w 2792478"/>
                <a:gd name="connsiteY597" fmla="*/ 3837881 h 4235290"/>
                <a:gd name="connsiteX598" fmla="*/ 1104244 w 2792478"/>
                <a:gd name="connsiteY598" fmla="*/ 3838251 h 4235290"/>
                <a:gd name="connsiteX599" fmla="*/ 1103499 w 2792478"/>
                <a:gd name="connsiteY599" fmla="*/ 3838438 h 4235290"/>
                <a:gd name="connsiteX600" fmla="*/ 1098775 w 2792478"/>
                <a:gd name="connsiteY600" fmla="*/ 3838999 h 4235290"/>
                <a:gd name="connsiteX601" fmla="*/ 1097781 w 2792478"/>
                <a:gd name="connsiteY601" fmla="*/ 3838999 h 4235290"/>
                <a:gd name="connsiteX602" fmla="*/ 1088460 w 2792478"/>
                <a:gd name="connsiteY602" fmla="*/ 3836885 h 4235290"/>
                <a:gd name="connsiteX603" fmla="*/ 1589715 w 2792478"/>
                <a:gd name="connsiteY603" fmla="*/ 3836637 h 4235290"/>
                <a:gd name="connsiteX604" fmla="*/ 1560379 w 2792478"/>
                <a:gd name="connsiteY604" fmla="*/ 3865907 h 4235290"/>
                <a:gd name="connsiteX605" fmla="*/ 1589715 w 2792478"/>
                <a:gd name="connsiteY605" fmla="*/ 3895241 h 4235290"/>
                <a:gd name="connsiteX606" fmla="*/ 1618982 w 2792478"/>
                <a:gd name="connsiteY606" fmla="*/ 3865907 h 4235290"/>
                <a:gd name="connsiteX607" fmla="*/ 1589715 w 2792478"/>
                <a:gd name="connsiteY607" fmla="*/ 3836637 h 4235290"/>
                <a:gd name="connsiteX608" fmla="*/ 1700070 w 2792478"/>
                <a:gd name="connsiteY608" fmla="*/ 3833963 h 4235290"/>
                <a:gd name="connsiteX609" fmla="*/ 1671981 w 2792478"/>
                <a:gd name="connsiteY609" fmla="*/ 3846948 h 4235290"/>
                <a:gd name="connsiteX610" fmla="*/ 1660545 w 2792478"/>
                <a:gd name="connsiteY610" fmla="*/ 3875716 h 4235290"/>
                <a:gd name="connsiteX611" fmla="*/ 1660545 w 2792478"/>
                <a:gd name="connsiteY611" fmla="*/ 3925057 h 4235290"/>
                <a:gd name="connsiteX612" fmla="*/ 1672912 w 2792478"/>
                <a:gd name="connsiteY612" fmla="*/ 3954638 h 4235290"/>
                <a:gd name="connsiteX613" fmla="*/ 1702494 w 2792478"/>
                <a:gd name="connsiteY613" fmla="*/ 3967007 h 4235290"/>
                <a:gd name="connsiteX614" fmla="*/ 1744193 w 2792478"/>
                <a:gd name="connsiteY614" fmla="*/ 3925057 h 4235290"/>
                <a:gd name="connsiteX615" fmla="*/ 1744193 w 2792478"/>
                <a:gd name="connsiteY615" fmla="*/ 3875716 h 4235290"/>
                <a:gd name="connsiteX616" fmla="*/ 1733006 w 2792478"/>
                <a:gd name="connsiteY616" fmla="*/ 3847256 h 4235290"/>
                <a:gd name="connsiteX617" fmla="*/ 1705536 w 2792478"/>
                <a:gd name="connsiteY617" fmla="*/ 3833963 h 4235290"/>
                <a:gd name="connsiteX618" fmla="*/ 1164012 w 2792478"/>
                <a:gd name="connsiteY618" fmla="*/ 3831657 h 4235290"/>
                <a:gd name="connsiteX619" fmla="*/ 1164012 w 2792478"/>
                <a:gd name="connsiteY619" fmla="*/ 3875512 h 4235290"/>
                <a:gd name="connsiteX620" fmla="*/ 1243824 w 2792478"/>
                <a:gd name="connsiteY620" fmla="*/ 3875512 h 4235290"/>
                <a:gd name="connsiteX621" fmla="*/ 1243824 w 2792478"/>
                <a:gd name="connsiteY621" fmla="*/ 3831657 h 4235290"/>
                <a:gd name="connsiteX622" fmla="*/ 1161266 w 2792478"/>
                <a:gd name="connsiteY622" fmla="*/ 3826058 h 4235290"/>
                <a:gd name="connsiteX623" fmla="*/ 1246574 w 2792478"/>
                <a:gd name="connsiteY623" fmla="*/ 3826058 h 4235290"/>
                <a:gd name="connsiteX624" fmla="*/ 1250471 w 2792478"/>
                <a:gd name="connsiteY624" fmla="*/ 3829958 h 4235290"/>
                <a:gd name="connsiteX625" fmla="*/ 1250480 w 2792478"/>
                <a:gd name="connsiteY625" fmla="*/ 3876403 h 4235290"/>
                <a:gd name="connsiteX626" fmla="*/ 1250471 w 2792478"/>
                <a:gd name="connsiteY626" fmla="*/ 3885301 h 4235290"/>
                <a:gd name="connsiteX627" fmla="*/ 1246574 w 2792478"/>
                <a:gd name="connsiteY627" fmla="*/ 3889204 h 4235290"/>
                <a:gd name="connsiteX628" fmla="*/ 1213975 w 2792478"/>
                <a:gd name="connsiteY628" fmla="*/ 3889204 h 4235290"/>
                <a:gd name="connsiteX629" fmla="*/ 1213975 w 2792478"/>
                <a:gd name="connsiteY629" fmla="*/ 3890222 h 4235290"/>
                <a:gd name="connsiteX630" fmla="*/ 1217200 w 2792478"/>
                <a:gd name="connsiteY630" fmla="*/ 3894486 h 4235290"/>
                <a:gd name="connsiteX631" fmla="*/ 1217747 w 2792478"/>
                <a:gd name="connsiteY631" fmla="*/ 3894486 h 4235290"/>
                <a:gd name="connsiteX632" fmla="*/ 1219920 w 2792478"/>
                <a:gd name="connsiteY632" fmla="*/ 3896184 h 4235290"/>
                <a:gd name="connsiteX633" fmla="*/ 1219920 w 2792478"/>
                <a:gd name="connsiteY633" fmla="*/ 3896421 h 4235290"/>
                <a:gd name="connsiteX634" fmla="*/ 1217747 w 2792478"/>
                <a:gd name="connsiteY634" fmla="*/ 3898122 h 4235290"/>
                <a:gd name="connsiteX635" fmla="*/ 1190097 w 2792478"/>
                <a:gd name="connsiteY635" fmla="*/ 3898122 h 4235290"/>
                <a:gd name="connsiteX636" fmla="*/ 1187920 w 2792478"/>
                <a:gd name="connsiteY636" fmla="*/ 3896421 h 4235290"/>
                <a:gd name="connsiteX637" fmla="*/ 1187920 w 2792478"/>
                <a:gd name="connsiteY637" fmla="*/ 3896184 h 4235290"/>
                <a:gd name="connsiteX638" fmla="*/ 1190097 w 2792478"/>
                <a:gd name="connsiteY638" fmla="*/ 3894486 h 4235290"/>
                <a:gd name="connsiteX639" fmla="*/ 1190627 w 2792478"/>
                <a:gd name="connsiteY639" fmla="*/ 3894486 h 4235290"/>
                <a:gd name="connsiteX640" fmla="*/ 1193865 w 2792478"/>
                <a:gd name="connsiteY640" fmla="*/ 3890239 h 4235290"/>
                <a:gd name="connsiteX641" fmla="*/ 1193865 w 2792478"/>
                <a:gd name="connsiteY641" fmla="*/ 3889204 h 4235290"/>
                <a:gd name="connsiteX642" fmla="*/ 1161266 w 2792478"/>
                <a:gd name="connsiteY642" fmla="*/ 3889204 h 4235290"/>
                <a:gd name="connsiteX643" fmla="*/ 1157365 w 2792478"/>
                <a:gd name="connsiteY643" fmla="*/ 3885304 h 4235290"/>
                <a:gd name="connsiteX644" fmla="*/ 1157365 w 2792478"/>
                <a:gd name="connsiteY644" fmla="*/ 3829958 h 4235290"/>
                <a:gd name="connsiteX645" fmla="*/ 1161266 w 2792478"/>
                <a:gd name="connsiteY645" fmla="*/ 3826058 h 4235290"/>
                <a:gd name="connsiteX646" fmla="*/ 887612 w 2792478"/>
                <a:gd name="connsiteY646" fmla="*/ 3820107 h 4235290"/>
                <a:gd name="connsiteX647" fmla="*/ 890221 w 2792478"/>
                <a:gd name="connsiteY647" fmla="*/ 3822719 h 4235290"/>
                <a:gd name="connsiteX648" fmla="*/ 890221 w 2792478"/>
                <a:gd name="connsiteY648" fmla="*/ 3843970 h 4235290"/>
                <a:gd name="connsiteX649" fmla="*/ 897180 w 2792478"/>
                <a:gd name="connsiteY649" fmla="*/ 3850433 h 4235290"/>
                <a:gd name="connsiteX650" fmla="*/ 897306 w 2792478"/>
                <a:gd name="connsiteY650" fmla="*/ 3854224 h 4235290"/>
                <a:gd name="connsiteX651" fmla="*/ 895441 w 2792478"/>
                <a:gd name="connsiteY651" fmla="*/ 3855032 h 4235290"/>
                <a:gd name="connsiteX652" fmla="*/ 893639 w 2792478"/>
                <a:gd name="connsiteY652" fmla="*/ 3854288 h 4235290"/>
                <a:gd name="connsiteX653" fmla="*/ 885869 w 2792478"/>
                <a:gd name="connsiteY653" fmla="*/ 3847018 h 4235290"/>
                <a:gd name="connsiteX654" fmla="*/ 884939 w 2792478"/>
                <a:gd name="connsiteY654" fmla="*/ 3845090 h 4235290"/>
                <a:gd name="connsiteX655" fmla="*/ 884939 w 2792478"/>
                <a:gd name="connsiteY655" fmla="*/ 3822719 h 4235290"/>
                <a:gd name="connsiteX656" fmla="*/ 887612 w 2792478"/>
                <a:gd name="connsiteY656" fmla="*/ 3820107 h 4235290"/>
                <a:gd name="connsiteX657" fmla="*/ 1622277 w 2792478"/>
                <a:gd name="connsiteY657" fmla="*/ 3816189 h 4235290"/>
                <a:gd name="connsiteX658" fmla="*/ 1623706 w 2792478"/>
                <a:gd name="connsiteY658" fmla="*/ 3816316 h 4235290"/>
                <a:gd name="connsiteX659" fmla="*/ 1624451 w 2792478"/>
                <a:gd name="connsiteY659" fmla="*/ 3818801 h 4235290"/>
                <a:gd name="connsiteX660" fmla="*/ 1623646 w 2792478"/>
                <a:gd name="connsiteY660" fmla="*/ 3820290 h 4235290"/>
                <a:gd name="connsiteX661" fmla="*/ 1628804 w 2792478"/>
                <a:gd name="connsiteY661" fmla="*/ 3843471 h 4235290"/>
                <a:gd name="connsiteX662" fmla="*/ 1596859 w 2792478"/>
                <a:gd name="connsiteY662" fmla="*/ 3825450 h 4235290"/>
                <a:gd name="connsiteX663" fmla="*/ 1620538 w 2792478"/>
                <a:gd name="connsiteY663" fmla="*/ 3818364 h 4235290"/>
                <a:gd name="connsiteX664" fmla="*/ 1621220 w 2792478"/>
                <a:gd name="connsiteY664" fmla="*/ 3817060 h 4235290"/>
                <a:gd name="connsiteX665" fmla="*/ 1622277 w 2792478"/>
                <a:gd name="connsiteY665" fmla="*/ 3816189 h 4235290"/>
                <a:gd name="connsiteX666" fmla="*/ 1558704 w 2792478"/>
                <a:gd name="connsiteY666" fmla="*/ 3816189 h 4235290"/>
                <a:gd name="connsiteX667" fmla="*/ 1559761 w 2792478"/>
                <a:gd name="connsiteY667" fmla="*/ 3817060 h 4235290"/>
                <a:gd name="connsiteX668" fmla="*/ 1560255 w 2792478"/>
                <a:gd name="connsiteY668" fmla="*/ 3818052 h 4235290"/>
                <a:gd name="connsiteX669" fmla="*/ 1583188 w 2792478"/>
                <a:gd name="connsiteY669" fmla="*/ 3825450 h 4235290"/>
                <a:gd name="connsiteX670" fmla="*/ 1551244 w 2792478"/>
                <a:gd name="connsiteY670" fmla="*/ 3843471 h 4235290"/>
                <a:gd name="connsiteX671" fmla="*/ 1557088 w 2792478"/>
                <a:gd name="connsiteY671" fmla="*/ 3819794 h 4235290"/>
                <a:gd name="connsiteX672" fmla="*/ 1556529 w 2792478"/>
                <a:gd name="connsiteY672" fmla="*/ 3818801 h 4235290"/>
                <a:gd name="connsiteX673" fmla="*/ 1557275 w 2792478"/>
                <a:gd name="connsiteY673" fmla="*/ 3816316 h 4235290"/>
                <a:gd name="connsiteX674" fmla="*/ 1558704 w 2792478"/>
                <a:gd name="connsiteY674" fmla="*/ 3816189 h 4235290"/>
                <a:gd name="connsiteX675" fmla="*/ 1582941 w 2792478"/>
                <a:gd name="connsiteY675" fmla="*/ 3816126 h 4235290"/>
                <a:gd name="connsiteX676" fmla="*/ 1593317 w 2792478"/>
                <a:gd name="connsiteY676" fmla="*/ 3816126 h 4235290"/>
                <a:gd name="connsiteX677" fmla="*/ 1595367 w 2792478"/>
                <a:gd name="connsiteY677" fmla="*/ 3818179 h 4235290"/>
                <a:gd name="connsiteX678" fmla="*/ 1593317 w 2792478"/>
                <a:gd name="connsiteY678" fmla="*/ 3820290 h 4235290"/>
                <a:gd name="connsiteX679" fmla="*/ 1589152 w 2792478"/>
                <a:gd name="connsiteY679" fmla="*/ 3820290 h 4235290"/>
                <a:gd name="connsiteX680" fmla="*/ 1589152 w 2792478"/>
                <a:gd name="connsiteY680" fmla="*/ 3829365 h 4235290"/>
                <a:gd name="connsiteX681" fmla="*/ 1589715 w 2792478"/>
                <a:gd name="connsiteY681" fmla="*/ 3829365 h 4235290"/>
                <a:gd name="connsiteX682" fmla="*/ 1626255 w 2792478"/>
                <a:gd name="connsiteY682" fmla="*/ 3865970 h 4235290"/>
                <a:gd name="connsiteX683" fmla="*/ 1608978 w 2792478"/>
                <a:gd name="connsiteY683" fmla="*/ 3896977 h 4235290"/>
                <a:gd name="connsiteX684" fmla="*/ 1609165 w 2792478"/>
                <a:gd name="connsiteY684" fmla="*/ 3897289 h 4235290"/>
                <a:gd name="connsiteX685" fmla="*/ 1613701 w 2792478"/>
                <a:gd name="connsiteY685" fmla="*/ 3905119 h 4235290"/>
                <a:gd name="connsiteX686" fmla="*/ 1612333 w 2792478"/>
                <a:gd name="connsiteY686" fmla="*/ 3910280 h 4235290"/>
                <a:gd name="connsiteX687" fmla="*/ 1611714 w 2792478"/>
                <a:gd name="connsiteY687" fmla="*/ 3910650 h 4235290"/>
                <a:gd name="connsiteX688" fmla="*/ 1606556 w 2792478"/>
                <a:gd name="connsiteY688" fmla="*/ 3909283 h 4235290"/>
                <a:gd name="connsiteX689" fmla="*/ 1601957 w 2792478"/>
                <a:gd name="connsiteY689" fmla="*/ 3901452 h 4235290"/>
                <a:gd name="connsiteX690" fmla="*/ 1601582 w 2792478"/>
                <a:gd name="connsiteY690" fmla="*/ 3900460 h 4235290"/>
                <a:gd name="connsiteX691" fmla="*/ 1589715 w 2792478"/>
                <a:gd name="connsiteY691" fmla="*/ 3902512 h 4235290"/>
                <a:gd name="connsiteX692" fmla="*/ 1576786 w 2792478"/>
                <a:gd name="connsiteY692" fmla="*/ 3900148 h 4235290"/>
                <a:gd name="connsiteX693" fmla="*/ 1576351 w 2792478"/>
                <a:gd name="connsiteY693" fmla="*/ 3901452 h 4235290"/>
                <a:gd name="connsiteX694" fmla="*/ 1571816 w 2792478"/>
                <a:gd name="connsiteY694" fmla="*/ 3909283 h 4235290"/>
                <a:gd name="connsiteX695" fmla="*/ 1566658 w 2792478"/>
                <a:gd name="connsiteY695" fmla="*/ 3910650 h 4235290"/>
                <a:gd name="connsiteX696" fmla="*/ 1565976 w 2792478"/>
                <a:gd name="connsiteY696" fmla="*/ 3910280 h 4235290"/>
                <a:gd name="connsiteX697" fmla="*/ 1564607 w 2792478"/>
                <a:gd name="connsiteY697" fmla="*/ 3905119 h 4235290"/>
                <a:gd name="connsiteX698" fmla="*/ 1569207 w 2792478"/>
                <a:gd name="connsiteY698" fmla="*/ 3897289 h 4235290"/>
                <a:gd name="connsiteX699" fmla="*/ 1569701 w 2792478"/>
                <a:gd name="connsiteY699" fmla="*/ 3896544 h 4235290"/>
                <a:gd name="connsiteX700" fmla="*/ 1553111 w 2792478"/>
                <a:gd name="connsiteY700" fmla="*/ 3865907 h 4235290"/>
                <a:gd name="connsiteX701" fmla="*/ 1587102 w 2792478"/>
                <a:gd name="connsiteY701" fmla="*/ 3829487 h 4235290"/>
                <a:gd name="connsiteX702" fmla="*/ 1587102 w 2792478"/>
                <a:gd name="connsiteY702" fmla="*/ 3820290 h 4235290"/>
                <a:gd name="connsiteX703" fmla="*/ 1582941 w 2792478"/>
                <a:gd name="connsiteY703" fmla="*/ 3820290 h 4235290"/>
                <a:gd name="connsiteX704" fmla="*/ 1580827 w 2792478"/>
                <a:gd name="connsiteY704" fmla="*/ 3818179 h 4235290"/>
                <a:gd name="connsiteX705" fmla="*/ 1582941 w 2792478"/>
                <a:gd name="connsiteY705" fmla="*/ 3816126 h 4235290"/>
                <a:gd name="connsiteX706" fmla="*/ 1088149 w 2792478"/>
                <a:gd name="connsiteY706" fmla="*/ 3810226 h 4235290"/>
                <a:gd name="connsiteX707" fmla="*/ 1088955 w 2792478"/>
                <a:gd name="connsiteY707" fmla="*/ 3810348 h 4235290"/>
                <a:gd name="connsiteX708" fmla="*/ 1108470 w 2792478"/>
                <a:gd name="connsiteY708" fmla="*/ 3810348 h 4235290"/>
                <a:gd name="connsiteX709" fmla="*/ 1109278 w 2792478"/>
                <a:gd name="connsiteY709" fmla="*/ 3810226 h 4235290"/>
                <a:gd name="connsiteX710" fmla="*/ 1109652 w 2792478"/>
                <a:gd name="connsiteY710" fmla="*/ 3811035 h 4235290"/>
                <a:gd name="connsiteX711" fmla="*/ 1105736 w 2792478"/>
                <a:gd name="connsiteY711" fmla="*/ 3831727 h 4235290"/>
                <a:gd name="connsiteX712" fmla="*/ 1104989 w 2792478"/>
                <a:gd name="connsiteY712" fmla="*/ 3832349 h 4235290"/>
                <a:gd name="connsiteX713" fmla="*/ 1104867 w 2792478"/>
                <a:gd name="connsiteY713" fmla="*/ 3832288 h 4235290"/>
                <a:gd name="connsiteX714" fmla="*/ 1104244 w 2792478"/>
                <a:gd name="connsiteY714" fmla="*/ 3831480 h 4235290"/>
                <a:gd name="connsiteX715" fmla="*/ 1107849 w 2792478"/>
                <a:gd name="connsiteY715" fmla="*/ 3812649 h 4235290"/>
                <a:gd name="connsiteX716" fmla="*/ 1089515 w 2792478"/>
                <a:gd name="connsiteY716" fmla="*/ 3812462 h 4235290"/>
                <a:gd name="connsiteX717" fmla="*/ 1092312 w 2792478"/>
                <a:gd name="connsiteY717" fmla="*/ 3831480 h 4235290"/>
                <a:gd name="connsiteX718" fmla="*/ 1091977 w 2792478"/>
                <a:gd name="connsiteY718" fmla="*/ 3831949 h 4235290"/>
                <a:gd name="connsiteX719" fmla="*/ 1090794 w 2792478"/>
                <a:gd name="connsiteY719" fmla="*/ 3831478 h 4235290"/>
                <a:gd name="connsiteX720" fmla="*/ 1087776 w 2792478"/>
                <a:gd name="connsiteY720" fmla="*/ 3811035 h 4235290"/>
                <a:gd name="connsiteX721" fmla="*/ 1088149 w 2792478"/>
                <a:gd name="connsiteY721" fmla="*/ 3810226 h 4235290"/>
                <a:gd name="connsiteX722" fmla="*/ 887362 w 2792478"/>
                <a:gd name="connsiteY722" fmla="*/ 3809482 h 4235290"/>
                <a:gd name="connsiteX723" fmla="*/ 852438 w 2792478"/>
                <a:gd name="connsiteY723" fmla="*/ 3844406 h 4235290"/>
                <a:gd name="connsiteX724" fmla="*/ 887362 w 2792478"/>
                <a:gd name="connsiteY724" fmla="*/ 3879270 h 4235290"/>
                <a:gd name="connsiteX725" fmla="*/ 922224 w 2792478"/>
                <a:gd name="connsiteY725" fmla="*/ 3844406 h 4235290"/>
                <a:gd name="connsiteX726" fmla="*/ 887362 w 2792478"/>
                <a:gd name="connsiteY726" fmla="*/ 3809482 h 4235290"/>
                <a:gd name="connsiteX727" fmla="*/ 917376 w 2792478"/>
                <a:gd name="connsiteY727" fmla="*/ 3806187 h 4235290"/>
                <a:gd name="connsiteX728" fmla="*/ 919305 w 2792478"/>
                <a:gd name="connsiteY728" fmla="*/ 3806934 h 4235290"/>
                <a:gd name="connsiteX729" fmla="*/ 926203 w 2792478"/>
                <a:gd name="connsiteY729" fmla="*/ 3813829 h 4235290"/>
                <a:gd name="connsiteX730" fmla="*/ 926203 w 2792478"/>
                <a:gd name="connsiteY730" fmla="*/ 3817560 h 4235290"/>
                <a:gd name="connsiteX731" fmla="*/ 924275 w 2792478"/>
                <a:gd name="connsiteY731" fmla="*/ 3818368 h 4235290"/>
                <a:gd name="connsiteX732" fmla="*/ 922414 w 2792478"/>
                <a:gd name="connsiteY732" fmla="*/ 3817560 h 4235290"/>
                <a:gd name="connsiteX733" fmla="*/ 915515 w 2792478"/>
                <a:gd name="connsiteY733" fmla="*/ 3810722 h 4235290"/>
                <a:gd name="connsiteX734" fmla="*/ 915515 w 2792478"/>
                <a:gd name="connsiteY734" fmla="*/ 3806934 h 4235290"/>
                <a:gd name="connsiteX735" fmla="*/ 917376 w 2792478"/>
                <a:gd name="connsiteY735" fmla="*/ 3806187 h 4235290"/>
                <a:gd name="connsiteX736" fmla="*/ 887548 w 2792478"/>
                <a:gd name="connsiteY736" fmla="*/ 3798232 h 4235290"/>
                <a:gd name="connsiteX737" fmla="*/ 890221 w 2792478"/>
                <a:gd name="connsiteY737" fmla="*/ 3800904 h 4235290"/>
                <a:gd name="connsiteX738" fmla="*/ 890221 w 2792478"/>
                <a:gd name="connsiteY738" fmla="*/ 3804507 h 4235290"/>
                <a:gd name="connsiteX739" fmla="*/ 927570 w 2792478"/>
                <a:gd name="connsiteY739" fmla="*/ 3844406 h 4235290"/>
                <a:gd name="connsiteX740" fmla="*/ 887362 w 2792478"/>
                <a:gd name="connsiteY740" fmla="*/ 3884613 h 4235290"/>
                <a:gd name="connsiteX741" fmla="*/ 847155 w 2792478"/>
                <a:gd name="connsiteY741" fmla="*/ 3844406 h 4235290"/>
                <a:gd name="connsiteX742" fmla="*/ 884939 w 2792478"/>
                <a:gd name="connsiteY742" fmla="*/ 3804447 h 4235290"/>
                <a:gd name="connsiteX743" fmla="*/ 884939 w 2792478"/>
                <a:gd name="connsiteY743" fmla="*/ 3800904 h 4235290"/>
                <a:gd name="connsiteX744" fmla="*/ 887548 w 2792478"/>
                <a:gd name="connsiteY744" fmla="*/ 3798232 h 4235290"/>
                <a:gd name="connsiteX745" fmla="*/ 1683043 w 2792478"/>
                <a:gd name="connsiteY745" fmla="*/ 3792261 h 4235290"/>
                <a:gd name="connsiteX746" fmla="*/ 1689690 w 2792478"/>
                <a:gd name="connsiteY746" fmla="*/ 3793441 h 4235290"/>
                <a:gd name="connsiteX747" fmla="*/ 1697459 w 2792478"/>
                <a:gd name="connsiteY747" fmla="*/ 3797795 h 4235290"/>
                <a:gd name="connsiteX748" fmla="*/ 1707465 w 2792478"/>
                <a:gd name="connsiteY748" fmla="*/ 3824202 h 4235290"/>
                <a:gd name="connsiteX749" fmla="*/ 1740776 w 2792478"/>
                <a:gd name="connsiteY749" fmla="*/ 3840986 h 4235290"/>
                <a:gd name="connsiteX750" fmla="*/ 1754199 w 2792478"/>
                <a:gd name="connsiteY750" fmla="*/ 3875716 h 4235290"/>
                <a:gd name="connsiteX751" fmla="*/ 1754199 w 2792478"/>
                <a:gd name="connsiteY751" fmla="*/ 3925057 h 4235290"/>
                <a:gd name="connsiteX752" fmla="*/ 1739034 w 2792478"/>
                <a:gd name="connsiteY752" fmla="*/ 3961781 h 4235290"/>
                <a:gd name="connsiteX753" fmla="*/ 1702494 w 2792478"/>
                <a:gd name="connsiteY753" fmla="*/ 3976947 h 4235290"/>
                <a:gd name="connsiteX754" fmla="*/ 1702244 w 2792478"/>
                <a:gd name="connsiteY754" fmla="*/ 3976947 h 4235290"/>
                <a:gd name="connsiteX755" fmla="*/ 1665704 w 2792478"/>
                <a:gd name="connsiteY755" fmla="*/ 3961849 h 4235290"/>
                <a:gd name="connsiteX756" fmla="*/ 1650539 w 2792478"/>
                <a:gd name="connsiteY756" fmla="*/ 3925057 h 4235290"/>
                <a:gd name="connsiteX757" fmla="*/ 1650539 w 2792478"/>
                <a:gd name="connsiteY757" fmla="*/ 3875716 h 4235290"/>
                <a:gd name="connsiteX758" fmla="*/ 1697459 w 2792478"/>
                <a:gd name="connsiteY758" fmla="*/ 3824202 h 4235290"/>
                <a:gd name="connsiteX759" fmla="*/ 1691057 w 2792478"/>
                <a:gd name="connsiteY759" fmla="*/ 3805126 h 4235290"/>
                <a:gd name="connsiteX760" fmla="*/ 1681925 w 2792478"/>
                <a:gd name="connsiteY760" fmla="*/ 3802329 h 4235290"/>
                <a:gd name="connsiteX761" fmla="*/ 1681738 w 2792478"/>
                <a:gd name="connsiteY761" fmla="*/ 3802329 h 4235290"/>
                <a:gd name="connsiteX762" fmla="*/ 1676079 w 2792478"/>
                <a:gd name="connsiteY762" fmla="*/ 3798292 h 4235290"/>
                <a:gd name="connsiteX763" fmla="*/ 1680120 w 2792478"/>
                <a:gd name="connsiteY763" fmla="*/ 3792637 h 4235290"/>
                <a:gd name="connsiteX764" fmla="*/ 1683043 w 2792478"/>
                <a:gd name="connsiteY764" fmla="*/ 3792261 h 4235290"/>
                <a:gd name="connsiteX765" fmla="*/ 1098279 w 2792478"/>
                <a:gd name="connsiteY765" fmla="*/ 3780832 h 4235290"/>
                <a:gd name="connsiteX766" fmla="*/ 1076342 w 2792478"/>
                <a:gd name="connsiteY766" fmla="*/ 3802707 h 4235290"/>
                <a:gd name="connsiteX767" fmla="*/ 1082805 w 2792478"/>
                <a:gd name="connsiteY767" fmla="*/ 3818242 h 4235290"/>
                <a:gd name="connsiteX768" fmla="*/ 1084544 w 2792478"/>
                <a:gd name="connsiteY768" fmla="*/ 3822282 h 4235290"/>
                <a:gd name="connsiteX769" fmla="*/ 1087150 w 2792478"/>
                <a:gd name="connsiteY769" fmla="*/ 3830024 h 4235290"/>
                <a:gd name="connsiteX770" fmla="*/ 1090794 w 2792478"/>
                <a:gd name="connsiteY770" fmla="*/ 3831478 h 4235290"/>
                <a:gd name="connsiteX771" fmla="*/ 1090822 w 2792478"/>
                <a:gd name="connsiteY771" fmla="*/ 3831666 h 4235290"/>
                <a:gd name="connsiteX772" fmla="*/ 1091691 w 2792478"/>
                <a:gd name="connsiteY772" fmla="*/ 3832349 h 4235290"/>
                <a:gd name="connsiteX773" fmla="*/ 1091977 w 2792478"/>
                <a:gd name="connsiteY773" fmla="*/ 3831949 h 4235290"/>
                <a:gd name="connsiteX774" fmla="*/ 1098279 w 2792478"/>
                <a:gd name="connsiteY774" fmla="*/ 3834463 h 4235290"/>
                <a:gd name="connsiteX775" fmla="*/ 1098465 w 2792478"/>
                <a:gd name="connsiteY775" fmla="*/ 3834463 h 4235290"/>
                <a:gd name="connsiteX776" fmla="*/ 1103809 w 2792478"/>
                <a:gd name="connsiteY776" fmla="*/ 3833715 h 4235290"/>
                <a:gd name="connsiteX777" fmla="*/ 1104058 w 2792478"/>
                <a:gd name="connsiteY777" fmla="*/ 3833654 h 4235290"/>
                <a:gd name="connsiteX778" fmla="*/ 1111950 w 2792478"/>
                <a:gd name="connsiteY778" fmla="*/ 3822282 h 4235290"/>
                <a:gd name="connsiteX779" fmla="*/ 1113690 w 2792478"/>
                <a:gd name="connsiteY779" fmla="*/ 3818242 h 4235290"/>
                <a:gd name="connsiteX780" fmla="*/ 1120153 w 2792478"/>
                <a:gd name="connsiteY780" fmla="*/ 3802707 h 4235290"/>
                <a:gd name="connsiteX781" fmla="*/ 1098279 w 2792478"/>
                <a:gd name="connsiteY781" fmla="*/ 3780832 h 4235290"/>
                <a:gd name="connsiteX782" fmla="*/ 1390851 w 2792478"/>
                <a:gd name="connsiteY782" fmla="*/ 3780339 h 4235290"/>
                <a:gd name="connsiteX783" fmla="*/ 1393586 w 2792478"/>
                <a:gd name="connsiteY783" fmla="*/ 3780339 h 4235290"/>
                <a:gd name="connsiteX784" fmla="*/ 1396382 w 2792478"/>
                <a:gd name="connsiteY784" fmla="*/ 3783128 h 4235290"/>
                <a:gd name="connsiteX785" fmla="*/ 1393586 w 2792478"/>
                <a:gd name="connsiteY785" fmla="*/ 3785866 h 4235290"/>
                <a:gd name="connsiteX786" fmla="*/ 1390851 w 2792478"/>
                <a:gd name="connsiteY786" fmla="*/ 3785866 h 4235290"/>
                <a:gd name="connsiteX787" fmla="*/ 1388055 w 2792478"/>
                <a:gd name="connsiteY787" fmla="*/ 3783128 h 4235290"/>
                <a:gd name="connsiteX788" fmla="*/ 1390851 w 2792478"/>
                <a:gd name="connsiteY788" fmla="*/ 3780339 h 4235290"/>
                <a:gd name="connsiteX789" fmla="*/ 1356359 w 2792478"/>
                <a:gd name="connsiteY789" fmla="*/ 3780339 h 4235290"/>
                <a:gd name="connsiteX790" fmla="*/ 1379973 w 2792478"/>
                <a:gd name="connsiteY790" fmla="*/ 3780339 h 4235290"/>
                <a:gd name="connsiteX791" fmla="*/ 1382769 w 2792478"/>
                <a:gd name="connsiteY791" fmla="*/ 3783128 h 4235290"/>
                <a:gd name="connsiteX792" fmla="*/ 1379973 w 2792478"/>
                <a:gd name="connsiteY792" fmla="*/ 3785866 h 4235290"/>
                <a:gd name="connsiteX793" fmla="*/ 1356359 w 2792478"/>
                <a:gd name="connsiteY793" fmla="*/ 3785866 h 4235290"/>
                <a:gd name="connsiteX794" fmla="*/ 1351827 w 2792478"/>
                <a:gd name="connsiteY794" fmla="*/ 3792326 h 4235290"/>
                <a:gd name="connsiteX795" fmla="*/ 1351827 w 2792478"/>
                <a:gd name="connsiteY795" fmla="*/ 3806495 h 4235290"/>
                <a:gd name="connsiteX796" fmla="*/ 1349092 w 2792478"/>
                <a:gd name="connsiteY796" fmla="*/ 3809233 h 4235290"/>
                <a:gd name="connsiteX797" fmla="*/ 1346296 w 2792478"/>
                <a:gd name="connsiteY797" fmla="*/ 3806495 h 4235290"/>
                <a:gd name="connsiteX798" fmla="*/ 1346296 w 2792478"/>
                <a:gd name="connsiteY798" fmla="*/ 3792326 h 4235290"/>
                <a:gd name="connsiteX799" fmla="*/ 1356359 w 2792478"/>
                <a:gd name="connsiteY799" fmla="*/ 3780339 h 4235290"/>
                <a:gd name="connsiteX800" fmla="*/ 1098279 w 2792478"/>
                <a:gd name="connsiteY800" fmla="*/ 3776357 h 4235290"/>
                <a:gd name="connsiteX801" fmla="*/ 1124628 w 2792478"/>
                <a:gd name="connsiteY801" fmla="*/ 3802707 h 4235290"/>
                <a:gd name="connsiteX802" fmla="*/ 1116860 w 2792478"/>
                <a:gd name="connsiteY802" fmla="*/ 3821412 h 4235290"/>
                <a:gd name="connsiteX803" fmla="*/ 1116425 w 2792478"/>
                <a:gd name="connsiteY803" fmla="*/ 3822408 h 4235290"/>
                <a:gd name="connsiteX804" fmla="*/ 1112261 w 2792478"/>
                <a:gd name="connsiteY804" fmla="*/ 3833654 h 4235290"/>
                <a:gd name="connsiteX805" fmla="*/ 1112695 w 2792478"/>
                <a:gd name="connsiteY805" fmla="*/ 3834463 h 4235290"/>
                <a:gd name="connsiteX806" fmla="*/ 1112385 w 2792478"/>
                <a:gd name="connsiteY806" fmla="*/ 3838812 h 4235290"/>
                <a:gd name="connsiteX807" fmla="*/ 1112075 w 2792478"/>
                <a:gd name="connsiteY807" fmla="*/ 3843100 h 4235290"/>
                <a:gd name="connsiteX808" fmla="*/ 1110397 w 2792478"/>
                <a:gd name="connsiteY808" fmla="*/ 3848880 h 4235290"/>
                <a:gd name="connsiteX809" fmla="*/ 1106606 w 2792478"/>
                <a:gd name="connsiteY809" fmla="*/ 3850619 h 4235290"/>
                <a:gd name="connsiteX810" fmla="*/ 1104803 w 2792478"/>
                <a:gd name="connsiteY810" fmla="*/ 3856338 h 4235290"/>
                <a:gd name="connsiteX811" fmla="*/ 1098528 w 2792478"/>
                <a:gd name="connsiteY811" fmla="*/ 3858760 h 4235290"/>
                <a:gd name="connsiteX812" fmla="*/ 1098340 w 2792478"/>
                <a:gd name="connsiteY812" fmla="*/ 3858760 h 4235290"/>
                <a:gd name="connsiteX813" fmla="*/ 1091816 w 2792478"/>
                <a:gd name="connsiteY813" fmla="*/ 3856212 h 4235290"/>
                <a:gd name="connsiteX814" fmla="*/ 1089827 w 2792478"/>
                <a:gd name="connsiteY814" fmla="*/ 3850619 h 4235290"/>
                <a:gd name="connsiteX815" fmla="*/ 1086036 w 2792478"/>
                <a:gd name="connsiteY815" fmla="*/ 3848880 h 4235290"/>
                <a:gd name="connsiteX816" fmla="*/ 1084419 w 2792478"/>
                <a:gd name="connsiteY816" fmla="*/ 3843100 h 4235290"/>
                <a:gd name="connsiteX817" fmla="*/ 1084109 w 2792478"/>
                <a:gd name="connsiteY817" fmla="*/ 3838812 h 4235290"/>
                <a:gd name="connsiteX818" fmla="*/ 1083799 w 2792478"/>
                <a:gd name="connsiteY818" fmla="*/ 3834463 h 4235290"/>
                <a:gd name="connsiteX819" fmla="*/ 1084295 w 2792478"/>
                <a:gd name="connsiteY819" fmla="*/ 3833593 h 4235290"/>
                <a:gd name="connsiteX820" fmla="*/ 1080069 w 2792478"/>
                <a:gd name="connsiteY820" fmla="*/ 3822408 h 4235290"/>
                <a:gd name="connsiteX821" fmla="*/ 1079634 w 2792478"/>
                <a:gd name="connsiteY821" fmla="*/ 3821412 h 4235290"/>
                <a:gd name="connsiteX822" fmla="*/ 1071867 w 2792478"/>
                <a:gd name="connsiteY822" fmla="*/ 3802707 h 4235290"/>
                <a:gd name="connsiteX823" fmla="*/ 1098279 w 2792478"/>
                <a:gd name="connsiteY823" fmla="*/ 3776357 h 4235290"/>
                <a:gd name="connsiteX824" fmla="*/ 1347970 w 2792478"/>
                <a:gd name="connsiteY824" fmla="*/ 3775547 h 4235290"/>
                <a:gd name="connsiteX825" fmla="*/ 1339520 w 2792478"/>
                <a:gd name="connsiteY825" fmla="*/ 3785558 h 4235290"/>
                <a:gd name="connsiteX826" fmla="*/ 1339520 w 2792478"/>
                <a:gd name="connsiteY826" fmla="*/ 3858201 h 4235290"/>
                <a:gd name="connsiteX827" fmla="*/ 1347970 w 2792478"/>
                <a:gd name="connsiteY827" fmla="*/ 3864541 h 4235290"/>
                <a:gd name="connsiteX828" fmla="*/ 1451255 w 2792478"/>
                <a:gd name="connsiteY828" fmla="*/ 3864541 h 4235290"/>
                <a:gd name="connsiteX829" fmla="*/ 1459398 w 2792478"/>
                <a:gd name="connsiteY829" fmla="*/ 3857456 h 4235290"/>
                <a:gd name="connsiteX830" fmla="*/ 1458591 w 2792478"/>
                <a:gd name="connsiteY830" fmla="*/ 3843972 h 4235290"/>
                <a:gd name="connsiteX831" fmla="*/ 1460082 w 2792478"/>
                <a:gd name="connsiteY831" fmla="*/ 3839993 h 4235290"/>
                <a:gd name="connsiteX832" fmla="*/ 1464184 w 2792478"/>
                <a:gd name="connsiteY832" fmla="*/ 3838316 h 4235290"/>
                <a:gd name="connsiteX833" fmla="*/ 1504514 w 2792478"/>
                <a:gd name="connsiteY833" fmla="*/ 3858013 h 4235290"/>
                <a:gd name="connsiteX834" fmla="*/ 1506688 w 2792478"/>
                <a:gd name="connsiteY834" fmla="*/ 3858637 h 4235290"/>
                <a:gd name="connsiteX835" fmla="*/ 1506688 w 2792478"/>
                <a:gd name="connsiteY835" fmla="*/ 3783504 h 4235290"/>
                <a:gd name="connsiteX836" fmla="*/ 1506627 w 2792478"/>
                <a:gd name="connsiteY836" fmla="*/ 3781143 h 4235290"/>
                <a:gd name="connsiteX837" fmla="*/ 1504821 w 2792478"/>
                <a:gd name="connsiteY837" fmla="*/ 3781827 h 4235290"/>
                <a:gd name="connsiteX838" fmla="*/ 1464184 w 2792478"/>
                <a:gd name="connsiteY838" fmla="*/ 3802397 h 4235290"/>
                <a:gd name="connsiteX839" fmla="*/ 1460082 w 2792478"/>
                <a:gd name="connsiteY839" fmla="*/ 3800591 h 4235290"/>
                <a:gd name="connsiteX840" fmla="*/ 1458591 w 2792478"/>
                <a:gd name="connsiteY840" fmla="*/ 3796433 h 4235290"/>
                <a:gd name="connsiteX841" fmla="*/ 1459398 w 2792478"/>
                <a:gd name="connsiteY841" fmla="*/ 3784437 h 4235290"/>
                <a:gd name="connsiteX842" fmla="*/ 1451255 w 2792478"/>
                <a:gd name="connsiteY842" fmla="*/ 3775547 h 4235290"/>
                <a:gd name="connsiteX843" fmla="*/ 1347970 w 2792478"/>
                <a:gd name="connsiteY843" fmla="*/ 3764424 h 4235290"/>
                <a:gd name="connsiteX844" fmla="*/ 1451255 w 2792478"/>
                <a:gd name="connsiteY844" fmla="*/ 3764424 h 4235290"/>
                <a:gd name="connsiteX845" fmla="*/ 1470521 w 2792478"/>
                <a:gd name="connsiteY845" fmla="*/ 3784625 h 4235290"/>
                <a:gd name="connsiteX846" fmla="*/ 1470521 w 2792478"/>
                <a:gd name="connsiteY846" fmla="*/ 3785310 h 4235290"/>
                <a:gd name="connsiteX847" fmla="*/ 1470399 w 2792478"/>
                <a:gd name="connsiteY847" fmla="*/ 3787355 h 4235290"/>
                <a:gd name="connsiteX848" fmla="*/ 1499790 w 2792478"/>
                <a:gd name="connsiteY848" fmla="*/ 3771885 h 4235290"/>
                <a:gd name="connsiteX849" fmla="*/ 1507433 w 2792478"/>
                <a:gd name="connsiteY849" fmla="*/ 3769831 h 4235290"/>
                <a:gd name="connsiteX850" fmla="*/ 1514270 w 2792478"/>
                <a:gd name="connsiteY850" fmla="*/ 3772689 h 4235290"/>
                <a:gd name="connsiteX851" fmla="*/ 1517496 w 2792478"/>
                <a:gd name="connsiteY851" fmla="*/ 3783633 h 4235290"/>
                <a:gd name="connsiteX852" fmla="*/ 1517496 w 2792478"/>
                <a:gd name="connsiteY852" fmla="*/ 3858757 h 4235290"/>
                <a:gd name="connsiteX853" fmla="*/ 1515638 w 2792478"/>
                <a:gd name="connsiteY853" fmla="*/ 3866466 h 4235290"/>
                <a:gd name="connsiteX854" fmla="*/ 1508055 w 2792478"/>
                <a:gd name="connsiteY854" fmla="*/ 3870068 h 4235290"/>
                <a:gd name="connsiteX855" fmla="*/ 1500657 w 2792478"/>
                <a:gd name="connsiteY855" fmla="*/ 3868580 h 4235290"/>
                <a:gd name="connsiteX856" fmla="*/ 1499728 w 2792478"/>
                <a:gd name="connsiteY856" fmla="*/ 3868143 h 4235290"/>
                <a:gd name="connsiteX857" fmla="*/ 1470206 w 2792478"/>
                <a:gd name="connsiteY857" fmla="*/ 3852922 h 4235290"/>
                <a:gd name="connsiteX858" fmla="*/ 1470521 w 2792478"/>
                <a:gd name="connsiteY858" fmla="*/ 3857328 h 4235290"/>
                <a:gd name="connsiteX859" fmla="*/ 1451255 w 2792478"/>
                <a:gd name="connsiteY859" fmla="*/ 3875664 h 4235290"/>
                <a:gd name="connsiteX860" fmla="*/ 1347970 w 2792478"/>
                <a:gd name="connsiteY860" fmla="*/ 3875664 h 4235290"/>
                <a:gd name="connsiteX861" fmla="*/ 1328397 w 2792478"/>
                <a:gd name="connsiteY861" fmla="*/ 3858201 h 4235290"/>
                <a:gd name="connsiteX862" fmla="*/ 1328397 w 2792478"/>
                <a:gd name="connsiteY862" fmla="*/ 3785558 h 4235290"/>
                <a:gd name="connsiteX863" fmla="*/ 1347970 w 2792478"/>
                <a:gd name="connsiteY863" fmla="*/ 3764424 h 4235290"/>
                <a:gd name="connsiteX864" fmla="*/ 1050117 w 2792478"/>
                <a:gd name="connsiteY864" fmla="*/ 3758459 h 4235290"/>
                <a:gd name="connsiteX865" fmla="*/ 1052852 w 2792478"/>
                <a:gd name="connsiteY865" fmla="*/ 3759258 h 4235290"/>
                <a:gd name="connsiteX866" fmla="*/ 1055897 w 2792478"/>
                <a:gd name="connsiteY866" fmla="*/ 3768834 h 4235290"/>
                <a:gd name="connsiteX867" fmla="*/ 1006869 w 2792478"/>
                <a:gd name="connsiteY867" fmla="*/ 3863854 h 4235290"/>
                <a:gd name="connsiteX868" fmla="*/ 1000962 w 2792478"/>
                <a:gd name="connsiteY868" fmla="*/ 3859817 h 4235290"/>
                <a:gd name="connsiteX869" fmla="*/ 995128 w 2792478"/>
                <a:gd name="connsiteY869" fmla="*/ 3857389 h 4235290"/>
                <a:gd name="connsiteX870" fmla="*/ 994316 w 2792478"/>
                <a:gd name="connsiteY870" fmla="*/ 3857145 h 4235290"/>
                <a:gd name="connsiteX871" fmla="*/ 1043225 w 2792478"/>
                <a:gd name="connsiteY871" fmla="*/ 3762311 h 4235290"/>
                <a:gd name="connsiteX872" fmla="*/ 1050117 w 2792478"/>
                <a:gd name="connsiteY872" fmla="*/ 3758459 h 4235290"/>
                <a:gd name="connsiteX873" fmla="*/ 893450 w 2792478"/>
                <a:gd name="connsiteY873" fmla="*/ 3754485 h 4235290"/>
                <a:gd name="connsiteX874" fmla="*/ 972251 w 2792478"/>
                <a:gd name="connsiteY874" fmla="*/ 3754485 h 4235290"/>
                <a:gd name="connsiteX875" fmla="*/ 976913 w 2792478"/>
                <a:gd name="connsiteY875" fmla="*/ 3759083 h 4235290"/>
                <a:gd name="connsiteX876" fmla="*/ 972251 w 2792478"/>
                <a:gd name="connsiteY876" fmla="*/ 3763618 h 4235290"/>
                <a:gd name="connsiteX877" fmla="*/ 893450 w 2792478"/>
                <a:gd name="connsiteY877" fmla="*/ 3763618 h 4235290"/>
                <a:gd name="connsiteX878" fmla="*/ 888913 w 2792478"/>
                <a:gd name="connsiteY878" fmla="*/ 3759083 h 4235290"/>
                <a:gd name="connsiteX879" fmla="*/ 893450 w 2792478"/>
                <a:gd name="connsiteY879" fmla="*/ 3754485 h 4235290"/>
                <a:gd name="connsiteX880" fmla="*/ 1650972 w 2792478"/>
                <a:gd name="connsiteY880" fmla="*/ 3754257 h 4235290"/>
                <a:gd name="connsiteX881" fmla="*/ 1774325 w 2792478"/>
                <a:gd name="connsiteY881" fmla="*/ 3754257 h 4235290"/>
                <a:gd name="connsiteX882" fmla="*/ 1774325 w 2792478"/>
                <a:gd name="connsiteY882" fmla="*/ 3760351 h 4235290"/>
                <a:gd name="connsiteX883" fmla="*/ 1782707 w 2792478"/>
                <a:gd name="connsiteY883" fmla="*/ 3760351 h 4235290"/>
                <a:gd name="connsiteX884" fmla="*/ 1782707 w 2792478"/>
                <a:gd name="connsiteY884" fmla="*/ 3772529 h 4235290"/>
                <a:gd name="connsiteX885" fmla="*/ 1642584 w 2792478"/>
                <a:gd name="connsiteY885" fmla="*/ 3772529 h 4235290"/>
                <a:gd name="connsiteX886" fmla="*/ 1642584 w 2792478"/>
                <a:gd name="connsiteY886" fmla="*/ 3760351 h 4235290"/>
                <a:gd name="connsiteX887" fmla="*/ 1650972 w 2792478"/>
                <a:gd name="connsiteY887" fmla="*/ 3760351 h 4235290"/>
                <a:gd name="connsiteX888" fmla="*/ 1590273 w 2792478"/>
                <a:gd name="connsiteY888" fmla="*/ 3748517 h 4235290"/>
                <a:gd name="connsiteX889" fmla="*/ 1591205 w 2792478"/>
                <a:gd name="connsiteY889" fmla="*/ 3748580 h 4235290"/>
                <a:gd name="connsiteX890" fmla="*/ 1609474 w 2792478"/>
                <a:gd name="connsiteY890" fmla="*/ 3750815 h 4235290"/>
                <a:gd name="connsiteX891" fmla="*/ 1609474 w 2792478"/>
                <a:gd name="connsiteY891" fmla="*/ 3752682 h 4235290"/>
                <a:gd name="connsiteX892" fmla="*/ 1587911 w 2792478"/>
                <a:gd name="connsiteY892" fmla="*/ 3751995 h 4235290"/>
                <a:gd name="connsiteX893" fmla="*/ 1587911 w 2792478"/>
                <a:gd name="connsiteY893" fmla="*/ 3754419 h 4235290"/>
                <a:gd name="connsiteX894" fmla="*/ 1609413 w 2792478"/>
                <a:gd name="connsiteY894" fmla="*/ 3754419 h 4235290"/>
                <a:gd name="connsiteX895" fmla="*/ 1609413 w 2792478"/>
                <a:gd name="connsiteY895" fmla="*/ 3756407 h 4235290"/>
                <a:gd name="connsiteX896" fmla="*/ 1587911 w 2792478"/>
                <a:gd name="connsiteY896" fmla="*/ 3756407 h 4235290"/>
                <a:gd name="connsiteX897" fmla="*/ 1587911 w 2792478"/>
                <a:gd name="connsiteY897" fmla="*/ 3758458 h 4235290"/>
                <a:gd name="connsiteX898" fmla="*/ 1609413 w 2792478"/>
                <a:gd name="connsiteY898" fmla="*/ 3758458 h 4235290"/>
                <a:gd name="connsiteX899" fmla="*/ 1609474 w 2792478"/>
                <a:gd name="connsiteY899" fmla="*/ 3760262 h 4235290"/>
                <a:gd name="connsiteX900" fmla="*/ 1588035 w 2792478"/>
                <a:gd name="connsiteY900" fmla="*/ 3760262 h 4235290"/>
                <a:gd name="connsiteX901" fmla="*/ 1588035 w 2792478"/>
                <a:gd name="connsiteY901" fmla="*/ 3762686 h 4235290"/>
                <a:gd name="connsiteX902" fmla="*/ 1609474 w 2792478"/>
                <a:gd name="connsiteY902" fmla="*/ 3762066 h 4235290"/>
                <a:gd name="connsiteX903" fmla="*/ 1609413 w 2792478"/>
                <a:gd name="connsiteY903" fmla="*/ 3764117 h 4235290"/>
                <a:gd name="connsiteX904" fmla="*/ 1590209 w 2792478"/>
                <a:gd name="connsiteY904" fmla="*/ 3766352 h 4235290"/>
                <a:gd name="connsiteX905" fmla="*/ 1589650 w 2792478"/>
                <a:gd name="connsiteY905" fmla="*/ 3766352 h 4235290"/>
                <a:gd name="connsiteX906" fmla="*/ 1583748 w 2792478"/>
                <a:gd name="connsiteY906" fmla="*/ 3763556 h 4235290"/>
                <a:gd name="connsiteX907" fmla="*/ 1566099 w 2792478"/>
                <a:gd name="connsiteY907" fmla="*/ 3760944 h 4235290"/>
                <a:gd name="connsiteX908" fmla="*/ 1532788 w 2792478"/>
                <a:gd name="connsiteY908" fmla="*/ 3760944 h 4235290"/>
                <a:gd name="connsiteX909" fmla="*/ 1532727 w 2792478"/>
                <a:gd name="connsiteY909" fmla="*/ 3760944 h 4235290"/>
                <a:gd name="connsiteX910" fmla="*/ 1529248 w 2792478"/>
                <a:gd name="connsiteY910" fmla="*/ 3757466 h 4235290"/>
                <a:gd name="connsiteX911" fmla="*/ 1532727 w 2792478"/>
                <a:gd name="connsiteY911" fmla="*/ 3753984 h 4235290"/>
                <a:gd name="connsiteX912" fmla="*/ 1532788 w 2792478"/>
                <a:gd name="connsiteY912" fmla="*/ 3753984 h 4235290"/>
                <a:gd name="connsiteX913" fmla="*/ 1566159 w 2792478"/>
                <a:gd name="connsiteY913" fmla="*/ 3753984 h 4235290"/>
                <a:gd name="connsiteX914" fmla="*/ 1583310 w 2792478"/>
                <a:gd name="connsiteY914" fmla="*/ 3751874 h 4235290"/>
                <a:gd name="connsiteX915" fmla="*/ 1590273 w 2792478"/>
                <a:gd name="connsiteY915" fmla="*/ 3748517 h 4235290"/>
                <a:gd name="connsiteX916" fmla="*/ 975976 w 2792478"/>
                <a:gd name="connsiteY916" fmla="*/ 3728629 h 4235290"/>
                <a:gd name="connsiteX917" fmla="*/ 980450 w 2792478"/>
                <a:gd name="connsiteY917" fmla="*/ 3728629 h 4235290"/>
                <a:gd name="connsiteX918" fmla="*/ 983995 w 2792478"/>
                <a:gd name="connsiteY918" fmla="*/ 3732175 h 4235290"/>
                <a:gd name="connsiteX919" fmla="*/ 983995 w 2792478"/>
                <a:gd name="connsiteY919" fmla="*/ 3736523 h 4235290"/>
                <a:gd name="connsiteX920" fmla="*/ 980450 w 2792478"/>
                <a:gd name="connsiteY920" fmla="*/ 3740069 h 4235290"/>
                <a:gd name="connsiteX921" fmla="*/ 975976 w 2792478"/>
                <a:gd name="connsiteY921" fmla="*/ 3740069 h 4235290"/>
                <a:gd name="connsiteX922" fmla="*/ 972439 w 2792478"/>
                <a:gd name="connsiteY922" fmla="*/ 3736523 h 4235290"/>
                <a:gd name="connsiteX923" fmla="*/ 972439 w 2792478"/>
                <a:gd name="connsiteY923" fmla="*/ 3732175 h 4235290"/>
                <a:gd name="connsiteX924" fmla="*/ 975976 w 2792478"/>
                <a:gd name="connsiteY924" fmla="*/ 3728629 h 4235290"/>
                <a:gd name="connsiteX925" fmla="*/ 952114 w 2792478"/>
                <a:gd name="connsiteY925" fmla="*/ 3728629 h 4235290"/>
                <a:gd name="connsiteX926" fmla="*/ 956283 w 2792478"/>
                <a:gd name="connsiteY926" fmla="*/ 3728629 h 4235290"/>
                <a:gd name="connsiteX927" fmla="*/ 959883 w 2792478"/>
                <a:gd name="connsiteY927" fmla="*/ 3732175 h 4235290"/>
                <a:gd name="connsiteX928" fmla="*/ 959883 w 2792478"/>
                <a:gd name="connsiteY928" fmla="*/ 3736523 h 4235290"/>
                <a:gd name="connsiteX929" fmla="*/ 956283 w 2792478"/>
                <a:gd name="connsiteY929" fmla="*/ 3740069 h 4235290"/>
                <a:gd name="connsiteX930" fmla="*/ 952114 w 2792478"/>
                <a:gd name="connsiteY930" fmla="*/ 3740069 h 4235290"/>
                <a:gd name="connsiteX931" fmla="*/ 948577 w 2792478"/>
                <a:gd name="connsiteY931" fmla="*/ 3736523 h 4235290"/>
                <a:gd name="connsiteX932" fmla="*/ 948577 w 2792478"/>
                <a:gd name="connsiteY932" fmla="*/ 3732175 h 4235290"/>
                <a:gd name="connsiteX933" fmla="*/ 952114 w 2792478"/>
                <a:gd name="connsiteY933" fmla="*/ 3728629 h 4235290"/>
                <a:gd name="connsiteX934" fmla="*/ 930243 w 2792478"/>
                <a:gd name="connsiteY934" fmla="*/ 3728629 h 4235290"/>
                <a:gd name="connsiteX935" fmla="*/ 934529 w 2792478"/>
                <a:gd name="connsiteY935" fmla="*/ 3728629 h 4235290"/>
                <a:gd name="connsiteX936" fmla="*/ 938074 w 2792478"/>
                <a:gd name="connsiteY936" fmla="*/ 3732175 h 4235290"/>
                <a:gd name="connsiteX937" fmla="*/ 938074 w 2792478"/>
                <a:gd name="connsiteY937" fmla="*/ 3736523 h 4235290"/>
                <a:gd name="connsiteX938" fmla="*/ 934529 w 2792478"/>
                <a:gd name="connsiteY938" fmla="*/ 3740069 h 4235290"/>
                <a:gd name="connsiteX939" fmla="*/ 930243 w 2792478"/>
                <a:gd name="connsiteY939" fmla="*/ 3740069 h 4235290"/>
                <a:gd name="connsiteX940" fmla="*/ 926698 w 2792478"/>
                <a:gd name="connsiteY940" fmla="*/ 3736523 h 4235290"/>
                <a:gd name="connsiteX941" fmla="*/ 926698 w 2792478"/>
                <a:gd name="connsiteY941" fmla="*/ 3732175 h 4235290"/>
                <a:gd name="connsiteX942" fmla="*/ 930243 w 2792478"/>
                <a:gd name="connsiteY942" fmla="*/ 3728629 h 4235290"/>
                <a:gd name="connsiteX943" fmla="*/ 906381 w 2792478"/>
                <a:gd name="connsiteY943" fmla="*/ 3728629 h 4235290"/>
                <a:gd name="connsiteX944" fmla="*/ 910730 w 2792478"/>
                <a:gd name="connsiteY944" fmla="*/ 3728629 h 4235290"/>
                <a:gd name="connsiteX945" fmla="*/ 914267 w 2792478"/>
                <a:gd name="connsiteY945" fmla="*/ 3732175 h 4235290"/>
                <a:gd name="connsiteX946" fmla="*/ 914267 w 2792478"/>
                <a:gd name="connsiteY946" fmla="*/ 3736523 h 4235290"/>
                <a:gd name="connsiteX947" fmla="*/ 910730 w 2792478"/>
                <a:gd name="connsiteY947" fmla="*/ 3740069 h 4235290"/>
                <a:gd name="connsiteX948" fmla="*/ 906381 w 2792478"/>
                <a:gd name="connsiteY948" fmla="*/ 3740069 h 4235290"/>
                <a:gd name="connsiteX949" fmla="*/ 902836 w 2792478"/>
                <a:gd name="connsiteY949" fmla="*/ 3736523 h 4235290"/>
                <a:gd name="connsiteX950" fmla="*/ 902836 w 2792478"/>
                <a:gd name="connsiteY950" fmla="*/ 3732175 h 4235290"/>
                <a:gd name="connsiteX951" fmla="*/ 906381 w 2792478"/>
                <a:gd name="connsiteY951" fmla="*/ 3728629 h 4235290"/>
                <a:gd name="connsiteX952" fmla="*/ 884502 w 2792478"/>
                <a:gd name="connsiteY952" fmla="*/ 3728629 h 4235290"/>
                <a:gd name="connsiteX953" fmla="*/ 888789 w 2792478"/>
                <a:gd name="connsiteY953" fmla="*/ 3728629 h 4235290"/>
                <a:gd name="connsiteX954" fmla="*/ 892334 w 2792478"/>
                <a:gd name="connsiteY954" fmla="*/ 3732175 h 4235290"/>
                <a:gd name="connsiteX955" fmla="*/ 892334 w 2792478"/>
                <a:gd name="connsiteY955" fmla="*/ 3736523 h 4235290"/>
                <a:gd name="connsiteX956" fmla="*/ 888789 w 2792478"/>
                <a:gd name="connsiteY956" fmla="*/ 3740069 h 4235290"/>
                <a:gd name="connsiteX957" fmla="*/ 884502 w 2792478"/>
                <a:gd name="connsiteY957" fmla="*/ 3740069 h 4235290"/>
                <a:gd name="connsiteX958" fmla="*/ 880965 w 2792478"/>
                <a:gd name="connsiteY958" fmla="*/ 3736523 h 4235290"/>
                <a:gd name="connsiteX959" fmla="*/ 880965 w 2792478"/>
                <a:gd name="connsiteY959" fmla="*/ 3732175 h 4235290"/>
                <a:gd name="connsiteX960" fmla="*/ 884502 w 2792478"/>
                <a:gd name="connsiteY960" fmla="*/ 3728629 h 4235290"/>
                <a:gd name="connsiteX961" fmla="*/ 1193789 w 2792478"/>
                <a:gd name="connsiteY961" fmla="*/ 3721012 h 4235290"/>
                <a:gd name="connsiteX962" fmla="*/ 1163785 w 2792478"/>
                <a:gd name="connsiteY962" fmla="*/ 3728423 h 4235290"/>
                <a:gd name="connsiteX963" fmla="*/ 1219516 w 2792478"/>
                <a:gd name="connsiteY963" fmla="*/ 3784154 h 4235290"/>
                <a:gd name="connsiteX964" fmla="*/ 1226921 w 2792478"/>
                <a:gd name="connsiteY964" fmla="*/ 3754153 h 4235290"/>
                <a:gd name="connsiteX965" fmla="*/ 1355675 w 2792478"/>
                <a:gd name="connsiteY965" fmla="*/ 3720735 h 4235290"/>
                <a:gd name="connsiteX966" fmla="*/ 1357849 w 2792478"/>
                <a:gd name="connsiteY966" fmla="*/ 3723970 h 4235290"/>
                <a:gd name="connsiteX967" fmla="*/ 1357788 w 2792478"/>
                <a:gd name="connsiteY967" fmla="*/ 3724654 h 4235290"/>
                <a:gd name="connsiteX968" fmla="*/ 1357849 w 2792478"/>
                <a:gd name="connsiteY968" fmla="*/ 3725399 h 4235290"/>
                <a:gd name="connsiteX969" fmla="*/ 1355053 w 2792478"/>
                <a:gd name="connsiteY969" fmla="*/ 3728196 h 4235290"/>
                <a:gd name="connsiteX970" fmla="*/ 1352257 w 2792478"/>
                <a:gd name="connsiteY970" fmla="*/ 3725399 h 4235290"/>
                <a:gd name="connsiteX971" fmla="*/ 1352257 w 2792478"/>
                <a:gd name="connsiteY971" fmla="*/ 3724842 h 4235290"/>
                <a:gd name="connsiteX972" fmla="*/ 1352449 w 2792478"/>
                <a:gd name="connsiteY972" fmla="*/ 3722917 h 4235290"/>
                <a:gd name="connsiteX973" fmla="*/ 1355675 w 2792478"/>
                <a:gd name="connsiteY973" fmla="*/ 3720735 h 4235290"/>
                <a:gd name="connsiteX974" fmla="*/ 964045 w 2792478"/>
                <a:gd name="connsiteY974" fmla="*/ 3716699 h 4235290"/>
                <a:gd name="connsiteX975" fmla="*/ 968277 w 2792478"/>
                <a:gd name="connsiteY975" fmla="*/ 3716699 h 4235290"/>
                <a:gd name="connsiteX976" fmla="*/ 971939 w 2792478"/>
                <a:gd name="connsiteY976" fmla="*/ 3720244 h 4235290"/>
                <a:gd name="connsiteX977" fmla="*/ 971939 w 2792478"/>
                <a:gd name="connsiteY977" fmla="*/ 3724717 h 4235290"/>
                <a:gd name="connsiteX978" fmla="*/ 968277 w 2792478"/>
                <a:gd name="connsiteY978" fmla="*/ 3728255 h 4235290"/>
                <a:gd name="connsiteX979" fmla="*/ 964045 w 2792478"/>
                <a:gd name="connsiteY979" fmla="*/ 3728255 h 4235290"/>
                <a:gd name="connsiteX980" fmla="*/ 960508 w 2792478"/>
                <a:gd name="connsiteY980" fmla="*/ 3724717 h 4235290"/>
                <a:gd name="connsiteX981" fmla="*/ 960508 w 2792478"/>
                <a:gd name="connsiteY981" fmla="*/ 3720244 h 4235290"/>
                <a:gd name="connsiteX982" fmla="*/ 964045 w 2792478"/>
                <a:gd name="connsiteY982" fmla="*/ 3716699 h 4235290"/>
                <a:gd name="connsiteX983" fmla="*/ 942174 w 2792478"/>
                <a:gd name="connsiteY983" fmla="*/ 3716699 h 4235290"/>
                <a:gd name="connsiteX984" fmla="*/ 946523 w 2792478"/>
                <a:gd name="connsiteY984" fmla="*/ 3716699 h 4235290"/>
                <a:gd name="connsiteX985" fmla="*/ 950068 w 2792478"/>
                <a:gd name="connsiteY985" fmla="*/ 3720244 h 4235290"/>
                <a:gd name="connsiteX986" fmla="*/ 950068 w 2792478"/>
                <a:gd name="connsiteY986" fmla="*/ 3724717 h 4235290"/>
                <a:gd name="connsiteX987" fmla="*/ 946523 w 2792478"/>
                <a:gd name="connsiteY987" fmla="*/ 3728255 h 4235290"/>
                <a:gd name="connsiteX988" fmla="*/ 942174 w 2792478"/>
                <a:gd name="connsiteY988" fmla="*/ 3728255 h 4235290"/>
                <a:gd name="connsiteX989" fmla="*/ 938629 w 2792478"/>
                <a:gd name="connsiteY989" fmla="*/ 3724717 h 4235290"/>
                <a:gd name="connsiteX990" fmla="*/ 938629 w 2792478"/>
                <a:gd name="connsiteY990" fmla="*/ 3720244 h 4235290"/>
                <a:gd name="connsiteX991" fmla="*/ 942174 w 2792478"/>
                <a:gd name="connsiteY991" fmla="*/ 3716699 h 4235290"/>
                <a:gd name="connsiteX992" fmla="*/ 918312 w 2792478"/>
                <a:gd name="connsiteY992" fmla="*/ 3716699 h 4235290"/>
                <a:gd name="connsiteX993" fmla="*/ 922661 w 2792478"/>
                <a:gd name="connsiteY993" fmla="*/ 3716699 h 4235290"/>
                <a:gd name="connsiteX994" fmla="*/ 926206 w 2792478"/>
                <a:gd name="connsiteY994" fmla="*/ 3720244 h 4235290"/>
                <a:gd name="connsiteX995" fmla="*/ 926206 w 2792478"/>
                <a:gd name="connsiteY995" fmla="*/ 3724717 h 4235290"/>
                <a:gd name="connsiteX996" fmla="*/ 922661 w 2792478"/>
                <a:gd name="connsiteY996" fmla="*/ 3728255 h 4235290"/>
                <a:gd name="connsiteX997" fmla="*/ 918312 w 2792478"/>
                <a:gd name="connsiteY997" fmla="*/ 3728255 h 4235290"/>
                <a:gd name="connsiteX998" fmla="*/ 914767 w 2792478"/>
                <a:gd name="connsiteY998" fmla="*/ 3724717 h 4235290"/>
                <a:gd name="connsiteX999" fmla="*/ 914767 w 2792478"/>
                <a:gd name="connsiteY999" fmla="*/ 3720244 h 4235290"/>
                <a:gd name="connsiteX1000" fmla="*/ 918312 w 2792478"/>
                <a:gd name="connsiteY1000" fmla="*/ 3716699 h 4235290"/>
                <a:gd name="connsiteX1001" fmla="*/ 896433 w 2792478"/>
                <a:gd name="connsiteY1001" fmla="*/ 3716699 h 4235290"/>
                <a:gd name="connsiteX1002" fmla="*/ 900657 w 2792478"/>
                <a:gd name="connsiteY1002" fmla="*/ 3716699 h 4235290"/>
                <a:gd name="connsiteX1003" fmla="*/ 904202 w 2792478"/>
                <a:gd name="connsiteY1003" fmla="*/ 3720244 h 4235290"/>
                <a:gd name="connsiteX1004" fmla="*/ 904202 w 2792478"/>
                <a:gd name="connsiteY1004" fmla="*/ 3724717 h 4235290"/>
                <a:gd name="connsiteX1005" fmla="*/ 900657 w 2792478"/>
                <a:gd name="connsiteY1005" fmla="*/ 3728255 h 4235290"/>
                <a:gd name="connsiteX1006" fmla="*/ 896433 w 2792478"/>
                <a:gd name="connsiteY1006" fmla="*/ 3728255 h 4235290"/>
                <a:gd name="connsiteX1007" fmla="*/ 892896 w 2792478"/>
                <a:gd name="connsiteY1007" fmla="*/ 3724717 h 4235290"/>
                <a:gd name="connsiteX1008" fmla="*/ 892896 w 2792478"/>
                <a:gd name="connsiteY1008" fmla="*/ 3720244 h 4235290"/>
                <a:gd name="connsiteX1009" fmla="*/ 896433 w 2792478"/>
                <a:gd name="connsiteY1009" fmla="*/ 3716699 h 4235290"/>
                <a:gd name="connsiteX1010" fmla="*/ 1447275 w 2792478"/>
                <a:gd name="connsiteY1010" fmla="*/ 3706754 h 4235290"/>
                <a:gd name="connsiteX1011" fmla="*/ 1450071 w 2792478"/>
                <a:gd name="connsiteY1011" fmla="*/ 3709552 h 4235290"/>
                <a:gd name="connsiteX1012" fmla="*/ 1447275 w 2792478"/>
                <a:gd name="connsiteY1012" fmla="*/ 3712290 h 4235290"/>
                <a:gd name="connsiteX1013" fmla="*/ 1436897 w 2792478"/>
                <a:gd name="connsiteY1013" fmla="*/ 3717878 h 4235290"/>
                <a:gd name="connsiteX1014" fmla="*/ 1434539 w 2792478"/>
                <a:gd name="connsiteY1014" fmla="*/ 3719127 h 4235290"/>
                <a:gd name="connsiteX1015" fmla="*/ 1433049 w 2792478"/>
                <a:gd name="connsiteY1015" fmla="*/ 3718631 h 4235290"/>
                <a:gd name="connsiteX1016" fmla="*/ 1432242 w 2792478"/>
                <a:gd name="connsiteY1016" fmla="*/ 3714772 h 4235290"/>
                <a:gd name="connsiteX1017" fmla="*/ 1447275 w 2792478"/>
                <a:gd name="connsiteY1017" fmla="*/ 3706754 h 4235290"/>
                <a:gd name="connsiteX1018" fmla="*/ 1369788 w 2792478"/>
                <a:gd name="connsiteY1018" fmla="*/ 3706754 h 4235290"/>
                <a:gd name="connsiteX1019" fmla="*/ 1372523 w 2792478"/>
                <a:gd name="connsiteY1019" fmla="*/ 3709552 h 4235290"/>
                <a:gd name="connsiteX1020" fmla="*/ 1369788 w 2792478"/>
                <a:gd name="connsiteY1020" fmla="*/ 3712290 h 4235290"/>
                <a:gd name="connsiteX1021" fmla="*/ 1359348 w 2792478"/>
                <a:gd name="connsiteY1021" fmla="*/ 3717878 h 4235290"/>
                <a:gd name="connsiteX1022" fmla="*/ 1357043 w 2792478"/>
                <a:gd name="connsiteY1022" fmla="*/ 3719127 h 4235290"/>
                <a:gd name="connsiteX1023" fmla="*/ 1355491 w 2792478"/>
                <a:gd name="connsiteY1023" fmla="*/ 3718631 h 4235290"/>
                <a:gd name="connsiteX1024" fmla="*/ 1354685 w 2792478"/>
                <a:gd name="connsiteY1024" fmla="*/ 3714772 h 4235290"/>
                <a:gd name="connsiteX1025" fmla="*/ 1369788 w 2792478"/>
                <a:gd name="connsiteY1025" fmla="*/ 3706754 h 4235290"/>
                <a:gd name="connsiteX1026" fmla="*/ 975976 w 2792478"/>
                <a:gd name="connsiteY1026" fmla="*/ 3704768 h 4235290"/>
                <a:gd name="connsiteX1027" fmla="*/ 980450 w 2792478"/>
                <a:gd name="connsiteY1027" fmla="*/ 3704768 h 4235290"/>
                <a:gd name="connsiteX1028" fmla="*/ 983995 w 2792478"/>
                <a:gd name="connsiteY1028" fmla="*/ 3708314 h 4235290"/>
                <a:gd name="connsiteX1029" fmla="*/ 983995 w 2792478"/>
                <a:gd name="connsiteY1029" fmla="*/ 3712662 h 4235290"/>
                <a:gd name="connsiteX1030" fmla="*/ 980450 w 2792478"/>
                <a:gd name="connsiteY1030" fmla="*/ 3716200 h 4235290"/>
                <a:gd name="connsiteX1031" fmla="*/ 975976 w 2792478"/>
                <a:gd name="connsiteY1031" fmla="*/ 3716200 h 4235290"/>
                <a:gd name="connsiteX1032" fmla="*/ 972439 w 2792478"/>
                <a:gd name="connsiteY1032" fmla="*/ 3712662 h 4235290"/>
                <a:gd name="connsiteX1033" fmla="*/ 972439 w 2792478"/>
                <a:gd name="connsiteY1033" fmla="*/ 3708314 h 4235290"/>
                <a:gd name="connsiteX1034" fmla="*/ 975976 w 2792478"/>
                <a:gd name="connsiteY1034" fmla="*/ 3704768 h 4235290"/>
                <a:gd name="connsiteX1035" fmla="*/ 952114 w 2792478"/>
                <a:gd name="connsiteY1035" fmla="*/ 3704768 h 4235290"/>
                <a:gd name="connsiteX1036" fmla="*/ 956283 w 2792478"/>
                <a:gd name="connsiteY1036" fmla="*/ 3704768 h 4235290"/>
                <a:gd name="connsiteX1037" fmla="*/ 959883 w 2792478"/>
                <a:gd name="connsiteY1037" fmla="*/ 3708314 h 4235290"/>
                <a:gd name="connsiteX1038" fmla="*/ 959883 w 2792478"/>
                <a:gd name="connsiteY1038" fmla="*/ 3712662 h 4235290"/>
                <a:gd name="connsiteX1039" fmla="*/ 956283 w 2792478"/>
                <a:gd name="connsiteY1039" fmla="*/ 3716200 h 4235290"/>
                <a:gd name="connsiteX1040" fmla="*/ 952114 w 2792478"/>
                <a:gd name="connsiteY1040" fmla="*/ 3716200 h 4235290"/>
                <a:gd name="connsiteX1041" fmla="*/ 948577 w 2792478"/>
                <a:gd name="connsiteY1041" fmla="*/ 3712662 h 4235290"/>
                <a:gd name="connsiteX1042" fmla="*/ 948577 w 2792478"/>
                <a:gd name="connsiteY1042" fmla="*/ 3708314 h 4235290"/>
                <a:gd name="connsiteX1043" fmla="*/ 952114 w 2792478"/>
                <a:gd name="connsiteY1043" fmla="*/ 3704768 h 4235290"/>
                <a:gd name="connsiteX1044" fmla="*/ 930243 w 2792478"/>
                <a:gd name="connsiteY1044" fmla="*/ 3704768 h 4235290"/>
                <a:gd name="connsiteX1045" fmla="*/ 934529 w 2792478"/>
                <a:gd name="connsiteY1045" fmla="*/ 3704768 h 4235290"/>
                <a:gd name="connsiteX1046" fmla="*/ 938074 w 2792478"/>
                <a:gd name="connsiteY1046" fmla="*/ 3708314 h 4235290"/>
                <a:gd name="connsiteX1047" fmla="*/ 938074 w 2792478"/>
                <a:gd name="connsiteY1047" fmla="*/ 3712662 h 4235290"/>
                <a:gd name="connsiteX1048" fmla="*/ 934529 w 2792478"/>
                <a:gd name="connsiteY1048" fmla="*/ 3716200 h 4235290"/>
                <a:gd name="connsiteX1049" fmla="*/ 930243 w 2792478"/>
                <a:gd name="connsiteY1049" fmla="*/ 3716200 h 4235290"/>
                <a:gd name="connsiteX1050" fmla="*/ 926698 w 2792478"/>
                <a:gd name="connsiteY1050" fmla="*/ 3712662 h 4235290"/>
                <a:gd name="connsiteX1051" fmla="*/ 926698 w 2792478"/>
                <a:gd name="connsiteY1051" fmla="*/ 3708314 h 4235290"/>
                <a:gd name="connsiteX1052" fmla="*/ 930243 w 2792478"/>
                <a:gd name="connsiteY1052" fmla="*/ 3704768 h 4235290"/>
                <a:gd name="connsiteX1053" fmla="*/ 906381 w 2792478"/>
                <a:gd name="connsiteY1053" fmla="*/ 3704768 h 4235290"/>
                <a:gd name="connsiteX1054" fmla="*/ 910730 w 2792478"/>
                <a:gd name="connsiteY1054" fmla="*/ 3704768 h 4235290"/>
                <a:gd name="connsiteX1055" fmla="*/ 914267 w 2792478"/>
                <a:gd name="connsiteY1055" fmla="*/ 3708314 h 4235290"/>
                <a:gd name="connsiteX1056" fmla="*/ 914267 w 2792478"/>
                <a:gd name="connsiteY1056" fmla="*/ 3712662 h 4235290"/>
                <a:gd name="connsiteX1057" fmla="*/ 910730 w 2792478"/>
                <a:gd name="connsiteY1057" fmla="*/ 3716200 h 4235290"/>
                <a:gd name="connsiteX1058" fmla="*/ 906381 w 2792478"/>
                <a:gd name="connsiteY1058" fmla="*/ 3716200 h 4235290"/>
                <a:gd name="connsiteX1059" fmla="*/ 902836 w 2792478"/>
                <a:gd name="connsiteY1059" fmla="*/ 3712662 h 4235290"/>
                <a:gd name="connsiteX1060" fmla="*/ 902836 w 2792478"/>
                <a:gd name="connsiteY1060" fmla="*/ 3708314 h 4235290"/>
                <a:gd name="connsiteX1061" fmla="*/ 906381 w 2792478"/>
                <a:gd name="connsiteY1061" fmla="*/ 3704768 h 4235290"/>
                <a:gd name="connsiteX1062" fmla="*/ 884502 w 2792478"/>
                <a:gd name="connsiteY1062" fmla="*/ 3704768 h 4235290"/>
                <a:gd name="connsiteX1063" fmla="*/ 888789 w 2792478"/>
                <a:gd name="connsiteY1063" fmla="*/ 3704768 h 4235290"/>
                <a:gd name="connsiteX1064" fmla="*/ 892334 w 2792478"/>
                <a:gd name="connsiteY1064" fmla="*/ 3708314 h 4235290"/>
                <a:gd name="connsiteX1065" fmla="*/ 892334 w 2792478"/>
                <a:gd name="connsiteY1065" fmla="*/ 3712662 h 4235290"/>
                <a:gd name="connsiteX1066" fmla="*/ 888789 w 2792478"/>
                <a:gd name="connsiteY1066" fmla="*/ 3716200 h 4235290"/>
                <a:gd name="connsiteX1067" fmla="*/ 884502 w 2792478"/>
                <a:gd name="connsiteY1067" fmla="*/ 3716200 h 4235290"/>
                <a:gd name="connsiteX1068" fmla="*/ 880965 w 2792478"/>
                <a:gd name="connsiteY1068" fmla="*/ 3712662 h 4235290"/>
                <a:gd name="connsiteX1069" fmla="*/ 880965 w 2792478"/>
                <a:gd name="connsiteY1069" fmla="*/ 3708314 h 4235290"/>
                <a:gd name="connsiteX1070" fmla="*/ 884502 w 2792478"/>
                <a:gd name="connsiteY1070" fmla="*/ 3704768 h 4235290"/>
                <a:gd name="connsiteX1071" fmla="*/ 1448397 w 2792478"/>
                <a:gd name="connsiteY1071" fmla="*/ 3701971 h 4235290"/>
                <a:gd name="connsiteX1072" fmla="*/ 1425028 w 2792478"/>
                <a:gd name="connsiteY1072" fmla="*/ 3725339 h 4235290"/>
                <a:gd name="connsiteX1073" fmla="*/ 1448397 w 2792478"/>
                <a:gd name="connsiteY1073" fmla="*/ 3748766 h 4235290"/>
                <a:gd name="connsiteX1074" fmla="*/ 1471827 w 2792478"/>
                <a:gd name="connsiteY1074" fmla="*/ 3725339 h 4235290"/>
                <a:gd name="connsiteX1075" fmla="*/ 1448397 w 2792478"/>
                <a:gd name="connsiteY1075" fmla="*/ 3701971 h 4235290"/>
                <a:gd name="connsiteX1076" fmla="*/ 1370840 w 2792478"/>
                <a:gd name="connsiteY1076" fmla="*/ 3701971 h 4235290"/>
                <a:gd name="connsiteX1077" fmla="*/ 1347471 w 2792478"/>
                <a:gd name="connsiteY1077" fmla="*/ 3725339 h 4235290"/>
                <a:gd name="connsiteX1078" fmla="*/ 1370840 w 2792478"/>
                <a:gd name="connsiteY1078" fmla="*/ 3748766 h 4235290"/>
                <a:gd name="connsiteX1079" fmla="*/ 1394270 w 2792478"/>
                <a:gd name="connsiteY1079" fmla="*/ 3725339 h 4235290"/>
                <a:gd name="connsiteX1080" fmla="*/ 1370840 w 2792478"/>
                <a:gd name="connsiteY1080" fmla="*/ 3701971 h 4235290"/>
                <a:gd name="connsiteX1081" fmla="*/ 1542298 w 2792478"/>
                <a:gd name="connsiteY1081" fmla="*/ 3692587 h 4235290"/>
                <a:gd name="connsiteX1082" fmla="*/ 1530799 w 2792478"/>
                <a:gd name="connsiteY1082" fmla="*/ 3699297 h 4235290"/>
                <a:gd name="connsiteX1083" fmla="*/ 1529308 w 2792478"/>
                <a:gd name="connsiteY1083" fmla="*/ 3706819 h 4235290"/>
                <a:gd name="connsiteX1084" fmla="*/ 1541301 w 2792478"/>
                <a:gd name="connsiteY1084" fmla="*/ 3719929 h 4235290"/>
                <a:gd name="connsiteX1085" fmla="*/ 1542732 w 2792478"/>
                <a:gd name="connsiteY1085" fmla="*/ 3722478 h 4235290"/>
                <a:gd name="connsiteX1086" fmla="*/ 1542732 w 2792478"/>
                <a:gd name="connsiteY1086" fmla="*/ 3740686 h 4235290"/>
                <a:gd name="connsiteX1087" fmla="*/ 1575046 w 2792478"/>
                <a:gd name="connsiteY1087" fmla="*/ 3740686 h 4235290"/>
                <a:gd name="connsiteX1088" fmla="*/ 1575046 w 2792478"/>
                <a:gd name="connsiteY1088" fmla="*/ 3724838 h 4235290"/>
                <a:gd name="connsiteX1089" fmla="*/ 1556464 w 2792478"/>
                <a:gd name="connsiteY1089" fmla="*/ 3727140 h 4235290"/>
                <a:gd name="connsiteX1090" fmla="*/ 1550811 w 2792478"/>
                <a:gd name="connsiteY1090" fmla="*/ 3726952 h 4235290"/>
                <a:gd name="connsiteX1091" fmla="*/ 1548200 w 2792478"/>
                <a:gd name="connsiteY1091" fmla="*/ 3723846 h 4235290"/>
                <a:gd name="connsiteX1092" fmla="*/ 1551309 w 2792478"/>
                <a:gd name="connsiteY1092" fmla="*/ 3721172 h 4235290"/>
                <a:gd name="connsiteX1093" fmla="*/ 1583869 w 2792478"/>
                <a:gd name="connsiteY1093" fmla="*/ 3712474 h 4235290"/>
                <a:gd name="connsiteX1094" fmla="*/ 1584805 w 2792478"/>
                <a:gd name="connsiteY1094" fmla="*/ 3699732 h 4235290"/>
                <a:gd name="connsiteX1095" fmla="*/ 1573306 w 2792478"/>
                <a:gd name="connsiteY1095" fmla="*/ 3694513 h 4235290"/>
                <a:gd name="connsiteX1096" fmla="*/ 1553543 w 2792478"/>
                <a:gd name="connsiteY1096" fmla="*/ 3708929 h 4235290"/>
                <a:gd name="connsiteX1097" fmla="*/ 1549570 w 2792478"/>
                <a:gd name="connsiteY1097" fmla="*/ 3709925 h 4235290"/>
                <a:gd name="connsiteX1098" fmla="*/ 1548573 w 2792478"/>
                <a:gd name="connsiteY1098" fmla="*/ 3705948 h 4235290"/>
                <a:gd name="connsiteX1099" fmla="*/ 1555098 w 2792478"/>
                <a:gd name="connsiteY1099" fmla="*/ 3697807 h 4235290"/>
                <a:gd name="connsiteX1100" fmla="*/ 1542298 w 2792478"/>
                <a:gd name="connsiteY1100" fmla="*/ 3692587 h 4235290"/>
                <a:gd name="connsiteX1101" fmla="*/ 1448397 w 2792478"/>
                <a:gd name="connsiteY1101" fmla="*/ 3690848 h 4235290"/>
                <a:gd name="connsiteX1102" fmla="*/ 1482951 w 2792478"/>
                <a:gd name="connsiteY1102" fmla="*/ 3725339 h 4235290"/>
                <a:gd name="connsiteX1103" fmla="*/ 1448397 w 2792478"/>
                <a:gd name="connsiteY1103" fmla="*/ 3759889 h 4235290"/>
                <a:gd name="connsiteX1104" fmla="*/ 1413905 w 2792478"/>
                <a:gd name="connsiteY1104" fmla="*/ 3725339 h 4235290"/>
                <a:gd name="connsiteX1105" fmla="*/ 1448397 w 2792478"/>
                <a:gd name="connsiteY1105" fmla="*/ 3690848 h 4235290"/>
                <a:gd name="connsiteX1106" fmla="*/ 1370840 w 2792478"/>
                <a:gd name="connsiteY1106" fmla="*/ 3690848 h 4235290"/>
                <a:gd name="connsiteX1107" fmla="*/ 1405393 w 2792478"/>
                <a:gd name="connsiteY1107" fmla="*/ 3725339 h 4235290"/>
                <a:gd name="connsiteX1108" fmla="*/ 1370840 w 2792478"/>
                <a:gd name="connsiteY1108" fmla="*/ 3759889 h 4235290"/>
                <a:gd name="connsiteX1109" fmla="*/ 1336347 w 2792478"/>
                <a:gd name="connsiteY1109" fmla="*/ 3725339 h 4235290"/>
                <a:gd name="connsiteX1110" fmla="*/ 1370840 w 2792478"/>
                <a:gd name="connsiteY1110" fmla="*/ 3690848 h 4235290"/>
                <a:gd name="connsiteX1111" fmla="*/ 857095 w 2792478"/>
                <a:gd name="connsiteY1111" fmla="*/ 3687430 h 4235290"/>
                <a:gd name="connsiteX1112" fmla="*/ 856290 w 2792478"/>
                <a:gd name="connsiteY1112" fmla="*/ 3688427 h 4235290"/>
                <a:gd name="connsiteX1113" fmla="*/ 856290 w 2792478"/>
                <a:gd name="connsiteY1113" fmla="*/ 3773561 h 4235290"/>
                <a:gd name="connsiteX1114" fmla="*/ 857095 w 2792478"/>
                <a:gd name="connsiteY1114" fmla="*/ 3774434 h 4235290"/>
                <a:gd name="connsiteX1115" fmla="*/ 1005874 w 2792478"/>
                <a:gd name="connsiteY1115" fmla="*/ 3774434 h 4235290"/>
                <a:gd name="connsiteX1116" fmla="*/ 1006678 w 2792478"/>
                <a:gd name="connsiteY1116" fmla="*/ 3773561 h 4235290"/>
                <a:gd name="connsiteX1117" fmla="*/ 1006678 w 2792478"/>
                <a:gd name="connsiteY1117" fmla="*/ 3688427 h 4235290"/>
                <a:gd name="connsiteX1118" fmla="*/ 1005874 w 2792478"/>
                <a:gd name="connsiteY1118" fmla="*/ 3687430 h 4235290"/>
                <a:gd name="connsiteX1119" fmla="*/ 1542113 w 2792478"/>
                <a:gd name="connsiteY1119" fmla="*/ 3686870 h 4235290"/>
                <a:gd name="connsiteX1120" fmla="*/ 1559385 w 2792478"/>
                <a:gd name="connsiteY1120" fmla="*/ 3694015 h 4235290"/>
                <a:gd name="connsiteX1121" fmla="*/ 1573306 w 2792478"/>
                <a:gd name="connsiteY1121" fmla="*/ 3688732 h 4235290"/>
                <a:gd name="connsiteX1122" fmla="*/ 1589711 w 2792478"/>
                <a:gd name="connsiteY1122" fmla="*/ 3696748 h 4235290"/>
                <a:gd name="connsiteX1123" fmla="*/ 1588903 w 2792478"/>
                <a:gd name="connsiteY1123" fmla="*/ 3715207 h 4235290"/>
                <a:gd name="connsiteX1124" fmla="*/ 1580827 w 2792478"/>
                <a:gd name="connsiteY1124" fmla="*/ 3722603 h 4235290"/>
                <a:gd name="connsiteX1125" fmla="*/ 1580827 w 2792478"/>
                <a:gd name="connsiteY1125" fmla="*/ 3743607 h 4235290"/>
                <a:gd name="connsiteX1126" fmla="*/ 1577907 w 2792478"/>
                <a:gd name="connsiteY1126" fmla="*/ 3746466 h 4235290"/>
                <a:gd name="connsiteX1127" fmla="*/ 1539875 w 2792478"/>
                <a:gd name="connsiteY1127" fmla="*/ 3746466 h 4235290"/>
                <a:gd name="connsiteX1128" fmla="*/ 1537014 w 2792478"/>
                <a:gd name="connsiteY1128" fmla="*/ 3743607 h 4235290"/>
                <a:gd name="connsiteX1129" fmla="*/ 1537014 w 2792478"/>
                <a:gd name="connsiteY1129" fmla="*/ 3724093 h 4235290"/>
                <a:gd name="connsiteX1130" fmla="*/ 1523716 w 2792478"/>
                <a:gd name="connsiteY1130" fmla="*/ 3708184 h 4235290"/>
                <a:gd name="connsiteX1131" fmla="*/ 1526014 w 2792478"/>
                <a:gd name="connsiteY1131" fmla="*/ 3696129 h 4235290"/>
                <a:gd name="connsiteX1132" fmla="*/ 1542113 w 2792478"/>
                <a:gd name="connsiteY1132" fmla="*/ 3686870 h 4235290"/>
                <a:gd name="connsiteX1133" fmla="*/ 1706729 w 2792478"/>
                <a:gd name="connsiteY1133" fmla="*/ 3684891 h 4235290"/>
                <a:gd name="connsiteX1134" fmla="*/ 1661273 w 2792478"/>
                <a:gd name="connsiteY1134" fmla="*/ 3721548 h 4235290"/>
                <a:gd name="connsiteX1135" fmla="*/ 1660735 w 2792478"/>
                <a:gd name="connsiteY1135" fmla="*/ 3724011 h 4235290"/>
                <a:gd name="connsiteX1136" fmla="*/ 1658348 w 2792478"/>
                <a:gd name="connsiteY1136" fmla="*/ 3724813 h 4235290"/>
                <a:gd name="connsiteX1137" fmla="*/ 1653547 w 2792478"/>
                <a:gd name="connsiteY1137" fmla="*/ 3731415 h 4235290"/>
                <a:gd name="connsiteX1138" fmla="*/ 1660560 w 2792478"/>
                <a:gd name="connsiteY1138" fmla="*/ 3735935 h 4235290"/>
                <a:gd name="connsiteX1139" fmla="*/ 1763239 w 2792478"/>
                <a:gd name="connsiteY1139" fmla="*/ 3735935 h 4235290"/>
                <a:gd name="connsiteX1140" fmla="*/ 1770264 w 2792478"/>
                <a:gd name="connsiteY1140" fmla="*/ 3731415 h 4235290"/>
                <a:gd name="connsiteX1141" fmla="*/ 1765464 w 2792478"/>
                <a:gd name="connsiteY1141" fmla="*/ 3724813 h 4235290"/>
                <a:gd name="connsiteX1142" fmla="*/ 1763077 w 2792478"/>
                <a:gd name="connsiteY1142" fmla="*/ 3724011 h 4235290"/>
                <a:gd name="connsiteX1143" fmla="*/ 1762538 w 2792478"/>
                <a:gd name="connsiteY1143" fmla="*/ 3721548 h 4235290"/>
                <a:gd name="connsiteX1144" fmla="*/ 1717082 w 2792478"/>
                <a:gd name="connsiteY1144" fmla="*/ 3684891 h 4235290"/>
                <a:gd name="connsiteX1145" fmla="*/ 1238390 w 2792478"/>
                <a:gd name="connsiteY1145" fmla="*/ 3679855 h 4235290"/>
                <a:gd name="connsiteX1146" fmla="*/ 1203414 w 2792478"/>
                <a:gd name="connsiteY1146" fmla="*/ 3714840 h 4235290"/>
                <a:gd name="connsiteX1147" fmla="*/ 1233094 w 2792478"/>
                <a:gd name="connsiteY1147" fmla="*/ 3744520 h 4235290"/>
                <a:gd name="connsiteX1148" fmla="*/ 1268077 w 2792478"/>
                <a:gd name="connsiteY1148" fmla="*/ 3709557 h 4235290"/>
                <a:gd name="connsiteX1149" fmla="*/ 1055708 w 2792478"/>
                <a:gd name="connsiteY1149" fmla="*/ 3678918 h 4235290"/>
                <a:gd name="connsiteX1150" fmla="*/ 1104430 w 2792478"/>
                <a:gd name="connsiteY1150" fmla="*/ 3678918 h 4235290"/>
                <a:gd name="connsiteX1151" fmla="*/ 1108160 w 2792478"/>
                <a:gd name="connsiteY1151" fmla="*/ 3682644 h 4235290"/>
                <a:gd name="connsiteX1152" fmla="*/ 1104430 w 2792478"/>
                <a:gd name="connsiteY1152" fmla="*/ 3686311 h 4235290"/>
                <a:gd name="connsiteX1153" fmla="*/ 1055708 w 2792478"/>
                <a:gd name="connsiteY1153" fmla="*/ 3686311 h 4235290"/>
                <a:gd name="connsiteX1154" fmla="*/ 1051982 w 2792478"/>
                <a:gd name="connsiteY1154" fmla="*/ 3682644 h 4235290"/>
                <a:gd name="connsiteX1155" fmla="*/ 1055708 w 2792478"/>
                <a:gd name="connsiteY1155" fmla="*/ 3678918 h 4235290"/>
                <a:gd name="connsiteX1156" fmla="*/ 1706709 w 2792478"/>
                <a:gd name="connsiteY1156" fmla="*/ 3666970 h 4235290"/>
                <a:gd name="connsiteX1157" fmla="*/ 1717089 w 2792478"/>
                <a:gd name="connsiteY1157" fmla="*/ 3666970 h 4235290"/>
                <a:gd name="connsiteX1158" fmla="*/ 1717089 w 2792478"/>
                <a:gd name="connsiteY1158" fmla="*/ 3670142 h 4235290"/>
                <a:gd name="connsiteX1159" fmla="*/ 1715817 w 2792478"/>
                <a:gd name="connsiteY1159" fmla="*/ 3670142 h 4235290"/>
                <a:gd name="connsiteX1160" fmla="*/ 1715817 w 2792478"/>
                <a:gd name="connsiteY1160" fmla="*/ 3674887 h 4235290"/>
                <a:gd name="connsiteX1161" fmla="*/ 1717089 w 2792478"/>
                <a:gd name="connsiteY1161" fmla="*/ 3674887 h 4235290"/>
                <a:gd name="connsiteX1162" fmla="*/ 1717089 w 2792478"/>
                <a:gd name="connsiteY1162" fmla="*/ 3676016 h 4235290"/>
                <a:gd name="connsiteX1163" fmla="*/ 1770673 w 2792478"/>
                <a:gd name="connsiteY1163" fmla="*/ 3717433 h 4235290"/>
                <a:gd name="connsiteX1164" fmla="*/ 1779126 w 2792478"/>
                <a:gd name="connsiteY1164" fmla="*/ 3731415 h 4235290"/>
                <a:gd name="connsiteX1165" fmla="*/ 1763239 w 2792478"/>
                <a:gd name="connsiteY1165" fmla="*/ 3744796 h 4235290"/>
                <a:gd name="connsiteX1166" fmla="*/ 1660560 w 2792478"/>
                <a:gd name="connsiteY1166" fmla="*/ 3744796 h 4235290"/>
                <a:gd name="connsiteX1167" fmla="*/ 1644679 w 2792478"/>
                <a:gd name="connsiteY1167" fmla="*/ 3731415 h 4235290"/>
                <a:gd name="connsiteX1168" fmla="*/ 1653138 w 2792478"/>
                <a:gd name="connsiteY1168" fmla="*/ 3717433 h 4235290"/>
                <a:gd name="connsiteX1169" fmla="*/ 1706709 w 2792478"/>
                <a:gd name="connsiteY1169" fmla="*/ 3676016 h 4235290"/>
                <a:gd name="connsiteX1170" fmla="*/ 1706709 w 2792478"/>
                <a:gd name="connsiteY1170" fmla="*/ 3674887 h 4235290"/>
                <a:gd name="connsiteX1171" fmla="*/ 1707987 w 2792478"/>
                <a:gd name="connsiteY1171" fmla="*/ 3674887 h 4235290"/>
                <a:gd name="connsiteX1172" fmla="*/ 1707987 w 2792478"/>
                <a:gd name="connsiteY1172" fmla="*/ 3670142 h 4235290"/>
                <a:gd name="connsiteX1173" fmla="*/ 1706709 w 2792478"/>
                <a:gd name="connsiteY1173" fmla="*/ 3670142 h 4235290"/>
                <a:gd name="connsiteX1174" fmla="*/ 1055708 w 2792478"/>
                <a:gd name="connsiteY1174" fmla="*/ 3664996 h 4235290"/>
                <a:gd name="connsiteX1175" fmla="*/ 1104430 w 2792478"/>
                <a:gd name="connsiteY1175" fmla="*/ 3664996 h 4235290"/>
                <a:gd name="connsiteX1176" fmla="*/ 1108160 w 2792478"/>
                <a:gd name="connsiteY1176" fmla="*/ 3668662 h 4235290"/>
                <a:gd name="connsiteX1177" fmla="*/ 1104430 w 2792478"/>
                <a:gd name="connsiteY1177" fmla="*/ 3672393 h 4235290"/>
                <a:gd name="connsiteX1178" fmla="*/ 1055708 w 2792478"/>
                <a:gd name="connsiteY1178" fmla="*/ 3672393 h 4235290"/>
                <a:gd name="connsiteX1179" fmla="*/ 1051982 w 2792478"/>
                <a:gd name="connsiteY1179" fmla="*/ 3668662 h 4235290"/>
                <a:gd name="connsiteX1180" fmla="*/ 1055708 w 2792478"/>
                <a:gd name="connsiteY1180" fmla="*/ 3664996 h 4235290"/>
                <a:gd name="connsiteX1181" fmla="*/ 1247352 w 2792478"/>
                <a:gd name="connsiteY1181" fmla="*/ 3658592 h 4235290"/>
                <a:gd name="connsiteX1182" fmla="*/ 1240138 w 2792478"/>
                <a:gd name="connsiteY1182" fmla="*/ 3665806 h 4235290"/>
                <a:gd name="connsiteX1183" fmla="*/ 1283493 w 2792478"/>
                <a:gd name="connsiteY1183" fmla="*/ 3709163 h 4235290"/>
                <a:gd name="connsiteX1184" fmla="*/ 1290721 w 2792478"/>
                <a:gd name="connsiteY1184" fmla="*/ 3701942 h 4235290"/>
                <a:gd name="connsiteX1185" fmla="*/ 1055708 w 2792478"/>
                <a:gd name="connsiteY1185" fmla="*/ 3649087 h 4235290"/>
                <a:gd name="connsiteX1186" fmla="*/ 1104430 w 2792478"/>
                <a:gd name="connsiteY1186" fmla="*/ 3649087 h 4235290"/>
                <a:gd name="connsiteX1187" fmla="*/ 1108160 w 2792478"/>
                <a:gd name="connsiteY1187" fmla="*/ 3652754 h 4235290"/>
                <a:gd name="connsiteX1188" fmla="*/ 1104430 w 2792478"/>
                <a:gd name="connsiteY1188" fmla="*/ 3656484 h 4235290"/>
                <a:gd name="connsiteX1189" fmla="*/ 1055708 w 2792478"/>
                <a:gd name="connsiteY1189" fmla="*/ 3656484 h 4235290"/>
                <a:gd name="connsiteX1190" fmla="*/ 1051982 w 2792478"/>
                <a:gd name="connsiteY1190" fmla="*/ 3652754 h 4235290"/>
                <a:gd name="connsiteX1191" fmla="*/ 1055708 w 2792478"/>
                <a:gd name="connsiteY1191" fmla="*/ 3649087 h 4235290"/>
                <a:gd name="connsiteX1192" fmla="*/ 1247352 w 2792478"/>
                <a:gd name="connsiteY1192" fmla="*/ 3645096 h 4235290"/>
                <a:gd name="connsiteX1193" fmla="*/ 1251312 w 2792478"/>
                <a:gd name="connsiteY1193" fmla="*/ 3646729 h 4235290"/>
                <a:gd name="connsiteX1194" fmla="*/ 1302574 w 2792478"/>
                <a:gd name="connsiteY1194" fmla="*/ 3697985 h 4235290"/>
                <a:gd name="connsiteX1195" fmla="*/ 1302574 w 2792478"/>
                <a:gd name="connsiteY1195" fmla="*/ 3705899 h 4235290"/>
                <a:gd name="connsiteX1196" fmla="*/ 1287439 w 2792478"/>
                <a:gd name="connsiteY1196" fmla="*/ 3721027 h 4235290"/>
                <a:gd name="connsiteX1197" fmla="*/ 1283493 w 2792478"/>
                <a:gd name="connsiteY1197" fmla="*/ 3722659 h 4235290"/>
                <a:gd name="connsiteX1198" fmla="*/ 1279539 w 2792478"/>
                <a:gd name="connsiteY1198" fmla="*/ 3721027 h 4235290"/>
                <a:gd name="connsiteX1199" fmla="*/ 1275977 w 2792478"/>
                <a:gd name="connsiteY1199" fmla="*/ 3717456 h 4235290"/>
                <a:gd name="connsiteX1200" fmla="*/ 1238154 w 2792478"/>
                <a:gd name="connsiteY1200" fmla="*/ 3755276 h 4235290"/>
                <a:gd name="connsiteX1201" fmla="*/ 1227983 w 2792478"/>
                <a:gd name="connsiteY1201" fmla="*/ 3796440 h 4235290"/>
                <a:gd name="connsiteX1202" fmla="*/ 1224066 w 2792478"/>
                <a:gd name="connsiteY1202" fmla="*/ 3800491 h 4235290"/>
                <a:gd name="connsiteX1203" fmla="*/ 1218608 w 2792478"/>
                <a:gd name="connsiteY1203" fmla="*/ 3799056 h 4235290"/>
                <a:gd name="connsiteX1204" fmla="*/ 1187697 w 2792478"/>
                <a:gd name="connsiteY1204" fmla="*/ 3768144 h 4235290"/>
                <a:gd name="connsiteX1205" fmla="*/ 1154971 w 2792478"/>
                <a:gd name="connsiteY1205" fmla="*/ 3800863 h 4235290"/>
                <a:gd name="connsiteX1206" fmla="*/ 1151025 w 2792478"/>
                <a:gd name="connsiteY1206" fmla="*/ 3802495 h 4235290"/>
                <a:gd name="connsiteX1207" fmla="*/ 1147071 w 2792478"/>
                <a:gd name="connsiteY1207" fmla="*/ 3800863 h 4235290"/>
                <a:gd name="connsiteX1208" fmla="*/ 1145434 w 2792478"/>
                <a:gd name="connsiteY1208" fmla="*/ 3796906 h 4235290"/>
                <a:gd name="connsiteX1209" fmla="*/ 1147071 w 2792478"/>
                <a:gd name="connsiteY1209" fmla="*/ 3792949 h 4235290"/>
                <a:gd name="connsiteX1210" fmla="*/ 1179790 w 2792478"/>
                <a:gd name="connsiteY1210" fmla="*/ 3760238 h 4235290"/>
                <a:gd name="connsiteX1211" fmla="*/ 1148878 w 2792478"/>
                <a:gd name="connsiteY1211" fmla="*/ 3729319 h 4235290"/>
                <a:gd name="connsiteX1212" fmla="*/ 1147447 w 2792478"/>
                <a:gd name="connsiteY1212" fmla="*/ 3723876 h 4235290"/>
                <a:gd name="connsiteX1213" fmla="*/ 1151489 w 2792478"/>
                <a:gd name="connsiteY1213" fmla="*/ 3719948 h 4235290"/>
                <a:gd name="connsiteX1214" fmla="*/ 1192661 w 2792478"/>
                <a:gd name="connsiteY1214" fmla="*/ 3709783 h 4235290"/>
                <a:gd name="connsiteX1215" fmla="*/ 1230483 w 2792478"/>
                <a:gd name="connsiteY1215" fmla="*/ 3671956 h 4235290"/>
                <a:gd name="connsiteX1216" fmla="*/ 1228278 w 2792478"/>
                <a:gd name="connsiteY1216" fmla="*/ 3669755 h 4235290"/>
                <a:gd name="connsiteX1217" fmla="*/ 1226641 w 2792478"/>
                <a:gd name="connsiteY1217" fmla="*/ 3665806 h 4235290"/>
                <a:gd name="connsiteX1218" fmla="*/ 1228278 w 2792478"/>
                <a:gd name="connsiteY1218" fmla="*/ 3661856 h 4235290"/>
                <a:gd name="connsiteX1219" fmla="*/ 1243406 w 2792478"/>
                <a:gd name="connsiteY1219" fmla="*/ 3646729 h 4235290"/>
                <a:gd name="connsiteX1220" fmla="*/ 1247352 w 2792478"/>
                <a:gd name="connsiteY1220" fmla="*/ 3645096 h 4235290"/>
                <a:gd name="connsiteX1221" fmla="*/ 1055708 w 2792478"/>
                <a:gd name="connsiteY1221" fmla="*/ 3635169 h 4235290"/>
                <a:gd name="connsiteX1222" fmla="*/ 1104430 w 2792478"/>
                <a:gd name="connsiteY1222" fmla="*/ 3635169 h 4235290"/>
                <a:gd name="connsiteX1223" fmla="*/ 1108160 w 2792478"/>
                <a:gd name="connsiteY1223" fmla="*/ 3638895 h 4235290"/>
                <a:gd name="connsiteX1224" fmla="*/ 1104430 w 2792478"/>
                <a:gd name="connsiteY1224" fmla="*/ 3642562 h 4235290"/>
                <a:gd name="connsiteX1225" fmla="*/ 1055708 w 2792478"/>
                <a:gd name="connsiteY1225" fmla="*/ 3642562 h 4235290"/>
                <a:gd name="connsiteX1226" fmla="*/ 1051982 w 2792478"/>
                <a:gd name="connsiteY1226" fmla="*/ 3638895 h 4235290"/>
                <a:gd name="connsiteX1227" fmla="*/ 1055708 w 2792478"/>
                <a:gd name="connsiteY1227" fmla="*/ 3635169 h 4235290"/>
                <a:gd name="connsiteX1228" fmla="*/ 1285456 w 2792478"/>
                <a:gd name="connsiteY1228" fmla="*/ 3627211 h 4235290"/>
                <a:gd name="connsiteX1229" fmla="*/ 1303787 w 2792478"/>
                <a:gd name="connsiteY1229" fmla="*/ 3627211 h 4235290"/>
                <a:gd name="connsiteX1230" fmla="*/ 1308573 w 2792478"/>
                <a:gd name="connsiteY1230" fmla="*/ 3631067 h 4235290"/>
                <a:gd name="connsiteX1231" fmla="*/ 1303787 w 2792478"/>
                <a:gd name="connsiteY1231" fmla="*/ 3634919 h 4235290"/>
                <a:gd name="connsiteX1232" fmla="*/ 1285456 w 2792478"/>
                <a:gd name="connsiteY1232" fmla="*/ 3634919 h 4235290"/>
                <a:gd name="connsiteX1233" fmla="*/ 1280670 w 2792478"/>
                <a:gd name="connsiteY1233" fmla="*/ 3631067 h 4235290"/>
                <a:gd name="connsiteX1234" fmla="*/ 1285456 w 2792478"/>
                <a:gd name="connsiteY1234" fmla="*/ 3627211 h 4235290"/>
                <a:gd name="connsiteX1235" fmla="*/ 1559690 w 2792478"/>
                <a:gd name="connsiteY1235" fmla="*/ 3626331 h 4235290"/>
                <a:gd name="connsiteX1236" fmla="*/ 1559606 w 2792478"/>
                <a:gd name="connsiteY1236" fmla="*/ 3626337 h 4235290"/>
                <a:gd name="connsiteX1237" fmla="*/ 1519351 w 2792478"/>
                <a:gd name="connsiteY1237" fmla="*/ 3627858 h 4235290"/>
                <a:gd name="connsiteX1238" fmla="*/ 1517425 w 2792478"/>
                <a:gd name="connsiteY1238" fmla="*/ 3630442 h 4235290"/>
                <a:gd name="connsiteX1239" fmla="*/ 1520013 w 2792478"/>
                <a:gd name="connsiteY1239" fmla="*/ 3640663 h 4235290"/>
                <a:gd name="connsiteX1240" fmla="*/ 1528089 w 2792478"/>
                <a:gd name="connsiteY1240" fmla="*/ 3646947 h 4235290"/>
                <a:gd name="connsiteX1241" fmla="*/ 1528414 w 2792478"/>
                <a:gd name="connsiteY1241" fmla="*/ 3646944 h 4235290"/>
                <a:gd name="connsiteX1242" fmla="*/ 1557277 w 2792478"/>
                <a:gd name="connsiteY1242" fmla="*/ 3645847 h 4235290"/>
                <a:gd name="connsiteX1243" fmla="*/ 1559245 w 2792478"/>
                <a:gd name="connsiteY1243" fmla="*/ 3644103 h 4235290"/>
                <a:gd name="connsiteX1244" fmla="*/ 1561730 w 2792478"/>
                <a:gd name="connsiteY1244" fmla="*/ 3628737 h 4235290"/>
                <a:gd name="connsiteX1245" fmla="*/ 1559690 w 2792478"/>
                <a:gd name="connsiteY1245" fmla="*/ 3626331 h 4235290"/>
                <a:gd name="connsiteX1246" fmla="*/ 1453002 w 2792478"/>
                <a:gd name="connsiteY1246" fmla="*/ 3626331 h 4235290"/>
                <a:gd name="connsiteX1247" fmla="*/ 1450961 w 2792478"/>
                <a:gd name="connsiteY1247" fmla="*/ 3628737 h 4235290"/>
                <a:gd name="connsiteX1248" fmla="*/ 1453447 w 2792478"/>
                <a:gd name="connsiteY1248" fmla="*/ 3644103 h 4235290"/>
                <a:gd name="connsiteX1249" fmla="*/ 1455415 w 2792478"/>
                <a:gd name="connsiteY1249" fmla="*/ 3645847 h 4235290"/>
                <a:gd name="connsiteX1250" fmla="*/ 1484277 w 2792478"/>
                <a:gd name="connsiteY1250" fmla="*/ 3646944 h 4235290"/>
                <a:gd name="connsiteX1251" fmla="*/ 1484602 w 2792478"/>
                <a:gd name="connsiteY1251" fmla="*/ 3646947 h 4235290"/>
                <a:gd name="connsiteX1252" fmla="*/ 1492679 w 2792478"/>
                <a:gd name="connsiteY1252" fmla="*/ 3640663 h 4235290"/>
                <a:gd name="connsiteX1253" fmla="*/ 1495266 w 2792478"/>
                <a:gd name="connsiteY1253" fmla="*/ 3630442 h 4235290"/>
                <a:gd name="connsiteX1254" fmla="*/ 1493341 w 2792478"/>
                <a:gd name="connsiteY1254" fmla="*/ 3627858 h 4235290"/>
                <a:gd name="connsiteX1255" fmla="*/ 1453086 w 2792478"/>
                <a:gd name="connsiteY1255" fmla="*/ 3626337 h 4235290"/>
                <a:gd name="connsiteX1256" fmla="*/ 1453002 w 2792478"/>
                <a:gd name="connsiteY1256" fmla="*/ 3626331 h 4235290"/>
                <a:gd name="connsiteX1257" fmla="*/ 908122 w 2792478"/>
                <a:gd name="connsiteY1257" fmla="*/ 3615340 h 4235290"/>
                <a:gd name="connsiteX1258" fmla="*/ 911597 w 2792478"/>
                <a:gd name="connsiteY1258" fmla="*/ 3616026 h 4235290"/>
                <a:gd name="connsiteX1259" fmla="*/ 913025 w 2792478"/>
                <a:gd name="connsiteY1259" fmla="*/ 3622307 h 4235290"/>
                <a:gd name="connsiteX1260" fmla="*/ 912776 w 2792478"/>
                <a:gd name="connsiteY1260" fmla="*/ 3622798 h 4235290"/>
                <a:gd name="connsiteX1261" fmla="*/ 912838 w 2792478"/>
                <a:gd name="connsiteY1261" fmla="*/ 3629889 h 4235290"/>
                <a:gd name="connsiteX1262" fmla="*/ 921170 w 2792478"/>
                <a:gd name="connsiteY1262" fmla="*/ 3636162 h 4235290"/>
                <a:gd name="connsiteX1263" fmla="*/ 948139 w 2792478"/>
                <a:gd name="connsiteY1263" fmla="*/ 3640510 h 4235290"/>
                <a:gd name="connsiteX1264" fmla="*/ 983933 w 2792478"/>
                <a:gd name="connsiteY1264" fmla="*/ 3655488 h 4235290"/>
                <a:gd name="connsiteX1265" fmla="*/ 980887 w 2792478"/>
                <a:gd name="connsiteY1265" fmla="*/ 3678359 h 4235290"/>
                <a:gd name="connsiteX1266" fmla="*/ 1005874 w 2792478"/>
                <a:gd name="connsiteY1266" fmla="*/ 3678359 h 4235290"/>
                <a:gd name="connsiteX1267" fmla="*/ 1012893 w 2792478"/>
                <a:gd name="connsiteY1267" fmla="*/ 3681344 h 4235290"/>
                <a:gd name="connsiteX1268" fmla="*/ 1015814 w 2792478"/>
                <a:gd name="connsiteY1268" fmla="*/ 3688427 h 4235290"/>
                <a:gd name="connsiteX1269" fmla="*/ 1015814 w 2792478"/>
                <a:gd name="connsiteY1269" fmla="*/ 3773561 h 4235290"/>
                <a:gd name="connsiteX1270" fmla="*/ 1012893 w 2792478"/>
                <a:gd name="connsiteY1270" fmla="*/ 3780582 h 4235290"/>
                <a:gd name="connsiteX1271" fmla="*/ 1005874 w 2792478"/>
                <a:gd name="connsiteY1271" fmla="*/ 3783442 h 4235290"/>
                <a:gd name="connsiteX1272" fmla="*/ 857095 w 2792478"/>
                <a:gd name="connsiteY1272" fmla="*/ 3783442 h 4235290"/>
                <a:gd name="connsiteX1273" fmla="*/ 847155 w 2792478"/>
                <a:gd name="connsiteY1273" fmla="*/ 3773561 h 4235290"/>
                <a:gd name="connsiteX1274" fmla="*/ 847155 w 2792478"/>
                <a:gd name="connsiteY1274" fmla="*/ 3688427 h 4235290"/>
                <a:gd name="connsiteX1275" fmla="*/ 857095 w 2792478"/>
                <a:gd name="connsiteY1275" fmla="*/ 3678359 h 4235290"/>
                <a:gd name="connsiteX1276" fmla="*/ 969885 w 2792478"/>
                <a:gd name="connsiteY1276" fmla="*/ 3678359 h 4235290"/>
                <a:gd name="connsiteX1277" fmla="*/ 970573 w 2792478"/>
                <a:gd name="connsiteY1277" fmla="*/ 3677424 h 4235290"/>
                <a:gd name="connsiteX1278" fmla="*/ 975671 w 2792478"/>
                <a:gd name="connsiteY1278" fmla="*/ 3659220 h 4235290"/>
                <a:gd name="connsiteX1279" fmla="*/ 947827 w 2792478"/>
                <a:gd name="connsiteY1279" fmla="*/ 3649589 h 4235290"/>
                <a:gd name="connsiteX1280" fmla="*/ 904514 w 2792478"/>
                <a:gd name="connsiteY1280" fmla="*/ 3634050 h 4235290"/>
                <a:gd name="connsiteX1281" fmla="*/ 902711 w 2792478"/>
                <a:gd name="connsiteY1281" fmla="*/ 3627403 h 4235290"/>
                <a:gd name="connsiteX1282" fmla="*/ 905256 w 2792478"/>
                <a:gd name="connsiteY1282" fmla="*/ 3617335 h 4235290"/>
                <a:gd name="connsiteX1283" fmla="*/ 908122 w 2792478"/>
                <a:gd name="connsiteY1283" fmla="*/ 3615340 h 4235290"/>
                <a:gd name="connsiteX1284" fmla="*/ 1282970 w 2792478"/>
                <a:gd name="connsiteY1284" fmla="*/ 3615282 h 4235290"/>
                <a:gd name="connsiteX1285" fmla="*/ 1305902 w 2792478"/>
                <a:gd name="connsiteY1285" fmla="*/ 3615282 h 4235290"/>
                <a:gd name="connsiteX1286" fmla="*/ 1310189 w 2792478"/>
                <a:gd name="connsiteY1286" fmla="*/ 3619134 h 4235290"/>
                <a:gd name="connsiteX1287" fmla="*/ 1305902 w 2792478"/>
                <a:gd name="connsiteY1287" fmla="*/ 3622986 h 4235290"/>
                <a:gd name="connsiteX1288" fmla="*/ 1282970 w 2792478"/>
                <a:gd name="connsiteY1288" fmla="*/ 3622986 h 4235290"/>
                <a:gd name="connsiteX1289" fmla="*/ 1278683 w 2792478"/>
                <a:gd name="connsiteY1289" fmla="*/ 3619134 h 4235290"/>
                <a:gd name="connsiteX1290" fmla="*/ 1282970 w 2792478"/>
                <a:gd name="connsiteY1290" fmla="*/ 3615282 h 4235290"/>
                <a:gd name="connsiteX1291" fmla="*/ 1046387 w 2792478"/>
                <a:gd name="connsiteY1291" fmla="*/ 3613415 h 4235290"/>
                <a:gd name="connsiteX1292" fmla="*/ 1041481 w 2792478"/>
                <a:gd name="connsiteY1292" fmla="*/ 3618324 h 4235290"/>
                <a:gd name="connsiteX1293" fmla="*/ 1041481 w 2792478"/>
                <a:gd name="connsiteY1293" fmla="*/ 3691530 h 4235290"/>
                <a:gd name="connsiteX1294" fmla="*/ 1046387 w 2792478"/>
                <a:gd name="connsiteY1294" fmla="*/ 3696439 h 4235290"/>
                <a:gd name="connsiteX1295" fmla="*/ 1112511 w 2792478"/>
                <a:gd name="connsiteY1295" fmla="*/ 3696439 h 4235290"/>
                <a:gd name="connsiteX1296" fmla="*/ 1117418 w 2792478"/>
                <a:gd name="connsiteY1296" fmla="*/ 3691530 h 4235290"/>
                <a:gd name="connsiteX1297" fmla="*/ 1117418 w 2792478"/>
                <a:gd name="connsiteY1297" fmla="*/ 3618324 h 4235290"/>
                <a:gd name="connsiteX1298" fmla="*/ 1112511 w 2792478"/>
                <a:gd name="connsiteY1298" fmla="*/ 3613415 h 4235290"/>
                <a:gd name="connsiteX1299" fmla="*/ 1107105 w 2792478"/>
                <a:gd name="connsiteY1299" fmla="*/ 3613415 h 4235290"/>
                <a:gd name="connsiteX1300" fmla="*/ 1107105 w 2792478"/>
                <a:gd name="connsiteY1300" fmla="*/ 3619260 h 4235290"/>
                <a:gd name="connsiteX1301" fmla="*/ 1102569 w 2792478"/>
                <a:gd name="connsiteY1301" fmla="*/ 3623794 h 4235290"/>
                <a:gd name="connsiteX1302" fmla="*/ 1100889 w 2792478"/>
                <a:gd name="connsiteY1302" fmla="*/ 3623794 h 4235290"/>
                <a:gd name="connsiteX1303" fmla="*/ 1096352 w 2792478"/>
                <a:gd name="connsiteY1303" fmla="*/ 3619260 h 4235290"/>
                <a:gd name="connsiteX1304" fmla="*/ 1096352 w 2792478"/>
                <a:gd name="connsiteY1304" fmla="*/ 3613415 h 4235290"/>
                <a:gd name="connsiteX1305" fmla="*/ 1064411 w 2792478"/>
                <a:gd name="connsiteY1305" fmla="*/ 3613415 h 4235290"/>
                <a:gd name="connsiteX1306" fmla="*/ 1064411 w 2792478"/>
                <a:gd name="connsiteY1306" fmla="*/ 3619260 h 4235290"/>
                <a:gd name="connsiteX1307" fmla="*/ 1059812 w 2792478"/>
                <a:gd name="connsiteY1307" fmla="*/ 3623794 h 4235290"/>
                <a:gd name="connsiteX1308" fmla="*/ 1058195 w 2792478"/>
                <a:gd name="connsiteY1308" fmla="*/ 3623794 h 4235290"/>
                <a:gd name="connsiteX1309" fmla="*/ 1053595 w 2792478"/>
                <a:gd name="connsiteY1309" fmla="*/ 3619260 h 4235290"/>
                <a:gd name="connsiteX1310" fmla="*/ 1053595 w 2792478"/>
                <a:gd name="connsiteY1310" fmla="*/ 3613415 h 4235290"/>
                <a:gd name="connsiteX1311" fmla="*/ 1389457 w 2792478"/>
                <a:gd name="connsiteY1311" fmla="*/ 3613192 h 4235290"/>
                <a:gd name="connsiteX1312" fmla="*/ 1367754 w 2792478"/>
                <a:gd name="connsiteY1312" fmla="*/ 3634902 h 4235290"/>
                <a:gd name="connsiteX1313" fmla="*/ 1367754 w 2792478"/>
                <a:gd name="connsiteY1313" fmla="*/ 3637113 h 4235290"/>
                <a:gd name="connsiteX1314" fmla="*/ 1369959 w 2792478"/>
                <a:gd name="connsiteY1314" fmla="*/ 3637113 h 4235290"/>
                <a:gd name="connsiteX1315" fmla="*/ 1391672 w 2792478"/>
                <a:gd name="connsiteY1315" fmla="*/ 3615418 h 4235290"/>
                <a:gd name="connsiteX1316" fmla="*/ 1391672 w 2792478"/>
                <a:gd name="connsiteY1316" fmla="*/ 3613192 h 4235290"/>
                <a:gd name="connsiteX1317" fmla="*/ 1389457 w 2792478"/>
                <a:gd name="connsiteY1317" fmla="*/ 3613192 h 4235290"/>
                <a:gd name="connsiteX1318" fmla="*/ 1177751 w 2792478"/>
                <a:gd name="connsiteY1318" fmla="*/ 3610857 h 4235290"/>
                <a:gd name="connsiteX1319" fmla="*/ 1181465 w 2792478"/>
                <a:gd name="connsiteY1319" fmla="*/ 3610857 h 4235290"/>
                <a:gd name="connsiteX1320" fmla="*/ 1182716 w 2792478"/>
                <a:gd name="connsiteY1320" fmla="*/ 3635554 h 4235290"/>
                <a:gd name="connsiteX1321" fmla="*/ 1197488 w 2792478"/>
                <a:gd name="connsiteY1321" fmla="*/ 3651619 h 4235290"/>
                <a:gd name="connsiteX1322" fmla="*/ 1194667 w 2792478"/>
                <a:gd name="connsiteY1322" fmla="*/ 3654552 h 4235290"/>
                <a:gd name="connsiteX1323" fmla="*/ 1177190 w 2792478"/>
                <a:gd name="connsiteY1323" fmla="*/ 3638868 h 4235290"/>
                <a:gd name="connsiteX1324" fmla="*/ 1176473 w 2792478"/>
                <a:gd name="connsiteY1324" fmla="*/ 3635894 h 4235290"/>
                <a:gd name="connsiteX1325" fmla="*/ 1179563 w 2792478"/>
                <a:gd name="connsiteY1325" fmla="*/ 3607316 h 4235290"/>
                <a:gd name="connsiteX1326" fmla="*/ 1151196 w 2792478"/>
                <a:gd name="connsiteY1326" fmla="*/ 3635686 h 4235290"/>
                <a:gd name="connsiteX1327" fmla="*/ 1179563 w 2792478"/>
                <a:gd name="connsiteY1327" fmla="*/ 3664056 h 4235290"/>
                <a:gd name="connsiteX1328" fmla="*/ 1207927 w 2792478"/>
                <a:gd name="connsiteY1328" fmla="*/ 3635686 h 4235290"/>
                <a:gd name="connsiteX1329" fmla="*/ 1179563 w 2792478"/>
                <a:gd name="connsiteY1329" fmla="*/ 3607316 h 4235290"/>
                <a:gd name="connsiteX1330" fmla="*/ 1390274 w 2792478"/>
                <a:gd name="connsiteY1330" fmla="*/ 3606936 h 4235290"/>
                <a:gd name="connsiteX1331" fmla="*/ 1400534 w 2792478"/>
                <a:gd name="connsiteY1331" fmla="*/ 3617200 h 4235290"/>
                <a:gd name="connsiteX1332" fmla="*/ 1372772 w 2792478"/>
                <a:gd name="connsiteY1332" fmla="*/ 3644960 h 4235290"/>
                <a:gd name="connsiteX1333" fmla="*/ 1358377 w 2792478"/>
                <a:gd name="connsiteY1333" fmla="*/ 3649078 h 4235290"/>
                <a:gd name="connsiteX1334" fmla="*/ 1362505 w 2792478"/>
                <a:gd name="connsiteY1334" fmla="*/ 3634690 h 4235290"/>
                <a:gd name="connsiteX1335" fmla="*/ 1390274 w 2792478"/>
                <a:gd name="connsiteY1335" fmla="*/ 3606936 h 4235290"/>
                <a:gd name="connsiteX1336" fmla="*/ 1179563 w 2792478"/>
                <a:gd name="connsiteY1336" fmla="*/ 3600225 h 4235290"/>
                <a:gd name="connsiteX1337" fmla="*/ 1215022 w 2792478"/>
                <a:gd name="connsiteY1337" fmla="*/ 3635686 h 4235290"/>
                <a:gd name="connsiteX1338" fmla="*/ 1179563 w 2792478"/>
                <a:gd name="connsiteY1338" fmla="*/ 3671143 h 4235290"/>
                <a:gd name="connsiteX1339" fmla="*/ 1144096 w 2792478"/>
                <a:gd name="connsiteY1339" fmla="*/ 3635686 h 4235290"/>
                <a:gd name="connsiteX1340" fmla="*/ 1179563 w 2792478"/>
                <a:gd name="connsiteY1340" fmla="*/ 3600225 h 4235290"/>
                <a:gd name="connsiteX1341" fmla="*/ 1352727 w 2792478"/>
                <a:gd name="connsiteY1341" fmla="*/ 3598231 h 4235290"/>
                <a:gd name="connsiteX1342" fmla="*/ 1386906 w 2792478"/>
                <a:gd name="connsiteY1342" fmla="*/ 3598231 h 4235290"/>
                <a:gd name="connsiteX1343" fmla="*/ 1386906 w 2792478"/>
                <a:gd name="connsiteY1343" fmla="*/ 3604651 h 4235290"/>
                <a:gd name="connsiteX1344" fmla="*/ 1381814 w 2792478"/>
                <a:gd name="connsiteY1344" fmla="*/ 3609840 h 4235290"/>
                <a:gd name="connsiteX1345" fmla="*/ 1381814 w 2792478"/>
                <a:gd name="connsiteY1345" fmla="*/ 3602533 h 4235290"/>
                <a:gd name="connsiteX1346" fmla="*/ 1358184 w 2792478"/>
                <a:gd name="connsiteY1346" fmla="*/ 3602533 h 4235290"/>
                <a:gd name="connsiteX1347" fmla="*/ 1358184 w 2792478"/>
                <a:gd name="connsiteY1347" fmla="*/ 3615138 h 4235290"/>
                <a:gd name="connsiteX1348" fmla="*/ 1343416 w 2792478"/>
                <a:gd name="connsiteY1348" fmla="*/ 3615138 h 4235290"/>
                <a:gd name="connsiteX1349" fmla="*/ 1343416 w 2792478"/>
                <a:gd name="connsiteY1349" fmla="*/ 3654092 h 4235290"/>
                <a:gd name="connsiteX1350" fmla="*/ 1381797 w 2792478"/>
                <a:gd name="connsiteY1350" fmla="*/ 3654092 h 4235290"/>
                <a:gd name="connsiteX1351" fmla="*/ 1381797 w 2792478"/>
                <a:gd name="connsiteY1351" fmla="*/ 3642296 h 4235290"/>
                <a:gd name="connsiteX1352" fmla="*/ 1386906 w 2792478"/>
                <a:gd name="connsiteY1352" fmla="*/ 3637195 h 4235290"/>
                <a:gd name="connsiteX1353" fmla="*/ 1386906 w 2792478"/>
                <a:gd name="connsiteY1353" fmla="*/ 3658379 h 4235290"/>
                <a:gd name="connsiteX1354" fmla="*/ 1338328 w 2792478"/>
                <a:gd name="connsiteY1354" fmla="*/ 3658379 h 4235290"/>
                <a:gd name="connsiteX1355" fmla="*/ 1338328 w 2792478"/>
                <a:gd name="connsiteY1355" fmla="*/ 3610467 h 4235290"/>
                <a:gd name="connsiteX1356" fmla="*/ 1058195 w 2792478"/>
                <a:gd name="connsiteY1356" fmla="*/ 3597383 h 4235290"/>
                <a:gd name="connsiteX1357" fmla="*/ 1059812 w 2792478"/>
                <a:gd name="connsiteY1357" fmla="*/ 3597383 h 4235290"/>
                <a:gd name="connsiteX1358" fmla="*/ 1064411 w 2792478"/>
                <a:gd name="connsiteY1358" fmla="*/ 3601917 h 4235290"/>
                <a:gd name="connsiteX1359" fmla="*/ 1064411 w 2792478"/>
                <a:gd name="connsiteY1359" fmla="*/ 3606023 h 4235290"/>
                <a:gd name="connsiteX1360" fmla="*/ 1096352 w 2792478"/>
                <a:gd name="connsiteY1360" fmla="*/ 3606023 h 4235290"/>
                <a:gd name="connsiteX1361" fmla="*/ 1096352 w 2792478"/>
                <a:gd name="connsiteY1361" fmla="*/ 3601917 h 4235290"/>
                <a:gd name="connsiteX1362" fmla="*/ 1100889 w 2792478"/>
                <a:gd name="connsiteY1362" fmla="*/ 3597383 h 4235290"/>
                <a:gd name="connsiteX1363" fmla="*/ 1102569 w 2792478"/>
                <a:gd name="connsiteY1363" fmla="*/ 3597383 h 4235290"/>
                <a:gd name="connsiteX1364" fmla="*/ 1107105 w 2792478"/>
                <a:gd name="connsiteY1364" fmla="*/ 3601917 h 4235290"/>
                <a:gd name="connsiteX1365" fmla="*/ 1107105 w 2792478"/>
                <a:gd name="connsiteY1365" fmla="*/ 3606023 h 4235290"/>
                <a:gd name="connsiteX1366" fmla="*/ 1112511 w 2792478"/>
                <a:gd name="connsiteY1366" fmla="*/ 3606023 h 4235290"/>
                <a:gd name="connsiteX1367" fmla="*/ 1124815 w 2792478"/>
                <a:gd name="connsiteY1367" fmla="*/ 3618324 h 4235290"/>
                <a:gd name="connsiteX1368" fmla="*/ 1124815 w 2792478"/>
                <a:gd name="connsiteY1368" fmla="*/ 3691530 h 4235290"/>
                <a:gd name="connsiteX1369" fmla="*/ 1112511 w 2792478"/>
                <a:gd name="connsiteY1369" fmla="*/ 3703836 h 4235290"/>
                <a:gd name="connsiteX1370" fmla="*/ 1046387 w 2792478"/>
                <a:gd name="connsiteY1370" fmla="*/ 3703836 h 4235290"/>
                <a:gd name="connsiteX1371" fmla="*/ 1034084 w 2792478"/>
                <a:gd name="connsiteY1371" fmla="*/ 3691530 h 4235290"/>
                <a:gd name="connsiteX1372" fmla="*/ 1034084 w 2792478"/>
                <a:gd name="connsiteY1372" fmla="*/ 3618324 h 4235290"/>
                <a:gd name="connsiteX1373" fmla="*/ 1046387 w 2792478"/>
                <a:gd name="connsiteY1373" fmla="*/ 3606023 h 4235290"/>
                <a:gd name="connsiteX1374" fmla="*/ 1053595 w 2792478"/>
                <a:gd name="connsiteY1374" fmla="*/ 3606023 h 4235290"/>
                <a:gd name="connsiteX1375" fmla="*/ 1053595 w 2792478"/>
                <a:gd name="connsiteY1375" fmla="*/ 3601917 h 4235290"/>
                <a:gd name="connsiteX1376" fmla="*/ 1058195 w 2792478"/>
                <a:gd name="connsiteY1376" fmla="*/ 3597383 h 4235290"/>
                <a:gd name="connsiteX1377" fmla="*/ 1399820 w 2792478"/>
                <a:gd name="connsiteY1377" fmla="*/ 3597369 h 4235290"/>
                <a:gd name="connsiteX1378" fmla="*/ 1410074 w 2792478"/>
                <a:gd name="connsiteY1378" fmla="*/ 3607603 h 4235290"/>
                <a:gd name="connsiteX1379" fmla="*/ 1403281 w 2792478"/>
                <a:gd name="connsiteY1379" fmla="*/ 3614401 h 4235290"/>
                <a:gd name="connsiteX1380" fmla="*/ 1393027 w 2792478"/>
                <a:gd name="connsiteY1380" fmla="*/ 3604171 h 4235290"/>
                <a:gd name="connsiteX1381" fmla="*/ 1196837 w 2792478"/>
                <a:gd name="connsiteY1381" fmla="*/ 3589415 h 4235290"/>
                <a:gd name="connsiteX1382" fmla="*/ 1221647 w 2792478"/>
                <a:gd name="connsiteY1382" fmla="*/ 3613385 h 4235290"/>
                <a:gd name="connsiteX1383" fmla="*/ 1214871 w 2792478"/>
                <a:gd name="connsiteY1383" fmla="*/ 3615644 h 4235290"/>
                <a:gd name="connsiteX1384" fmla="*/ 1194877 w 2792478"/>
                <a:gd name="connsiteY1384" fmla="*/ 3596264 h 4235290"/>
                <a:gd name="connsiteX1385" fmla="*/ 1162290 w 2792478"/>
                <a:gd name="connsiteY1385" fmla="*/ 3589415 h 4235290"/>
                <a:gd name="connsiteX1386" fmla="*/ 1164246 w 2792478"/>
                <a:gd name="connsiteY1386" fmla="*/ 3596264 h 4235290"/>
                <a:gd name="connsiteX1387" fmla="*/ 1144256 w 2792478"/>
                <a:gd name="connsiteY1387" fmla="*/ 3615644 h 4235290"/>
                <a:gd name="connsiteX1388" fmla="*/ 1137480 w 2792478"/>
                <a:gd name="connsiteY1388" fmla="*/ 3613385 h 4235290"/>
                <a:gd name="connsiteX1389" fmla="*/ 1162290 w 2792478"/>
                <a:gd name="connsiteY1389" fmla="*/ 3589415 h 4235290"/>
                <a:gd name="connsiteX1390" fmla="*/ 1465934 w 2792478"/>
                <a:gd name="connsiteY1390" fmla="*/ 3586280 h 4235290"/>
                <a:gd name="connsiteX1391" fmla="*/ 1474721 w 2792478"/>
                <a:gd name="connsiteY1391" fmla="*/ 3586642 h 4235290"/>
                <a:gd name="connsiteX1392" fmla="*/ 1476641 w 2792478"/>
                <a:gd name="connsiteY1392" fmla="*/ 3592854 h 4235290"/>
                <a:gd name="connsiteX1393" fmla="*/ 1470424 w 2792478"/>
                <a:gd name="connsiteY1393" fmla="*/ 3594766 h 4235290"/>
                <a:gd name="connsiteX1394" fmla="*/ 1469654 w 2792478"/>
                <a:gd name="connsiteY1394" fmla="*/ 3594713 h 4235290"/>
                <a:gd name="connsiteX1395" fmla="*/ 1469491 w 2792478"/>
                <a:gd name="connsiteY1395" fmla="*/ 3594766 h 4235290"/>
                <a:gd name="connsiteX1396" fmla="*/ 1460404 w 2792478"/>
                <a:gd name="connsiteY1396" fmla="*/ 3607400 h 4235290"/>
                <a:gd name="connsiteX1397" fmla="*/ 1459453 w 2792478"/>
                <a:gd name="connsiteY1397" fmla="*/ 3609457 h 4235290"/>
                <a:gd name="connsiteX1398" fmla="*/ 1456299 w 2792478"/>
                <a:gd name="connsiteY1398" fmla="*/ 3617249 h 4235290"/>
                <a:gd name="connsiteX1399" fmla="*/ 1493684 w 2792478"/>
                <a:gd name="connsiteY1399" fmla="*/ 3618671 h 4235290"/>
                <a:gd name="connsiteX1400" fmla="*/ 1502284 w 2792478"/>
                <a:gd name="connsiteY1400" fmla="*/ 3623174 h 4235290"/>
                <a:gd name="connsiteX1401" fmla="*/ 1502356 w 2792478"/>
                <a:gd name="connsiteY1401" fmla="*/ 3623269 h 4235290"/>
                <a:gd name="connsiteX1402" fmla="*/ 1506207 w 2792478"/>
                <a:gd name="connsiteY1402" fmla="*/ 3622934 h 4235290"/>
                <a:gd name="connsiteX1403" fmla="*/ 1510306 w 2792478"/>
                <a:gd name="connsiteY1403" fmla="*/ 3623315 h 4235290"/>
                <a:gd name="connsiteX1404" fmla="*/ 1510402 w 2792478"/>
                <a:gd name="connsiteY1404" fmla="*/ 3623174 h 4235290"/>
                <a:gd name="connsiteX1405" fmla="*/ 1519008 w 2792478"/>
                <a:gd name="connsiteY1405" fmla="*/ 3618671 h 4235290"/>
                <a:gd name="connsiteX1406" fmla="*/ 1556392 w 2792478"/>
                <a:gd name="connsiteY1406" fmla="*/ 3617249 h 4235290"/>
                <a:gd name="connsiteX1407" fmla="*/ 1553245 w 2792478"/>
                <a:gd name="connsiteY1407" fmla="*/ 3609457 h 4235290"/>
                <a:gd name="connsiteX1408" fmla="*/ 1552294 w 2792478"/>
                <a:gd name="connsiteY1408" fmla="*/ 3607400 h 4235290"/>
                <a:gd name="connsiteX1409" fmla="*/ 1543206 w 2792478"/>
                <a:gd name="connsiteY1409" fmla="*/ 3594766 h 4235290"/>
                <a:gd name="connsiteX1410" fmla="*/ 1543038 w 2792478"/>
                <a:gd name="connsiteY1410" fmla="*/ 3594713 h 4235290"/>
                <a:gd name="connsiteX1411" fmla="*/ 1542268 w 2792478"/>
                <a:gd name="connsiteY1411" fmla="*/ 3594766 h 4235290"/>
                <a:gd name="connsiteX1412" fmla="*/ 1536051 w 2792478"/>
                <a:gd name="connsiteY1412" fmla="*/ 3592854 h 4235290"/>
                <a:gd name="connsiteX1413" fmla="*/ 1537971 w 2792478"/>
                <a:gd name="connsiteY1413" fmla="*/ 3586642 h 4235290"/>
                <a:gd name="connsiteX1414" fmla="*/ 1546757 w 2792478"/>
                <a:gd name="connsiteY1414" fmla="*/ 3586280 h 4235290"/>
                <a:gd name="connsiteX1415" fmla="*/ 1561682 w 2792478"/>
                <a:gd name="connsiteY1415" fmla="*/ 3605797 h 4235290"/>
                <a:gd name="connsiteX1416" fmla="*/ 1567008 w 2792478"/>
                <a:gd name="connsiteY1416" fmla="*/ 3619836 h 4235290"/>
                <a:gd name="connsiteX1417" fmla="*/ 1568266 w 2792478"/>
                <a:gd name="connsiteY1417" fmla="*/ 3621097 h 4235290"/>
                <a:gd name="connsiteX1418" fmla="*/ 1570817 w 2792478"/>
                <a:gd name="connsiteY1418" fmla="*/ 3630205 h 4235290"/>
                <a:gd name="connsiteX1419" fmla="*/ 1568332 w 2792478"/>
                <a:gd name="connsiteY1419" fmla="*/ 3645571 h 4235290"/>
                <a:gd name="connsiteX1420" fmla="*/ 1564667 w 2792478"/>
                <a:gd name="connsiteY1420" fmla="*/ 3652214 h 4235290"/>
                <a:gd name="connsiteX1421" fmla="*/ 1557626 w 2792478"/>
                <a:gd name="connsiteY1421" fmla="*/ 3655041 h 4235290"/>
                <a:gd name="connsiteX1422" fmla="*/ 1528763 w 2792478"/>
                <a:gd name="connsiteY1422" fmla="*/ 3656134 h 4235290"/>
                <a:gd name="connsiteX1423" fmla="*/ 1528089 w 2792478"/>
                <a:gd name="connsiteY1423" fmla="*/ 3656147 h 4235290"/>
                <a:gd name="connsiteX1424" fmla="*/ 1511100 w 2792478"/>
                <a:gd name="connsiteY1424" fmla="*/ 3642931 h 4235290"/>
                <a:gd name="connsiteX1425" fmla="*/ 1508506 w 2792478"/>
                <a:gd name="connsiteY1425" fmla="*/ 3632707 h 4235290"/>
                <a:gd name="connsiteX1426" fmla="*/ 1508422 w 2792478"/>
                <a:gd name="connsiteY1426" fmla="*/ 3632325 h 4235290"/>
                <a:gd name="connsiteX1427" fmla="*/ 1506207 w 2792478"/>
                <a:gd name="connsiteY1427" fmla="*/ 3632141 h 4235290"/>
                <a:gd name="connsiteX1428" fmla="*/ 1504282 w 2792478"/>
                <a:gd name="connsiteY1428" fmla="*/ 3632279 h 4235290"/>
                <a:gd name="connsiteX1429" fmla="*/ 1504191 w 2792478"/>
                <a:gd name="connsiteY1429" fmla="*/ 3632707 h 4235290"/>
                <a:gd name="connsiteX1430" fmla="*/ 1501591 w 2792478"/>
                <a:gd name="connsiteY1430" fmla="*/ 3642931 h 4235290"/>
                <a:gd name="connsiteX1431" fmla="*/ 1484602 w 2792478"/>
                <a:gd name="connsiteY1431" fmla="*/ 3656147 h 4235290"/>
                <a:gd name="connsiteX1432" fmla="*/ 1483928 w 2792478"/>
                <a:gd name="connsiteY1432" fmla="*/ 3656134 h 4235290"/>
                <a:gd name="connsiteX1433" fmla="*/ 1455066 w 2792478"/>
                <a:gd name="connsiteY1433" fmla="*/ 3655041 h 4235290"/>
                <a:gd name="connsiteX1434" fmla="*/ 1448025 w 2792478"/>
                <a:gd name="connsiteY1434" fmla="*/ 3652214 h 4235290"/>
                <a:gd name="connsiteX1435" fmla="*/ 1444366 w 2792478"/>
                <a:gd name="connsiteY1435" fmla="*/ 3645571 h 4235290"/>
                <a:gd name="connsiteX1436" fmla="*/ 1441880 w 2792478"/>
                <a:gd name="connsiteY1436" fmla="*/ 3630205 h 4235290"/>
                <a:gd name="connsiteX1437" fmla="*/ 1444426 w 2792478"/>
                <a:gd name="connsiteY1437" fmla="*/ 3621097 h 4235290"/>
                <a:gd name="connsiteX1438" fmla="*/ 1445684 w 2792478"/>
                <a:gd name="connsiteY1438" fmla="*/ 3619836 h 4235290"/>
                <a:gd name="connsiteX1439" fmla="*/ 1451010 w 2792478"/>
                <a:gd name="connsiteY1439" fmla="*/ 3605797 h 4235290"/>
                <a:gd name="connsiteX1440" fmla="*/ 1465934 w 2792478"/>
                <a:gd name="connsiteY1440" fmla="*/ 3586280 h 4235290"/>
                <a:gd name="connsiteX1441" fmla="*/ 1614754 w 2792478"/>
                <a:gd name="connsiteY1441" fmla="*/ 3569540 h 4235290"/>
                <a:gd name="connsiteX1442" fmla="*/ 1624885 w 2792478"/>
                <a:gd name="connsiteY1442" fmla="*/ 3569540 h 4235290"/>
                <a:gd name="connsiteX1443" fmla="*/ 1624885 w 2792478"/>
                <a:gd name="connsiteY1443" fmla="*/ 3591976 h 4235290"/>
                <a:gd name="connsiteX1444" fmla="*/ 1614754 w 2792478"/>
                <a:gd name="connsiteY1444" fmla="*/ 3591976 h 4235290"/>
                <a:gd name="connsiteX1445" fmla="*/ 1614754 w 2792478"/>
                <a:gd name="connsiteY1445" fmla="*/ 3569540 h 4235290"/>
                <a:gd name="connsiteX1446" fmla="*/ 1605000 w 2792478"/>
                <a:gd name="connsiteY1446" fmla="*/ 3562272 h 4235290"/>
                <a:gd name="connsiteX1447" fmla="*/ 1605000 w 2792478"/>
                <a:gd name="connsiteY1447" fmla="*/ 3631311 h 4235290"/>
                <a:gd name="connsiteX1448" fmla="*/ 1606678 w 2792478"/>
                <a:gd name="connsiteY1448" fmla="*/ 3632993 h 4235290"/>
                <a:gd name="connsiteX1449" fmla="*/ 1683485 w 2792478"/>
                <a:gd name="connsiteY1449" fmla="*/ 3632993 h 4235290"/>
                <a:gd name="connsiteX1450" fmla="*/ 1685163 w 2792478"/>
                <a:gd name="connsiteY1450" fmla="*/ 3631311 h 4235290"/>
                <a:gd name="connsiteX1451" fmla="*/ 1685163 w 2792478"/>
                <a:gd name="connsiteY1451" fmla="*/ 3562272 h 4235290"/>
                <a:gd name="connsiteX1452" fmla="*/ 982346 w 2792478"/>
                <a:gd name="connsiteY1452" fmla="*/ 3551612 h 4235290"/>
                <a:gd name="connsiteX1453" fmla="*/ 995161 w 2792478"/>
                <a:gd name="connsiteY1453" fmla="*/ 3551612 h 4235290"/>
                <a:gd name="connsiteX1454" fmla="*/ 995161 w 2792478"/>
                <a:gd name="connsiteY1454" fmla="*/ 3564427 h 4235290"/>
                <a:gd name="connsiteX1455" fmla="*/ 982346 w 2792478"/>
                <a:gd name="connsiteY1455" fmla="*/ 3564427 h 4235290"/>
                <a:gd name="connsiteX1456" fmla="*/ 963126 w 2792478"/>
                <a:gd name="connsiteY1456" fmla="*/ 3551612 h 4235290"/>
                <a:gd name="connsiteX1457" fmla="*/ 975941 w 2792478"/>
                <a:gd name="connsiteY1457" fmla="*/ 3551612 h 4235290"/>
                <a:gd name="connsiteX1458" fmla="*/ 975941 w 2792478"/>
                <a:gd name="connsiteY1458" fmla="*/ 3564427 h 4235290"/>
                <a:gd name="connsiteX1459" fmla="*/ 963126 w 2792478"/>
                <a:gd name="connsiteY1459" fmla="*/ 3564427 h 4235290"/>
                <a:gd name="connsiteX1460" fmla="*/ 943915 w 2792478"/>
                <a:gd name="connsiteY1460" fmla="*/ 3551612 h 4235290"/>
                <a:gd name="connsiteX1461" fmla="*/ 956720 w 2792478"/>
                <a:gd name="connsiteY1461" fmla="*/ 3551612 h 4235290"/>
                <a:gd name="connsiteX1462" fmla="*/ 956720 w 2792478"/>
                <a:gd name="connsiteY1462" fmla="*/ 3564427 h 4235290"/>
                <a:gd name="connsiteX1463" fmla="*/ 943915 w 2792478"/>
                <a:gd name="connsiteY1463" fmla="*/ 3564427 h 4235290"/>
                <a:gd name="connsiteX1464" fmla="*/ 1296456 w 2792478"/>
                <a:gd name="connsiteY1464" fmla="*/ 3549659 h 4235290"/>
                <a:gd name="connsiteX1465" fmla="*/ 1299561 w 2792478"/>
                <a:gd name="connsiteY1465" fmla="*/ 3552763 h 4235290"/>
                <a:gd name="connsiteX1466" fmla="*/ 1296456 w 2792478"/>
                <a:gd name="connsiteY1466" fmla="*/ 3555873 h 4235290"/>
                <a:gd name="connsiteX1467" fmla="*/ 1280918 w 2792478"/>
                <a:gd name="connsiteY1467" fmla="*/ 3571406 h 4235290"/>
                <a:gd name="connsiteX1468" fmla="*/ 1277813 w 2792478"/>
                <a:gd name="connsiteY1468" fmla="*/ 3574515 h 4235290"/>
                <a:gd name="connsiteX1469" fmla="*/ 1274704 w 2792478"/>
                <a:gd name="connsiteY1469" fmla="*/ 3571406 h 4235290"/>
                <a:gd name="connsiteX1470" fmla="*/ 1296456 w 2792478"/>
                <a:gd name="connsiteY1470" fmla="*/ 3549659 h 4235290"/>
                <a:gd name="connsiteX1471" fmla="*/ 1294589 w 2792478"/>
                <a:gd name="connsiteY1471" fmla="*/ 3546860 h 4235290"/>
                <a:gd name="connsiteX1472" fmla="*/ 1271909 w 2792478"/>
                <a:gd name="connsiteY1472" fmla="*/ 3569543 h 4235290"/>
                <a:gd name="connsiteX1473" fmla="*/ 1283280 w 2792478"/>
                <a:gd name="connsiteY1473" fmla="*/ 3589117 h 4235290"/>
                <a:gd name="connsiteX1474" fmla="*/ 1284958 w 2792478"/>
                <a:gd name="connsiteY1474" fmla="*/ 3590111 h 4235290"/>
                <a:gd name="connsiteX1475" fmla="*/ 1287072 w 2792478"/>
                <a:gd name="connsiteY1475" fmla="*/ 3593715 h 4235290"/>
                <a:gd name="connsiteX1476" fmla="*/ 1287072 w 2792478"/>
                <a:gd name="connsiteY1476" fmla="*/ 3595704 h 4235290"/>
                <a:gd name="connsiteX1477" fmla="*/ 1287072 w 2792478"/>
                <a:gd name="connsiteY1477" fmla="*/ 3604407 h 4235290"/>
                <a:gd name="connsiteX1478" fmla="*/ 1302171 w 2792478"/>
                <a:gd name="connsiteY1478" fmla="*/ 3604407 h 4235290"/>
                <a:gd name="connsiteX1479" fmla="*/ 1302171 w 2792478"/>
                <a:gd name="connsiteY1479" fmla="*/ 3593715 h 4235290"/>
                <a:gd name="connsiteX1480" fmla="*/ 1304286 w 2792478"/>
                <a:gd name="connsiteY1480" fmla="*/ 3590111 h 4235290"/>
                <a:gd name="connsiteX1481" fmla="*/ 1305964 w 2792478"/>
                <a:gd name="connsiteY1481" fmla="*/ 3589117 h 4235290"/>
                <a:gd name="connsiteX1482" fmla="*/ 1317335 w 2792478"/>
                <a:gd name="connsiteY1482" fmla="*/ 3569543 h 4235290"/>
                <a:gd name="connsiteX1483" fmla="*/ 1294589 w 2792478"/>
                <a:gd name="connsiteY1483" fmla="*/ 3546860 h 4235290"/>
                <a:gd name="connsiteX1484" fmla="*/ 1294589 w 2792478"/>
                <a:gd name="connsiteY1484" fmla="*/ 3537725 h 4235290"/>
                <a:gd name="connsiteX1485" fmla="*/ 1326471 w 2792478"/>
                <a:gd name="connsiteY1485" fmla="*/ 3569543 h 4235290"/>
                <a:gd name="connsiteX1486" fmla="*/ 1311929 w 2792478"/>
                <a:gd name="connsiteY1486" fmla="*/ 3596141 h 4235290"/>
                <a:gd name="connsiteX1487" fmla="*/ 1311307 w 2792478"/>
                <a:gd name="connsiteY1487" fmla="*/ 3597198 h 4235290"/>
                <a:gd name="connsiteX1488" fmla="*/ 1311307 w 2792478"/>
                <a:gd name="connsiteY1488" fmla="*/ 3605959 h 4235290"/>
                <a:gd name="connsiteX1489" fmla="*/ 1303725 w 2792478"/>
                <a:gd name="connsiteY1489" fmla="*/ 3613541 h 4235290"/>
                <a:gd name="connsiteX1490" fmla="*/ 1285518 w 2792478"/>
                <a:gd name="connsiteY1490" fmla="*/ 3613541 h 4235290"/>
                <a:gd name="connsiteX1491" fmla="*/ 1277936 w 2792478"/>
                <a:gd name="connsiteY1491" fmla="*/ 3605959 h 4235290"/>
                <a:gd name="connsiteX1492" fmla="*/ 1277936 w 2792478"/>
                <a:gd name="connsiteY1492" fmla="*/ 3597198 h 4235290"/>
                <a:gd name="connsiteX1493" fmla="*/ 1277314 w 2792478"/>
                <a:gd name="connsiteY1493" fmla="*/ 3596141 h 4235290"/>
                <a:gd name="connsiteX1494" fmla="*/ 1262773 w 2792478"/>
                <a:gd name="connsiteY1494" fmla="*/ 3569543 h 4235290"/>
                <a:gd name="connsiteX1495" fmla="*/ 1294589 w 2792478"/>
                <a:gd name="connsiteY1495" fmla="*/ 3537725 h 4235290"/>
                <a:gd name="connsiteX1496" fmla="*/ 982346 w 2792478"/>
                <a:gd name="connsiteY1496" fmla="*/ 3532391 h 4235290"/>
                <a:gd name="connsiteX1497" fmla="*/ 995161 w 2792478"/>
                <a:gd name="connsiteY1497" fmla="*/ 3532391 h 4235290"/>
                <a:gd name="connsiteX1498" fmla="*/ 995161 w 2792478"/>
                <a:gd name="connsiteY1498" fmla="*/ 3545206 h 4235290"/>
                <a:gd name="connsiteX1499" fmla="*/ 982346 w 2792478"/>
                <a:gd name="connsiteY1499" fmla="*/ 3545206 h 4235290"/>
                <a:gd name="connsiteX1500" fmla="*/ 963126 w 2792478"/>
                <a:gd name="connsiteY1500" fmla="*/ 3532391 h 4235290"/>
                <a:gd name="connsiteX1501" fmla="*/ 975941 w 2792478"/>
                <a:gd name="connsiteY1501" fmla="*/ 3532391 h 4235290"/>
                <a:gd name="connsiteX1502" fmla="*/ 975941 w 2792478"/>
                <a:gd name="connsiteY1502" fmla="*/ 3545206 h 4235290"/>
                <a:gd name="connsiteX1503" fmla="*/ 963126 w 2792478"/>
                <a:gd name="connsiteY1503" fmla="*/ 3545206 h 4235290"/>
                <a:gd name="connsiteX1504" fmla="*/ 943915 w 2792478"/>
                <a:gd name="connsiteY1504" fmla="*/ 3532391 h 4235290"/>
                <a:gd name="connsiteX1505" fmla="*/ 956720 w 2792478"/>
                <a:gd name="connsiteY1505" fmla="*/ 3532391 h 4235290"/>
                <a:gd name="connsiteX1506" fmla="*/ 956720 w 2792478"/>
                <a:gd name="connsiteY1506" fmla="*/ 3545206 h 4235290"/>
                <a:gd name="connsiteX1507" fmla="*/ 943915 w 2792478"/>
                <a:gd name="connsiteY1507" fmla="*/ 3545206 h 4235290"/>
                <a:gd name="connsiteX1508" fmla="*/ 1424508 w 2792478"/>
                <a:gd name="connsiteY1508" fmla="*/ 3531563 h 4235290"/>
                <a:gd name="connsiteX1509" fmla="*/ 1415032 w 2792478"/>
                <a:gd name="connsiteY1509" fmla="*/ 3541039 h 4235290"/>
                <a:gd name="connsiteX1510" fmla="*/ 1424508 w 2792478"/>
                <a:gd name="connsiteY1510" fmla="*/ 3550509 h 4235290"/>
                <a:gd name="connsiteX1511" fmla="*/ 1433988 w 2792478"/>
                <a:gd name="connsiteY1511" fmla="*/ 3550509 h 4235290"/>
                <a:gd name="connsiteX1512" fmla="*/ 1433988 w 2792478"/>
                <a:gd name="connsiteY1512" fmla="*/ 3531563 h 4235290"/>
                <a:gd name="connsiteX1513" fmla="*/ 1227689 w 2792478"/>
                <a:gd name="connsiteY1513" fmla="*/ 3526496 h 4235290"/>
                <a:gd name="connsiteX1514" fmla="*/ 1229215 w 2792478"/>
                <a:gd name="connsiteY1514" fmla="*/ 3527057 h 4235290"/>
                <a:gd name="connsiteX1515" fmla="*/ 1234291 w 2792478"/>
                <a:gd name="connsiteY1515" fmla="*/ 3539065 h 4235290"/>
                <a:gd name="connsiteX1516" fmla="*/ 1233728 w 2792478"/>
                <a:gd name="connsiteY1516" fmla="*/ 3540595 h 4235290"/>
                <a:gd name="connsiteX1517" fmla="*/ 1232209 w 2792478"/>
                <a:gd name="connsiteY1517" fmla="*/ 3540037 h 4235290"/>
                <a:gd name="connsiteX1518" fmla="*/ 1227133 w 2792478"/>
                <a:gd name="connsiteY1518" fmla="*/ 3528026 h 4235290"/>
                <a:gd name="connsiteX1519" fmla="*/ 1227689 w 2792478"/>
                <a:gd name="connsiteY1519" fmla="*/ 3526496 h 4235290"/>
                <a:gd name="connsiteX1520" fmla="*/ 931099 w 2792478"/>
                <a:gd name="connsiteY1520" fmla="*/ 3525990 h 4235290"/>
                <a:gd name="connsiteX1521" fmla="*/ 931099 w 2792478"/>
                <a:gd name="connsiteY1521" fmla="*/ 3577234 h 4235290"/>
                <a:gd name="connsiteX1522" fmla="*/ 1007962 w 2792478"/>
                <a:gd name="connsiteY1522" fmla="*/ 3577234 h 4235290"/>
                <a:gd name="connsiteX1523" fmla="*/ 1007962 w 2792478"/>
                <a:gd name="connsiteY1523" fmla="*/ 3525990 h 4235290"/>
                <a:gd name="connsiteX1524" fmla="*/ 1231525 w 2792478"/>
                <a:gd name="connsiteY1524" fmla="*/ 3522674 h 4235290"/>
                <a:gd name="connsiteX1525" fmla="*/ 1233050 w 2792478"/>
                <a:gd name="connsiteY1525" fmla="*/ 3523235 h 4235290"/>
                <a:gd name="connsiteX1526" fmla="*/ 1240423 w 2792478"/>
                <a:gd name="connsiteY1526" fmla="*/ 3539065 h 4235290"/>
                <a:gd name="connsiteX1527" fmla="*/ 1239859 w 2792478"/>
                <a:gd name="connsiteY1527" fmla="*/ 3540595 h 4235290"/>
                <a:gd name="connsiteX1528" fmla="*/ 1238341 w 2792478"/>
                <a:gd name="connsiteY1528" fmla="*/ 3540037 h 4235290"/>
                <a:gd name="connsiteX1529" fmla="*/ 1230961 w 2792478"/>
                <a:gd name="connsiteY1529" fmla="*/ 3524212 h 4235290"/>
                <a:gd name="connsiteX1530" fmla="*/ 1231525 w 2792478"/>
                <a:gd name="connsiteY1530" fmla="*/ 3522674 h 4235290"/>
                <a:gd name="connsiteX1531" fmla="*/ 1131115 w 2792478"/>
                <a:gd name="connsiteY1531" fmla="*/ 3520472 h 4235290"/>
                <a:gd name="connsiteX1532" fmla="*/ 1119679 w 2792478"/>
                <a:gd name="connsiteY1532" fmla="*/ 3525994 h 4235290"/>
                <a:gd name="connsiteX1533" fmla="*/ 1127971 w 2792478"/>
                <a:gd name="connsiteY1533" fmla="*/ 3558364 h 4235290"/>
                <a:gd name="connsiteX1534" fmla="*/ 1160326 w 2792478"/>
                <a:gd name="connsiteY1534" fmla="*/ 3556781 h 4235290"/>
                <a:gd name="connsiteX1535" fmla="*/ 1170593 w 2792478"/>
                <a:gd name="connsiteY1535" fmla="*/ 3531134 h 4235290"/>
                <a:gd name="connsiteX1536" fmla="*/ 1131115 w 2792478"/>
                <a:gd name="connsiteY1536" fmla="*/ 3520472 h 4235290"/>
                <a:gd name="connsiteX1537" fmla="*/ 1216374 w 2792478"/>
                <a:gd name="connsiteY1537" fmla="*/ 3520454 h 4235290"/>
                <a:gd name="connsiteX1538" fmla="*/ 1192688 w 2792478"/>
                <a:gd name="connsiteY1538" fmla="*/ 3531123 h 4235290"/>
                <a:gd name="connsiteX1539" fmla="*/ 1198998 w 2792478"/>
                <a:gd name="connsiteY1539" fmla="*/ 3552433 h 4235290"/>
                <a:gd name="connsiteX1540" fmla="*/ 1234533 w 2792478"/>
                <a:gd name="connsiteY1540" fmla="*/ 3558749 h 4235290"/>
                <a:gd name="connsiteX1541" fmla="*/ 1244786 w 2792478"/>
                <a:gd name="connsiteY1541" fmla="*/ 3538226 h 4235290"/>
                <a:gd name="connsiteX1542" fmla="*/ 1216374 w 2792478"/>
                <a:gd name="connsiteY1542" fmla="*/ 3520454 h 4235290"/>
                <a:gd name="connsiteX1543" fmla="*/ 1614754 w 2792478"/>
                <a:gd name="connsiteY1543" fmla="*/ 3519828 h 4235290"/>
                <a:gd name="connsiteX1544" fmla="*/ 1624885 w 2792478"/>
                <a:gd name="connsiteY1544" fmla="*/ 3519828 h 4235290"/>
                <a:gd name="connsiteX1545" fmla="*/ 1624885 w 2792478"/>
                <a:gd name="connsiteY1545" fmla="*/ 3534620 h 4235290"/>
                <a:gd name="connsiteX1546" fmla="*/ 1614754 w 2792478"/>
                <a:gd name="connsiteY1546" fmla="*/ 3534620 h 4235290"/>
                <a:gd name="connsiteX1547" fmla="*/ 1614754 w 2792478"/>
                <a:gd name="connsiteY1547" fmla="*/ 3519828 h 4235290"/>
                <a:gd name="connsiteX1548" fmla="*/ 1470341 w 2792478"/>
                <a:gd name="connsiteY1548" fmla="*/ 3519767 h 4235290"/>
                <a:gd name="connsiteX1549" fmla="*/ 1441092 w 2792478"/>
                <a:gd name="connsiteY1549" fmla="*/ 3531443 h 4235290"/>
                <a:gd name="connsiteX1550" fmla="*/ 1441092 w 2792478"/>
                <a:gd name="connsiteY1550" fmla="*/ 3550626 h 4235290"/>
                <a:gd name="connsiteX1551" fmla="*/ 1470341 w 2792478"/>
                <a:gd name="connsiteY1551" fmla="*/ 3562308 h 4235290"/>
                <a:gd name="connsiteX1552" fmla="*/ 1470341 w 2792478"/>
                <a:gd name="connsiteY1552" fmla="*/ 3519767 h 4235290"/>
                <a:gd name="connsiteX1553" fmla="*/ 1150073 w 2792478"/>
                <a:gd name="connsiteY1553" fmla="*/ 3514156 h 4235290"/>
                <a:gd name="connsiteX1554" fmla="*/ 1178101 w 2792478"/>
                <a:gd name="connsiteY1554" fmla="*/ 3518491 h 4235290"/>
                <a:gd name="connsiteX1555" fmla="*/ 1213615 w 2792478"/>
                <a:gd name="connsiteY1555" fmla="*/ 3514156 h 4235290"/>
                <a:gd name="connsiteX1556" fmla="*/ 1257427 w 2792478"/>
                <a:gd name="connsiteY1556" fmla="*/ 3525203 h 4235290"/>
                <a:gd name="connsiteX1557" fmla="*/ 1252280 w 2792478"/>
                <a:gd name="connsiteY1557" fmla="*/ 3535469 h 4235290"/>
                <a:gd name="connsiteX1558" fmla="*/ 1250704 w 2792478"/>
                <a:gd name="connsiteY1558" fmla="*/ 3543758 h 4235290"/>
                <a:gd name="connsiteX1559" fmla="*/ 1240059 w 2792478"/>
                <a:gd name="connsiteY1559" fmla="*/ 3562316 h 4235290"/>
                <a:gd name="connsiteX1560" fmla="*/ 1201765 w 2792478"/>
                <a:gd name="connsiteY1560" fmla="*/ 3563097 h 4235290"/>
                <a:gd name="connsiteX1561" fmla="*/ 1187163 w 2792478"/>
                <a:gd name="connsiteY1561" fmla="*/ 3539418 h 4235290"/>
                <a:gd name="connsiteX1562" fmla="*/ 1181637 w 2792478"/>
                <a:gd name="connsiteY1562" fmla="*/ 3532316 h 4235290"/>
                <a:gd name="connsiteX1563" fmla="*/ 1172953 w 2792478"/>
                <a:gd name="connsiteY1563" fmla="*/ 3547323 h 4235290"/>
                <a:gd name="connsiteX1564" fmla="*/ 1163492 w 2792478"/>
                <a:gd name="connsiteY1564" fmla="*/ 3561522 h 4235290"/>
                <a:gd name="connsiteX1565" fmla="*/ 1119679 w 2792478"/>
                <a:gd name="connsiteY1565" fmla="*/ 3558364 h 4235290"/>
                <a:gd name="connsiteX1566" fmla="*/ 1114153 w 2792478"/>
                <a:gd name="connsiteY1566" fmla="*/ 3548093 h 4235290"/>
                <a:gd name="connsiteX1567" fmla="*/ 1110988 w 2792478"/>
                <a:gd name="connsiteY1567" fmla="*/ 3535469 h 4235290"/>
                <a:gd name="connsiteX1568" fmla="*/ 1106261 w 2792478"/>
                <a:gd name="connsiteY1568" fmla="*/ 3522839 h 4235290"/>
                <a:gd name="connsiteX1569" fmla="*/ 1130331 w 2792478"/>
                <a:gd name="connsiteY1569" fmla="*/ 3514552 h 4235290"/>
                <a:gd name="connsiteX1570" fmla="*/ 1150073 w 2792478"/>
                <a:gd name="connsiteY1570" fmla="*/ 3514156 h 4235290"/>
                <a:gd name="connsiteX1571" fmla="*/ 1020778 w 2792478"/>
                <a:gd name="connsiteY1571" fmla="*/ 3513179 h 4235290"/>
                <a:gd name="connsiteX1572" fmla="*/ 1027183 w 2792478"/>
                <a:gd name="connsiteY1572" fmla="*/ 3513179 h 4235290"/>
                <a:gd name="connsiteX1573" fmla="*/ 1027183 w 2792478"/>
                <a:gd name="connsiteY1573" fmla="*/ 3596450 h 4235290"/>
                <a:gd name="connsiteX1574" fmla="*/ 931099 w 2792478"/>
                <a:gd name="connsiteY1574" fmla="*/ 3596450 h 4235290"/>
                <a:gd name="connsiteX1575" fmla="*/ 931099 w 2792478"/>
                <a:gd name="connsiteY1575" fmla="*/ 3590040 h 4235290"/>
                <a:gd name="connsiteX1576" fmla="*/ 1020778 w 2792478"/>
                <a:gd name="connsiteY1576" fmla="*/ 3590040 h 4235290"/>
                <a:gd name="connsiteX1577" fmla="*/ 1606678 w 2792478"/>
                <a:gd name="connsiteY1577" fmla="*/ 3508082 h 4235290"/>
                <a:gd name="connsiteX1578" fmla="*/ 1605000 w 2792478"/>
                <a:gd name="connsiteY1578" fmla="*/ 3509764 h 4235290"/>
                <a:gd name="connsiteX1579" fmla="*/ 1605000 w 2792478"/>
                <a:gd name="connsiteY1579" fmla="*/ 3552080 h 4235290"/>
                <a:gd name="connsiteX1580" fmla="*/ 1685163 w 2792478"/>
                <a:gd name="connsiteY1580" fmla="*/ 3552080 h 4235290"/>
                <a:gd name="connsiteX1581" fmla="*/ 1685163 w 2792478"/>
                <a:gd name="connsiteY1581" fmla="*/ 3509764 h 4235290"/>
                <a:gd name="connsiteX1582" fmla="*/ 1683485 w 2792478"/>
                <a:gd name="connsiteY1582" fmla="*/ 3508082 h 4235290"/>
                <a:gd name="connsiteX1583" fmla="*/ 1472984 w 2792478"/>
                <a:gd name="connsiteY1583" fmla="*/ 3507882 h 4235290"/>
                <a:gd name="connsiteX1584" fmla="*/ 1473644 w 2792478"/>
                <a:gd name="connsiteY1584" fmla="*/ 3507953 h 4235290"/>
                <a:gd name="connsiteX1585" fmla="*/ 1475897 w 2792478"/>
                <a:gd name="connsiteY1585" fmla="*/ 3510260 h 4235290"/>
                <a:gd name="connsiteX1586" fmla="*/ 1478824 w 2792478"/>
                <a:gd name="connsiteY1586" fmla="*/ 3534312 h 4235290"/>
                <a:gd name="connsiteX1587" fmla="*/ 1483738 w 2792478"/>
                <a:gd name="connsiteY1587" fmla="*/ 3541039 h 4235290"/>
                <a:gd name="connsiteX1588" fmla="*/ 1478824 w 2792478"/>
                <a:gd name="connsiteY1588" fmla="*/ 3547754 h 4235290"/>
                <a:gd name="connsiteX1589" fmla="*/ 1475883 w 2792478"/>
                <a:gd name="connsiteY1589" fmla="*/ 3571818 h 4235290"/>
                <a:gd name="connsiteX1590" fmla="*/ 1473637 w 2792478"/>
                <a:gd name="connsiteY1590" fmla="*/ 3574110 h 4235290"/>
                <a:gd name="connsiteX1591" fmla="*/ 1472984 w 2792478"/>
                <a:gd name="connsiteY1591" fmla="*/ 3574187 h 4235290"/>
                <a:gd name="connsiteX1592" fmla="*/ 1470615 w 2792478"/>
                <a:gd name="connsiteY1592" fmla="*/ 3572995 h 4235290"/>
                <a:gd name="connsiteX1593" fmla="*/ 1438719 w 2792478"/>
                <a:gd name="connsiteY1593" fmla="*/ 3557608 h 4235290"/>
                <a:gd name="connsiteX1594" fmla="*/ 1433988 w 2792478"/>
                <a:gd name="connsiteY1594" fmla="*/ 3557608 h 4235290"/>
                <a:gd name="connsiteX1595" fmla="*/ 1437642 w 2792478"/>
                <a:gd name="connsiteY1595" fmla="*/ 3566563 h 4235290"/>
                <a:gd name="connsiteX1596" fmla="*/ 1437757 w 2792478"/>
                <a:gd name="connsiteY1596" fmla="*/ 3568765 h 4235290"/>
                <a:gd name="connsiteX1597" fmla="*/ 1433869 w 2792478"/>
                <a:gd name="connsiteY1597" fmla="*/ 3573588 h 4235290"/>
                <a:gd name="connsiteX1598" fmla="*/ 1432697 w 2792478"/>
                <a:gd name="connsiteY1598" fmla="*/ 3574202 h 4235290"/>
                <a:gd name="connsiteX1599" fmla="*/ 1431444 w 2792478"/>
                <a:gd name="connsiteY1599" fmla="*/ 3573751 h 4235290"/>
                <a:gd name="connsiteX1600" fmla="*/ 1424508 w 2792478"/>
                <a:gd name="connsiteY1600" fmla="*/ 3557608 h 4235290"/>
                <a:gd name="connsiteX1601" fmla="*/ 1407929 w 2792478"/>
                <a:gd name="connsiteY1601" fmla="*/ 3541039 h 4235290"/>
                <a:gd name="connsiteX1602" fmla="*/ 1424508 w 2792478"/>
                <a:gd name="connsiteY1602" fmla="*/ 3524451 h 4235290"/>
                <a:gd name="connsiteX1603" fmla="*/ 1438719 w 2792478"/>
                <a:gd name="connsiteY1603" fmla="*/ 3524451 h 4235290"/>
                <a:gd name="connsiteX1604" fmla="*/ 1470615 w 2792478"/>
                <a:gd name="connsiteY1604" fmla="*/ 3509074 h 4235290"/>
                <a:gd name="connsiteX1605" fmla="*/ 1472984 w 2792478"/>
                <a:gd name="connsiteY1605" fmla="*/ 3507882 h 4235290"/>
                <a:gd name="connsiteX1606" fmla="*/ 924699 w 2792478"/>
                <a:gd name="connsiteY1606" fmla="*/ 3506778 h 4235290"/>
                <a:gd name="connsiteX1607" fmla="*/ 940707 w 2792478"/>
                <a:gd name="connsiteY1607" fmla="*/ 3506778 h 4235290"/>
                <a:gd name="connsiteX1608" fmla="*/ 950315 w 2792478"/>
                <a:gd name="connsiteY1608" fmla="*/ 3516381 h 4235290"/>
                <a:gd name="connsiteX1609" fmla="*/ 959928 w 2792478"/>
                <a:gd name="connsiteY1609" fmla="*/ 3506778 h 4235290"/>
                <a:gd name="connsiteX1610" fmla="*/ 979143 w 2792478"/>
                <a:gd name="connsiteY1610" fmla="*/ 3506778 h 4235290"/>
                <a:gd name="connsiteX1611" fmla="*/ 988751 w 2792478"/>
                <a:gd name="connsiteY1611" fmla="*/ 3516381 h 4235290"/>
                <a:gd name="connsiteX1612" fmla="*/ 998359 w 2792478"/>
                <a:gd name="connsiteY1612" fmla="*/ 3506778 h 4235290"/>
                <a:gd name="connsiteX1613" fmla="*/ 1014372 w 2792478"/>
                <a:gd name="connsiteY1613" fmla="*/ 3506778 h 4235290"/>
                <a:gd name="connsiteX1614" fmla="*/ 1014372 w 2792478"/>
                <a:gd name="connsiteY1614" fmla="*/ 3583635 h 4235290"/>
                <a:gd name="connsiteX1615" fmla="*/ 924699 w 2792478"/>
                <a:gd name="connsiteY1615" fmla="*/ 3583635 h 4235290"/>
                <a:gd name="connsiteX1616" fmla="*/ 1606678 w 2792478"/>
                <a:gd name="connsiteY1616" fmla="*/ 3497953 h 4235290"/>
                <a:gd name="connsiteX1617" fmla="*/ 1683485 w 2792478"/>
                <a:gd name="connsiteY1617" fmla="*/ 3497953 h 4235290"/>
                <a:gd name="connsiteX1618" fmla="*/ 1695294 w 2792478"/>
                <a:gd name="connsiteY1618" fmla="*/ 3509764 h 4235290"/>
                <a:gd name="connsiteX1619" fmla="*/ 1695294 w 2792478"/>
                <a:gd name="connsiteY1619" fmla="*/ 3631311 h 4235290"/>
                <a:gd name="connsiteX1620" fmla="*/ 1684108 w 2792478"/>
                <a:gd name="connsiteY1620" fmla="*/ 3643057 h 4235290"/>
                <a:gd name="connsiteX1621" fmla="*/ 1684293 w 2792478"/>
                <a:gd name="connsiteY1621" fmla="*/ 3644612 h 4235290"/>
                <a:gd name="connsiteX1622" fmla="*/ 1677705 w 2792478"/>
                <a:gd name="connsiteY1622" fmla="*/ 3651262 h 4235290"/>
                <a:gd name="connsiteX1623" fmla="*/ 1674042 w 2792478"/>
                <a:gd name="connsiteY1623" fmla="*/ 3651262 h 4235290"/>
                <a:gd name="connsiteX1624" fmla="*/ 1667454 w 2792478"/>
                <a:gd name="connsiteY1624" fmla="*/ 3644612 h 4235290"/>
                <a:gd name="connsiteX1625" fmla="*/ 1667640 w 2792478"/>
                <a:gd name="connsiteY1625" fmla="*/ 3643121 h 4235290"/>
                <a:gd name="connsiteX1626" fmla="*/ 1623332 w 2792478"/>
                <a:gd name="connsiteY1626" fmla="*/ 3643121 h 4235290"/>
                <a:gd name="connsiteX1627" fmla="*/ 1623578 w 2792478"/>
                <a:gd name="connsiteY1627" fmla="*/ 3644612 h 4235290"/>
                <a:gd name="connsiteX1628" fmla="*/ 1616930 w 2792478"/>
                <a:gd name="connsiteY1628" fmla="*/ 3651262 h 4235290"/>
                <a:gd name="connsiteX1629" fmla="*/ 1613261 w 2792478"/>
                <a:gd name="connsiteY1629" fmla="*/ 3651262 h 4235290"/>
                <a:gd name="connsiteX1630" fmla="*/ 1606678 w 2792478"/>
                <a:gd name="connsiteY1630" fmla="*/ 3644612 h 4235290"/>
                <a:gd name="connsiteX1631" fmla="*/ 1606864 w 2792478"/>
                <a:gd name="connsiteY1631" fmla="*/ 3643121 h 4235290"/>
                <a:gd name="connsiteX1632" fmla="*/ 1606678 w 2792478"/>
                <a:gd name="connsiteY1632" fmla="*/ 3643121 h 4235290"/>
                <a:gd name="connsiteX1633" fmla="*/ 1594869 w 2792478"/>
                <a:gd name="connsiteY1633" fmla="*/ 3631311 h 4235290"/>
                <a:gd name="connsiteX1634" fmla="*/ 1594869 w 2792478"/>
                <a:gd name="connsiteY1634" fmla="*/ 3509764 h 4235290"/>
                <a:gd name="connsiteX1635" fmla="*/ 1606678 w 2792478"/>
                <a:gd name="connsiteY1635" fmla="*/ 3497953 h 4235290"/>
                <a:gd name="connsiteX1636" fmla="*/ 988751 w 2792478"/>
                <a:gd name="connsiteY1636" fmla="*/ 3493962 h 4235290"/>
                <a:gd name="connsiteX1637" fmla="*/ 995161 w 2792478"/>
                <a:gd name="connsiteY1637" fmla="*/ 3500368 h 4235290"/>
                <a:gd name="connsiteX1638" fmla="*/ 995161 w 2792478"/>
                <a:gd name="connsiteY1638" fmla="*/ 3506778 h 4235290"/>
                <a:gd name="connsiteX1639" fmla="*/ 988751 w 2792478"/>
                <a:gd name="connsiteY1639" fmla="*/ 3513179 h 4235290"/>
                <a:gd name="connsiteX1640" fmla="*/ 982346 w 2792478"/>
                <a:gd name="connsiteY1640" fmla="*/ 3506778 h 4235290"/>
                <a:gd name="connsiteX1641" fmla="*/ 982346 w 2792478"/>
                <a:gd name="connsiteY1641" fmla="*/ 3500368 h 4235290"/>
                <a:gd name="connsiteX1642" fmla="*/ 988751 w 2792478"/>
                <a:gd name="connsiteY1642" fmla="*/ 3493962 h 4235290"/>
                <a:gd name="connsiteX1643" fmla="*/ 950315 w 2792478"/>
                <a:gd name="connsiteY1643" fmla="*/ 3493962 h 4235290"/>
                <a:gd name="connsiteX1644" fmla="*/ 956720 w 2792478"/>
                <a:gd name="connsiteY1644" fmla="*/ 3500368 h 4235290"/>
                <a:gd name="connsiteX1645" fmla="*/ 956720 w 2792478"/>
                <a:gd name="connsiteY1645" fmla="*/ 3506778 h 4235290"/>
                <a:gd name="connsiteX1646" fmla="*/ 950315 w 2792478"/>
                <a:gd name="connsiteY1646" fmla="*/ 3513179 h 4235290"/>
                <a:gd name="connsiteX1647" fmla="*/ 943915 w 2792478"/>
                <a:gd name="connsiteY1647" fmla="*/ 3506778 h 4235290"/>
                <a:gd name="connsiteX1648" fmla="*/ 943915 w 2792478"/>
                <a:gd name="connsiteY1648" fmla="*/ 3500368 h 4235290"/>
                <a:gd name="connsiteX1649" fmla="*/ 950315 w 2792478"/>
                <a:gd name="connsiteY1649" fmla="*/ 3493962 h 4235290"/>
                <a:gd name="connsiteX1650" fmla="*/ 1050801 w 2792478"/>
                <a:gd name="connsiteY1650" fmla="*/ 3449422 h 4235290"/>
                <a:gd name="connsiteX1651" fmla="*/ 1048376 w 2792478"/>
                <a:gd name="connsiteY1651" fmla="*/ 3457497 h 4235290"/>
                <a:gd name="connsiteX1652" fmla="*/ 1074105 w 2792478"/>
                <a:gd name="connsiteY1652" fmla="*/ 3483290 h 4235290"/>
                <a:gd name="connsiteX1653" fmla="*/ 1099895 w 2792478"/>
                <a:gd name="connsiteY1653" fmla="*/ 3457497 h 4235290"/>
                <a:gd name="connsiteX1654" fmla="*/ 1074105 w 2792478"/>
                <a:gd name="connsiteY1654" fmla="*/ 3462717 h 4235290"/>
                <a:gd name="connsiteX1655" fmla="*/ 1050801 w 2792478"/>
                <a:gd name="connsiteY1655" fmla="*/ 3449422 h 4235290"/>
                <a:gd name="connsiteX1656" fmla="*/ 1584368 w 2792478"/>
                <a:gd name="connsiteY1656" fmla="*/ 3440349 h 4235290"/>
                <a:gd name="connsiteX1657" fmla="*/ 1591512 w 2792478"/>
                <a:gd name="connsiteY1657" fmla="*/ 3445690 h 4235290"/>
                <a:gd name="connsiteX1658" fmla="*/ 1591265 w 2792478"/>
                <a:gd name="connsiteY1658" fmla="*/ 3448550 h 4235290"/>
                <a:gd name="connsiteX1659" fmla="*/ 1603633 w 2792478"/>
                <a:gd name="connsiteY1659" fmla="*/ 3456567 h 4235290"/>
                <a:gd name="connsiteX1660" fmla="*/ 1605929 w 2792478"/>
                <a:gd name="connsiteY1660" fmla="*/ 3460048 h 4235290"/>
                <a:gd name="connsiteX1661" fmla="*/ 1601768 w 2792478"/>
                <a:gd name="connsiteY1661" fmla="*/ 3459364 h 4235290"/>
                <a:gd name="connsiteX1662" fmla="*/ 1589462 w 2792478"/>
                <a:gd name="connsiteY1662" fmla="*/ 3451285 h 4235290"/>
                <a:gd name="connsiteX1663" fmla="*/ 1586106 w 2792478"/>
                <a:gd name="connsiteY1663" fmla="*/ 3452840 h 4235290"/>
                <a:gd name="connsiteX1664" fmla="*/ 1579021 w 2792478"/>
                <a:gd name="connsiteY1664" fmla="*/ 3447432 h 4235290"/>
                <a:gd name="connsiteX1665" fmla="*/ 1584368 w 2792478"/>
                <a:gd name="connsiteY1665" fmla="*/ 3440349 h 4235290"/>
                <a:gd name="connsiteX1666" fmla="*/ 1315892 w 2792478"/>
                <a:gd name="connsiteY1666" fmla="*/ 3438280 h 4235290"/>
                <a:gd name="connsiteX1667" fmla="*/ 1319372 w 2792478"/>
                <a:gd name="connsiteY1667" fmla="*/ 3441698 h 4235290"/>
                <a:gd name="connsiteX1668" fmla="*/ 1319372 w 2792478"/>
                <a:gd name="connsiteY1668" fmla="*/ 3464317 h 4235290"/>
                <a:gd name="connsiteX1669" fmla="*/ 1338134 w 2792478"/>
                <a:gd name="connsiteY1669" fmla="*/ 3464317 h 4235290"/>
                <a:gd name="connsiteX1670" fmla="*/ 1341614 w 2792478"/>
                <a:gd name="connsiteY1670" fmla="*/ 3467797 h 4235290"/>
                <a:gd name="connsiteX1671" fmla="*/ 1338134 w 2792478"/>
                <a:gd name="connsiteY1671" fmla="*/ 3471214 h 4235290"/>
                <a:gd name="connsiteX1672" fmla="*/ 1315892 w 2792478"/>
                <a:gd name="connsiteY1672" fmla="*/ 3471214 h 4235290"/>
                <a:gd name="connsiteX1673" fmla="*/ 1312474 w 2792478"/>
                <a:gd name="connsiteY1673" fmla="*/ 3467797 h 4235290"/>
                <a:gd name="connsiteX1674" fmla="*/ 1312474 w 2792478"/>
                <a:gd name="connsiteY1674" fmla="*/ 3441698 h 4235290"/>
                <a:gd name="connsiteX1675" fmla="*/ 1315892 w 2792478"/>
                <a:gd name="connsiteY1675" fmla="*/ 3438280 h 4235290"/>
                <a:gd name="connsiteX1676" fmla="*/ 1463675 w 2792478"/>
                <a:gd name="connsiteY1676" fmla="*/ 3437247 h 4235290"/>
                <a:gd name="connsiteX1677" fmla="*/ 1460329 w 2792478"/>
                <a:gd name="connsiteY1677" fmla="*/ 3449342 h 4235290"/>
                <a:gd name="connsiteX1678" fmla="*/ 1460016 w 2792478"/>
                <a:gd name="connsiteY1678" fmla="*/ 3451123 h 4235290"/>
                <a:gd name="connsiteX1679" fmla="*/ 1464742 w 2792478"/>
                <a:gd name="connsiteY1679" fmla="*/ 3455879 h 4235290"/>
                <a:gd name="connsiteX1680" fmla="*/ 1466881 w 2792478"/>
                <a:gd name="connsiteY1680" fmla="*/ 3455475 h 4235290"/>
                <a:gd name="connsiteX1681" fmla="*/ 1478695 w 2792478"/>
                <a:gd name="connsiteY1681" fmla="*/ 3452383 h 4235290"/>
                <a:gd name="connsiteX1682" fmla="*/ 1474268 w 2792478"/>
                <a:gd name="connsiteY1682" fmla="*/ 3441626 h 4235290"/>
                <a:gd name="connsiteX1683" fmla="*/ 1463675 w 2792478"/>
                <a:gd name="connsiteY1683" fmla="*/ 3437247 h 4235290"/>
                <a:gd name="connsiteX1684" fmla="*/ 1316512 w 2792478"/>
                <a:gd name="connsiteY1684" fmla="*/ 3433247 h 4235290"/>
                <a:gd name="connsiteX1685" fmla="*/ 1283578 w 2792478"/>
                <a:gd name="connsiteY1685" fmla="*/ 3466181 h 4235290"/>
                <a:gd name="connsiteX1686" fmla="*/ 1316512 w 2792478"/>
                <a:gd name="connsiteY1686" fmla="*/ 3499115 h 4235290"/>
                <a:gd name="connsiteX1687" fmla="*/ 1349445 w 2792478"/>
                <a:gd name="connsiteY1687" fmla="*/ 3466181 h 4235290"/>
                <a:gd name="connsiteX1688" fmla="*/ 1316512 w 2792478"/>
                <a:gd name="connsiteY1688" fmla="*/ 3433247 h 4235290"/>
                <a:gd name="connsiteX1689" fmla="*/ 1168437 w 2792478"/>
                <a:gd name="connsiteY1689" fmla="*/ 3430343 h 4235290"/>
                <a:gd name="connsiteX1690" fmla="*/ 1219583 w 2792478"/>
                <a:gd name="connsiteY1690" fmla="*/ 3430343 h 4235290"/>
                <a:gd name="connsiteX1691" fmla="*/ 1222689 w 2792478"/>
                <a:gd name="connsiteY1691" fmla="*/ 3433447 h 4235290"/>
                <a:gd name="connsiteX1692" fmla="*/ 1219583 w 2792478"/>
                <a:gd name="connsiteY1692" fmla="*/ 3436557 h 4235290"/>
                <a:gd name="connsiteX1693" fmla="*/ 1168437 w 2792478"/>
                <a:gd name="connsiteY1693" fmla="*/ 3436557 h 4235290"/>
                <a:gd name="connsiteX1694" fmla="*/ 1165332 w 2792478"/>
                <a:gd name="connsiteY1694" fmla="*/ 3433447 h 4235290"/>
                <a:gd name="connsiteX1695" fmla="*/ 1168437 w 2792478"/>
                <a:gd name="connsiteY1695" fmla="*/ 3430343 h 4235290"/>
                <a:gd name="connsiteX1696" fmla="*/ 1404587 w 2792478"/>
                <a:gd name="connsiteY1696" fmla="*/ 3425990 h 4235290"/>
                <a:gd name="connsiteX1697" fmla="*/ 1419997 w 2792478"/>
                <a:gd name="connsiteY1697" fmla="*/ 3433821 h 4235290"/>
                <a:gd name="connsiteX1698" fmla="*/ 1435595 w 2792478"/>
                <a:gd name="connsiteY1698" fmla="*/ 3425990 h 4235290"/>
                <a:gd name="connsiteX1699" fmla="*/ 1074105 w 2792478"/>
                <a:gd name="connsiteY1699" fmla="*/ 3424374 h 4235290"/>
                <a:gd name="connsiteX1700" fmla="*/ 1106169 w 2792478"/>
                <a:gd name="connsiteY1700" fmla="*/ 3456442 h 4235290"/>
                <a:gd name="connsiteX1701" fmla="*/ 1074105 w 2792478"/>
                <a:gd name="connsiteY1701" fmla="*/ 3488510 h 4235290"/>
                <a:gd name="connsiteX1702" fmla="*/ 1042036 w 2792478"/>
                <a:gd name="connsiteY1702" fmla="*/ 3456442 h 4235290"/>
                <a:gd name="connsiteX1703" fmla="*/ 1074105 w 2792478"/>
                <a:gd name="connsiteY1703" fmla="*/ 3424374 h 4235290"/>
                <a:gd name="connsiteX1704" fmla="*/ 1316512 w 2792478"/>
                <a:gd name="connsiteY1704" fmla="*/ 3424361 h 4235290"/>
                <a:gd name="connsiteX1705" fmla="*/ 1358393 w 2792478"/>
                <a:gd name="connsiteY1705" fmla="*/ 3466181 h 4235290"/>
                <a:gd name="connsiteX1706" fmla="*/ 1316512 w 2792478"/>
                <a:gd name="connsiteY1706" fmla="*/ 3508062 h 4235290"/>
                <a:gd name="connsiteX1707" fmla="*/ 1274693 w 2792478"/>
                <a:gd name="connsiteY1707" fmla="*/ 3466181 h 4235290"/>
                <a:gd name="connsiteX1708" fmla="*/ 1316512 w 2792478"/>
                <a:gd name="connsiteY1708" fmla="*/ 3424361 h 4235290"/>
                <a:gd name="connsiteX1709" fmla="*/ 1468967 w 2792478"/>
                <a:gd name="connsiteY1709" fmla="*/ 3420386 h 4235290"/>
                <a:gd name="connsiteX1710" fmla="*/ 1467731 w 2792478"/>
                <a:gd name="connsiteY1710" fmla="*/ 3422553 h 4235290"/>
                <a:gd name="connsiteX1711" fmla="*/ 1464573 w 2792478"/>
                <a:gd name="connsiteY1711" fmla="*/ 3433995 h 4235290"/>
                <a:gd name="connsiteX1712" fmla="*/ 1476508 w 2792478"/>
                <a:gd name="connsiteY1712" fmla="*/ 3439385 h 4235290"/>
                <a:gd name="connsiteX1713" fmla="*/ 1481804 w 2792478"/>
                <a:gd name="connsiteY1713" fmla="*/ 3451556 h 4235290"/>
                <a:gd name="connsiteX1714" fmla="*/ 1493527 w 2792478"/>
                <a:gd name="connsiteY1714" fmla="*/ 3448478 h 4235290"/>
                <a:gd name="connsiteX1715" fmla="*/ 1494676 w 2792478"/>
                <a:gd name="connsiteY1715" fmla="*/ 3447984 h 4235290"/>
                <a:gd name="connsiteX1716" fmla="*/ 1491910 w 2792478"/>
                <a:gd name="connsiteY1716" fmla="*/ 3423972 h 4235290"/>
                <a:gd name="connsiteX1717" fmla="*/ 1468967 w 2792478"/>
                <a:gd name="connsiteY1717" fmla="*/ 3420386 h 4235290"/>
                <a:gd name="connsiteX1718" fmla="*/ 1036630 w 2792478"/>
                <a:gd name="connsiteY1718" fmla="*/ 3418970 h 4235290"/>
                <a:gd name="connsiteX1719" fmla="*/ 1035262 w 2792478"/>
                <a:gd name="connsiteY1719" fmla="*/ 3421146 h 4235290"/>
                <a:gd name="connsiteX1720" fmla="*/ 1035262 w 2792478"/>
                <a:gd name="connsiteY1720" fmla="*/ 3494473 h 4235290"/>
                <a:gd name="connsiteX1721" fmla="*/ 1037625 w 2792478"/>
                <a:gd name="connsiteY1721" fmla="*/ 3496838 h 4235290"/>
                <a:gd name="connsiteX1722" fmla="*/ 1110953 w 2792478"/>
                <a:gd name="connsiteY1722" fmla="*/ 3496838 h 4235290"/>
                <a:gd name="connsiteX1723" fmla="*/ 1113377 w 2792478"/>
                <a:gd name="connsiteY1723" fmla="*/ 3494473 h 4235290"/>
                <a:gd name="connsiteX1724" fmla="*/ 1113377 w 2792478"/>
                <a:gd name="connsiteY1724" fmla="*/ 3421146 h 4235290"/>
                <a:gd name="connsiteX1725" fmla="*/ 1112009 w 2792478"/>
                <a:gd name="connsiteY1725" fmla="*/ 3418970 h 4235290"/>
                <a:gd name="connsiteX1726" fmla="*/ 1168437 w 2792478"/>
                <a:gd name="connsiteY1726" fmla="*/ 3418412 h 4235290"/>
                <a:gd name="connsiteX1727" fmla="*/ 1219583 w 2792478"/>
                <a:gd name="connsiteY1727" fmla="*/ 3418412 h 4235290"/>
                <a:gd name="connsiteX1728" fmla="*/ 1222689 w 2792478"/>
                <a:gd name="connsiteY1728" fmla="*/ 3421516 h 4235290"/>
                <a:gd name="connsiteX1729" fmla="*/ 1219583 w 2792478"/>
                <a:gd name="connsiteY1729" fmla="*/ 3424626 h 4235290"/>
                <a:gd name="connsiteX1730" fmla="*/ 1168437 w 2792478"/>
                <a:gd name="connsiteY1730" fmla="*/ 3424626 h 4235290"/>
                <a:gd name="connsiteX1731" fmla="*/ 1165332 w 2792478"/>
                <a:gd name="connsiteY1731" fmla="*/ 3421516 h 4235290"/>
                <a:gd name="connsiteX1732" fmla="*/ 1168437 w 2792478"/>
                <a:gd name="connsiteY1732" fmla="*/ 3418412 h 4235290"/>
                <a:gd name="connsiteX1733" fmla="*/ 1582689 w 2792478"/>
                <a:gd name="connsiteY1733" fmla="*/ 3415055 h 4235290"/>
                <a:gd name="connsiteX1734" fmla="*/ 1551680 w 2792478"/>
                <a:gd name="connsiteY1734" fmla="*/ 3446065 h 4235290"/>
                <a:gd name="connsiteX1735" fmla="*/ 1557209 w 2792478"/>
                <a:gd name="connsiteY1735" fmla="*/ 3446065 h 4235290"/>
                <a:gd name="connsiteX1736" fmla="*/ 1558889 w 2792478"/>
                <a:gd name="connsiteY1736" fmla="*/ 3447741 h 4235290"/>
                <a:gd name="connsiteX1737" fmla="*/ 1557209 w 2792478"/>
                <a:gd name="connsiteY1737" fmla="*/ 3449421 h 4235290"/>
                <a:gd name="connsiteX1738" fmla="*/ 1551680 w 2792478"/>
                <a:gd name="connsiteY1738" fmla="*/ 3449421 h 4235290"/>
                <a:gd name="connsiteX1739" fmla="*/ 1582689 w 2792478"/>
                <a:gd name="connsiteY1739" fmla="*/ 3480431 h 4235290"/>
                <a:gd name="connsiteX1740" fmla="*/ 1582689 w 2792478"/>
                <a:gd name="connsiteY1740" fmla="*/ 3474590 h 4235290"/>
                <a:gd name="connsiteX1741" fmla="*/ 1584303 w 2792478"/>
                <a:gd name="connsiteY1741" fmla="*/ 3472910 h 4235290"/>
                <a:gd name="connsiteX1742" fmla="*/ 1585983 w 2792478"/>
                <a:gd name="connsiteY1742" fmla="*/ 3474590 h 4235290"/>
                <a:gd name="connsiteX1743" fmla="*/ 1585983 w 2792478"/>
                <a:gd name="connsiteY1743" fmla="*/ 3480431 h 4235290"/>
                <a:gd name="connsiteX1744" fmla="*/ 1617056 w 2792478"/>
                <a:gd name="connsiteY1744" fmla="*/ 3449421 h 4235290"/>
                <a:gd name="connsiteX1745" fmla="*/ 1611400 w 2792478"/>
                <a:gd name="connsiteY1745" fmla="*/ 3449421 h 4235290"/>
                <a:gd name="connsiteX1746" fmla="*/ 1609721 w 2792478"/>
                <a:gd name="connsiteY1746" fmla="*/ 3447741 h 4235290"/>
                <a:gd name="connsiteX1747" fmla="*/ 1611400 w 2792478"/>
                <a:gd name="connsiteY1747" fmla="*/ 3446065 h 4235290"/>
                <a:gd name="connsiteX1748" fmla="*/ 1617056 w 2792478"/>
                <a:gd name="connsiteY1748" fmla="*/ 3446065 h 4235290"/>
                <a:gd name="connsiteX1749" fmla="*/ 1585983 w 2792478"/>
                <a:gd name="connsiteY1749" fmla="*/ 3415055 h 4235290"/>
                <a:gd name="connsiteX1750" fmla="*/ 1585983 w 2792478"/>
                <a:gd name="connsiteY1750" fmla="*/ 3415117 h 4235290"/>
                <a:gd name="connsiteX1751" fmla="*/ 1585983 w 2792478"/>
                <a:gd name="connsiteY1751" fmla="*/ 3421208 h 4235290"/>
                <a:gd name="connsiteX1752" fmla="*/ 1584303 w 2792478"/>
                <a:gd name="connsiteY1752" fmla="*/ 3422884 h 4235290"/>
                <a:gd name="connsiteX1753" fmla="*/ 1582689 w 2792478"/>
                <a:gd name="connsiteY1753" fmla="*/ 3421208 h 4235290"/>
                <a:gd name="connsiteX1754" fmla="*/ 1582689 w 2792478"/>
                <a:gd name="connsiteY1754" fmla="*/ 3415117 h 4235290"/>
                <a:gd name="connsiteX1755" fmla="*/ 1582689 w 2792478"/>
                <a:gd name="connsiteY1755" fmla="*/ 3415055 h 4235290"/>
                <a:gd name="connsiteX1756" fmla="*/ 1162906 w 2792478"/>
                <a:gd name="connsiteY1756" fmla="*/ 3414245 h 4235290"/>
                <a:gd name="connsiteX1757" fmla="*/ 1162906 w 2792478"/>
                <a:gd name="connsiteY1757" fmla="*/ 3452463 h 4235290"/>
                <a:gd name="connsiteX1758" fmla="*/ 1228532 w 2792478"/>
                <a:gd name="connsiteY1758" fmla="*/ 3452463 h 4235290"/>
                <a:gd name="connsiteX1759" fmla="*/ 1228532 w 2792478"/>
                <a:gd name="connsiteY1759" fmla="*/ 3414245 h 4235290"/>
                <a:gd name="connsiteX1760" fmla="*/ 1404587 w 2792478"/>
                <a:gd name="connsiteY1760" fmla="*/ 3410702 h 4235290"/>
                <a:gd name="connsiteX1761" fmla="*/ 1404587 w 2792478"/>
                <a:gd name="connsiteY1761" fmla="*/ 3418346 h 4235290"/>
                <a:gd name="connsiteX1762" fmla="*/ 1435595 w 2792478"/>
                <a:gd name="connsiteY1762" fmla="*/ 3418346 h 4235290"/>
                <a:gd name="connsiteX1763" fmla="*/ 1435595 w 2792478"/>
                <a:gd name="connsiteY1763" fmla="*/ 3411014 h 4235290"/>
                <a:gd name="connsiteX1764" fmla="*/ 1435658 w 2792478"/>
                <a:gd name="connsiteY1764" fmla="*/ 3410702 h 4235290"/>
                <a:gd name="connsiteX1765" fmla="*/ 1578400 w 2792478"/>
                <a:gd name="connsiteY1765" fmla="*/ 3402501 h 4235290"/>
                <a:gd name="connsiteX1766" fmla="*/ 1590518 w 2792478"/>
                <a:gd name="connsiteY1766" fmla="*/ 3402501 h 4235290"/>
                <a:gd name="connsiteX1767" fmla="*/ 1590518 w 2792478"/>
                <a:gd name="connsiteY1767" fmla="*/ 3406975 h 4235290"/>
                <a:gd name="connsiteX1768" fmla="*/ 1588094 w 2792478"/>
                <a:gd name="connsiteY1768" fmla="*/ 3406975 h 4235290"/>
                <a:gd name="connsiteX1769" fmla="*/ 1588094 w 2792478"/>
                <a:gd name="connsiteY1769" fmla="*/ 3408717 h 4235290"/>
                <a:gd name="connsiteX1770" fmla="*/ 1623518 w 2792478"/>
                <a:gd name="connsiteY1770" fmla="*/ 3447741 h 4235290"/>
                <a:gd name="connsiteX1771" fmla="*/ 1584303 w 2792478"/>
                <a:gd name="connsiteY1771" fmla="*/ 3486893 h 4235290"/>
                <a:gd name="connsiteX1772" fmla="*/ 1545154 w 2792478"/>
                <a:gd name="connsiteY1772" fmla="*/ 3447741 h 4235290"/>
                <a:gd name="connsiteX1773" fmla="*/ 1554663 w 2792478"/>
                <a:gd name="connsiteY1773" fmla="*/ 3422201 h 4235290"/>
                <a:gd name="connsiteX1774" fmla="*/ 1553542 w 2792478"/>
                <a:gd name="connsiteY1774" fmla="*/ 3421146 h 4235290"/>
                <a:gd name="connsiteX1775" fmla="*/ 1552051 w 2792478"/>
                <a:gd name="connsiteY1775" fmla="*/ 3422634 h 4235290"/>
                <a:gd name="connsiteX1776" fmla="*/ 1550374 w 2792478"/>
                <a:gd name="connsiteY1776" fmla="*/ 3420958 h 4235290"/>
                <a:gd name="connsiteX1777" fmla="*/ 1555595 w 2792478"/>
                <a:gd name="connsiteY1777" fmla="*/ 3415738 h 4235290"/>
                <a:gd name="connsiteX1778" fmla="*/ 1557271 w 2792478"/>
                <a:gd name="connsiteY1778" fmla="*/ 3417414 h 4235290"/>
                <a:gd name="connsiteX1779" fmla="*/ 1555842 w 2792478"/>
                <a:gd name="connsiteY1779" fmla="*/ 3418844 h 4235290"/>
                <a:gd name="connsiteX1780" fmla="*/ 1556774 w 2792478"/>
                <a:gd name="connsiteY1780" fmla="*/ 3419841 h 4235290"/>
                <a:gd name="connsiteX1781" fmla="*/ 1580577 w 2792478"/>
                <a:gd name="connsiteY1781" fmla="*/ 3408717 h 4235290"/>
                <a:gd name="connsiteX1782" fmla="*/ 1580577 w 2792478"/>
                <a:gd name="connsiteY1782" fmla="*/ 3406975 h 4235290"/>
                <a:gd name="connsiteX1783" fmla="*/ 1578400 w 2792478"/>
                <a:gd name="connsiteY1783" fmla="*/ 3406975 h 4235290"/>
                <a:gd name="connsiteX1784" fmla="*/ 1103249 w 2792478"/>
                <a:gd name="connsiteY1784" fmla="*/ 3400510 h 4235290"/>
                <a:gd name="connsiteX1785" fmla="*/ 1108717 w 2792478"/>
                <a:gd name="connsiteY1785" fmla="*/ 3405982 h 4235290"/>
                <a:gd name="connsiteX1786" fmla="*/ 1103249 w 2792478"/>
                <a:gd name="connsiteY1786" fmla="*/ 3411510 h 4235290"/>
                <a:gd name="connsiteX1787" fmla="*/ 1097716 w 2792478"/>
                <a:gd name="connsiteY1787" fmla="*/ 3405982 h 4235290"/>
                <a:gd name="connsiteX1788" fmla="*/ 1103249 w 2792478"/>
                <a:gd name="connsiteY1788" fmla="*/ 3400510 h 4235290"/>
                <a:gd name="connsiteX1789" fmla="*/ 1087276 w 2792478"/>
                <a:gd name="connsiteY1789" fmla="*/ 3400510 h 4235290"/>
                <a:gd name="connsiteX1790" fmla="*/ 1092809 w 2792478"/>
                <a:gd name="connsiteY1790" fmla="*/ 3405982 h 4235290"/>
                <a:gd name="connsiteX1791" fmla="*/ 1087276 w 2792478"/>
                <a:gd name="connsiteY1791" fmla="*/ 3411510 h 4235290"/>
                <a:gd name="connsiteX1792" fmla="*/ 1081808 w 2792478"/>
                <a:gd name="connsiteY1792" fmla="*/ 3405982 h 4235290"/>
                <a:gd name="connsiteX1793" fmla="*/ 1087276 w 2792478"/>
                <a:gd name="connsiteY1793" fmla="*/ 3400510 h 4235290"/>
                <a:gd name="connsiteX1794" fmla="*/ 1036630 w 2792478"/>
                <a:gd name="connsiteY1794" fmla="*/ 3399330 h 4235290"/>
                <a:gd name="connsiteX1795" fmla="*/ 1034889 w 2792478"/>
                <a:gd name="connsiteY1795" fmla="*/ 3400946 h 4235290"/>
                <a:gd name="connsiteX1796" fmla="*/ 1034889 w 2792478"/>
                <a:gd name="connsiteY1796" fmla="*/ 3412878 h 4235290"/>
                <a:gd name="connsiteX1797" fmla="*/ 1036196 w 2792478"/>
                <a:gd name="connsiteY1797" fmla="*/ 3414494 h 4235290"/>
                <a:gd name="connsiteX1798" fmla="*/ 1112444 w 2792478"/>
                <a:gd name="connsiteY1798" fmla="*/ 3414494 h 4235290"/>
                <a:gd name="connsiteX1799" fmla="*/ 1113750 w 2792478"/>
                <a:gd name="connsiteY1799" fmla="*/ 3412878 h 4235290"/>
                <a:gd name="connsiteX1800" fmla="*/ 1113750 w 2792478"/>
                <a:gd name="connsiteY1800" fmla="*/ 3400946 h 4235290"/>
                <a:gd name="connsiteX1801" fmla="*/ 1111948 w 2792478"/>
                <a:gd name="connsiteY1801" fmla="*/ 3399330 h 4235290"/>
                <a:gd name="connsiteX1802" fmla="*/ 1532166 w 2792478"/>
                <a:gd name="connsiteY1802" fmla="*/ 3397887 h 4235290"/>
                <a:gd name="connsiteX1803" fmla="*/ 1502174 w 2792478"/>
                <a:gd name="connsiteY1803" fmla="*/ 3427867 h 4235290"/>
                <a:gd name="connsiteX1804" fmla="*/ 1504467 w 2792478"/>
                <a:gd name="connsiteY1804" fmla="*/ 3436199 h 4235290"/>
                <a:gd name="connsiteX1805" fmla="*/ 1504491 w 2792478"/>
                <a:gd name="connsiteY1805" fmla="*/ 3438562 h 4235290"/>
                <a:gd name="connsiteX1806" fmla="*/ 1529008 w 2792478"/>
                <a:gd name="connsiteY1806" fmla="*/ 3413859 h 4235290"/>
                <a:gd name="connsiteX1807" fmla="*/ 1528960 w 2792478"/>
                <a:gd name="connsiteY1807" fmla="*/ 3413812 h 4235290"/>
                <a:gd name="connsiteX1808" fmla="*/ 1529042 w 2792478"/>
                <a:gd name="connsiteY1808" fmla="*/ 3413756 h 4235290"/>
                <a:gd name="connsiteX1809" fmla="*/ 1532166 w 2792478"/>
                <a:gd name="connsiteY1809" fmla="*/ 3397887 h 4235290"/>
                <a:gd name="connsiteX1810" fmla="*/ 1036630 w 2792478"/>
                <a:gd name="connsiteY1810" fmla="*/ 3394546 h 4235290"/>
                <a:gd name="connsiteX1811" fmla="*/ 1111948 w 2792478"/>
                <a:gd name="connsiteY1811" fmla="*/ 3394546 h 4235290"/>
                <a:gd name="connsiteX1812" fmla="*/ 1118534 w 2792478"/>
                <a:gd name="connsiteY1812" fmla="*/ 3400946 h 4235290"/>
                <a:gd name="connsiteX1813" fmla="*/ 1118161 w 2792478"/>
                <a:gd name="connsiteY1813" fmla="*/ 3494473 h 4235290"/>
                <a:gd name="connsiteX1814" fmla="*/ 1110953 w 2792478"/>
                <a:gd name="connsiteY1814" fmla="*/ 3501621 h 4235290"/>
                <a:gd name="connsiteX1815" fmla="*/ 1037625 w 2792478"/>
                <a:gd name="connsiteY1815" fmla="*/ 3501621 h 4235290"/>
                <a:gd name="connsiteX1816" fmla="*/ 1030478 w 2792478"/>
                <a:gd name="connsiteY1816" fmla="*/ 3494473 h 4235290"/>
                <a:gd name="connsiteX1817" fmla="*/ 1030106 w 2792478"/>
                <a:gd name="connsiteY1817" fmla="*/ 3400946 h 4235290"/>
                <a:gd name="connsiteX1818" fmla="*/ 1036630 w 2792478"/>
                <a:gd name="connsiteY1818" fmla="*/ 3394546 h 4235290"/>
                <a:gd name="connsiteX1819" fmla="*/ 1520139 w 2792478"/>
                <a:gd name="connsiteY1819" fmla="*/ 3384532 h 4235290"/>
                <a:gd name="connsiteX1820" fmla="*/ 1489906 w 2792478"/>
                <a:gd name="connsiteY1820" fmla="*/ 3414761 h 4235290"/>
                <a:gd name="connsiteX1821" fmla="*/ 1496395 w 2792478"/>
                <a:gd name="connsiteY1821" fmla="*/ 3419489 h 4235290"/>
                <a:gd name="connsiteX1822" fmla="*/ 1500590 w 2792478"/>
                <a:gd name="connsiteY1822" fmla="*/ 3424968 h 4235290"/>
                <a:gd name="connsiteX1823" fmla="*/ 1530847 w 2792478"/>
                <a:gd name="connsiteY1823" fmla="*/ 3394706 h 4235290"/>
                <a:gd name="connsiteX1824" fmla="*/ 1526797 w 2792478"/>
                <a:gd name="connsiteY1824" fmla="*/ 3389081 h 4235290"/>
                <a:gd name="connsiteX1825" fmla="*/ 1520139 w 2792478"/>
                <a:gd name="connsiteY1825" fmla="*/ 3384532 h 4235290"/>
                <a:gd name="connsiteX1826" fmla="*/ 1516808 w 2792478"/>
                <a:gd name="connsiteY1826" fmla="*/ 3383367 h 4235290"/>
                <a:gd name="connsiteX1827" fmla="*/ 1502266 w 2792478"/>
                <a:gd name="connsiteY1827" fmla="*/ 3386745 h 4235290"/>
                <a:gd name="connsiteX1828" fmla="*/ 1477831 w 2792478"/>
                <a:gd name="connsiteY1828" fmla="*/ 3411355 h 4235290"/>
                <a:gd name="connsiteX1829" fmla="*/ 1486932 w 2792478"/>
                <a:gd name="connsiteY1829" fmla="*/ 3413262 h 4235290"/>
                <a:gd name="connsiteX1830" fmla="*/ 1516808 w 2792478"/>
                <a:gd name="connsiteY1830" fmla="*/ 3383367 h 4235290"/>
                <a:gd name="connsiteX1831" fmla="*/ 1231203 w 2792478"/>
                <a:gd name="connsiteY1831" fmla="*/ 3374658 h 4235290"/>
                <a:gd name="connsiteX1832" fmla="*/ 1235429 w 2792478"/>
                <a:gd name="connsiteY1832" fmla="*/ 3378885 h 4235290"/>
                <a:gd name="connsiteX1833" fmla="*/ 1231203 w 2792478"/>
                <a:gd name="connsiteY1833" fmla="*/ 3383112 h 4235290"/>
                <a:gd name="connsiteX1834" fmla="*/ 1226977 w 2792478"/>
                <a:gd name="connsiteY1834" fmla="*/ 3378885 h 4235290"/>
                <a:gd name="connsiteX1835" fmla="*/ 1231203 w 2792478"/>
                <a:gd name="connsiteY1835" fmla="*/ 3374658 h 4235290"/>
                <a:gd name="connsiteX1836" fmla="*/ 1528028 w 2792478"/>
                <a:gd name="connsiteY1836" fmla="*/ 3367075 h 4235290"/>
                <a:gd name="connsiteX1837" fmla="*/ 1517739 w 2792478"/>
                <a:gd name="connsiteY1837" fmla="*/ 3371149 h 4235290"/>
                <a:gd name="connsiteX1838" fmla="*/ 1512472 w 2792478"/>
                <a:gd name="connsiteY1838" fmla="*/ 3376445 h 4235290"/>
                <a:gd name="connsiteX1839" fmla="*/ 1531268 w 2792478"/>
                <a:gd name="connsiteY1839" fmla="*/ 3384598 h 4235290"/>
                <a:gd name="connsiteX1840" fmla="*/ 1539345 w 2792478"/>
                <a:gd name="connsiteY1840" fmla="*/ 3401298 h 4235290"/>
                <a:gd name="connsiteX1841" fmla="*/ 1539321 w 2792478"/>
                <a:gd name="connsiteY1841" fmla="*/ 3403441 h 4235290"/>
                <a:gd name="connsiteX1842" fmla="*/ 1544670 w 2792478"/>
                <a:gd name="connsiteY1842" fmla="*/ 3398065 h 4235290"/>
                <a:gd name="connsiteX1843" fmla="*/ 1548784 w 2792478"/>
                <a:gd name="connsiteY1843" fmla="*/ 3386623 h 4235290"/>
                <a:gd name="connsiteX1844" fmla="*/ 1542420 w 2792478"/>
                <a:gd name="connsiteY1844" fmla="*/ 3373395 h 4235290"/>
                <a:gd name="connsiteX1845" fmla="*/ 1528028 w 2792478"/>
                <a:gd name="connsiteY1845" fmla="*/ 3367075 h 4235290"/>
                <a:gd name="connsiteX1846" fmla="*/ 1154086 w 2792478"/>
                <a:gd name="connsiteY1846" fmla="*/ 3361982 h 4235290"/>
                <a:gd name="connsiteX1847" fmla="*/ 1141719 w 2792478"/>
                <a:gd name="connsiteY1847" fmla="*/ 3374352 h 4235290"/>
                <a:gd name="connsiteX1848" fmla="*/ 1141719 w 2792478"/>
                <a:gd name="connsiteY1848" fmla="*/ 3412756 h 4235290"/>
                <a:gd name="connsiteX1849" fmla="*/ 1154086 w 2792478"/>
                <a:gd name="connsiteY1849" fmla="*/ 3425185 h 4235290"/>
                <a:gd name="connsiteX1850" fmla="*/ 1156695 w 2792478"/>
                <a:gd name="connsiteY1850" fmla="*/ 3425185 h 4235290"/>
                <a:gd name="connsiteX1851" fmla="*/ 1156695 w 2792478"/>
                <a:gd name="connsiteY1851" fmla="*/ 3414245 h 4235290"/>
                <a:gd name="connsiteX1852" fmla="*/ 1150913 w 2792478"/>
                <a:gd name="connsiteY1852" fmla="*/ 3414245 h 4235290"/>
                <a:gd name="connsiteX1853" fmla="*/ 1147807 w 2792478"/>
                <a:gd name="connsiteY1853" fmla="*/ 3411140 h 4235290"/>
                <a:gd name="connsiteX1854" fmla="*/ 1150913 w 2792478"/>
                <a:gd name="connsiteY1854" fmla="*/ 3408030 h 4235290"/>
                <a:gd name="connsiteX1855" fmla="*/ 1241457 w 2792478"/>
                <a:gd name="connsiteY1855" fmla="*/ 3408030 h 4235290"/>
                <a:gd name="connsiteX1856" fmla="*/ 1244501 w 2792478"/>
                <a:gd name="connsiteY1856" fmla="*/ 3411140 h 4235290"/>
                <a:gd name="connsiteX1857" fmla="*/ 1241457 w 2792478"/>
                <a:gd name="connsiteY1857" fmla="*/ 3414245 h 4235290"/>
                <a:gd name="connsiteX1858" fmla="*/ 1234744 w 2792478"/>
                <a:gd name="connsiteY1858" fmla="*/ 3414245 h 4235290"/>
                <a:gd name="connsiteX1859" fmla="*/ 1234744 w 2792478"/>
                <a:gd name="connsiteY1859" fmla="*/ 3425185 h 4235290"/>
                <a:gd name="connsiteX1860" fmla="*/ 1237353 w 2792478"/>
                <a:gd name="connsiteY1860" fmla="*/ 3425185 h 4235290"/>
                <a:gd name="connsiteX1861" fmla="*/ 1249720 w 2792478"/>
                <a:gd name="connsiteY1861" fmla="*/ 3412756 h 4235290"/>
                <a:gd name="connsiteX1862" fmla="*/ 1249720 w 2792478"/>
                <a:gd name="connsiteY1862" fmla="*/ 3374352 h 4235290"/>
                <a:gd name="connsiteX1863" fmla="*/ 1237353 w 2792478"/>
                <a:gd name="connsiteY1863" fmla="*/ 3361982 h 4235290"/>
                <a:gd name="connsiteX1864" fmla="*/ 1528028 w 2792478"/>
                <a:gd name="connsiteY1864" fmla="*/ 3360726 h 4235290"/>
                <a:gd name="connsiteX1865" fmla="*/ 1546896 w 2792478"/>
                <a:gd name="connsiteY1865" fmla="*/ 3368907 h 4235290"/>
                <a:gd name="connsiteX1866" fmla="*/ 1549155 w 2792478"/>
                <a:gd name="connsiteY1866" fmla="*/ 3402544 h 4235290"/>
                <a:gd name="connsiteX1867" fmla="*/ 1500754 w 2792478"/>
                <a:gd name="connsiteY1867" fmla="*/ 3451339 h 4235290"/>
                <a:gd name="connsiteX1868" fmla="*/ 1495347 w 2792478"/>
                <a:gd name="connsiteY1868" fmla="*/ 3454558 h 4235290"/>
                <a:gd name="connsiteX1869" fmla="*/ 1468455 w 2792478"/>
                <a:gd name="connsiteY1869" fmla="*/ 3461621 h 4235290"/>
                <a:gd name="connsiteX1870" fmla="*/ 1464781 w 2792478"/>
                <a:gd name="connsiteY1870" fmla="*/ 3462227 h 4235290"/>
                <a:gd name="connsiteX1871" fmla="*/ 1453667 w 2792478"/>
                <a:gd name="connsiteY1871" fmla="*/ 3451123 h 4235290"/>
                <a:gd name="connsiteX1872" fmla="*/ 1454169 w 2792478"/>
                <a:gd name="connsiteY1872" fmla="*/ 3447862 h 4235290"/>
                <a:gd name="connsiteX1873" fmla="*/ 1461614 w 2792478"/>
                <a:gd name="connsiteY1873" fmla="*/ 3420861 h 4235290"/>
                <a:gd name="connsiteX1874" fmla="*/ 1464819 w 2792478"/>
                <a:gd name="connsiteY1874" fmla="*/ 3415457 h 4235290"/>
                <a:gd name="connsiteX1875" fmla="*/ 1497592 w 2792478"/>
                <a:gd name="connsiteY1875" fmla="*/ 3382446 h 4235290"/>
                <a:gd name="connsiteX1876" fmla="*/ 1497573 w 2792478"/>
                <a:gd name="connsiteY1876" fmla="*/ 3382446 h 4235290"/>
                <a:gd name="connsiteX1877" fmla="*/ 1497655 w 2792478"/>
                <a:gd name="connsiteY1877" fmla="*/ 3382366 h 4235290"/>
                <a:gd name="connsiteX1878" fmla="*/ 1497795 w 2792478"/>
                <a:gd name="connsiteY1878" fmla="*/ 3382244 h 4235290"/>
                <a:gd name="connsiteX1879" fmla="*/ 1513230 w 2792478"/>
                <a:gd name="connsiteY1879" fmla="*/ 3366675 h 4235290"/>
                <a:gd name="connsiteX1880" fmla="*/ 1528028 w 2792478"/>
                <a:gd name="connsiteY1880" fmla="*/ 3360726 h 4235290"/>
                <a:gd name="connsiteX1881" fmla="*/ 1331568 w 2792478"/>
                <a:gd name="connsiteY1881" fmla="*/ 3348001 h 4235290"/>
                <a:gd name="connsiteX1882" fmla="*/ 1331568 w 2792478"/>
                <a:gd name="connsiteY1882" fmla="*/ 3389078 h 4235290"/>
                <a:gd name="connsiteX1883" fmla="*/ 1337906 w 2792478"/>
                <a:gd name="connsiteY1883" fmla="*/ 3389078 h 4235290"/>
                <a:gd name="connsiteX1884" fmla="*/ 1337906 w 2792478"/>
                <a:gd name="connsiteY1884" fmla="*/ 3348001 h 4235290"/>
                <a:gd name="connsiteX1885" fmla="*/ 1311680 w 2792478"/>
                <a:gd name="connsiteY1885" fmla="*/ 3348001 h 4235290"/>
                <a:gd name="connsiteX1886" fmla="*/ 1311680 w 2792478"/>
                <a:gd name="connsiteY1886" fmla="*/ 3389078 h 4235290"/>
                <a:gd name="connsiteX1887" fmla="*/ 1317957 w 2792478"/>
                <a:gd name="connsiteY1887" fmla="*/ 3389078 h 4235290"/>
                <a:gd name="connsiteX1888" fmla="*/ 1317957 w 2792478"/>
                <a:gd name="connsiteY1888" fmla="*/ 3348001 h 4235290"/>
                <a:gd name="connsiteX1889" fmla="*/ 1291796 w 2792478"/>
                <a:gd name="connsiteY1889" fmla="*/ 3348001 h 4235290"/>
                <a:gd name="connsiteX1890" fmla="*/ 1291796 w 2792478"/>
                <a:gd name="connsiteY1890" fmla="*/ 3389078 h 4235290"/>
                <a:gd name="connsiteX1891" fmla="*/ 1298068 w 2792478"/>
                <a:gd name="connsiteY1891" fmla="*/ 3389078 h 4235290"/>
                <a:gd name="connsiteX1892" fmla="*/ 1298068 w 2792478"/>
                <a:gd name="connsiteY1892" fmla="*/ 3348001 h 4235290"/>
                <a:gd name="connsiteX1893" fmla="*/ 1331568 w 2792478"/>
                <a:gd name="connsiteY1893" fmla="*/ 3344830 h 4235290"/>
                <a:gd name="connsiteX1894" fmla="*/ 1337906 w 2792478"/>
                <a:gd name="connsiteY1894" fmla="*/ 3344830 h 4235290"/>
                <a:gd name="connsiteX1895" fmla="*/ 1341075 w 2792478"/>
                <a:gd name="connsiteY1895" fmla="*/ 3348001 h 4235290"/>
                <a:gd name="connsiteX1896" fmla="*/ 1341075 w 2792478"/>
                <a:gd name="connsiteY1896" fmla="*/ 3389078 h 4235290"/>
                <a:gd name="connsiteX1897" fmla="*/ 1337906 w 2792478"/>
                <a:gd name="connsiteY1897" fmla="*/ 3392249 h 4235290"/>
                <a:gd name="connsiteX1898" fmla="*/ 1331568 w 2792478"/>
                <a:gd name="connsiteY1898" fmla="*/ 3392249 h 4235290"/>
                <a:gd name="connsiteX1899" fmla="*/ 1328399 w 2792478"/>
                <a:gd name="connsiteY1899" fmla="*/ 3389078 h 4235290"/>
                <a:gd name="connsiteX1900" fmla="*/ 1328399 w 2792478"/>
                <a:gd name="connsiteY1900" fmla="*/ 3348001 h 4235290"/>
                <a:gd name="connsiteX1901" fmla="*/ 1331568 w 2792478"/>
                <a:gd name="connsiteY1901" fmla="*/ 3344830 h 4235290"/>
                <a:gd name="connsiteX1902" fmla="*/ 1311680 w 2792478"/>
                <a:gd name="connsiteY1902" fmla="*/ 3344830 h 4235290"/>
                <a:gd name="connsiteX1903" fmla="*/ 1317957 w 2792478"/>
                <a:gd name="connsiteY1903" fmla="*/ 3344830 h 4235290"/>
                <a:gd name="connsiteX1904" fmla="*/ 1321126 w 2792478"/>
                <a:gd name="connsiteY1904" fmla="*/ 3348001 h 4235290"/>
                <a:gd name="connsiteX1905" fmla="*/ 1321126 w 2792478"/>
                <a:gd name="connsiteY1905" fmla="*/ 3389078 h 4235290"/>
                <a:gd name="connsiteX1906" fmla="*/ 1317957 w 2792478"/>
                <a:gd name="connsiteY1906" fmla="*/ 3392249 h 4235290"/>
                <a:gd name="connsiteX1907" fmla="*/ 1311680 w 2792478"/>
                <a:gd name="connsiteY1907" fmla="*/ 3392249 h 4235290"/>
                <a:gd name="connsiteX1908" fmla="*/ 1308511 w 2792478"/>
                <a:gd name="connsiteY1908" fmla="*/ 3389078 h 4235290"/>
                <a:gd name="connsiteX1909" fmla="*/ 1308511 w 2792478"/>
                <a:gd name="connsiteY1909" fmla="*/ 3348001 h 4235290"/>
                <a:gd name="connsiteX1910" fmla="*/ 1311680 w 2792478"/>
                <a:gd name="connsiteY1910" fmla="*/ 3344830 h 4235290"/>
                <a:gd name="connsiteX1911" fmla="*/ 1291796 w 2792478"/>
                <a:gd name="connsiteY1911" fmla="*/ 3344830 h 4235290"/>
                <a:gd name="connsiteX1912" fmla="*/ 1298068 w 2792478"/>
                <a:gd name="connsiteY1912" fmla="*/ 3344830 h 4235290"/>
                <a:gd name="connsiteX1913" fmla="*/ 1301242 w 2792478"/>
                <a:gd name="connsiteY1913" fmla="*/ 3348001 h 4235290"/>
                <a:gd name="connsiteX1914" fmla="*/ 1301242 w 2792478"/>
                <a:gd name="connsiteY1914" fmla="*/ 3389078 h 4235290"/>
                <a:gd name="connsiteX1915" fmla="*/ 1298068 w 2792478"/>
                <a:gd name="connsiteY1915" fmla="*/ 3392249 h 4235290"/>
                <a:gd name="connsiteX1916" fmla="*/ 1291796 w 2792478"/>
                <a:gd name="connsiteY1916" fmla="*/ 3392249 h 4235290"/>
                <a:gd name="connsiteX1917" fmla="*/ 1288622 w 2792478"/>
                <a:gd name="connsiteY1917" fmla="*/ 3389078 h 4235290"/>
                <a:gd name="connsiteX1918" fmla="*/ 1288622 w 2792478"/>
                <a:gd name="connsiteY1918" fmla="*/ 3348001 h 4235290"/>
                <a:gd name="connsiteX1919" fmla="*/ 1291796 w 2792478"/>
                <a:gd name="connsiteY1919" fmla="*/ 3344830 h 4235290"/>
                <a:gd name="connsiteX1920" fmla="*/ 1283342 w 2792478"/>
                <a:gd name="connsiteY1920" fmla="*/ 3339860 h 4235290"/>
                <a:gd name="connsiteX1921" fmla="*/ 1283342 w 2792478"/>
                <a:gd name="connsiteY1921" fmla="*/ 3393617 h 4235290"/>
                <a:gd name="connsiteX1922" fmla="*/ 1289680 w 2792478"/>
                <a:gd name="connsiteY1922" fmla="*/ 3399893 h 4235290"/>
                <a:gd name="connsiteX1923" fmla="*/ 1340268 w 2792478"/>
                <a:gd name="connsiteY1923" fmla="*/ 3399893 h 4235290"/>
                <a:gd name="connsiteX1924" fmla="*/ 1346606 w 2792478"/>
                <a:gd name="connsiteY1924" fmla="*/ 3393617 h 4235290"/>
                <a:gd name="connsiteX1925" fmla="*/ 1346606 w 2792478"/>
                <a:gd name="connsiteY1925" fmla="*/ 3339860 h 4235290"/>
                <a:gd name="connsiteX1926" fmla="*/ 1162906 w 2792478"/>
                <a:gd name="connsiteY1926" fmla="*/ 3335137 h 4235290"/>
                <a:gd name="connsiteX1927" fmla="*/ 1162906 w 2792478"/>
                <a:gd name="connsiteY1927" fmla="*/ 3355768 h 4235290"/>
                <a:gd name="connsiteX1928" fmla="*/ 1228532 w 2792478"/>
                <a:gd name="connsiteY1928" fmla="*/ 3355768 h 4235290"/>
                <a:gd name="connsiteX1929" fmla="*/ 1228532 w 2792478"/>
                <a:gd name="connsiteY1929" fmla="*/ 3335137 h 4235290"/>
                <a:gd name="connsiteX1930" fmla="*/ 1423662 w 2792478"/>
                <a:gd name="connsiteY1930" fmla="*/ 3334885 h 4235290"/>
                <a:gd name="connsiteX1931" fmla="*/ 1450449 w 2792478"/>
                <a:gd name="connsiteY1931" fmla="*/ 3361985 h 4235290"/>
                <a:gd name="connsiteX1932" fmla="*/ 1446593 w 2792478"/>
                <a:gd name="connsiteY1932" fmla="*/ 3365773 h 4235290"/>
                <a:gd name="connsiteX1933" fmla="*/ 1442805 w 2792478"/>
                <a:gd name="connsiteY1933" fmla="*/ 3361985 h 4235290"/>
                <a:gd name="connsiteX1934" fmla="*/ 1423662 w 2792478"/>
                <a:gd name="connsiteY1934" fmla="*/ 3342467 h 4235290"/>
                <a:gd name="connsiteX1935" fmla="*/ 1419874 w 2792478"/>
                <a:gd name="connsiteY1935" fmla="*/ 3338679 h 4235290"/>
                <a:gd name="connsiteX1936" fmla="*/ 1423662 w 2792478"/>
                <a:gd name="connsiteY1936" fmla="*/ 3334885 h 4235290"/>
                <a:gd name="connsiteX1937" fmla="*/ 1159801 w 2792478"/>
                <a:gd name="connsiteY1937" fmla="*/ 3328922 h 4235290"/>
                <a:gd name="connsiteX1938" fmla="*/ 1231638 w 2792478"/>
                <a:gd name="connsiteY1938" fmla="*/ 3328922 h 4235290"/>
                <a:gd name="connsiteX1939" fmla="*/ 1234744 w 2792478"/>
                <a:gd name="connsiteY1939" fmla="*/ 3332027 h 4235290"/>
                <a:gd name="connsiteX1940" fmla="*/ 1234744 w 2792478"/>
                <a:gd name="connsiteY1940" fmla="*/ 3355768 h 4235290"/>
                <a:gd name="connsiteX1941" fmla="*/ 1237353 w 2792478"/>
                <a:gd name="connsiteY1941" fmla="*/ 3355768 h 4235290"/>
                <a:gd name="connsiteX1942" fmla="*/ 1255937 w 2792478"/>
                <a:gd name="connsiteY1942" fmla="*/ 3374352 h 4235290"/>
                <a:gd name="connsiteX1943" fmla="*/ 1255937 w 2792478"/>
                <a:gd name="connsiteY1943" fmla="*/ 3412756 h 4235290"/>
                <a:gd name="connsiteX1944" fmla="*/ 1237353 w 2792478"/>
                <a:gd name="connsiteY1944" fmla="*/ 3431399 h 4235290"/>
                <a:gd name="connsiteX1945" fmla="*/ 1234744 w 2792478"/>
                <a:gd name="connsiteY1945" fmla="*/ 3431399 h 4235290"/>
                <a:gd name="connsiteX1946" fmla="*/ 1234744 w 2792478"/>
                <a:gd name="connsiteY1946" fmla="*/ 3455513 h 4235290"/>
                <a:gd name="connsiteX1947" fmla="*/ 1231638 w 2792478"/>
                <a:gd name="connsiteY1947" fmla="*/ 3458617 h 4235290"/>
                <a:gd name="connsiteX1948" fmla="*/ 1159801 w 2792478"/>
                <a:gd name="connsiteY1948" fmla="*/ 3458617 h 4235290"/>
                <a:gd name="connsiteX1949" fmla="*/ 1156695 w 2792478"/>
                <a:gd name="connsiteY1949" fmla="*/ 3455513 h 4235290"/>
                <a:gd name="connsiteX1950" fmla="*/ 1156695 w 2792478"/>
                <a:gd name="connsiteY1950" fmla="*/ 3431399 h 4235290"/>
                <a:gd name="connsiteX1951" fmla="*/ 1154086 w 2792478"/>
                <a:gd name="connsiteY1951" fmla="*/ 3431399 h 4235290"/>
                <a:gd name="connsiteX1952" fmla="*/ 1135502 w 2792478"/>
                <a:gd name="connsiteY1952" fmla="*/ 3412756 h 4235290"/>
                <a:gd name="connsiteX1953" fmla="*/ 1135502 w 2792478"/>
                <a:gd name="connsiteY1953" fmla="*/ 3374352 h 4235290"/>
                <a:gd name="connsiteX1954" fmla="*/ 1154086 w 2792478"/>
                <a:gd name="connsiteY1954" fmla="*/ 3355768 h 4235290"/>
                <a:gd name="connsiteX1955" fmla="*/ 1156695 w 2792478"/>
                <a:gd name="connsiteY1955" fmla="*/ 3355768 h 4235290"/>
                <a:gd name="connsiteX1956" fmla="*/ 1156695 w 2792478"/>
                <a:gd name="connsiteY1956" fmla="*/ 3332027 h 4235290"/>
                <a:gd name="connsiteX1957" fmla="*/ 1159801 w 2792478"/>
                <a:gd name="connsiteY1957" fmla="*/ 3328922 h 4235290"/>
                <a:gd name="connsiteX1958" fmla="*/ 1419997 w 2792478"/>
                <a:gd name="connsiteY1958" fmla="*/ 3326623 h 4235290"/>
                <a:gd name="connsiteX1959" fmla="*/ 1381779 w 2792478"/>
                <a:gd name="connsiteY1959" fmla="*/ 3364843 h 4235290"/>
                <a:gd name="connsiteX1960" fmla="*/ 1397813 w 2792478"/>
                <a:gd name="connsiteY1960" fmla="*/ 3395913 h 4235290"/>
                <a:gd name="connsiteX1961" fmla="*/ 1403342 w 2792478"/>
                <a:gd name="connsiteY1961" fmla="*/ 3403058 h 4235290"/>
                <a:gd name="connsiteX1962" fmla="*/ 1436962 w 2792478"/>
                <a:gd name="connsiteY1962" fmla="*/ 3403058 h 4235290"/>
                <a:gd name="connsiteX1963" fmla="*/ 1444670 w 2792478"/>
                <a:gd name="connsiteY1963" fmla="*/ 3394047 h 4235290"/>
                <a:gd name="connsiteX1964" fmla="*/ 1458216 w 2792478"/>
                <a:gd name="connsiteY1964" fmla="*/ 3364843 h 4235290"/>
                <a:gd name="connsiteX1965" fmla="*/ 1419997 w 2792478"/>
                <a:gd name="connsiteY1965" fmla="*/ 3326623 h 4235290"/>
                <a:gd name="connsiteX1966" fmla="*/ 1280173 w 2792478"/>
                <a:gd name="connsiteY1966" fmla="*/ 3324015 h 4235290"/>
                <a:gd name="connsiteX1967" fmla="*/ 1277065 w 2792478"/>
                <a:gd name="connsiteY1967" fmla="*/ 3327181 h 4235290"/>
                <a:gd name="connsiteX1968" fmla="*/ 1277065 w 2792478"/>
                <a:gd name="connsiteY1968" fmla="*/ 3333523 h 4235290"/>
                <a:gd name="connsiteX1969" fmla="*/ 1352944 w 2792478"/>
                <a:gd name="connsiteY1969" fmla="*/ 3333523 h 4235290"/>
                <a:gd name="connsiteX1970" fmla="*/ 1352944 w 2792478"/>
                <a:gd name="connsiteY1970" fmla="*/ 3330352 h 4235290"/>
                <a:gd name="connsiteX1971" fmla="*/ 1352944 w 2792478"/>
                <a:gd name="connsiteY1971" fmla="*/ 3327181 h 4235290"/>
                <a:gd name="connsiteX1972" fmla="*/ 1349775 w 2792478"/>
                <a:gd name="connsiteY1972" fmla="*/ 3324015 h 4235290"/>
                <a:gd name="connsiteX1973" fmla="*/ 1419997 w 2792478"/>
                <a:gd name="connsiteY1973" fmla="*/ 3318979 h 4235290"/>
                <a:gd name="connsiteX1974" fmla="*/ 1465860 w 2792478"/>
                <a:gd name="connsiteY1974" fmla="*/ 3364843 h 4235290"/>
                <a:gd name="connsiteX1975" fmla="*/ 1449579 w 2792478"/>
                <a:gd name="connsiteY1975" fmla="*/ 3399888 h 4235290"/>
                <a:gd name="connsiteX1976" fmla="*/ 1447837 w 2792478"/>
                <a:gd name="connsiteY1976" fmla="*/ 3400948 h 4235290"/>
                <a:gd name="connsiteX1977" fmla="*/ 1443239 w 2792478"/>
                <a:gd name="connsiteY1977" fmla="*/ 3411014 h 4235290"/>
                <a:gd name="connsiteX1978" fmla="*/ 1443239 w 2792478"/>
                <a:gd name="connsiteY1978" fmla="*/ 3425990 h 4235290"/>
                <a:gd name="connsiteX1979" fmla="*/ 1439013 w 2792478"/>
                <a:gd name="connsiteY1979" fmla="*/ 3432766 h 4235290"/>
                <a:gd name="connsiteX1980" fmla="*/ 1423416 w 2792478"/>
                <a:gd name="connsiteY1980" fmla="*/ 3440660 h 4235290"/>
                <a:gd name="connsiteX1981" fmla="*/ 1419997 w 2792478"/>
                <a:gd name="connsiteY1981" fmla="*/ 3441465 h 4235290"/>
                <a:gd name="connsiteX1982" fmla="*/ 1416515 w 2792478"/>
                <a:gd name="connsiteY1982" fmla="*/ 3440660 h 4235290"/>
                <a:gd name="connsiteX1983" fmla="*/ 1401104 w 2792478"/>
                <a:gd name="connsiteY1983" fmla="*/ 3432766 h 4235290"/>
                <a:gd name="connsiteX1984" fmla="*/ 1396943 w 2792478"/>
                <a:gd name="connsiteY1984" fmla="*/ 3425990 h 4235290"/>
                <a:gd name="connsiteX1985" fmla="*/ 1396943 w 2792478"/>
                <a:gd name="connsiteY1985" fmla="*/ 3410458 h 4235290"/>
                <a:gd name="connsiteX1986" fmla="*/ 1393898 w 2792478"/>
                <a:gd name="connsiteY1986" fmla="*/ 3402502 h 4235290"/>
                <a:gd name="connsiteX1987" fmla="*/ 1393338 w 2792478"/>
                <a:gd name="connsiteY1987" fmla="*/ 3402128 h 4235290"/>
                <a:gd name="connsiteX1988" fmla="*/ 1374135 w 2792478"/>
                <a:gd name="connsiteY1988" fmla="*/ 3364843 h 4235290"/>
                <a:gd name="connsiteX1989" fmla="*/ 1419997 w 2792478"/>
                <a:gd name="connsiteY1989" fmla="*/ 3318979 h 4235290"/>
                <a:gd name="connsiteX1990" fmla="*/ 1299188 w 2792478"/>
                <a:gd name="connsiteY1990" fmla="*/ 3311396 h 4235290"/>
                <a:gd name="connsiteX1991" fmla="*/ 1296019 w 2792478"/>
                <a:gd name="connsiteY1991" fmla="*/ 3314567 h 4235290"/>
                <a:gd name="connsiteX1992" fmla="*/ 1296019 w 2792478"/>
                <a:gd name="connsiteY1992" fmla="*/ 3317673 h 4235290"/>
                <a:gd name="connsiteX1993" fmla="*/ 1333991 w 2792478"/>
                <a:gd name="connsiteY1993" fmla="*/ 3317673 h 4235290"/>
                <a:gd name="connsiteX1994" fmla="*/ 1333991 w 2792478"/>
                <a:gd name="connsiteY1994" fmla="*/ 3314567 h 4235290"/>
                <a:gd name="connsiteX1995" fmla="*/ 1330822 w 2792478"/>
                <a:gd name="connsiteY1995" fmla="*/ 3311396 h 4235290"/>
                <a:gd name="connsiteX1996" fmla="*/ 1299188 w 2792478"/>
                <a:gd name="connsiteY1996" fmla="*/ 3305059 h 4235290"/>
                <a:gd name="connsiteX1997" fmla="*/ 1330822 w 2792478"/>
                <a:gd name="connsiteY1997" fmla="*/ 3305059 h 4235290"/>
                <a:gd name="connsiteX1998" fmla="*/ 1340268 w 2792478"/>
                <a:gd name="connsiteY1998" fmla="*/ 3314507 h 4235290"/>
                <a:gd name="connsiteX1999" fmla="*/ 1340268 w 2792478"/>
                <a:gd name="connsiteY1999" fmla="*/ 3317738 h 4235290"/>
                <a:gd name="connsiteX2000" fmla="*/ 1349775 w 2792478"/>
                <a:gd name="connsiteY2000" fmla="*/ 3317738 h 4235290"/>
                <a:gd name="connsiteX2001" fmla="*/ 1359221 w 2792478"/>
                <a:gd name="connsiteY2001" fmla="*/ 3326624 h 4235290"/>
                <a:gd name="connsiteX2002" fmla="*/ 1359283 w 2792478"/>
                <a:gd name="connsiteY2002" fmla="*/ 3326624 h 4235290"/>
                <a:gd name="connsiteX2003" fmla="*/ 1359283 w 2792478"/>
                <a:gd name="connsiteY2003" fmla="*/ 3333523 h 4235290"/>
                <a:gd name="connsiteX2004" fmla="*/ 1352944 w 2792478"/>
                <a:gd name="connsiteY2004" fmla="*/ 3339860 h 4235290"/>
                <a:gd name="connsiteX2005" fmla="*/ 1352944 w 2792478"/>
                <a:gd name="connsiteY2005" fmla="*/ 3393551 h 4235290"/>
                <a:gd name="connsiteX2006" fmla="*/ 1340268 w 2792478"/>
                <a:gd name="connsiteY2006" fmla="*/ 3406230 h 4235290"/>
                <a:gd name="connsiteX2007" fmla="*/ 1289680 w 2792478"/>
                <a:gd name="connsiteY2007" fmla="*/ 3406230 h 4235290"/>
                <a:gd name="connsiteX2008" fmla="*/ 1277065 w 2792478"/>
                <a:gd name="connsiteY2008" fmla="*/ 3393551 h 4235290"/>
                <a:gd name="connsiteX2009" fmla="*/ 1277065 w 2792478"/>
                <a:gd name="connsiteY2009" fmla="*/ 3339860 h 4235290"/>
                <a:gd name="connsiteX2010" fmla="*/ 1270727 w 2792478"/>
                <a:gd name="connsiteY2010" fmla="*/ 3333523 h 4235290"/>
                <a:gd name="connsiteX2011" fmla="*/ 1270727 w 2792478"/>
                <a:gd name="connsiteY2011" fmla="*/ 3326624 h 4235290"/>
                <a:gd name="connsiteX2012" fmla="*/ 1270788 w 2792478"/>
                <a:gd name="connsiteY2012" fmla="*/ 3326624 h 4235290"/>
                <a:gd name="connsiteX2013" fmla="*/ 1280173 w 2792478"/>
                <a:gd name="connsiteY2013" fmla="*/ 3317673 h 4235290"/>
                <a:gd name="connsiteX2014" fmla="*/ 1289680 w 2792478"/>
                <a:gd name="connsiteY2014" fmla="*/ 3317673 h 4235290"/>
                <a:gd name="connsiteX2015" fmla="*/ 1289680 w 2792478"/>
                <a:gd name="connsiteY2015" fmla="*/ 3314507 h 4235290"/>
                <a:gd name="connsiteX2016" fmla="*/ 1299188 w 2792478"/>
                <a:gd name="connsiteY2016" fmla="*/ 3305059 h 4235290"/>
                <a:gd name="connsiteX2017" fmla="*/ 1262403 w 2792478"/>
                <a:gd name="connsiteY2017" fmla="*/ 2863592 h 4235290"/>
                <a:gd name="connsiteX2018" fmla="*/ 1271350 w 2792478"/>
                <a:gd name="connsiteY2018" fmla="*/ 2869184 h 4235290"/>
                <a:gd name="connsiteX2019" fmla="*/ 1280360 w 2792478"/>
                <a:gd name="connsiteY2019" fmla="*/ 2863592 h 4235290"/>
                <a:gd name="connsiteX2020" fmla="*/ 1289926 w 2792478"/>
                <a:gd name="connsiteY2020" fmla="*/ 2872915 h 4235290"/>
                <a:gd name="connsiteX2021" fmla="*/ 1287820 w 2792478"/>
                <a:gd name="connsiteY2021" fmla="*/ 2879995 h 4235290"/>
                <a:gd name="connsiteX2022" fmla="*/ 1271350 w 2792478"/>
                <a:gd name="connsiteY2022" fmla="*/ 2893483 h 4235290"/>
                <a:gd name="connsiteX2023" fmla="*/ 1254943 w 2792478"/>
                <a:gd name="connsiteY2023" fmla="*/ 2879995 h 4235290"/>
                <a:gd name="connsiteX2024" fmla="*/ 1252828 w 2792478"/>
                <a:gd name="connsiteY2024" fmla="*/ 2872915 h 4235290"/>
                <a:gd name="connsiteX2025" fmla="*/ 1262403 w 2792478"/>
                <a:gd name="connsiteY2025" fmla="*/ 2863592 h 4235290"/>
                <a:gd name="connsiteX2026" fmla="*/ 1131437 w 2792478"/>
                <a:gd name="connsiteY2026" fmla="*/ 2856388 h 4235290"/>
                <a:gd name="connsiteX2027" fmla="*/ 1133679 w 2792478"/>
                <a:gd name="connsiteY2027" fmla="*/ 2856388 h 4235290"/>
                <a:gd name="connsiteX2028" fmla="*/ 1153989 w 2792478"/>
                <a:gd name="connsiteY2028" fmla="*/ 2876691 h 4235290"/>
                <a:gd name="connsiteX2029" fmla="*/ 1153989 w 2792478"/>
                <a:gd name="connsiteY2029" fmla="*/ 2878961 h 4235290"/>
                <a:gd name="connsiteX2030" fmla="*/ 1150616 w 2792478"/>
                <a:gd name="connsiteY2030" fmla="*/ 2882326 h 4235290"/>
                <a:gd name="connsiteX2031" fmla="*/ 1148348 w 2792478"/>
                <a:gd name="connsiteY2031" fmla="*/ 2882326 h 4235290"/>
                <a:gd name="connsiteX2032" fmla="*/ 1128044 w 2792478"/>
                <a:gd name="connsiteY2032" fmla="*/ 2862049 h 4235290"/>
                <a:gd name="connsiteX2033" fmla="*/ 1128044 w 2792478"/>
                <a:gd name="connsiteY2033" fmla="*/ 2859784 h 4235290"/>
                <a:gd name="connsiteX2034" fmla="*/ 1240093 w 2792478"/>
                <a:gd name="connsiteY2034" fmla="*/ 2848487 h 4235290"/>
                <a:gd name="connsiteX2035" fmla="*/ 1236049 w 2792478"/>
                <a:gd name="connsiteY2035" fmla="*/ 2852591 h 4235290"/>
                <a:gd name="connsiteX2036" fmla="*/ 1236049 w 2792478"/>
                <a:gd name="connsiteY2036" fmla="*/ 2899449 h 4235290"/>
                <a:gd name="connsiteX2037" fmla="*/ 1240093 w 2792478"/>
                <a:gd name="connsiteY2037" fmla="*/ 2903547 h 4235290"/>
                <a:gd name="connsiteX2038" fmla="*/ 1249722 w 2792478"/>
                <a:gd name="connsiteY2038" fmla="*/ 2903547 h 4235290"/>
                <a:gd name="connsiteX2039" fmla="*/ 1256368 w 2792478"/>
                <a:gd name="connsiteY2039" fmla="*/ 2911191 h 4235290"/>
                <a:gd name="connsiteX2040" fmla="*/ 1257182 w 2792478"/>
                <a:gd name="connsiteY2040" fmla="*/ 2916783 h 4235290"/>
                <a:gd name="connsiteX2041" fmla="*/ 1269669 w 2792478"/>
                <a:gd name="connsiteY2041" fmla="*/ 2906597 h 4235290"/>
                <a:gd name="connsiteX2042" fmla="*/ 1276262 w 2792478"/>
                <a:gd name="connsiteY2042" fmla="*/ 2903547 h 4235290"/>
                <a:gd name="connsiteX2043" fmla="*/ 1306767 w 2792478"/>
                <a:gd name="connsiteY2043" fmla="*/ 2903547 h 4235290"/>
                <a:gd name="connsiteX2044" fmla="*/ 1306767 w 2792478"/>
                <a:gd name="connsiteY2044" fmla="*/ 2897397 h 4235290"/>
                <a:gd name="connsiteX2045" fmla="*/ 1296395 w 2792478"/>
                <a:gd name="connsiteY2045" fmla="*/ 2886519 h 4235290"/>
                <a:gd name="connsiteX2046" fmla="*/ 1296395 w 2792478"/>
                <a:gd name="connsiteY2046" fmla="*/ 2850294 h 4235290"/>
                <a:gd name="connsiteX2047" fmla="*/ 1294404 w 2792478"/>
                <a:gd name="connsiteY2047" fmla="*/ 2848487 h 4235290"/>
                <a:gd name="connsiteX2048" fmla="*/ 1486431 w 2792478"/>
                <a:gd name="connsiteY2048" fmla="*/ 2843120 h 4235290"/>
                <a:gd name="connsiteX2049" fmla="*/ 1455995 w 2792478"/>
                <a:gd name="connsiteY2049" fmla="*/ 2873556 h 4235290"/>
                <a:gd name="connsiteX2050" fmla="*/ 1455127 w 2792478"/>
                <a:gd name="connsiteY2050" fmla="*/ 2875652 h 4235290"/>
                <a:gd name="connsiteX2051" fmla="*/ 1455995 w 2792478"/>
                <a:gd name="connsiteY2051" fmla="*/ 2877748 h 4235290"/>
                <a:gd name="connsiteX2052" fmla="*/ 1456387 w 2792478"/>
                <a:gd name="connsiteY2052" fmla="*/ 2878145 h 4235290"/>
                <a:gd name="connsiteX2053" fmla="*/ 1458483 w 2792478"/>
                <a:gd name="connsiteY2053" fmla="*/ 2879013 h 4235290"/>
                <a:gd name="connsiteX2054" fmla="*/ 1460579 w 2792478"/>
                <a:gd name="connsiteY2054" fmla="*/ 2878145 h 4235290"/>
                <a:gd name="connsiteX2055" fmla="*/ 1491015 w 2792478"/>
                <a:gd name="connsiteY2055" fmla="*/ 2847709 h 4235290"/>
                <a:gd name="connsiteX2056" fmla="*/ 1488639 w 2792478"/>
                <a:gd name="connsiteY2056" fmla="*/ 2845496 h 4235290"/>
                <a:gd name="connsiteX2057" fmla="*/ 1486431 w 2792478"/>
                <a:gd name="connsiteY2057" fmla="*/ 2843120 h 4235290"/>
                <a:gd name="connsiteX2058" fmla="*/ 1342379 w 2792478"/>
                <a:gd name="connsiteY2058" fmla="*/ 2829787 h 4235290"/>
                <a:gd name="connsiteX2059" fmla="*/ 1355432 w 2792478"/>
                <a:gd name="connsiteY2059" fmla="*/ 2837927 h 4235290"/>
                <a:gd name="connsiteX2060" fmla="*/ 1368539 w 2792478"/>
                <a:gd name="connsiteY2060" fmla="*/ 2829787 h 4235290"/>
                <a:gd name="connsiteX2061" fmla="*/ 1382459 w 2792478"/>
                <a:gd name="connsiteY2061" fmla="*/ 2843391 h 4235290"/>
                <a:gd name="connsiteX2062" fmla="*/ 1379415 w 2792478"/>
                <a:gd name="connsiteY2062" fmla="*/ 2853645 h 4235290"/>
                <a:gd name="connsiteX2063" fmla="*/ 1355494 w 2792478"/>
                <a:gd name="connsiteY2063" fmla="*/ 2873411 h 4235290"/>
                <a:gd name="connsiteX2064" fmla="*/ 1331440 w 2792478"/>
                <a:gd name="connsiteY2064" fmla="*/ 2853645 h 4235290"/>
                <a:gd name="connsiteX2065" fmla="*/ 1328396 w 2792478"/>
                <a:gd name="connsiteY2065" fmla="*/ 2843391 h 4235290"/>
                <a:gd name="connsiteX2066" fmla="*/ 1342379 w 2792478"/>
                <a:gd name="connsiteY2066" fmla="*/ 2829787 h 4235290"/>
                <a:gd name="connsiteX2067" fmla="*/ 1313051 w 2792478"/>
                <a:gd name="connsiteY2067" fmla="*/ 2811142 h 4235290"/>
                <a:gd name="connsiteX2068" fmla="*/ 1306891 w 2792478"/>
                <a:gd name="connsiteY2068" fmla="*/ 2817291 h 4235290"/>
                <a:gd name="connsiteX2069" fmla="*/ 1306891 w 2792478"/>
                <a:gd name="connsiteY2069" fmla="*/ 2879377 h 4235290"/>
                <a:gd name="connsiteX2070" fmla="*/ 1313051 w 2792478"/>
                <a:gd name="connsiteY2070" fmla="*/ 2885526 h 4235290"/>
                <a:gd name="connsiteX2071" fmla="*/ 1353317 w 2792478"/>
                <a:gd name="connsiteY2071" fmla="*/ 2885526 h 4235290"/>
                <a:gd name="connsiteX2072" fmla="*/ 1361769 w 2792478"/>
                <a:gd name="connsiteY2072" fmla="*/ 2889379 h 4235290"/>
                <a:gd name="connsiteX2073" fmla="*/ 1379291 w 2792478"/>
                <a:gd name="connsiteY2073" fmla="*/ 2903675 h 4235290"/>
                <a:gd name="connsiteX2074" fmla="*/ 1380601 w 2792478"/>
                <a:gd name="connsiteY2074" fmla="*/ 2894972 h 4235290"/>
                <a:gd name="connsiteX2075" fmla="*/ 1388929 w 2792478"/>
                <a:gd name="connsiteY2075" fmla="*/ 2885526 h 4235290"/>
                <a:gd name="connsiteX2076" fmla="*/ 1401416 w 2792478"/>
                <a:gd name="connsiteY2076" fmla="*/ 2885526 h 4235290"/>
                <a:gd name="connsiteX2077" fmla="*/ 1407566 w 2792478"/>
                <a:gd name="connsiteY2077" fmla="*/ 2879377 h 4235290"/>
                <a:gd name="connsiteX2078" fmla="*/ 1407566 w 2792478"/>
                <a:gd name="connsiteY2078" fmla="*/ 2817291 h 4235290"/>
                <a:gd name="connsiteX2079" fmla="*/ 1401416 w 2792478"/>
                <a:gd name="connsiteY2079" fmla="*/ 2811142 h 4235290"/>
                <a:gd name="connsiteX2080" fmla="*/ 1167348 w 2792478"/>
                <a:gd name="connsiteY2080" fmla="*/ 2810476 h 4235290"/>
                <a:gd name="connsiteX2081" fmla="*/ 1160940 w 2792478"/>
                <a:gd name="connsiteY2081" fmla="*/ 2812557 h 4235290"/>
                <a:gd name="connsiteX2082" fmla="*/ 1156509 w 2792478"/>
                <a:gd name="connsiteY2082" fmla="*/ 2819736 h 4235290"/>
                <a:gd name="connsiteX2083" fmla="*/ 1150689 w 2792478"/>
                <a:gd name="connsiteY2083" fmla="*/ 2829982 h 4235290"/>
                <a:gd name="connsiteX2084" fmla="*/ 1137052 w 2792478"/>
                <a:gd name="connsiteY2084" fmla="*/ 2835339 h 4235290"/>
                <a:gd name="connsiteX2085" fmla="*/ 1116431 w 2792478"/>
                <a:gd name="connsiteY2085" fmla="*/ 2844731 h 4235290"/>
                <a:gd name="connsiteX2086" fmla="*/ 1111054 w 2792478"/>
                <a:gd name="connsiteY2086" fmla="*/ 2857084 h 4235290"/>
                <a:gd name="connsiteX2087" fmla="*/ 1126239 w 2792478"/>
                <a:gd name="connsiteY2087" fmla="*/ 2883926 h 4235290"/>
                <a:gd name="connsiteX2088" fmla="*/ 1126451 w 2792478"/>
                <a:gd name="connsiteY2088" fmla="*/ 2884135 h 4235290"/>
                <a:gd name="connsiteX2089" fmla="*/ 1153473 w 2792478"/>
                <a:gd name="connsiteY2089" fmla="*/ 2899340 h 4235290"/>
                <a:gd name="connsiteX2090" fmla="*/ 1165642 w 2792478"/>
                <a:gd name="connsiteY2090" fmla="*/ 2893932 h 4235290"/>
                <a:gd name="connsiteX2091" fmla="*/ 1175040 w 2792478"/>
                <a:gd name="connsiteY2091" fmla="*/ 2873351 h 4235290"/>
                <a:gd name="connsiteX2092" fmla="*/ 1180397 w 2792478"/>
                <a:gd name="connsiteY2092" fmla="*/ 2859677 h 4235290"/>
                <a:gd name="connsiteX2093" fmla="*/ 1190774 w 2792478"/>
                <a:gd name="connsiteY2093" fmla="*/ 2853890 h 4235290"/>
                <a:gd name="connsiteX2094" fmla="*/ 1197949 w 2792478"/>
                <a:gd name="connsiteY2094" fmla="*/ 2849564 h 4235290"/>
                <a:gd name="connsiteX2095" fmla="*/ 1193088 w 2792478"/>
                <a:gd name="connsiteY2095" fmla="*/ 2828515 h 4235290"/>
                <a:gd name="connsiteX2096" fmla="*/ 1175377 w 2792478"/>
                <a:gd name="connsiteY2096" fmla="*/ 2846224 h 4235290"/>
                <a:gd name="connsiteX2097" fmla="*/ 1175476 w 2792478"/>
                <a:gd name="connsiteY2097" fmla="*/ 2847369 h 4235290"/>
                <a:gd name="connsiteX2098" fmla="*/ 1163023 w 2792478"/>
                <a:gd name="connsiteY2098" fmla="*/ 2859835 h 4235290"/>
                <a:gd name="connsiteX2099" fmla="*/ 1150563 w 2792478"/>
                <a:gd name="connsiteY2099" fmla="*/ 2847369 h 4235290"/>
                <a:gd name="connsiteX2100" fmla="*/ 1163023 w 2792478"/>
                <a:gd name="connsiteY2100" fmla="*/ 2834896 h 4235290"/>
                <a:gd name="connsiteX2101" fmla="*/ 1164207 w 2792478"/>
                <a:gd name="connsiteY2101" fmla="*/ 2835023 h 4235290"/>
                <a:gd name="connsiteX2102" fmla="*/ 1181885 w 2792478"/>
                <a:gd name="connsiteY2102" fmla="*/ 2817320 h 4235290"/>
                <a:gd name="connsiteX2103" fmla="*/ 1167348 w 2792478"/>
                <a:gd name="connsiteY2103" fmla="*/ 2810476 h 4235290"/>
                <a:gd name="connsiteX2104" fmla="*/ 1307272 w 2792478"/>
                <a:gd name="connsiteY2104" fmla="*/ 2797966 h 4235290"/>
                <a:gd name="connsiteX2105" fmla="*/ 1407256 w 2792478"/>
                <a:gd name="connsiteY2105" fmla="*/ 2797966 h 4235290"/>
                <a:gd name="connsiteX2106" fmla="*/ 1418133 w 2792478"/>
                <a:gd name="connsiteY2106" fmla="*/ 2808839 h 4235290"/>
                <a:gd name="connsiteX2107" fmla="*/ 1418133 w 2792478"/>
                <a:gd name="connsiteY2107" fmla="*/ 2886586 h 4235290"/>
                <a:gd name="connsiteX2108" fmla="*/ 1407256 w 2792478"/>
                <a:gd name="connsiteY2108" fmla="*/ 2897397 h 4235290"/>
                <a:gd name="connsiteX2109" fmla="*/ 1392716 w 2792478"/>
                <a:gd name="connsiteY2109" fmla="*/ 2897397 h 4235290"/>
                <a:gd name="connsiteX2110" fmla="*/ 1390663 w 2792478"/>
                <a:gd name="connsiteY2110" fmla="*/ 2911626 h 4235290"/>
                <a:gd name="connsiteX2111" fmla="*/ 1382273 w 2792478"/>
                <a:gd name="connsiteY2111" fmla="*/ 2919460 h 4235290"/>
                <a:gd name="connsiteX2112" fmla="*/ 1376309 w 2792478"/>
                <a:gd name="connsiteY2112" fmla="*/ 2917218 h 4235290"/>
                <a:gd name="connsiteX2113" fmla="*/ 1353937 w 2792478"/>
                <a:gd name="connsiteY2113" fmla="*/ 2899014 h 4235290"/>
                <a:gd name="connsiteX2114" fmla="*/ 1349529 w 2792478"/>
                <a:gd name="connsiteY2114" fmla="*/ 2897397 h 4235290"/>
                <a:gd name="connsiteX2115" fmla="*/ 1319945 w 2792478"/>
                <a:gd name="connsiteY2115" fmla="*/ 2897397 h 4235290"/>
                <a:gd name="connsiteX2116" fmla="*/ 1319945 w 2792478"/>
                <a:gd name="connsiteY2116" fmla="*/ 2904919 h 4235290"/>
                <a:gd name="connsiteX2117" fmla="*/ 1311183 w 2792478"/>
                <a:gd name="connsiteY2117" fmla="*/ 2913678 h 4235290"/>
                <a:gd name="connsiteX2118" fmla="*/ 1279244 w 2792478"/>
                <a:gd name="connsiteY2118" fmla="*/ 2913678 h 4235290"/>
                <a:gd name="connsiteX2119" fmla="*/ 1276324 w 2792478"/>
                <a:gd name="connsiteY2119" fmla="*/ 2914738 h 4235290"/>
                <a:gd name="connsiteX2120" fmla="*/ 1259421 w 2792478"/>
                <a:gd name="connsiteY2120" fmla="*/ 2928470 h 4235290"/>
                <a:gd name="connsiteX2121" fmla="*/ 1254571 w 2792478"/>
                <a:gd name="connsiteY2121" fmla="*/ 2930271 h 4235290"/>
                <a:gd name="connsiteX2122" fmla="*/ 1247669 w 2792478"/>
                <a:gd name="connsiteY2122" fmla="*/ 2923932 h 4235290"/>
                <a:gd name="connsiteX2123" fmla="*/ 1246182 w 2792478"/>
                <a:gd name="connsiteY2123" fmla="*/ 2913678 h 4235290"/>
                <a:gd name="connsiteX2124" fmla="*/ 1235739 w 2792478"/>
                <a:gd name="connsiteY2124" fmla="*/ 2913678 h 4235290"/>
                <a:gd name="connsiteX2125" fmla="*/ 1226978 w 2792478"/>
                <a:gd name="connsiteY2125" fmla="*/ 2904919 h 4235290"/>
                <a:gd name="connsiteX2126" fmla="*/ 1226978 w 2792478"/>
                <a:gd name="connsiteY2126" fmla="*/ 2846251 h 4235290"/>
                <a:gd name="connsiteX2127" fmla="*/ 1235739 w 2792478"/>
                <a:gd name="connsiteY2127" fmla="*/ 2837492 h 4235290"/>
                <a:gd name="connsiteX2128" fmla="*/ 1294404 w 2792478"/>
                <a:gd name="connsiteY2128" fmla="*/ 2837492 h 4235290"/>
                <a:gd name="connsiteX2129" fmla="*/ 1296395 w 2792478"/>
                <a:gd name="connsiteY2129" fmla="*/ 2835685 h 4235290"/>
                <a:gd name="connsiteX2130" fmla="*/ 1296395 w 2792478"/>
                <a:gd name="connsiteY2130" fmla="*/ 2808839 h 4235290"/>
                <a:gd name="connsiteX2131" fmla="*/ 1307272 w 2792478"/>
                <a:gd name="connsiteY2131" fmla="*/ 2797966 h 4235290"/>
                <a:gd name="connsiteX2132" fmla="*/ 1231380 w 2792478"/>
                <a:gd name="connsiteY2132" fmla="*/ 2782052 h 4235290"/>
                <a:gd name="connsiteX2133" fmla="*/ 1220832 w 2792478"/>
                <a:gd name="connsiteY2133" fmla="*/ 2792583 h 4235290"/>
                <a:gd name="connsiteX2134" fmla="*/ 1220832 w 2792478"/>
                <a:gd name="connsiteY2134" fmla="*/ 2794816 h 4235290"/>
                <a:gd name="connsiteX2135" fmla="*/ 1221963 w 2792478"/>
                <a:gd name="connsiteY2135" fmla="*/ 2795284 h 4235290"/>
                <a:gd name="connsiteX2136" fmla="*/ 1223067 w 2792478"/>
                <a:gd name="connsiteY2136" fmla="*/ 2794816 h 4235290"/>
                <a:gd name="connsiteX2137" fmla="*/ 1233622 w 2792478"/>
                <a:gd name="connsiteY2137" fmla="*/ 2784285 h 4235290"/>
                <a:gd name="connsiteX2138" fmla="*/ 1233622 w 2792478"/>
                <a:gd name="connsiteY2138" fmla="*/ 2782052 h 4235290"/>
                <a:gd name="connsiteX2139" fmla="*/ 1231380 w 2792478"/>
                <a:gd name="connsiteY2139" fmla="*/ 2782052 h 4235290"/>
                <a:gd name="connsiteX2140" fmla="*/ 1519038 w 2792478"/>
                <a:gd name="connsiteY2140" fmla="*/ 2779521 h 4235290"/>
                <a:gd name="connsiteX2141" fmla="*/ 1493890 w 2792478"/>
                <a:gd name="connsiteY2141" fmla="*/ 2789949 h 4235290"/>
                <a:gd name="connsiteX2142" fmla="*/ 1483478 w 2792478"/>
                <a:gd name="connsiteY2142" fmla="*/ 2815097 h 4235290"/>
                <a:gd name="connsiteX2143" fmla="*/ 1493890 w 2792478"/>
                <a:gd name="connsiteY2143" fmla="*/ 2840245 h 4235290"/>
                <a:gd name="connsiteX2144" fmla="*/ 1519038 w 2792478"/>
                <a:gd name="connsiteY2144" fmla="*/ 2850663 h 4235290"/>
                <a:gd name="connsiteX2145" fmla="*/ 1544186 w 2792478"/>
                <a:gd name="connsiteY2145" fmla="*/ 2840245 h 4235290"/>
                <a:gd name="connsiteX2146" fmla="*/ 1554614 w 2792478"/>
                <a:gd name="connsiteY2146" fmla="*/ 2815097 h 4235290"/>
                <a:gd name="connsiteX2147" fmla="*/ 1544186 w 2792478"/>
                <a:gd name="connsiteY2147" fmla="*/ 2789949 h 4235290"/>
                <a:gd name="connsiteX2148" fmla="*/ 1519038 w 2792478"/>
                <a:gd name="connsiteY2148" fmla="*/ 2779521 h 4235290"/>
                <a:gd name="connsiteX2149" fmla="*/ 1226109 w 2792478"/>
                <a:gd name="connsiteY2149" fmla="*/ 2776778 h 4235290"/>
                <a:gd name="connsiteX2150" fmla="*/ 1215581 w 2792478"/>
                <a:gd name="connsiteY2150" fmla="*/ 2787302 h 4235290"/>
                <a:gd name="connsiteX2151" fmla="*/ 1215581 w 2792478"/>
                <a:gd name="connsiteY2151" fmla="*/ 2789547 h 4235290"/>
                <a:gd name="connsiteX2152" fmla="*/ 1216685 w 2792478"/>
                <a:gd name="connsiteY2152" fmla="*/ 2790003 h 4235290"/>
                <a:gd name="connsiteX2153" fmla="*/ 1217796 w 2792478"/>
                <a:gd name="connsiteY2153" fmla="*/ 2789547 h 4235290"/>
                <a:gd name="connsiteX2154" fmla="*/ 1228351 w 2792478"/>
                <a:gd name="connsiteY2154" fmla="*/ 2779017 h 4235290"/>
                <a:gd name="connsiteX2155" fmla="*/ 1228351 w 2792478"/>
                <a:gd name="connsiteY2155" fmla="*/ 2776778 h 4235290"/>
                <a:gd name="connsiteX2156" fmla="*/ 1226109 w 2792478"/>
                <a:gd name="connsiteY2156" fmla="*/ 2776778 h 4235290"/>
                <a:gd name="connsiteX2157" fmla="*/ 1519038 w 2792478"/>
                <a:gd name="connsiteY2157" fmla="*/ 2772100 h 4235290"/>
                <a:gd name="connsiteX2158" fmla="*/ 1549437 w 2792478"/>
                <a:gd name="connsiteY2158" fmla="*/ 2784698 h 4235290"/>
                <a:gd name="connsiteX2159" fmla="*/ 1562035 w 2792478"/>
                <a:gd name="connsiteY2159" fmla="*/ 2815097 h 4235290"/>
                <a:gd name="connsiteX2160" fmla="*/ 1549437 w 2792478"/>
                <a:gd name="connsiteY2160" fmla="*/ 2845496 h 4235290"/>
                <a:gd name="connsiteX2161" fmla="*/ 1519038 w 2792478"/>
                <a:gd name="connsiteY2161" fmla="*/ 2858094 h 4235290"/>
                <a:gd name="connsiteX2162" fmla="*/ 1497118 w 2792478"/>
                <a:gd name="connsiteY2162" fmla="*/ 2852102 h 4235290"/>
                <a:gd name="connsiteX2163" fmla="*/ 1465835 w 2792478"/>
                <a:gd name="connsiteY2163" fmla="*/ 2883396 h 4235290"/>
                <a:gd name="connsiteX2164" fmla="*/ 1458483 w 2792478"/>
                <a:gd name="connsiteY2164" fmla="*/ 2886434 h 4235290"/>
                <a:gd name="connsiteX2165" fmla="*/ 1451131 w 2792478"/>
                <a:gd name="connsiteY2165" fmla="*/ 2883396 h 4235290"/>
                <a:gd name="connsiteX2166" fmla="*/ 1450744 w 2792478"/>
                <a:gd name="connsiteY2166" fmla="*/ 2883004 h 4235290"/>
                <a:gd name="connsiteX2167" fmla="*/ 1447701 w 2792478"/>
                <a:gd name="connsiteY2167" fmla="*/ 2875652 h 4235290"/>
                <a:gd name="connsiteX2168" fmla="*/ 1450744 w 2792478"/>
                <a:gd name="connsiteY2168" fmla="*/ 2868300 h 4235290"/>
                <a:gd name="connsiteX2169" fmla="*/ 1482038 w 2792478"/>
                <a:gd name="connsiteY2169" fmla="*/ 2837017 h 4235290"/>
                <a:gd name="connsiteX2170" fmla="*/ 1476046 w 2792478"/>
                <a:gd name="connsiteY2170" fmla="*/ 2815097 h 4235290"/>
                <a:gd name="connsiteX2171" fmla="*/ 1488639 w 2792478"/>
                <a:gd name="connsiteY2171" fmla="*/ 2784698 h 4235290"/>
                <a:gd name="connsiteX2172" fmla="*/ 1519038 w 2792478"/>
                <a:gd name="connsiteY2172" fmla="*/ 2772100 h 4235290"/>
                <a:gd name="connsiteX2173" fmla="*/ 1227578 w 2792478"/>
                <a:gd name="connsiteY2173" fmla="*/ 2770111 h 4235290"/>
                <a:gd name="connsiteX2174" fmla="*/ 1231308 w 2792478"/>
                <a:gd name="connsiteY2174" fmla="*/ 2771655 h 4235290"/>
                <a:gd name="connsiteX2175" fmla="*/ 1238748 w 2792478"/>
                <a:gd name="connsiteY2175" fmla="*/ 2779124 h 4235290"/>
                <a:gd name="connsiteX2176" fmla="*/ 1240289 w 2792478"/>
                <a:gd name="connsiteY2176" fmla="*/ 2782830 h 4235290"/>
                <a:gd name="connsiteX2177" fmla="*/ 1240289 w 2792478"/>
                <a:gd name="connsiteY2177" fmla="*/ 2782849 h 4235290"/>
                <a:gd name="connsiteX2178" fmla="*/ 1238748 w 2792478"/>
                <a:gd name="connsiteY2178" fmla="*/ 2786556 h 4235290"/>
                <a:gd name="connsiteX2179" fmla="*/ 1236532 w 2792478"/>
                <a:gd name="connsiteY2179" fmla="*/ 2788769 h 4235290"/>
                <a:gd name="connsiteX2180" fmla="*/ 1237379 w 2792478"/>
                <a:gd name="connsiteY2180" fmla="*/ 2789649 h 4235290"/>
                <a:gd name="connsiteX2181" fmla="*/ 1237379 w 2792478"/>
                <a:gd name="connsiteY2181" fmla="*/ 2793557 h 4235290"/>
                <a:gd name="connsiteX2182" fmla="*/ 1235428 w 2792478"/>
                <a:gd name="connsiteY2182" fmla="*/ 2794380 h 4235290"/>
                <a:gd name="connsiteX2183" fmla="*/ 1233470 w 2792478"/>
                <a:gd name="connsiteY2183" fmla="*/ 2793557 h 4235290"/>
                <a:gd name="connsiteX2184" fmla="*/ 1232597 w 2792478"/>
                <a:gd name="connsiteY2184" fmla="*/ 2792710 h 4235290"/>
                <a:gd name="connsiteX2185" fmla="*/ 1231255 w 2792478"/>
                <a:gd name="connsiteY2185" fmla="*/ 2794044 h 4235290"/>
                <a:gd name="connsiteX2186" fmla="*/ 1232108 w 2792478"/>
                <a:gd name="connsiteY2186" fmla="*/ 2794917 h 4235290"/>
                <a:gd name="connsiteX2187" fmla="*/ 1232108 w 2792478"/>
                <a:gd name="connsiteY2187" fmla="*/ 2798839 h 4235290"/>
                <a:gd name="connsiteX2188" fmla="*/ 1230150 w 2792478"/>
                <a:gd name="connsiteY2188" fmla="*/ 2799635 h 4235290"/>
                <a:gd name="connsiteX2189" fmla="*/ 1228193 w 2792478"/>
                <a:gd name="connsiteY2189" fmla="*/ 2798839 h 4235290"/>
                <a:gd name="connsiteX2190" fmla="*/ 1227313 w 2792478"/>
                <a:gd name="connsiteY2190" fmla="*/ 2797985 h 4235290"/>
                <a:gd name="connsiteX2191" fmla="*/ 1226288 w 2792478"/>
                <a:gd name="connsiteY2191" fmla="*/ 2799016 h 4235290"/>
                <a:gd name="connsiteX2192" fmla="*/ 1221268 w 2792478"/>
                <a:gd name="connsiteY2192" fmla="*/ 2800300 h 4235290"/>
                <a:gd name="connsiteX2193" fmla="*/ 1198313 w 2792478"/>
                <a:gd name="connsiteY2193" fmla="*/ 2823290 h 4235290"/>
                <a:gd name="connsiteX2194" fmla="*/ 1204020 w 2792478"/>
                <a:gd name="connsiteY2194" fmla="*/ 2853713 h 4235290"/>
                <a:gd name="connsiteX2195" fmla="*/ 1185727 w 2792478"/>
                <a:gd name="connsiteY2195" fmla="*/ 2864806 h 4235290"/>
                <a:gd name="connsiteX2196" fmla="*/ 1170867 w 2792478"/>
                <a:gd name="connsiteY2196" fmla="*/ 2899169 h 4235290"/>
                <a:gd name="connsiteX2197" fmla="*/ 1153473 w 2792478"/>
                <a:gd name="connsiteY2197" fmla="*/ 2906727 h 4235290"/>
                <a:gd name="connsiteX2198" fmla="*/ 1121147 w 2792478"/>
                <a:gd name="connsiteY2198" fmla="*/ 2889258 h 4235290"/>
                <a:gd name="connsiteX2199" fmla="*/ 1111233 w 2792478"/>
                <a:gd name="connsiteY2199" fmla="*/ 2839526 h 4235290"/>
                <a:gd name="connsiteX2200" fmla="*/ 1145570 w 2792478"/>
                <a:gd name="connsiteY2200" fmla="*/ 2824650 h 4235290"/>
                <a:gd name="connsiteX2201" fmla="*/ 1156767 w 2792478"/>
                <a:gd name="connsiteY2201" fmla="*/ 2806447 h 4235290"/>
                <a:gd name="connsiteX2202" fmla="*/ 1167348 w 2792478"/>
                <a:gd name="connsiteY2202" fmla="*/ 2803089 h 4235290"/>
                <a:gd name="connsiteX2203" fmla="*/ 1187110 w 2792478"/>
                <a:gd name="connsiteY2203" fmla="*/ 2812089 h 4235290"/>
                <a:gd name="connsiteX2204" fmla="*/ 1210098 w 2792478"/>
                <a:gd name="connsiteY2204" fmla="*/ 2789130 h 4235290"/>
                <a:gd name="connsiteX2205" fmla="*/ 1211388 w 2792478"/>
                <a:gd name="connsiteY2205" fmla="*/ 2784114 h 4235290"/>
                <a:gd name="connsiteX2206" fmla="*/ 1212413 w 2792478"/>
                <a:gd name="connsiteY2206" fmla="*/ 2783052 h 4235290"/>
                <a:gd name="connsiteX2207" fmla="*/ 1211560 w 2792478"/>
                <a:gd name="connsiteY2207" fmla="*/ 2782204 h 4235290"/>
                <a:gd name="connsiteX2208" fmla="*/ 1211560 w 2792478"/>
                <a:gd name="connsiteY2208" fmla="*/ 2778270 h 4235290"/>
                <a:gd name="connsiteX2209" fmla="*/ 1215475 w 2792478"/>
                <a:gd name="connsiteY2209" fmla="*/ 2778270 h 4235290"/>
                <a:gd name="connsiteX2210" fmla="*/ 1216355 w 2792478"/>
                <a:gd name="connsiteY2210" fmla="*/ 2779156 h 4235290"/>
                <a:gd name="connsiteX2211" fmla="*/ 1217690 w 2792478"/>
                <a:gd name="connsiteY2211" fmla="*/ 2777809 h 4235290"/>
                <a:gd name="connsiteX2212" fmla="*/ 1216844 w 2792478"/>
                <a:gd name="connsiteY2212" fmla="*/ 2776929 h 4235290"/>
                <a:gd name="connsiteX2213" fmla="*/ 1216844 w 2792478"/>
                <a:gd name="connsiteY2213" fmla="*/ 2773027 h 4235290"/>
                <a:gd name="connsiteX2214" fmla="*/ 1220759 w 2792478"/>
                <a:gd name="connsiteY2214" fmla="*/ 2773027 h 4235290"/>
                <a:gd name="connsiteX2215" fmla="*/ 1221606 w 2792478"/>
                <a:gd name="connsiteY2215" fmla="*/ 2773868 h 4235290"/>
                <a:gd name="connsiteX2216" fmla="*/ 1223841 w 2792478"/>
                <a:gd name="connsiteY2216" fmla="*/ 2771655 h 4235290"/>
                <a:gd name="connsiteX2217" fmla="*/ 1227578 w 2792478"/>
                <a:gd name="connsiteY2217" fmla="*/ 2770111 h 4235290"/>
                <a:gd name="connsiteX2218" fmla="*/ 1065163 w 2792478"/>
                <a:gd name="connsiteY2218" fmla="*/ 2751405 h 4235290"/>
                <a:gd name="connsiteX2219" fmla="*/ 1057105 w 2792478"/>
                <a:gd name="connsiteY2219" fmla="*/ 2759476 h 4235290"/>
                <a:gd name="connsiteX2220" fmla="*/ 1065163 w 2792478"/>
                <a:gd name="connsiteY2220" fmla="*/ 2767527 h 4235290"/>
                <a:gd name="connsiteX2221" fmla="*/ 1073246 w 2792478"/>
                <a:gd name="connsiteY2221" fmla="*/ 2759476 h 4235290"/>
                <a:gd name="connsiteX2222" fmla="*/ 1065163 w 2792478"/>
                <a:gd name="connsiteY2222" fmla="*/ 2751405 h 4235290"/>
                <a:gd name="connsiteX2223" fmla="*/ 1065163 w 2792478"/>
                <a:gd name="connsiteY2223" fmla="*/ 2739037 h 4235290"/>
                <a:gd name="connsiteX2224" fmla="*/ 1085614 w 2792478"/>
                <a:gd name="connsiteY2224" fmla="*/ 2759476 h 4235290"/>
                <a:gd name="connsiteX2225" fmla="*/ 1065163 w 2792478"/>
                <a:gd name="connsiteY2225" fmla="*/ 2779896 h 4235290"/>
                <a:gd name="connsiteX2226" fmla="*/ 1044737 w 2792478"/>
                <a:gd name="connsiteY2226" fmla="*/ 2759476 h 4235290"/>
                <a:gd name="connsiteX2227" fmla="*/ 1065163 w 2792478"/>
                <a:gd name="connsiteY2227" fmla="*/ 2739037 h 4235290"/>
                <a:gd name="connsiteX2228" fmla="*/ 1065163 w 2792478"/>
                <a:gd name="connsiteY2228" fmla="*/ 2730684 h 4235290"/>
                <a:gd name="connsiteX2229" fmla="*/ 1036404 w 2792478"/>
                <a:gd name="connsiteY2229" fmla="*/ 2759476 h 4235290"/>
                <a:gd name="connsiteX2230" fmla="*/ 1065163 w 2792478"/>
                <a:gd name="connsiteY2230" fmla="*/ 2788248 h 4235290"/>
                <a:gd name="connsiteX2231" fmla="*/ 1093946 w 2792478"/>
                <a:gd name="connsiteY2231" fmla="*/ 2759476 h 4235290"/>
                <a:gd name="connsiteX2232" fmla="*/ 1065163 w 2792478"/>
                <a:gd name="connsiteY2232" fmla="*/ 2730684 h 4235290"/>
                <a:gd name="connsiteX2233" fmla="*/ 1356980 w 2792478"/>
                <a:gd name="connsiteY2233" fmla="*/ 2727087 h 4235290"/>
                <a:gd name="connsiteX2234" fmla="*/ 1356980 w 2792478"/>
                <a:gd name="connsiteY2234" fmla="*/ 2748651 h 4235290"/>
                <a:gd name="connsiteX2235" fmla="*/ 1454862 w 2792478"/>
                <a:gd name="connsiteY2235" fmla="*/ 2748651 h 4235290"/>
                <a:gd name="connsiteX2236" fmla="*/ 1454862 w 2792478"/>
                <a:gd name="connsiteY2236" fmla="*/ 2736281 h 4235290"/>
                <a:gd name="connsiteX2237" fmla="*/ 1454862 w 2792478"/>
                <a:gd name="connsiteY2237" fmla="*/ 2727087 h 4235290"/>
                <a:gd name="connsiteX2238" fmla="*/ 1065163 w 2792478"/>
                <a:gd name="connsiteY2238" fmla="*/ 2722089 h 4235290"/>
                <a:gd name="connsiteX2239" fmla="*/ 1102548 w 2792478"/>
                <a:gd name="connsiteY2239" fmla="*/ 2759476 h 4235290"/>
                <a:gd name="connsiteX2240" fmla="*/ 1065163 w 2792478"/>
                <a:gd name="connsiteY2240" fmla="*/ 2796856 h 4235290"/>
                <a:gd name="connsiteX2241" fmla="*/ 1027784 w 2792478"/>
                <a:gd name="connsiteY2241" fmla="*/ 2759476 h 4235290"/>
                <a:gd name="connsiteX2242" fmla="*/ 1065163 w 2792478"/>
                <a:gd name="connsiteY2242" fmla="*/ 2722089 h 4235290"/>
                <a:gd name="connsiteX2243" fmla="*/ 1555998 w 2792478"/>
                <a:gd name="connsiteY2243" fmla="*/ 2709332 h 4235290"/>
                <a:gd name="connsiteX2244" fmla="*/ 1542122 w 2792478"/>
                <a:gd name="connsiteY2244" fmla="*/ 2723214 h 4235290"/>
                <a:gd name="connsiteX2245" fmla="*/ 1542122 w 2792478"/>
                <a:gd name="connsiteY2245" fmla="*/ 2748802 h 4235290"/>
                <a:gd name="connsiteX2246" fmla="*/ 1551530 w 2792478"/>
                <a:gd name="connsiteY2246" fmla="*/ 2748802 h 4235290"/>
                <a:gd name="connsiteX2247" fmla="*/ 1551530 w 2792478"/>
                <a:gd name="connsiteY2247" fmla="*/ 2732173 h 4235290"/>
                <a:gd name="connsiteX2248" fmla="*/ 1554989 w 2792478"/>
                <a:gd name="connsiteY2248" fmla="*/ 2728723 h 4235290"/>
                <a:gd name="connsiteX2249" fmla="*/ 1558452 w 2792478"/>
                <a:gd name="connsiteY2249" fmla="*/ 2732173 h 4235290"/>
                <a:gd name="connsiteX2250" fmla="*/ 1558452 w 2792478"/>
                <a:gd name="connsiteY2250" fmla="*/ 2748802 h 4235290"/>
                <a:gd name="connsiteX2251" fmla="*/ 1596374 w 2792478"/>
                <a:gd name="connsiteY2251" fmla="*/ 2748802 h 4235290"/>
                <a:gd name="connsiteX2252" fmla="*/ 1596374 w 2792478"/>
                <a:gd name="connsiteY2252" fmla="*/ 2732173 h 4235290"/>
                <a:gd name="connsiteX2253" fmla="*/ 1599833 w 2792478"/>
                <a:gd name="connsiteY2253" fmla="*/ 2728723 h 4235290"/>
                <a:gd name="connsiteX2254" fmla="*/ 1603296 w 2792478"/>
                <a:gd name="connsiteY2254" fmla="*/ 2732173 h 4235290"/>
                <a:gd name="connsiteX2255" fmla="*/ 1603296 w 2792478"/>
                <a:gd name="connsiteY2255" fmla="*/ 2748802 h 4235290"/>
                <a:gd name="connsiteX2256" fmla="*/ 1612708 w 2792478"/>
                <a:gd name="connsiteY2256" fmla="*/ 2748802 h 4235290"/>
                <a:gd name="connsiteX2257" fmla="*/ 1612708 w 2792478"/>
                <a:gd name="connsiteY2257" fmla="*/ 2723214 h 4235290"/>
                <a:gd name="connsiteX2258" fmla="*/ 1598825 w 2792478"/>
                <a:gd name="connsiteY2258" fmla="*/ 2709332 h 4235290"/>
                <a:gd name="connsiteX2259" fmla="*/ 1593716 w 2792478"/>
                <a:gd name="connsiteY2259" fmla="*/ 2709332 h 4235290"/>
                <a:gd name="connsiteX2260" fmla="*/ 1579864 w 2792478"/>
                <a:gd name="connsiteY2260" fmla="*/ 2723188 h 4235290"/>
                <a:gd name="connsiteX2261" fmla="*/ 1577413 w 2792478"/>
                <a:gd name="connsiteY2261" fmla="*/ 2724205 h 4235290"/>
                <a:gd name="connsiteX2262" fmla="*/ 1574966 w 2792478"/>
                <a:gd name="connsiteY2262" fmla="*/ 2723188 h 4235290"/>
                <a:gd name="connsiteX2263" fmla="*/ 1561102 w 2792478"/>
                <a:gd name="connsiteY2263" fmla="*/ 2709332 h 4235290"/>
                <a:gd name="connsiteX2264" fmla="*/ 1567290 w 2792478"/>
                <a:gd name="connsiteY2264" fmla="*/ 2705728 h 4235290"/>
                <a:gd name="connsiteX2265" fmla="*/ 1577413 w 2792478"/>
                <a:gd name="connsiteY2265" fmla="*/ 2715847 h 4235290"/>
                <a:gd name="connsiteX2266" fmla="*/ 1587537 w 2792478"/>
                <a:gd name="connsiteY2266" fmla="*/ 2705728 h 4235290"/>
                <a:gd name="connsiteX2267" fmla="*/ 1577413 w 2792478"/>
                <a:gd name="connsiteY2267" fmla="*/ 2707412 h 4235290"/>
                <a:gd name="connsiteX2268" fmla="*/ 1567290 w 2792478"/>
                <a:gd name="connsiteY2268" fmla="*/ 2705728 h 4235290"/>
                <a:gd name="connsiteX2269" fmla="*/ 1045664 w 2792478"/>
                <a:gd name="connsiteY2269" fmla="*/ 2700288 h 4235290"/>
                <a:gd name="connsiteX2270" fmla="*/ 1037121 w 2792478"/>
                <a:gd name="connsiteY2270" fmla="*/ 2703831 h 4235290"/>
                <a:gd name="connsiteX2271" fmla="*/ 1032874 w 2792478"/>
                <a:gd name="connsiteY2271" fmla="*/ 2727154 h 4235290"/>
                <a:gd name="connsiteX2272" fmla="*/ 1018128 w 2792478"/>
                <a:gd name="connsiteY2272" fmla="*/ 2733249 h 4235290"/>
                <a:gd name="connsiteX2273" fmla="*/ 1009526 w 2792478"/>
                <a:gd name="connsiteY2273" fmla="*/ 2731426 h 4235290"/>
                <a:gd name="connsiteX2274" fmla="*/ 1005990 w 2792478"/>
                <a:gd name="connsiteY2274" fmla="*/ 2739945 h 4235290"/>
                <a:gd name="connsiteX2275" fmla="*/ 1019464 w 2792478"/>
                <a:gd name="connsiteY2275" fmla="*/ 2759476 h 4235290"/>
                <a:gd name="connsiteX2276" fmla="*/ 1005990 w 2792478"/>
                <a:gd name="connsiteY2276" fmla="*/ 2778994 h 4235290"/>
                <a:gd name="connsiteX2277" fmla="*/ 1009526 w 2792478"/>
                <a:gd name="connsiteY2277" fmla="*/ 2787525 h 4235290"/>
                <a:gd name="connsiteX2278" fmla="*/ 1018128 w 2792478"/>
                <a:gd name="connsiteY2278" fmla="*/ 2785696 h 4235290"/>
                <a:gd name="connsiteX2279" fmla="*/ 1032855 w 2792478"/>
                <a:gd name="connsiteY2279" fmla="*/ 2791797 h 4235290"/>
                <a:gd name="connsiteX2280" fmla="*/ 1037121 w 2792478"/>
                <a:gd name="connsiteY2280" fmla="*/ 2815127 h 4235290"/>
                <a:gd name="connsiteX2281" fmla="*/ 1045664 w 2792478"/>
                <a:gd name="connsiteY2281" fmla="*/ 2818670 h 4235290"/>
                <a:gd name="connsiteX2282" fmla="*/ 1065188 w 2792478"/>
                <a:gd name="connsiteY2282" fmla="*/ 2805176 h 4235290"/>
                <a:gd name="connsiteX2283" fmla="*/ 1084712 w 2792478"/>
                <a:gd name="connsiteY2283" fmla="*/ 2818670 h 4235290"/>
                <a:gd name="connsiteX2284" fmla="*/ 1093230 w 2792478"/>
                <a:gd name="connsiteY2284" fmla="*/ 2815127 h 4235290"/>
                <a:gd name="connsiteX2285" fmla="*/ 1097502 w 2792478"/>
                <a:gd name="connsiteY2285" fmla="*/ 2791797 h 4235290"/>
                <a:gd name="connsiteX2286" fmla="*/ 1120831 w 2792478"/>
                <a:gd name="connsiteY2286" fmla="*/ 2787525 h 4235290"/>
                <a:gd name="connsiteX2287" fmla="*/ 1124386 w 2792478"/>
                <a:gd name="connsiteY2287" fmla="*/ 2778994 h 4235290"/>
                <a:gd name="connsiteX2288" fmla="*/ 1110906 w 2792478"/>
                <a:gd name="connsiteY2288" fmla="*/ 2759476 h 4235290"/>
                <a:gd name="connsiteX2289" fmla="*/ 1124386 w 2792478"/>
                <a:gd name="connsiteY2289" fmla="*/ 2739945 h 4235290"/>
                <a:gd name="connsiteX2290" fmla="*/ 1120831 w 2792478"/>
                <a:gd name="connsiteY2290" fmla="*/ 2731426 h 4235290"/>
                <a:gd name="connsiteX2291" fmla="*/ 1112249 w 2792478"/>
                <a:gd name="connsiteY2291" fmla="*/ 2733249 h 4235290"/>
                <a:gd name="connsiteX2292" fmla="*/ 1097502 w 2792478"/>
                <a:gd name="connsiteY2292" fmla="*/ 2727154 h 4235290"/>
                <a:gd name="connsiteX2293" fmla="*/ 1093230 w 2792478"/>
                <a:gd name="connsiteY2293" fmla="*/ 2703831 h 4235290"/>
                <a:gd name="connsiteX2294" fmla="*/ 1084712 w 2792478"/>
                <a:gd name="connsiteY2294" fmla="*/ 2700288 h 4235290"/>
                <a:gd name="connsiteX2295" fmla="*/ 1065188 w 2792478"/>
                <a:gd name="connsiteY2295" fmla="*/ 2713756 h 4235290"/>
                <a:gd name="connsiteX2296" fmla="*/ 1045664 w 2792478"/>
                <a:gd name="connsiteY2296" fmla="*/ 2700288 h 4235290"/>
                <a:gd name="connsiteX2297" fmla="*/ 1331375 w 2792478"/>
                <a:gd name="connsiteY2297" fmla="*/ 2692602 h 4235290"/>
                <a:gd name="connsiteX2298" fmla="*/ 1478160 w 2792478"/>
                <a:gd name="connsiteY2298" fmla="*/ 2692602 h 4235290"/>
                <a:gd name="connsiteX2299" fmla="*/ 1483138 w 2792478"/>
                <a:gd name="connsiteY2299" fmla="*/ 2697572 h 4235290"/>
                <a:gd name="connsiteX2300" fmla="*/ 1478160 w 2792478"/>
                <a:gd name="connsiteY2300" fmla="*/ 2702600 h 4235290"/>
                <a:gd name="connsiteX2301" fmla="*/ 1331375 w 2792478"/>
                <a:gd name="connsiteY2301" fmla="*/ 2702600 h 4235290"/>
                <a:gd name="connsiteX2302" fmla="*/ 1326407 w 2792478"/>
                <a:gd name="connsiteY2302" fmla="*/ 2697572 h 4235290"/>
                <a:gd name="connsiteX2303" fmla="*/ 1331375 w 2792478"/>
                <a:gd name="connsiteY2303" fmla="*/ 2692602 h 4235290"/>
                <a:gd name="connsiteX2304" fmla="*/ 1047615 w 2792478"/>
                <a:gd name="connsiteY2304" fmla="*/ 2690695 h 4235290"/>
                <a:gd name="connsiteX2305" fmla="*/ 1051113 w 2792478"/>
                <a:gd name="connsiteY2305" fmla="*/ 2691303 h 4235290"/>
                <a:gd name="connsiteX2306" fmla="*/ 1052967 w 2792478"/>
                <a:gd name="connsiteY2306" fmla="*/ 2694334 h 4235290"/>
                <a:gd name="connsiteX2307" fmla="*/ 1065163 w 2792478"/>
                <a:gd name="connsiteY2307" fmla="*/ 2705104 h 4235290"/>
                <a:gd name="connsiteX2308" fmla="*/ 1077345 w 2792478"/>
                <a:gd name="connsiteY2308" fmla="*/ 2694334 h 4235290"/>
                <a:gd name="connsiteX2309" fmla="*/ 1079200 w 2792478"/>
                <a:gd name="connsiteY2309" fmla="*/ 2691303 h 4235290"/>
                <a:gd name="connsiteX2310" fmla="*/ 1082691 w 2792478"/>
                <a:gd name="connsiteY2310" fmla="*/ 2690695 h 4235290"/>
                <a:gd name="connsiteX2311" fmla="*/ 1101396 w 2792478"/>
                <a:gd name="connsiteY2311" fmla="*/ 2698446 h 4235290"/>
                <a:gd name="connsiteX2312" fmla="*/ 1103430 w 2792478"/>
                <a:gd name="connsiteY2312" fmla="*/ 2701337 h 4235290"/>
                <a:gd name="connsiteX2313" fmla="*/ 1102612 w 2792478"/>
                <a:gd name="connsiteY2313" fmla="*/ 2704790 h 4235290"/>
                <a:gd name="connsiteX2314" fmla="*/ 1103603 w 2792478"/>
                <a:gd name="connsiteY2314" fmla="*/ 2721028 h 4235290"/>
                <a:gd name="connsiteX2315" fmla="*/ 1119846 w 2792478"/>
                <a:gd name="connsiteY2315" fmla="*/ 2722019 h 4235290"/>
                <a:gd name="connsiteX2316" fmla="*/ 1123293 w 2792478"/>
                <a:gd name="connsiteY2316" fmla="*/ 2721200 h 4235290"/>
                <a:gd name="connsiteX2317" fmla="*/ 1126177 w 2792478"/>
                <a:gd name="connsiteY2317" fmla="*/ 2723240 h 4235290"/>
                <a:gd name="connsiteX2318" fmla="*/ 1133934 w 2792478"/>
                <a:gd name="connsiteY2318" fmla="*/ 2741940 h 4235290"/>
                <a:gd name="connsiteX2319" fmla="*/ 1133327 w 2792478"/>
                <a:gd name="connsiteY2319" fmla="*/ 2745432 h 4235290"/>
                <a:gd name="connsiteX2320" fmla="*/ 1130295 w 2792478"/>
                <a:gd name="connsiteY2320" fmla="*/ 2747286 h 4235290"/>
                <a:gd name="connsiteX2321" fmla="*/ 1119507 w 2792478"/>
                <a:gd name="connsiteY2321" fmla="*/ 2759476 h 4235290"/>
                <a:gd name="connsiteX2322" fmla="*/ 1130295 w 2792478"/>
                <a:gd name="connsiteY2322" fmla="*/ 2771665 h 4235290"/>
                <a:gd name="connsiteX2323" fmla="*/ 1133327 w 2792478"/>
                <a:gd name="connsiteY2323" fmla="*/ 2773526 h 4235290"/>
                <a:gd name="connsiteX2324" fmla="*/ 1133934 w 2792478"/>
                <a:gd name="connsiteY2324" fmla="*/ 2776992 h 4235290"/>
                <a:gd name="connsiteX2325" fmla="*/ 1126196 w 2792478"/>
                <a:gd name="connsiteY2325" fmla="*/ 2795711 h 4235290"/>
                <a:gd name="connsiteX2326" fmla="*/ 1123293 w 2792478"/>
                <a:gd name="connsiteY2326" fmla="*/ 2797732 h 4235290"/>
                <a:gd name="connsiteX2327" fmla="*/ 1119859 w 2792478"/>
                <a:gd name="connsiteY2327" fmla="*/ 2796939 h 4235290"/>
                <a:gd name="connsiteX2328" fmla="*/ 1103622 w 2792478"/>
                <a:gd name="connsiteY2328" fmla="*/ 2797917 h 4235290"/>
                <a:gd name="connsiteX2329" fmla="*/ 1102637 w 2792478"/>
                <a:gd name="connsiteY2329" fmla="*/ 2814174 h 4235290"/>
                <a:gd name="connsiteX2330" fmla="*/ 1103430 w 2792478"/>
                <a:gd name="connsiteY2330" fmla="*/ 2817595 h 4235290"/>
                <a:gd name="connsiteX2331" fmla="*/ 1101416 w 2792478"/>
                <a:gd name="connsiteY2331" fmla="*/ 2820499 h 4235290"/>
                <a:gd name="connsiteX2332" fmla="*/ 1082710 w 2792478"/>
                <a:gd name="connsiteY2332" fmla="*/ 2828224 h 4235290"/>
                <a:gd name="connsiteX2333" fmla="*/ 1079219 w 2792478"/>
                <a:gd name="connsiteY2333" fmla="*/ 2827629 h 4235290"/>
                <a:gd name="connsiteX2334" fmla="*/ 1077371 w 2792478"/>
                <a:gd name="connsiteY2334" fmla="*/ 2824617 h 4235290"/>
                <a:gd name="connsiteX2335" fmla="*/ 1065188 w 2792478"/>
                <a:gd name="connsiteY2335" fmla="*/ 2813822 h 4235290"/>
                <a:gd name="connsiteX2336" fmla="*/ 1052987 w 2792478"/>
                <a:gd name="connsiteY2336" fmla="*/ 2824617 h 4235290"/>
                <a:gd name="connsiteX2337" fmla="*/ 1051132 w 2792478"/>
                <a:gd name="connsiteY2337" fmla="*/ 2827629 h 4235290"/>
                <a:gd name="connsiteX2338" fmla="*/ 1048715 w 2792478"/>
                <a:gd name="connsiteY2338" fmla="*/ 2828365 h 4235290"/>
                <a:gd name="connsiteX2339" fmla="*/ 1047666 w 2792478"/>
                <a:gd name="connsiteY2339" fmla="*/ 2828224 h 4235290"/>
                <a:gd name="connsiteX2340" fmla="*/ 1028967 w 2792478"/>
                <a:gd name="connsiteY2340" fmla="*/ 2820499 h 4235290"/>
                <a:gd name="connsiteX2341" fmla="*/ 1026921 w 2792478"/>
                <a:gd name="connsiteY2341" fmla="*/ 2817595 h 4235290"/>
                <a:gd name="connsiteX2342" fmla="*/ 1027739 w 2792478"/>
                <a:gd name="connsiteY2342" fmla="*/ 2814174 h 4235290"/>
                <a:gd name="connsiteX2343" fmla="*/ 1026754 w 2792478"/>
                <a:gd name="connsiteY2343" fmla="*/ 2797898 h 4235290"/>
                <a:gd name="connsiteX2344" fmla="*/ 1010511 w 2792478"/>
                <a:gd name="connsiteY2344" fmla="*/ 2796913 h 4235290"/>
                <a:gd name="connsiteX2345" fmla="*/ 1007058 w 2792478"/>
                <a:gd name="connsiteY2345" fmla="*/ 2797732 h 4235290"/>
                <a:gd name="connsiteX2346" fmla="*/ 1004155 w 2792478"/>
                <a:gd name="connsiteY2346" fmla="*/ 2795692 h 4235290"/>
                <a:gd name="connsiteX2347" fmla="*/ 996417 w 2792478"/>
                <a:gd name="connsiteY2347" fmla="*/ 2776992 h 4235290"/>
                <a:gd name="connsiteX2348" fmla="*/ 997043 w 2792478"/>
                <a:gd name="connsiteY2348" fmla="*/ 2773494 h 4235290"/>
                <a:gd name="connsiteX2349" fmla="*/ 1000055 w 2792478"/>
                <a:gd name="connsiteY2349" fmla="*/ 2771665 h 4235290"/>
                <a:gd name="connsiteX2350" fmla="*/ 1010825 w 2792478"/>
                <a:gd name="connsiteY2350" fmla="*/ 2759488 h 4235290"/>
                <a:gd name="connsiteX2351" fmla="*/ 1000055 w 2792478"/>
                <a:gd name="connsiteY2351" fmla="*/ 2747286 h 4235290"/>
                <a:gd name="connsiteX2352" fmla="*/ 997043 w 2792478"/>
                <a:gd name="connsiteY2352" fmla="*/ 2745432 h 4235290"/>
                <a:gd name="connsiteX2353" fmla="*/ 996417 w 2792478"/>
                <a:gd name="connsiteY2353" fmla="*/ 2741940 h 4235290"/>
                <a:gd name="connsiteX2354" fmla="*/ 1004155 w 2792478"/>
                <a:gd name="connsiteY2354" fmla="*/ 2723240 h 4235290"/>
                <a:gd name="connsiteX2355" fmla="*/ 1007058 w 2792478"/>
                <a:gd name="connsiteY2355" fmla="*/ 2721213 h 4235290"/>
                <a:gd name="connsiteX2356" fmla="*/ 1010511 w 2792478"/>
                <a:gd name="connsiteY2356" fmla="*/ 2722038 h 4235290"/>
                <a:gd name="connsiteX2357" fmla="*/ 1026754 w 2792478"/>
                <a:gd name="connsiteY2357" fmla="*/ 2721047 h 4235290"/>
                <a:gd name="connsiteX2358" fmla="*/ 1027739 w 2792478"/>
                <a:gd name="connsiteY2358" fmla="*/ 2704790 h 4235290"/>
                <a:gd name="connsiteX2359" fmla="*/ 1026921 w 2792478"/>
                <a:gd name="connsiteY2359" fmla="*/ 2701356 h 4235290"/>
                <a:gd name="connsiteX2360" fmla="*/ 1028941 w 2792478"/>
                <a:gd name="connsiteY2360" fmla="*/ 2698446 h 4235290"/>
                <a:gd name="connsiteX2361" fmla="*/ 1047615 w 2792478"/>
                <a:gd name="connsiteY2361" fmla="*/ 2690695 h 4235290"/>
                <a:gd name="connsiteX2362" fmla="*/ 1267068 w 2792478"/>
                <a:gd name="connsiteY2362" fmla="*/ 2675804 h 4235290"/>
                <a:gd name="connsiteX2363" fmla="*/ 1267068 w 2792478"/>
                <a:gd name="connsiteY2363" fmla="*/ 2709384 h 4235290"/>
                <a:gd name="connsiteX2364" fmla="*/ 1273900 w 2792478"/>
                <a:gd name="connsiteY2364" fmla="*/ 2702297 h 4235290"/>
                <a:gd name="connsiteX2365" fmla="*/ 1273900 w 2792478"/>
                <a:gd name="connsiteY2365" fmla="*/ 2682898 h 4235290"/>
                <a:gd name="connsiteX2366" fmla="*/ 1267068 w 2792478"/>
                <a:gd name="connsiteY2366" fmla="*/ 2675804 h 4235290"/>
                <a:gd name="connsiteX2367" fmla="*/ 1172683 w 2792478"/>
                <a:gd name="connsiteY2367" fmla="*/ 2668550 h 4235290"/>
                <a:gd name="connsiteX2368" fmla="*/ 1172683 w 2792478"/>
                <a:gd name="connsiteY2368" fmla="*/ 2719533 h 4235290"/>
                <a:gd name="connsiteX2369" fmla="*/ 1180523 w 2792478"/>
                <a:gd name="connsiteY2369" fmla="*/ 2725251 h 4235290"/>
                <a:gd name="connsiteX2370" fmla="*/ 1252774 w 2792478"/>
                <a:gd name="connsiteY2370" fmla="*/ 2725251 h 4235290"/>
                <a:gd name="connsiteX2371" fmla="*/ 1260604 w 2792478"/>
                <a:gd name="connsiteY2371" fmla="*/ 2719533 h 4235290"/>
                <a:gd name="connsiteX2372" fmla="*/ 1260604 w 2792478"/>
                <a:gd name="connsiteY2372" fmla="*/ 2672141 h 4235290"/>
                <a:gd name="connsiteX2373" fmla="*/ 1260604 w 2792478"/>
                <a:gd name="connsiteY2373" fmla="*/ 2668550 h 4235290"/>
                <a:gd name="connsiteX2374" fmla="*/ 1470455 w 2792478"/>
                <a:gd name="connsiteY2374" fmla="*/ 2664695 h 4235290"/>
                <a:gd name="connsiteX2375" fmla="*/ 1470455 w 2792478"/>
                <a:gd name="connsiteY2375" fmla="*/ 2674701 h 4235290"/>
                <a:gd name="connsiteX2376" fmla="*/ 1470455 w 2792478"/>
                <a:gd name="connsiteY2376" fmla="*/ 2664695 h 4235290"/>
                <a:gd name="connsiteX2377" fmla="*/ 1324665 w 2792478"/>
                <a:gd name="connsiteY2377" fmla="*/ 2652764 h 4235290"/>
                <a:gd name="connsiteX2378" fmla="*/ 1312547 w 2792478"/>
                <a:gd name="connsiteY2378" fmla="*/ 2664947 h 4235290"/>
                <a:gd name="connsiteX2379" fmla="*/ 1312547 w 2792478"/>
                <a:gd name="connsiteY2379" fmla="*/ 2714101 h 4235290"/>
                <a:gd name="connsiteX2380" fmla="*/ 1324665 w 2792478"/>
                <a:gd name="connsiteY2380" fmla="*/ 2726283 h 4235290"/>
                <a:gd name="connsiteX2381" fmla="*/ 1347045 w 2792478"/>
                <a:gd name="connsiteY2381" fmla="*/ 2726283 h 4235290"/>
                <a:gd name="connsiteX2382" fmla="*/ 1347045 w 2792478"/>
                <a:gd name="connsiteY2382" fmla="*/ 2717081 h 4235290"/>
                <a:gd name="connsiteX2383" fmla="*/ 1464865 w 2792478"/>
                <a:gd name="connsiteY2383" fmla="*/ 2717081 h 4235290"/>
                <a:gd name="connsiteX2384" fmla="*/ 1464865 w 2792478"/>
                <a:gd name="connsiteY2384" fmla="*/ 2726283 h 4235290"/>
                <a:gd name="connsiteX2385" fmla="*/ 1487177 w 2792478"/>
                <a:gd name="connsiteY2385" fmla="*/ 2726283 h 4235290"/>
                <a:gd name="connsiteX2386" fmla="*/ 1499295 w 2792478"/>
                <a:gd name="connsiteY2386" fmla="*/ 2714101 h 4235290"/>
                <a:gd name="connsiteX2387" fmla="*/ 1499295 w 2792478"/>
                <a:gd name="connsiteY2387" fmla="*/ 2664947 h 4235290"/>
                <a:gd name="connsiteX2388" fmla="*/ 1487177 w 2792478"/>
                <a:gd name="connsiteY2388" fmla="*/ 2652764 h 4235290"/>
                <a:gd name="connsiteX2389" fmla="*/ 1462625 w 2792478"/>
                <a:gd name="connsiteY2389" fmla="*/ 2652764 h 4235290"/>
                <a:gd name="connsiteX2390" fmla="*/ 1349217 w 2792478"/>
                <a:gd name="connsiteY2390" fmla="*/ 2652764 h 4235290"/>
                <a:gd name="connsiteX2391" fmla="*/ 1577413 w 2792478"/>
                <a:gd name="connsiteY2391" fmla="*/ 2651750 h 4235290"/>
                <a:gd name="connsiteX2392" fmla="*/ 1553047 w 2792478"/>
                <a:gd name="connsiteY2392" fmla="*/ 2676115 h 4235290"/>
                <a:gd name="connsiteX2393" fmla="*/ 1577413 w 2792478"/>
                <a:gd name="connsiteY2393" fmla="*/ 2700491 h 4235290"/>
                <a:gd name="connsiteX2394" fmla="*/ 1601780 w 2792478"/>
                <a:gd name="connsiteY2394" fmla="*/ 2676115 h 4235290"/>
                <a:gd name="connsiteX2395" fmla="*/ 1577413 w 2792478"/>
                <a:gd name="connsiteY2395" fmla="*/ 2651750 h 4235290"/>
                <a:gd name="connsiteX2396" fmla="*/ 1577413 w 2792478"/>
                <a:gd name="connsiteY2396" fmla="*/ 2644829 h 4235290"/>
                <a:gd name="connsiteX2397" fmla="*/ 1608702 w 2792478"/>
                <a:gd name="connsiteY2397" fmla="*/ 2676115 h 4235290"/>
                <a:gd name="connsiteX2398" fmla="*/ 1594365 w 2792478"/>
                <a:gd name="connsiteY2398" fmla="*/ 2702411 h 4235290"/>
                <a:gd name="connsiteX2399" fmla="*/ 1598825 w 2792478"/>
                <a:gd name="connsiteY2399" fmla="*/ 2702411 h 4235290"/>
                <a:gd name="connsiteX2400" fmla="*/ 1619627 w 2792478"/>
                <a:gd name="connsiteY2400" fmla="*/ 2723214 h 4235290"/>
                <a:gd name="connsiteX2401" fmla="*/ 1619627 w 2792478"/>
                <a:gd name="connsiteY2401" fmla="*/ 2752262 h 4235290"/>
                <a:gd name="connsiteX2402" fmla="*/ 1616164 w 2792478"/>
                <a:gd name="connsiteY2402" fmla="*/ 2755722 h 4235290"/>
                <a:gd name="connsiteX2403" fmla="*/ 1538659 w 2792478"/>
                <a:gd name="connsiteY2403" fmla="*/ 2755722 h 4235290"/>
                <a:gd name="connsiteX2404" fmla="*/ 1535200 w 2792478"/>
                <a:gd name="connsiteY2404" fmla="*/ 2752262 h 4235290"/>
                <a:gd name="connsiteX2405" fmla="*/ 1535200 w 2792478"/>
                <a:gd name="connsiteY2405" fmla="*/ 2723214 h 4235290"/>
                <a:gd name="connsiteX2406" fmla="*/ 1555998 w 2792478"/>
                <a:gd name="connsiteY2406" fmla="*/ 2702411 h 4235290"/>
                <a:gd name="connsiteX2407" fmla="*/ 1560461 w 2792478"/>
                <a:gd name="connsiteY2407" fmla="*/ 2702411 h 4235290"/>
                <a:gd name="connsiteX2408" fmla="*/ 1546124 w 2792478"/>
                <a:gd name="connsiteY2408" fmla="*/ 2676115 h 4235290"/>
                <a:gd name="connsiteX2409" fmla="*/ 1577413 w 2792478"/>
                <a:gd name="connsiteY2409" fmla="*/ 2644829 h 4235290"/>
                <a:gd name="connsiteX2410" fmla="*/ 1207820 w 2792478"/>
                <a:gd name="connsiteY2410" fmla="*/ 2639472 h 4235290"/>
                <a:gd name="connsiteX2411" fmla="*/ 1209174 w 2792478"/>
                <a:gd name="connsiteY2411" fmla="*/ 2662087 h 4235290"/>
                <a:gd name="connsiteX2412" fmla="*/ 1217068 w 2792478"/>
                <a:gd name="connsiteY2412" fmla="*/ 2662087 h 4235290"/>
                <a:gd name="connsiteX2413" fmla="*/ 1218423 w 2792478"/>
                <a:gd name="connsiteY2413" fmla="*/ 2639472 h 4235290"/>
                <a:gd name="connsiteX2414" fmla="*/ 1180848 w 2792478"/>
                <a:gd name="connsiteY2414" fmla="*/ 2636203 h 4235290"/>
                <a:gd name="connsiteX2415" fmla="*/ 1171361 w 2792478"/>
                <a:gd name="connsiteY2415" fmla="*/ 2641045 h 4235290"/>
                <a:gd name="connsiteX2416" fmla="*/ 1179580 w 2792478"/>
                <a:gd name="connsiteY2416" fmla="*/ 2657114 h 4235290"/>
                <a:gd name="connsiteX2417" fmla="*/ 1182116 w 2792478"/>
                <a:gd name="connsiteY2417" fmla="*/ 2662087 h 4235290"/>
                <a:gd name="connsiteX2418" fmla="*/ 1194074 w 2792478"/>
                <a:gd name="connsiteY2418" fmla="*/ 2662087 h 4235290"/>
                <a:gd name="connsiteX2419" fmla="*/ 1170071 w 2792478"/>
                <a:gd name="connsiteY2419" fmla="*/ 2628061 h 4235290"/>
                <a:gd name="connsiteX2420" fmla="*/ 1170239 w 2792478"/>
                <a:gd name="connsiteY2420" fmla="*/ 2634368 h 4235290"/>
                <a:gd name="connsiteX2421" fmla="*/ 1175619 w 2792478"/>
                <a:gd name="connsiteY2421" fmla="*/ 2631605 h 4235290"/>
                <a:gd name="connsiteX2422" fmla="*/ 986309 w 2792478"/>
                <a:gd name="connsiteY2422" fmla="*/ 2624503 h 4235290"/>
                <a:gd name="connsiteX2423" fmla="*/ 979940 w 2792478"/>
                <a:gd name="connsiteY2423" fmla="*/ 2626106 h 4235290"/>
                <a:gd name="connsiteX2424" fmla="*/ 974605 w 2792478"/>
                <a:gd name="connsiteY2424" fmla="*/ 2630022 h 4235290"/>
                <a:gd name="connsiteX2425" fmla="*/ 952700 w 2792478"/>
                <a:gd name="connsiteY2425" fmla="*/ 2657069 h 4235290"/>
                <a:gd name="connsiteX2426" fmla="*/ 951363 w 2792478"/>
                <a:gd name="connsiteY2426" fmla="*/ 2660047 h 4235290"/>
                <a:gd name="connsiteX2427" fmla="*/ 955315 w 2792478"/>
                <a:gd name="connsiteY2427" fmla="*/ 2662656 h 4235290"/>
                <a:gd name="connsiteX2428" fmla="*/ 1036396 w 2792478"/>
                <a:gd name="connsiteY2428" fmla="*/ 2662656 h 4235290"/>
                <a:gd name="connsiteX2429" fmla="*/ 1042798 w 2792478"/>
                <a:gd name="connsiteY2429" fmla="*/ 2661014 h 4235290"/>
                <a:gd name="connsiteX2430" fmla="*/ 1048093 w 2792478"/>
                <a:gd name="connsiteY2430" fmla="*/ 2657069 h 4235290"/>
                <a:gd name="connsiteX2431" fmla="*/ 1070005 w 2792478"/>
                <a:gd name="connsiteY2431" fmla="*/ 2630022 h 4235290"/>
                <a:gd name="connsiteX2432" fmla="*/ 1071342 w 2792478"/>
                <a:gd name="connsiteY2432" fmla="*/ 2627107 h 4235290"/>
                <a:gd name="connsiteX2433" fmla="*/ 1067390 w 2792478"/>
                <a:gd name="connsiteY2433" fmla="*/ 2624503 h 4235290"/>
                <a:gd name="connsiteX2434" fmla="*/ 1379110 w 2792478"/>
                <a:gd name="connsiteY2434" fmla="*/ 2622997 h 4235290"/>
                <a:gd name="connsiteX2435" fmla="*/ 1431430 w 2792478"/>
                <a:gd name="connsiteY2435" fmla="*/ 2622997 h 4235290"/>
                <a:gd name="connsiteX2436" fmla="*/ 1436465 w 2792478"/>
                <a:gd name="connsiteY2436" fmla="*/ 2627968 h 4235290"/>
                <a:gd name="connsiteX2437" fmla="*/ 1431430 w 2792478"/>
                <a:gd name="connsiteY2437" fmla="*/ 2633003 h 4235290"/>
                <a:gd name="connsiteX2438" fmla="*/ 1379110 w 2792478"/>
                <a:gd name="connsiteY2438" fmla="*/ 2633003 h 4235290"/>
                <a:gd name="connsiteX2439" fmla="*/ 1374133 w 2792478"/>
                <a:gd name="connsiteY2439" fmla="*/ 2627968 h 4235290"/>
                <a:gd name="connsiteX2440" fmla="*/ 1379110 w 2792478"/>
                <a:gd name="connsiteY2440" fmla="*/ 2622997 h 4235290"/>
                <a:gd name="connsiteX2441" fmla="*/ 1200153 w 2792478"/>
                <a:gd name="connsiteY2441" fmla="*/ 2616071 h 4235290"/>
                <a:gd name="connsiteX2442" fmla="*/ 1200153 w 2792478"/>
                <a:gd name="connsiteY2442" fmla="*/ 2627245 h 4235290"/>
                <a:gd name="connsiteX2443" fmla="*/ 1205929 w 2792478"/>
                <a:gd name="connsiteY2443" fmla="*/ 2633010 h 4235290"/>
                <a:gd name="connsiteX2444" fmla="*/ 1220330 w 2792478"/>
                <a:gd name="connsiteY2444" fmla="*/ 2633010 h 4235290"/>
                <a:gd name="connsiteX2445" fmla="*/ 1226106 w 2792478"/>
                <a:gd name="connsiteY2445" fmla="*/ 2627245 h 4235290"/>
                <a:gd name="connsiteX2446" fmla="*/ 1226106 w 2792478"/>
                <a:gd name="connsiteY2446" fmla="*/ 2616071 h 4235290"/>
                <a:gd name="connsiteX2447" fmla="*/ 1214907 w 2792478"/>
                <a:gd name="connsiteY2447" fmla="*/ 2616071 h 4235290"/>
                <a:gd name="connsiteX2448" fmla="*/ 1209976 w 2792478"/>
                <a:gd name="connsiteY2448" fmla="*/ 2623886 h 4235290"/>
                <a:gd name="connsiteX2449" fmla="*/ 1202981 w 2792478"/>
                <a:gd name="connsiteY2449" fmla="*/ 2616071 h 4235290"/>
                <a:gd name="connsiteX2450" fmla="*/ 1257553 w 2792478"/>
                <a:gd name="connsiteY2450" fmla="*/ 2611997 h 4235290"/>
                <a:gd name="connsiteX2451" fmla="*/ 1248391 w 2792478"/>
                <a:gd name="connsiteY2451" fmla="*/ 2626310 h 4235290"/>
                <a:gd name="connsiteX2452" fmla="*/ 1254015 w 2792478"/>
                <a:gd name="connsiteY2452" fmla="*/ 2629913 h 4235290"/>
                <a:gd name="connsiteX2453" fmla="*/ 1254996 w 2792478"/>
                <a:gd name="connsiteY2453" fmla="*/ 2634368 h 4235290"/>
                <a:gd name="connsiteX2454" fmla="*/ 1250537 w 2792478"/>
                <a:gd name="connsiteY2454" fmla="*/ 2635351 h 4235290"/>
                <a:gd name="connsiteX2455" fmla="*/ 1244913 w 2792478"/>
                <a:gd name="connsiteY2455" fmla="*/ 2631736 h 4235290"/>
                <a:gd name="connsiteX2456" fmla="*/ 1238627 w 2792478"/>
                <a:gd name="connsiteY2456" fmla="*/ 2641569 h 4235290"/>
                <a:gd name="connsiteX2457" fmla="*/ 1243823 w 2792478"/>
                <a:gd name="connsiteY2457" fmla="*/ 2644898 h 4235290"/>
                <a:gd name="connsiteX2458" fmla="*/ 1244810 w 2792478"/>
                <a:gd name="connsiteY2458" fmla="*/ 2649353 h 4235290"/>
                <a:gd name="connsiteX2459" fmla="*/ 1240340 w 2792478"/>
                <a:gd name="connsiteY2459" fmla="*/ 2650330 h 4235290"/>
                <a:gd name="connsiteX2460" fmla="*/ 1235144 w 2792478"/>
                <a:gd name="connsiteY2460" fmla="*/ 2647001 h 4235290"/>
                <a:gd name="connsiteX2461" fmla="*/ 1227981 w 2792478"/>
                <a:gd name="connsiteY2461" fmla="*/ 2658180 h 4235290"/>
                <a:gd name="connsiteX2462" fmla="*/ 1233182 w 2792478"/>
                <a:gd name="connsiteY2462" fmla="*/ 2661516 h 4235290"/>
                <a:gd name="connsiteX2463" fmla="*/ 1233843 w 2792478"/>
                <a:gd name="connsiteY2463" fmla="*/ 2662087 h 4235290"/>
                <a:gd name="connsiteX2464" fmla="*/ 1244317 w 2792478"/>
                <a:gd name="connsiteY2464" fmla="*/ 2662087 h 4235290"/>
                <a:gd name="connsiteX2465" fmla="*/ 1270904 w 2792478"/>
                <a:gd name="connsiteY2465" fmla="*/ 2620550 h 4235290"/>
                <a:gd name="connsiteX2466" fmla="*/ 1601145 w 2792478"/>
                <a:gd name="connsiteY2466" fmla="*/ 2609018 h 4235290"/>
                <a:gd name="connsiteX2467" fmla="*/ 1605620 w 2792478"/>
                <a:gd name="connsiteY2467" fmla="*/ 2610882 h 4235290"/>
                <a:gd name="connsiteX2468" fmla="*/ 1607425 w 2792478"/>
                <a:gd name="connsiteY2468" fmla="*/ 2615353 h 4235290"/>
                <a:gd name="connsiteX2469" fmla="*/ 1605620 w 2792478"/>
                <a:gd name="connsiteY2469" fmla="*/ 2619767 h 4235290"/>
                <a:gd name="connsiteX2470" fmla="*/ 1601145 w 2792478"/>
                <a:gd name="connsiteY2470" fmla="*/ 2621631 h 4235290"/>
                <a:gd name="connsiteX2471" fmla="*/ 1596670 w 2792478"/>
                <a:gd name="connsiteY2471" fmla="*/ 2619767 h 4235290"/>
                <a:gd name="connsiteX2472" fmla="*/ 1594872 w 2792478"/>
                <a:gd name="connsiteY2472" fmla="*/ 2615353 h 4235290"/>
                <a:gd name="connsiteX2473" fmla="*/ 1596670 w 2792478"/>
                <a:gd name="connsiteY2473" fmla="*/ 2610882 h 4235290"/>
                <a:gd name="connsiteX2474" fmla="*/ 1601145 w 2792478"/>
                <a:gd name="connsiteY2474" fmla="*/ 2609018 h 4235290"/>
                <a:gd name="connsiteX2475" fmla="*/ 1379110 w 2792478"/>
                <a:gd name="connsiteY2475" fmla="*/ 2605097 h 4235290"/>
                <a:gd name="connsiteX2476" fmla="*/ 1431430 w 2792478"/>
                <a:gd name="connsiteY2476" fmla="*/ 2605097 h 4235290"/>
                <a:gd name="connsiteX2477" fmla="*/ 1436465 w 2792478"/>
                <a:gd name="connsiteY2477" fmla="*/ 2610067 h 4235290"/>
                <a:gd name="connsiteX2478" fmla="*/ 1431430 w 2792478"/>
                <a:gd name="connsiteY2478" fmla="*/ 2615103 h 4235290"/>
                <a:gd name="connsiteX2479" fmla="*/ 1379110 w 2792478"/>
                <a:gd name="connsiteY2479" fmla="*/ 2615103 h 4235290"/>
                <a:gd name="connsiteX2480" fmla="*/ 1374133 w 2792478"/>
                <a:gd name="connsiteY2480" fmla="*/ 2610067 h 4235290"/>
                <a:gd name="connsiteX2481" fmla="*/ 1379110 w 2792478"/>
                <a:gd name="connsiteY2481" fmla="*/ 2605097 h 4235290"/>
                <a:gd name="connsiteX2482" fmla="*/ 1255597 w 2792478"/>
                <a:gd name="connsiteY2482" fmla="*/ 2603069 h 4235290"/>
                <a:gd name="connsiteX2483" fmla="*/ 1279833 w 2792478"/>
                <a:gd name="connsiteY2483" fmla="*/ 2618591 h 4235290"/>
                <a:gd name="connsiteX2484" fmla="*/ 1251989 w 2792478"/>
                <a:gd name="connsiteY2484" fmla="*/ 2662087 h 4235290"/>
                <a:gd name="connsiteX2485" fmla="*/ 1267068 w 2792478"/>
                <a:gd name="connsiteY2485" fmla="*/ 2662087 h 4235290"/>
                <a:gd name="connsiteX2486" fmla="*/ 1267068 w 2792478"/>
                <a:gd name="connsiteY2486" fmla="*/ 2669169 h 4235290"/>
                <a:gd name="connsiteX2487" fmla="*/ 1280364 w 2792478"/>
                <a:gd name="connsiteY2487" fmla="*/ 2682898 h 4235290"/>
                <a:gd name="connsiteX2488" fmla="*/ 1280364 w 2792478"/>
                <a:gd name="connsiteY2488" fmla="*/ 2702297 h 4235290"/>
                <a:gd name="connsiteX2489" fmla="*/ 1267068 w 2792478"/>
                <a:gd name="connsiteY2489" fmla="*/ 2716013 h 4235290"/>
                <a:gd name="connsiteX2490" fmla="*/ 1267068 w 2792478"/>
                <a:gd name="connsiteY2490" fmla="*/ 2719533 h 4235290"/>
                <a:gd name="connsiteX2491" fmla="*/ 1252774 w 2792478"/>
                <a:gd name="connsiteY2491" fmla="*/ 2731719 h 4235290"/>
                <a:gd name="connsiteX2492" fmla="*/ 1180523 w 2792478"/>
                <a:gd name="connsiteY2492" fmla="*/ 2731719 h 4235290"/>
                <a:gd name="connsiteX2493" fmla="*/ 1166229 w 2792478"/>
                <a:gd name="connsiteY2493" fmla="*/ 2719533 h 4235290"/>
                <a:gd name="connsiteX2494" fmla="*/ 1166229 w 2792478"/>
                <a:gd name="connsiteY2494" fmla="*/ 2662087 h 4235290"/>
                <a:gd name="connsiteX2495" fmla="*/ 1174866 w 2792478"/>
                <a:gd name="connsiteY2495" fmla="*/ 2662087 h 4235290"/>
                <a:gd name="connsiteX2496" fmla="*/ 1163943 w 2792478"/>
                <a:gd name="connsiteY2496" fmla="*/ 2640705 h 4235290"/>
                <a:gd name="connsiteX2497" fmla="*/ 1163331 w 2792478"/>
                <a:gd name="connsiteY2497" fmla="*/ 2616059 h 4235290"/>
                <a:gd name="connsiteX2498" fmla="*/ 1184846 w 2792478"/>
                <a:gd name="connsiteY2498" fmla="*/ 2629859 h 4235290"/>
                <a:gd name="connsiteX2499" fmla="*/ 1201318 w 2792478"/>
                <a:gd name="connsiteY2499" fmla="*/ 2662087 h 4235290"/>
                <a:gd name="connsiteX2500" fmla="*/ 1202705 w 2792478"/>
                <a:gd name="connsiteY2500" fmla="*/ 2662087 h 4235290"/>
                <a:gd name="connsiteX2501" fmla="*/ 1201285 w 2792478"/>
                <a:gd name="connsiteY2501" fmla="*/ 2638561 h 4235290"/>
                <a:gd name="connsiteX2502" fmla="*/ 1193689 w 2792478"/>
                <a:gd name="connsiteY2502" fmla="*/ 2627245 h 4235290"/>
                <a:gd name="connsiteX2503" fmla="*/ 1193689 w 2792478"/>
                <a:gd name="connsiteY2503" fmla="*/ 2609609 h 4235290"/>
                <a:gd name="connsiteX2504" fmla="*/ 1205864 w 2792478"/>
                <a:gd name="connsiteY2504" fmla="*/ 2609609 h 4235290"/>
                <a:gd name="connsiteX2505" fmla="*/ 1209077 w 2792478"/>
                <a:gd name="connsiteY2505" fmla="*/ 2613200 h 4235290"/>
                <a:gd name="connsiteX2506" fmla="*/ 1211341 w 2792478"/>
                <a:gd name="connsiteY2506" fmla="*/ 2609609 h 4235290"/>
                <a:gd name="connsiteX2507" fmla="*/ 1232554 w 2792478"/>
                <a:gd name="connsiteY2507" fmla="*/ 2609609 h 4235290"/>
                <a:gd name="connsiteX2508" fmla="*/ 1232554 w 2792478"/>
                <a:gd name="connsiteY2508" fmla="*/ 2627245 h 4235290"/>
                <a:gd name="connsiteX2509" fmla="*/ 1224952 w 2792478"/>
                <a:gd name="connsiteY2509" fmla="*/ 2638561 h 4235290"/>
                <a:gd name="connsiteX2510" fmla="*/ 1224139 w 2792478"/>
                <a:gd name="connsiteY2510" fmla="*/ 2652218 h 4235290"/>
                <a:gd name="connsiteX2511" fmla="*/ 1642722 w 2792478"/>
                <a:gd name="connsiteY2511" fmla="*/ 2601621 h 4235290"/>
                <a:gd name="connsiteX2512" fmla="*/ 1639181 w 2792478"/>
                <a:gd name="connsiteY2512" fmla="*/ 2605227 h 4235290"/>
                <a:gd name="connsiteX2513" fmla="*/ 1658755 w 2792478"/>
                <a:gd name="connsiteY2513" fmla="*/ 2624799 h 4235290"/>
                <a:gd name="connsiteX2514" fmla="*/ 1664040 w 2792478"/>
                <a:gd name="connsiteY2514" fmla="*/ 2626540 h 4235290"/>
                <a:gd name="connsiteX2515" fmla="*/ 1662296 w 2792478"/>
                <a:gd name="connsiteY2515" fmla="*/ 2621193 h 4235290"/>
                <a:gd name="connsiteX2516" fmla="*/ 1642722 w 2792478"/>
                <a:gd name="connsiteY2516" fmla="*/ 2601621 h 4235290"/>
                <a:gd name="connsiteX2517" fmla="*/ 1359220 w 2792478"/>
                <a:gd name="connsiteY2517" fmla="*/ 2593230 h 4235290"/>
                <a:gd name="connsiteX2518" fmla="*/ 1359220 w 2792478"/>
                <a:gd name="connsiteY2518" fmla="*/ 2642758 h 4235290"/>
                <a:gd name="connsiteX2519" fmla="*/ 1452623 w 2792478"/>
                <a:gd name="connsiteY2519" fmla="*/ 2642758 h 4235290"/>
                <a:gd name="connsiteX2520" fmla="*/ 1452623 w 2792478"/>
                <a:gd name="connsiteY2520" fmla="*/ 2593230 h 4235290"/>
                <a:gd name="connsiteX2521" fmla="*/ 1349217 w 2792478"/>
                <a:gd name="connsiteY2521" fmla="*/ 2583224 h 4235290"/>
                <a:gd name="connsiteX2522" fmla="*/ 1462625 w 2792478"/>
                <a:gd name="connsiteY2522" fmla="*/ 2583224 h 4235290"/>
                <a:gd name="connsiteX2523" fmla="*/ 1462625 w 2792478"/>
                <a:gd name="connsiteY2523" fmla="*/ 2642758 h 4235290"/>
                <a:gd name="connsiteX2524" fmla="*/ 1487177 w 2792478"/>
                <a:gd name="connsiteY2524" fmla="*/ 2642758 h 4235290"/>
                <a:gd name="connsiteX2525" fmla="*/ 1509298 w 2792478"/>
                <a:gd name="connsiteY2525" fmla="*/ 2664947 h 4235290"/>
                <a:gd name="connsiteX2526" fmla="*/ 1509298 w 2792478"/>
                <a:gd name="connsiteY2526" fmla="*/ 2714101 h 4235290"/>
                <a:gd name="connsiteX2527" fmla="*/ 1487177 w 2792478"/>
                <a:gd name="connsiteY2527" fmla="*/ 2736281 h 4235290"/>
                <a:gd name="connsiteX2528" fmla="*/ 1464865 w 2792478"/>
                <a:gd name="connsiteY2528" fmla="*/ 2736281 h 4235290"/>
                <a:gd name="connsiteX2529" fmla="*/ 1464865 w 2792478"/>
                <a:gd name="connsiteY2529" fmla="*/ 2758657 h 4235290"/>
                <a:gd name="connsiteX2530" fmla="*/ 1347045 w 2792478"/>
                <a:gd name="connsiteY2530" fmla="*/ 2758657 h 4235290"/>
                <a:gd name="connsiteX2531" fmla="*/ 1347045 w 2792478"/>
                <a:gd name="connsiteY2531" fmla="*/ 2736281 h 4235290"/>
                <a:gd name="connsiteX2532" fmla="*/ 1324665 w 2792478"/>
                <a:gd name="connsiteY2532" fmla="*/ 2736281 h 4235290"/>
                <a:gd name="connsiteX2533" fmla="*/ 1302545 w 2792478"/>
                <a:gd name="connsiteY2533" fmla="*/ 2714101 h 4235290"/>
                <a:gd name="connsiteX2534" fmla="*/ 1302545 w 2792478"/>
                <a:gd name="connsiteY2534" fmla="*/ 2664947 h 4235290"/>
                <a:gd name="connsiteX2535" fmla="*/ 1324665 w 2792478"/>
                <a:gd name="connsiteY2535" fmla="*/ 2642758 h 4235290"/>
                <a:gd name="connsiteX2536" fmla="*/ 1349217 w 2792478"/>
                <a:gd name="connsiteY2536" fmla="*/ 2642758 h 4235290"/>
                <a:gd name="connsiteX2537" fmla="*/ 955315 w 2792478"/>
                <a:gd name="connsiteY2537" fmla="*/ 2576820 h 4235290"/>
                <a:gd name="connsiteX2538" fmla="*/ 950250 w 2792478"/>
                <a:gd name="connsiteY2538" fmla="*/ 2578899 h 4235290"/>
                <a:gd name="connsiteX2539" fmla="*/ 948155 w 2792478"/>
                <a:gd name="connsiteY2539" fmla="*/ 2583965 h 4235290"/>
                <a:gd name="connsiteX2540" fmla="*/ 948155 w 2792478"/>
                <a:gd name="connsiteY2540" fmla="*/ 2647534 h 4235290"/>
                <a:gd name="connsiteX2541" fmla="*/ 967235 w 2792478"/>
                <a:gd name="connsiteY2541" fmla="*/ 2624061 h 4235290"/>
                <a:gd name="connsiteX2542" fmla="*/ 975883 w 2792478"/>
                <a:gd name="connsiteY2542" fmla="*/ 2617542 h 4235290"/>
                <a:gd name="connsiteX2543" fmla="*/ 986309 w 2792478"/>
                <a:gd name="connsiteY2543" fmla="*/ 2614967 h 4235290"/>
                <a:gd name="connsiteX2544" fmla="*/ 1043542 w 2792478"/>
                <a:gd name="connsiteY2544" fmla="*/ 2614967 h 4235290"/>
                <a:gd name="connsiteX2545" fmla="*/ 1043542 w 2792478"/>
                <a:gd name="connsiteY2545" fmla="*/ 2603042 h 4235290"/>
                <a:gd name="connsiteX2546" fmla="*/ 1041461 w 2792478"/>
                <a:gd name="connsiteY2546" fmla="*/ 2597975 h 4235290"/>
                <a:gd name="connsiteX2547" fmla="*/ 1036396 w 2792478"/>
                <a:gd name="connsiteY2547" fmla="*/ 2595891 h 4235290"/>
                <a:gd name="connsiteX2548" fmla="*/ 993468 w 2792478"/>
                <a:gd name="connsiteY2548" fmla="*/ 2595891 h 4235290"/>
                <a:gd name="connsiteX2549" fmla="*/ 988403 w 2792478"/>
                <a:gd name="connsiteY2549" fmla="*/ 2593807 h 4235290"/>
                <a:gd name="connsiteX2550" fmla="*/ 986309 w 2792478"/>
                <a:gd name="connsiteY2550" fmla="*/ 2588736 h 4235290"/>
                <a:gd name="connsiteX2551" fmla="*/ 986309 w 2792478"/>
                <a:gd name="connsiteY2551" fmla="*/ 2583965 h 4235290"/>
                <a:gd name="connsiteX2552" fmla="*/ 984228 w 2792478"/>
                <a:gd name="connsiteY2552" fmla="*/ 2578899 h 4235290"/>
                <a:gd name="connsiteX2553" fmla="*/ 979156 w 2792478"/>
                <a:gd name="connsiteY2553" fmla="*/ 2576820 h 4235290"/>
                <a:gd name="connsiteX2554" fmla="*/ 1610595 w 2792478"/>
                <a:gd name="connsiteY2554" fmla="*/ 2569492 h 4235290"/>
                <a:gd name="connsiteX2555" fmla="*/ 1606985 w 2792478"/>
                <a:gd name="connsiteY2555" fmla="*/ 2573036 h 4235290"/>
                <a:gd name="connsiteX2556" fmla="*/ 1612208 w 2792478"/>
                <a:gd name="connsiteY2556" fmla="*/ 2578253 h 4235290"/>
                <a:gd name="connsiteX2557" fmla="*/ 1615812 w 2792478"/>
                <a:gd name="connsiteY2557" fmla="*/ 2574709 h 4235290"/>
                <a:gd name="connsiteX2558" fmla="*/ 955315 w 2792478"/>
                <a:gd name="connsiteY2558" fmla="*/ 2567274 h 4235290"/>
                <a:gd name="connsiteX2559" fmla="*/ 979156 w 2792478"/>
                <a:gd name="connsiteY2559" fmla="*/ 2567274 h 4235290"/>
                <a:gd name="connsiteX2560" fmla="*/ 990926 w 2792478"/>
                <a:gd name="connsiteY2560" fmla="*/ 2572190 h 4235290"/>
                <a:gd name="connsiteX2561" fmla="*/ 995852 w 2792478"/>
                <a:gd name="connsiteY2561" fmla="*/ 2583965 h 4235290"/>
                <a:gd name="connsiteX2562" fmla="*/ 995852 w 2792478"/>
                <a:gd name="connsiteY2562" fmla="*/ 2586355 h 4235290"/>
                <a:gd name="connsiteX2563" fmla="*/ 1036390 w 2792478"/>
                <a:gd name="connsiteY2563" fmla="*/ 2586355 h 4235290"/>
                <a:gd name="connsiteX2564" fmla="*/ 1048166 w 2792478"/>
                <a:gd name="connsiteY2564" fmla="*/ 2591271 h 4235290"/>
                <a:gd name="connsiteX2565" fmla="*/ 1053085 w 2792478"/>
                <a:gd name="connsiteY2565" fmla="*/ 2603042 h 4235290"/>
                <a:gd name="connsiteX2566" fmla="*/ 1053085 w 2792478"/>
                <a:gd name="connsiteY2566" fmla="*/ 2614967 h 4235290"/>
                <a:gd name="connsiteX2567" fmla="*/ 1067390 w 2792478"/>
                <a:gd name="connsiteY2567" fmla="*/ 2614967 h 4235290"/>
                <a:gd name="connsiteX2568" fmla="*/ 1074767 w 2792478"/>
                <a:gd name="connsiteY2568" fmla="*/ 2616794 h 4235290"/>
                <a:gd name="connsiteX2569" fmla="*/ 1079759 w 2792478"/>
                <a:gd name="connsiteY2569" fmla="*/ 2622050 h 4235290"/>
                <a:gd name="connsiteX2570" fmla="*/ 1080879 w 2792478"/>
                <a:gd name="connsiteY2570" fmla="*/ 2627117 h 4235290"/>
                <a:gd name="connsiteX2571" fmla="*/ 1077454 w 2792478"/>
                <a:gd name="connsiteY2571" fmla="*/ 2636055 h 4235290"/>
                <a:gd name="connsiteX2572" fmla="*/ 1055470 w 2792478"/>
                <a:gd name="connsiteY2572" fmla="*/ 2663112 h 4235290"/>
                <a:gd name="connsiteX2573" fmla="*/ 1046822 w 2792478"/>
                <a:gd name="connsiteY2573" fmla="*/ 2669627 h 4235290"/>
                <a:gd name="connsiteX2574" fmla="*/ 1036396 w 2792478"/>
                <a:gd name="connsiteY2574" fmla="*/ 2672201 h 4235290"/>
                <a:gd name="connsiteX2575" fmla="*/ 955315 w 2792478"/>
                <a:gd name="connsiteY2575" fmla="*/ 2672201 h 4235290"/>
                <a:gd name="connsiteX2576" fmla="*/ 943539 w 2792478"/>
                <a:gd name="connsiteY2576" fmla="*/ 2667285 h 4235290"/>
                <a:gd name="connsiteX2577" fmla="*/ 938619 w 2792478"/>
                <a:gd name="connsiteY2577" fmla="*/ 2655505 h 4235290"/>
                <a:gd name="connsiteX2578" fmla="*/ 938619 w 2792478"/>
                <a:gd name="connsiteY2578" fmla="*/ 2583965 h 4235290"/>
                <a:gd name="connsiteX2579" fmla="*/ 943539 w 2792478"/>
                <a:gd name="connsiteY2579" fmla="*/ 2572190 h 4235290"/>
                <a:gd name="connsiteX2580" fmla="*/ 955315 w 2792478"/>
                <a:gd name="connsiteY2580" fmla="*/ 2567274 h 4235290"/>
                <a:gd name="connsiteX2581" fmla="*/ 1156072 w 2792478"/>
                <a:gd name="connsiteY2581" fmla="*/ 2541438 h 4235290"/>
                <a:gd name="connsiteX2582" fmla="*/ 1158249 w 2792478"/>
                <a:gd name="connsiteY2582" fmla="*/ 2542119 h 4235290"/>
                <a:gd name="connsiteX2583" fmla="*/ 1201064 w 2792478"/>
                <a:gd name="connsiteY2583" fmla="*/ 2572574 h 4235290"/>
                <a:gd name="connsiteX2584" fmla="*/ 1202493 w 2792478"/>
                <a:gd name="connsiteY2584" fmla="*/ 2576918 h 4235290"/>
                <a:gd name="connsiteX2585" fmla="*/ 1198887 w 2792478"/>
                <a:gd name="connsiteY2585" fmla="*/ 2579655 h 4235290"/>
                <a:gd name="connsiteX2586" fmla="*/ 1113504 w 2792478"/>
                <a:gd name="connsiteY2586" fmla="*/ 2579655 h 4235290"/>
                <a:gd name="connsiteX2587" fmla="*/ 1109838 w 2792478"/>
                <a:gd name="connsiteY2587" fmla="*/ 2576918 h 4235290"/>
                <a:gd name="connsiteX2588" fmla="*/ 1111267 w 2792478"/>
                <a:gd name="connsiteY2588" fmla="*/ 2572574 h 4235290"/>
                <a:gd name="connsiteX2589" fmla="*/ 1154021 w 2792478"/>
                <a:gd name="connsiteY2589" fmla="*/ 2542119 h 4235290"/>
                <a:gd name="connsiteX2590" fmla="*/ 1156072 w 2792478"/>
                <a:gd name="connsiteY2590" fmla="*/ 2541438 h 4235290"/>
                <a:gd name="connsiteX2591" fmla="*/ 1659064 w 2792478"/>
                <a:gd name="connsiteY2591" fmla="*/ 2526614 h 4235290"/>
                <a:gd name="connsiteX2592" fmla="*/ 1643841 w 2792478"/>
                <a:gd name="connsiteY2592" fmla="*/ 2532763 h 4235290"/>
                <a:gd name="connsiteX2593" fmla="*/ 1638865 w 2792478"/>
                <a:gd name="connsiteY2593" fmla="*/ 2537610 h 4235290"/>
                <a:gd name="connsiteX2594" fmla="*/ 1634953 w 2792478"/>
                <a:gd name="connsiteY2594" fmla="*/ 2563090 h 4235290"/>
                <a:gd name="connsiteX2595" fmla="*/ 1633835 w 2792478"/>
                <a:gd name="connsiteY2595" fmla="*/ 2568060 h 4235290"/>
                <a:gd name="connsiteX2596" fmla="*/ 1591886 w 2792478"/>
                <a:gd name="connsiteY2596" fmla="*/ 2610012 h 4235290"/>
                <a:gd name="connsiteX2597" fmla="*/ 1588654 w 2792478"/>
                <a:gd name="connsiteY2597" fmla="*/ 2617779 h 4235290"/>
                <a:gd name="connsiteX2598" fmla="*/ 1591886 w 2792478"/>
                <a:gd name="connsiteY2598" fmla="*/ 2625546 h 4235290"/>
                <a:gd name="connsiteX2599" fmla="*/ 1599594 w 2792478"/>
                <a:gd name="connsiteY2599" fmla="*/ 2628775 h 4235290"/>
                <a:gd name="connsiteX2600" fmla="*/ 1607363 w 2792478"/>
                <a:gd name="connsiteY2600" fmla="*/ 2625546 h 4235290"/>
                <a:gd name="connsiteX2601" fmla="*/ 1649311 w 2792478"/>
                <a:gd name="connsiteY2601" fmla="*/ 2583538 h 4235290"/>
                <a:gd name="connsiteX2602" fmla="*/ 1654342 w 2792478"/>
                <a:gd name="connsiteY2602" fmla="*/ 2582482 h 4235290"/>
                <a:gd name="connsiteX2603" fmla="*/ 1664349 w 2792478"/>
                <a:gd name="connsiteY2603" fmla="*/ 2584902 h 4235290"/>
                <a:gd name="connsiteX2604" fmla="*/ 1679757 w 2792478"/>
                <a:gd name="connsiteY2604" fmla="*/ 2578500 h 4235290"/>
                <a:gd name="connsiteX2605" fmla="*/ 1684671 w 2792478"/>
                <a:gd name="connsiteY2605" fmla="*/ 2573592 h 4235290"/>
                <a:gd name="connsiteX2606" fmla="*/ 1690635 w 2792478"/>
                <a:gd name="connsiteY2606" fmla="*/ 2555137 h 4235290"/>
                <a:gd name="connsiteX2607" fmla="*/ 1680567 w 2792478"/>
                <a:gd name="connsiteY2607" fmla="*/ 2565140 h 4235290"/>
                <a:gd name="connsiteX2608" fmla="*/ 1666401 w 2792478"/>
                <a:gd name="connsiteY2608" fmla="*/ 2571048 h 4235290"/>
                <a:gd name="connsiteX2609" fmla="*/ 1652228 w 2792478"/>
                <a:gd name="connsiteY2609" fmla="*/ 2565140 h 4235290"/>
                <a:gd name="connsiteX2610" fmla="*/ 1646387 w 2792478"/>
                <a:gd name="connsiteY2610" fmla="*/ 2551032 h 4235290"/>
                <a:gd name="connsiteX2611" fmla="*/ 1652228 w 2792478"/>
                <a:gd name="connsiteY2611" fmla="*/ 2536863 h 4235290"/>
                <a:gd name="connsiteX2612" fmla="*/ 1662296 w 2792478"/>
                <a:gd name="connsiteY2612" fmla="*/ 2526799 h 4235290"/>
                <a:gd name="connsiteX2613" fmla="*/ 1659064 w 2792478"/>
                <a:gd name="connsiteY2613" fmla="*/ 2526614 h 4235290"/>
                <a:gd name="connsiteX2614" fmla="*/ 1582195 w 2792478"/>
                <a:gd name="connsiteY2614" fmla="*/ 2523632 h 4235290"/>
                <a:gd name="connsiteX2615" fmla="*/ 1576348 w 2792478"/>
                <a:gd name="connsiteY2615" fmla="*/ 2526052 h 4235290"/>
                <a:gd name="connsiteX2616" fmla="*/ 1563548 w 2792478"/>
                <a:gd name="connsiteY2616" fmla="*/ 2538857 h 4235290"/>
                <a:gd name="connsiteX2617" fmla="*/ 1561187 w 2792478"/>
                <a:gd name="connsiteY2617" fmla="*/ 2544697 h 4235290"/>
                <a:gd name="connsiteX2618" fmla="*/ 1563548 w 2792478"/>
                <a:gd name="connsiteY2618" fmla="*/ 2550476 h 4235290"/>
                <a:gd name="connsiteX2619" fmla="*/ 1569388 w 2792478"/>
                <a:gd name="connsiteY2619" fmla="*/ 2552897 h 4235290"/>
                <a:gd name="connsiteX2620" fmla="*/ 1572683 w 2792478"/>
                <a:gd name="connsiteY2620" fmla="*/ 2552217 h 4235290"/>
                <a:gd name="connsiteX2621" fmla="*/ 1574303 w 2792478"/>
                <a:gd name="connsiteY2621" fmla="*/ 2551903 h 4235290"/>
                <a:gd name="connsiteX2622" fmla="*/ 1577158 w 2792478"/>
                <a:gd name="connsiteY2622" fmla="*/ 2553088 h 4235290"/>
                <a:gd name="connsiteX2623" fmla="*/ 1596361 w 2792478"/>
                <a:gd name="connsiteY2623" fmla="*/ 2572289 h 4235290"/>
                <a:gd name="connsiteX2624" fmla="*/ 1609847 w 2792478"/>
                <a:gd name="connsiteY2624" fmla="*/ 2558805 h 4235290"/>
                <a:gd name="connsiteX2625" fmla="*/ 1590582 w 2792478"/>
                <a:gd name="connsiteY2625" fmla="*/ 2539598 h 4235290"/>
                <a:gd name="connsiteX2626" fmla="*/ 1589772 w 2792478"/>
                <a:gd name="connsiteY2626" fmla="*/ 2535128 h 4235290"/>
                <a:gd name="connsiteX2627" fmla="*/ 1588036 w 2792478"/>
                <a:gd name="connsiteY2627" fmla="*/ 2526052 h 4235290"/>
                <a:gd name="connsiteX2628" fmla="*/ 1582195 w 2792478"/>
                <a:gd name="connsiteY2628" fmla="*/ 2523632 h 4235290"/>
                <a:gd name="connsiteX2629" fmla="*/ 1484351 w 2792478"/>
                <a:gd name="connsiteY2629" fmla="*/ 2522243 h 4235290"/>
                <a:gd name="connsiteX2630" fmla="*/ 1484351 w 2792478"/>
                <a:gd name="connsiteY2630" fmla="*/ 2538919 h 4235290"/>
                <a:gd name="connsiteX2631" fmla="*/ 1485319 w 2792478"/>
                <a:gd name="connsiteY2631" fmla="*/ 2539277 h 4235290"/>
                <a:gd name="connsiteX2632" fmla="*/ 1489533 w 2792478"/>
                <a:gd name="connsiteY2632" fmla="*/ 2545409 h 4235290"/>
                <a:gd name="connsiteX2633" fmla="*/ 1489533 w 2792478"/>
                <a:gd name="connsiteY2633" fmla="*/ 2557622 h 4235290"/>
                <a:gd name="connsiteX2634" fmla="*/ 1496738 w 2792478"/>
                <a:gd name="connsiteY2634" fmla="*/ 2557622 h 4235290"/>
                <a:gd name="connsiteX2635" fmla="*/ 1499323 w 2792478"/>
                <a:gd name="connsiteY2635" fmla="*/ 2554992 h 4235290"/>
                <a:gd name="connsiteX2636" fmla="*/ 1499323 w 2792478"/>
                <a:gd name="connsiteY2636" fmla="*/ 2541658 h 4235290"/>
                <a:gd name="connsiteX2637" fmla="*/ 1484351 w 2792478"/>
                <a:gd name="connsiteY2637" fmla="*/ 2522243 h 4235290"/>
                <a:gd name="connsiteX2638" fmla="*/ 1447262 w 2792478"/>
                <a:gd name="connsiteY2638" fmla="*/ 2522243 h 4235290"/>
                <a:gd name="connsiteX2639" fmla="*/ 1432149 w 2792478"/>
                <a:gd name="connsiteY2639" fmla="*/ 2541686 h 4235290"/>
                <a:gd name="connsiteX2640" fmla="*/ 1432149 w 2792478"/>
                <a:gd name="connsiteY2640" fmla="*/ 2555028 h 4235290"/>
                <a:gd name="connsiteX2641" fmla="*/ 1434386 w 2792478"/>
                <a:gd name="connsiteY2641" fmla="*/ 2557622 h 4235290"/>
                <a:gd name="connsiteX2642" fmla="*/ 1434629 w 2792478"/>
                <a:gd name="connsiteY2642" fmla="*/ 2557622 h 4235290"/>
                <a:gd name="connsiteX2643" fmla="*/ 1442087 w 2792478"/>
                <a:gd name="connsiteY2643" fmla="*/ 2557622 h 4235290"/>
                <a:gd name="connsiteX2644" fmla="*/ 1442087 w 2792478"/>
                <a:gd name="connsiteY2644" fmla="*/ 2545409 h 4235290"/>
                <a:gd name="connsiteX2645" fmla="*/ 1446294 w 2792478"/>
                <a:gd name="connsiteY2645" fmla="*/ 2539277 h 4235290"/>
                <a:gd name="connsiteX2646" fmla="*/ 1447262 w 2792478"/>
                <a:gd name="connsiteY2646" fmla="*/ 2538919 h 4235290"/>
                <a:gd name="connsiteX2647" fmla="*/ 1458786 w 2792478"/>
                <a:gd name="connsiteY2647" fmla="*/ 2519314 h 4235290"/>
                <a:gd name="connsiteX2648" fmla="*/ 1453559 w 2792478"/>
                <a:gd name="connsiteY2648" fmla="*/ 2520638 h 4235290"/>
                <a:gd name="connsiteX2649" fmla="*/ 1453566 w 2792478"/>
                <a:gd name="connsiteY2649" fmla="*/ 2520638 h 4235290"/>
                <a:gd name="connsiteX2650" fmla="*/ 1453566 w 2792478"/>
                <a:gd name="connsiteY2650" fmla="*/ 2539209 h 4235290"/>
                <a:gd name="connsiteX2651" fmla="*/ 1459230 w 2792478"/>
                <a:gd name="connsiteY2651" fmla="*/ 2542933 h 4235290"/>
                <a:gd name="connsiteX2652" fmla="*/ 1465622 w 2792478"/>
                <a:gd name="connsiteY2652" fmla="*/ 2545872 h 4235290"/>
                <a:gd name="connsiteX2653" fmla="*/ 1465629 w 2792478"/>
                <a:gd name="connsiteY2653" fmla="*/ 2545872 h 4235290"/>
                <a:gd name="connsiteX2654" fmla="*/ 1472524 w 2792478"/>
                <a:gd name="connsiteY2654" fmla="*/ 2542774 h 4235290"/>
                <a:gd name="connsiteX2655" fmla="*/ 1478058 w 2792478"/>
                <a:gd name="connsiteY2655" fmla="*/ 2539209 h 4235290"/>
                <a:gd name="connsiteX2656" fmla="*/ 1478058 w 2792478"/>
                <a:gd name="connsiteY2656" fmla="*/ 2520679 h 4235290"/>
                <a:gd name="connsiteX2657" fmla="*/ 1472781 w 2792478"/>
                <a:gd name="connsiteY2657" fmla="*/ 2519359 h 4235290"/>
                <a:gd name="connsiteX2658" fmla="*/ 1467813 w 2792478"/>
                <a:gd name="connsiteY2658" fmla="*/ 2520833 h 4235290"/>
                <a:gd name="connsiteX2659" fmla="*/ 1465801 w 2792478"/>
                <a:gd name="connsiteY2659" fmla="*/ 2520974 h 4235290"/>
                <a:gd name="connsiteX2660" fmla="*/ 1463796 w 2792478"/>
                <a:gd name="connsiteY2660" fmla="*/ 2520833 h 4235290"/>
                <a:gd name="connsiteX2661" fmla="*/ 1458786 w 2792478"/>
                <a:gd name="connsiteY2661" fmla="*/ 2519314 h 4235290"/>
                <a:gd name="connsiteX2662" fmla="*/ 1582195 w 2792478"/>
                <a:gd name="connsiteY2662" fmla="*/ 2515550 h 4235290"/>
                <a:gd name="connsiteX2663" fmla="*/ 1593753 w 2792478"/>
                <a:gd name="connsiteY2663" fmla="*/ 2520335 h 4235290"/>
                <a:gd name="connsiteX2664" fmla="*/ 1598043 w 2792478"/>
                <a:gd name="connsiteY2664" fmla="*/ 2535622 h 4235290"/>
                <a:gd name="connsiteX2665" fmla="*/ 1618358 w 2792478"/>
                <a:gd name="connsiteY2665" fmla="*/ 2555946 h 4235290"/>
                <a:gd name="connsiteX2666" fmla="*/ 1618358 w 2792478"/>
                <a:gd name="connsiteY2666" fmla="*/ 2561663 h 4235290"/>
                <a:gd name="connsiteX2667" fmla="*/ 1616313 w 2792478"/>
                <a:gd name="connsiteY2667" fmla="*/ 2563775 h 4235290"/>
                <a:gd name="connsiteX2668" fmla="*/ 1621467 w 2792478"/>
                <a:gd name="connsiteY2668" fmla="*/ 2568992 h 4235290"/>
                <a:gd name="connsiteX2669" fmla="*/ 1626505 w 2792478"/>
                <a:gd name="connsiteY2669" fmla="*/ 2563960 h 4235290"/>
                <a:gd name="connsiteX2670" fmla="*/ 1633217 w 2792478"/>
                <a:gd name="connsiteY2670" fmla="*/ 2531955 h 4235290"/>
                <a:gd name="connsiteX2671" fmla="*/ 1638124 w 2792478"/>
                <a:gd name="connsiteY2671" fmla="*/ 2527046 h 4235290"/>
                <a:gd name="connsiteX2672" fmla="*/ 1659064 w 2792478"/>
                <a:gd name="connsiteY2672" fmla="*/ 2518532 h 4235290"/>
                <a:gd name="connsiteX2673" fmla="*/ 1671617 w 2792478"/>
                <a:gd name="connsiteY2673" fmla="*/ 2521144 h 4235290"/>
                <a:gd name="connsiteX2674" fmla="*/ 1673978 w 2792478"/>
                <a:gd name="connsiteY2674" fmla="*/ 2524126 h 4235290"/>
                <a:gd name="connsiteX2675" fmla="*/ 1672859 w 2792478"/>
                <a:gd name="connsiteY2675" fmla="*/ 2527731 h 4235290"/>
                <a:gd name="connsiteX2676" fmla="*/ 1657945 w 2792478"/>
                <a:gd name="connsiteY2676" fmla="*/ 2542586 h 4235290"/>
                <a:gd name="connsiteX2677" fmla="*/ 1654466 w 2792478"/>
                <a:gd name="connsiteY2677" fmla="*/ 2551032 h 4235290"/>
                <a:gd name="connsiteX2678" fmla="*/ 1657945 w 2792478"/>
                <a:gd name="connsiteY2678" fmla="*/ 2559422 h 4235290"/>
                <a:gd name="connsiteX2679" fmla="*/ 1666401 w 2792478"/>
                <a:gd name="connsiteY2679" fmla="*/ 2562966 h 4235290"/>
                <a:gd name="connsiteX2680" fmla="*/ 1674849 w 2792478"/>
                <a:gd name="connsiteY2680" fmla="*/ 2559422 h 4235290"/>
                <a:gd name="connsiteX2681" fmla="*/ 1689763 w 2792478"/>
                <a:gd name="connsiteY2681" fmla="*/ 2544635 h 4235290"/>
                <a:gd name="connsiteX2682" fmla="*/ 1693367 w 2792478"/>
                <a:gd name="connsiteY2682" fmla="*/ 2543518 h 4235290"/>
                <a:gd name="connsiteX2683" fmla="*/ 1696290 w 2792478"/>
                <a:gd name="connsiteY2683" fmla="*/ 2545815 h 4235290"/>
                <a:gd name="connsiteX2684" fmla="*/ 1690388 w 2792478"/>
                <a:gd name="connsiteY2684" fmla="*/ 2579309 h 4235290"/>
                <a:gd name="connsiteX2685" fmla="*/ 1685481 w 2792478"/>
                <a:gd name="connsiteY2685" fmla="*/ 2584217 h 4235290"/>
                <a:gd name="connsiteX2686" fmla="*/ 1664349 w 2792478"/>
                <a:gd name="connsiteY2686" fmla="*/ 2592984 h 4235290"/>
                <a:gd name="connsiteX2687" fmla="*/ 1653470 w 2792478"/>
                <a:gd name="connsiteY2687" fmla="*/ 2590934 h 4235290"/>
                <a:gd name="connsiteX2688" fmla="*/ 1648440 w 2792478"/>
                <a:gd name="connsiteY2688" fmla="*/ 2595904 h 4235290"/>
                <a:gd name="connsiteX2689" fmla="*/ 1668700 w 2792478"/>
                <a:gd name="connsiteY2689" fmla="*/ 2616161 h 4235290"/>
                <a:gd name="connsiteX2690" fmla="*/ 1669695 w 2792478"/>
                <a:gd name="connsiteY2690" fmla="*/ 2617779 h 4235290"/>
                <a:gd name="connsiteX2691" fmla="*/ 1674170 w 2792478"/>
                <a:gd name="connsiteY2691" fmla="*/ 2631572 h 4235290"/>
                <a:gd name="connsiteX2692" fmla="*/ 1673175 w 2792478"/>
                <a:gd name="connsiteY2692" fmla="*/ 2635677 h 4235290"/>
                <a:gd name="connsiteX2693" fmla="*/ 1670313 w 2792478"/>
                <a:gd name="connsiteY2693" fmla="*/ 2636856 h 4235290"/>
                <a:gd name="connsiteX2694" fmla="*/ 1669071 w 2792478"/>
                <a:gd name="connsiteY2694" fmla="*/ 2636671 h 4235290"/>
                <a:gd name="connsiteX2695" fmla="*/ 1655337 w 2792478"/>
                <a:gd name="connsiteY2695" fmla="*/ 2632133 h 4235290"/>
                <a:gd name="connsiteX2696" fmla="*/ 1653724 w 2792478"/>
                <a:gd name="connsiteY2696" fmla="*/ 2631201 h 4235290"/>
                <a:gd name="connsiteX2697" fmla="*/ 1633464 w 2792478"/>
                <a:gd name="connsiteY2697" fmla="*/ 2610944 h 4235290"/>
                <a:gd name="connsiteX2698" fmla="*/ 1613080 w 2792478"/>
                <a:gd name="connsiteY2698" fmla="*/ 2631263 h 4235290"/>
                <a:gd name="connsiteX2699" fmla="*/ 1599594 w 2792478"/>
                <a:gd name="connsiteY2699" fmla="*/ 2636856 h 4235290"/>
                <a:gd name="connsiteX2700" fmla="*/ 1586169 w 2792478"/>
                <a:gd name="connsiteY2700" fmla="*/ 2631263 h 4235290"/>
                <a:gd name="connsiteX2701" fmla="*/ 1580576 w 2792478"/>
                <a:gd name="connsiteY2701" fmla="*/ 2617779 h 4235290"/>
                <a:gd name="connsiteX2702" fmla="*/ 1586169 w 2792478"/>
                <a:gd name="connsiteY2702" fmla="*/ 2604295 h 4235290"/>
                <a:gd name="connsiteX2703" fmla="*/ 1606491 w 2792478"/>
                <a:gd name="connsiteY2703" fmla="*/ 2583970 h 4235290"/>
                <a:gd name="connsiteX2704" fmla="*/ 1601268 w 2792478"/>
                <a:gd name="connsiteY2704" fmla="*/ 2578753 h 4235290"/>
                <a:gd name="connsiteX2705" fmla="*/ 1599223 w 2792478"/>
                <a:gd name="connsiteY2705" fmla="*/ 2580864 h 4235290"/>
                <a:gd name="connsiteX2706" fmla="*/ 1596361 w 2792478"/>
                <a:gd name="connsiteY2706" fmla="*/ 2582044 h 4235290"/>
                <a:gd name="connsiteX2707" fmla="*/ 1593506 w 2792478"/>
                <a:gd name="connsiteY2707" fmla="*/ 2580864 h 4235290"/>
                <a:gd name="connsiteX2708" fmla="*/ 1573184 w 2792478"/>
                <a:gd name="connsiteY2708" fmla="*/ 2560540 h 4235290"/>
                <a:gd name="connsiteX2709" fmla="*/ 1569388 w 2792478"/>
                <a:gd name="connsiteY2709" fmla="*/ 2560978 h 4235290"/>
                <a:gd name="connsiteX2710" fmla="*/ 1557892 w 2792478"/>
                <a:gd name="connsiteY2710" fmla="*/ 2556193 h 4235290"/>
                <a:gd name="connsiteX2711" fmla="*/ 1553109 w 2792478"/>
                <a:gd name="connsiteY2711" fmla="*/ 2544697 h 4235290"/>
                <a:gd name="connsiteX2712" fmla="*/ 1557892 w 2792478"/>
                <a:gd name="connsiteY2712" fmla="*/ 2533139 h 4235290"/>
                <a:gd name="connsiteX2713" fmla="*/ 1570631 w 2792478"/>
                <a:gd name="connsiteY2713" fmla="*/ 2520335 h 4235290"/>
                <a:gd name="connsiteX2714" fmla="*/ 1582195 w 2792478"/>
                <a:gd name="connsiteY2714" fmla="*/ 2515550 h 4235290"/>
                <a:gd name="connsiteX2715" fmla="*/ 1386127 w 2792478"/>
                <a:gd name="connsiteY2715" fmla="*/ 2514407 h 4235290"/>
                <a:gd name="connsiteX2716" fmla="*/ 1378914 w 2792478"/>
                <a:gd name="connsiteY2716" fmla="*/ 2521617 h 4235290"/>
                <a:gd name="connsiteX2717" fmla="*/ 1386127 w 2792478"/>
                <a:gd name="connsiteY2717" fmla="*/ 2528883 h 4235290"/>
                <a:gd name="connsiteX2718" fmla="*/ 1393398 w 2792478"/>
                <a:gd name="connsiteY2718" fmla="*/ 2521617 h 4235290"/>
                <a:gd name="connsiteX2719" fmla="*/ 1386127 w 2792478"/>
                <a:gd name="connsiteY2719" fmla="*/ 2514407 h 4235290"/>
                <a:gd name="connsiteX2720" fmla="*/ 1386127 w 2792478"/>
                <a:gd name="connsiteY2720" fmla="*/ 2507633 h 4235290"/>
                <a:gd name="connsiteX2721" fmla="*/ 1400111 w 2792478"/>
                <a:gd name="connsiteY2721" fmla="*/ 2521617 h 4235290"/>
                <a:gd name="connsiteX2722" fmla="*/ 1386127 w 2792478"/>
                <a:gd name="connsiteY2722" fmla="*/ 2535592 h 4235290"/>
                <a:gd name="connsiteX2723" fmla="*/ 1372142 w 2792478"/>
                <a:gd name="connsiteY2723" fmla="*/ 2521617 h 4235290"/>
                <a:gd name="connsiteX2724" fmla="*/ 1386127 w 2792478"/>
                <a:gd name="connsiteY2724" fmla="*/ 2507633 h 4235290"/>
                <a:gd name="connsiteX2725" fmla="*/ 1001459 w 2792478"/>
                <a:gd name="connsiteY2725" fmla="*/ 2505645 h 4235290"/>
                <a:gd name="connsiteX2726" fmla="*/ 1008110 w 2792478"/>
                <a:gd name="connsiteY2726" fmla="*/ 2509804 h 4235290"/>
                <a:gd name="connsiteX2727" fmla="*/ 1014820 w 2792478"/>
                <a:gd name="connsiteY2727" fmla="*/ 2505645 h 4235290"/>
                <a:gd name="connsiteX2728" fmla="*/ 1021904 w 2792478"/>
                <a:gd name="connsiteY2728" fmla="*/ 2512600 h 4235290"/>
                <a:gd name="connsiteX2729" fmla="*/ 1020352 w 2792478"/>
                <a:gd name="connsiteY2729" fmla="*/ 2517823 h 4235290"/>
                <a:gd name="connsiteX2730" fmla="*/ 1008110 w 2792478"/>
                <a:gd name="connsiteY2730" fmla="*/ 2527887 h 4235290"/>
                <a:gd name="connsiteX2731" fmla="*/ 995867 w 2792478"/>
                <a:gd name="connsiteY2731" fmla="*/ 2517823 h 4235290"/>
                <a:gd name="connsiteX2732" fmla="*/ 994310 w 2792478"/>
                <a:gd name="connsiteY2732" fmla="*/ 2512600 h 4235290"/>
                <a:gd name="connsiteX2733" fmla="*/ 1001459 w 2792478"/>
                <a:gd name="connsiteY2733" fmla="*/ 2505645 h 4235290"/>
                <a:gd name="connsiteX2734" fmla="*/ 1126553 w 2792478"/>
                <a:gd name="connsiteY2734" fmla="*/ 2485754 h 4235290"/>
                <a:gd name="connsiteX2735" fmla="*/ 1184969 w 2792478"/>
                <a:gd name="connsiteY2735" fmla="*/ 2485754 h 4235290"/>
                <a:gd name="connsiteX2736" fmla="*/ 1190004 w 2792478"/>
                <a:gd name="connsiteY2736" fmla="*/ 2490667 h 4235290"/>
                <a:gd name="connsiteX2737" fmla="*/ 1184969 w 2792478"/>
                <a:gd name="connsiteY2737" fmla="*/ 2495639 h 4235290"/>
                <a:gd name="connsiteX2738" fmla="*/ 1126553 w 2792478"/>
                <a:gd name="connsiteY2738" fmla="*/ 2495639 h 4235290"/>
                <a:gd name="connsiteX2739" fmla="*/ 1121585 w 2792478"/>
                <a:gd name="connsiteY2739" fmla="*/ 2490667 h 4235290"/>
                <a:gd name="connsiteX2740" fmla="*/ 1126553 w 2792478"/>
                <a:gd name="connsiteY2740" fmla="*/ 2485754 h 4235290"/>
                <a:gd name="connsiteX2741" fmla="*/ 965351 w 2792478"/>
                <a:gd name="connsiteY2741" fmla="*/ 2483771 h 4235290"/>
                <a:gd name="connsiteX2742" fmla="*/ 971755 w 2792478"/>
                <a:gd name="connsiteY2742" fmla="*/ 2487746 h 4235290"/>
                <a:gd name="connsiteX2743" fmla="*/ 978153 w 2792478"/>
                <a:gd name="connsiteY2743" fmla="*/ 2483771 h 4235290"/>
                <a:gd name="connsiteX2744" fmla="*/ 984990 w 2792478"/>
                <a:gd name="connsiteY2744" fmla="*/ 2490419 h 4235290"/>
                <a:gd name="connsiteX2745" fmla="*/ 983499 w 2792478"/>
                <a:gd name="connsiteY2745" fmla="*/ 2495451 h 4235290"/>
                <a:gd name="connsiteX2746" fmla="*/ 971755 w 2792478"/>
                <a:gd name="connsiteY2746" fmla="*/ 2505086 h 4235290"/>
                <a:gd name="connsiteX2747" fmla="*/ 960012 w 2792478"/>
                <a:gd name="connsiteY2747" fmla="*/ 2495451 h 4235290"/>
                <a:gd name="connsiteX2748" fmla="*/ 958515 w 2792478"/>
                <a:gd name="connsiteY2748" fmla="*/ 2490419 h 4235290"/>
                <a:gd name="connsiteX2749" fmla="*/ 965351 w 2792478"/>
                <a:gd name="connsiteY2749" fmla="*/ 2483771 h 4235290"/>
                <a:gd name="connsiteX2750" fmla="*/ 1304033 w 2792478"/>
                <a:gd name="connsiteY2750" fmla="*/ 2478919 h 4235290"/>
                <a:gd name="connsiteX2751" fmla="*/ 1274211 w 2792478"/>
                <a:gd name="connsiteY2751" fmla="*/ 2510491 h 4235290"/>
                <a:gd name="connsiteX2752" fmla="*/ 1272035 w 2792478"/>
                <a:gd name="connsiteY2752" fmla="*/ 2511542 h 4235290"/>
                <a:gd name="connsiteX2753" fmla="*/ 1264823 w 2792478"/>
                <a:gd name="connsiteY2753" fmla="*/ 2511977 h 4235290"/>
                <a:gd name="connsiteX2754" fmla="*/ 1254758 w 2792478"/>
                <a:gd name="connsiteY2754" fmla="*/ 2521863 h 4235290"/>
                <a:gd name="connsiteX2755" fmla="*/ 1249349 w 2792478"/>
                <a:gd name="connsiteY2755" fmla="*/ 2533917 h 4235290"/>
                <a:gd name="connsiteX2756" fmla="*/ 1262402 w 2792478"/>
                <a:gd name="connsiteY2756" fmla="*/ 2530000 h 4235290"/>
                <a:gd name="connsiteX2757" fmla="*/ 1273830 w 2792478"/>
                <a:gd name="connsiteY2757" fmla="*/ 2521181 h 4235290"/>
                <a:gd name="connsiteX2758" fmla="*/ 1275819 w 2792478"/>
                <a:gd name="connsiteY2758" fmla="*/ 2514654 h 4235290"/>
                <a:gd name="connsiteX2759" fmla="*/ 1276818 w 2792478"/>
                <a:gd name="connsiteY2759" fmla="*/ 2513102 h 4235290"/>
                <a:gd name="connsiteX2760" fmla="*/ 1310060 w 2792478"/>
                <a:gd name="connsiteY2760" fmla="*/ 2484576 h 4235290"/>
                <a:gd name="connsiteX2761" fmla="*/ 1474965 w 2792478"/>
                <a:gd name="connsiteY2761" fmla="*/ 2478339 h 4235290"/>
                <a:gd name="connsiteX2762" fmla="*/ 1448219 w 2792478"/>
                <a:gd name="connsiteY2762" fmla="*/ 2488312 h 4235290"/>
                <a:gd name="connsiteX2763" fmla="*/ 1448078 w 2792478"/>
                <a:gd name="connsiteY2763" fmla="*/ 2492357 h 4235290"/>
                <a:gd name="connsiteX2764" fmla="*/ 1465801 w 2792478"/>
                <a:gd name="connsiteY2764" fmla="*/ 2516742 h 4235290"/>
                <a:gd name="connsiteX2765" fmla="*/ 1483363 w 2792478"/>
                <a:gd name="connsiteY2765" fmla="*/ 2494978 h 4235290"/>
                <a:gd name="connsiteX2766" fmla="*/ 1474965 w 2792478"/>
                <a:gd name="connsiteY2766" fmla="*/ 2478339 h 4235290"/>
                <a:gd name="connsiteX2767" fmla="*/ 1126553 w 2792478"/>
                <a:gd name="connsiteY2767" fmla="*/ 2465871 h 4235290"/>
                <a:gd name="connsiteX2768" fmla="*/ 1184969 w 2792478"/>
                <a:gd name="connsiteY2768" fmla="*/ 2465871 h 4235290"/>
                <a:gd name="connsiteX2769" fmla="*/ 1190004 w 2792478"/>
                <a:gd name="connsiteY2769" fmla="*/ 2470777 h 4235290"/>
                <a:gd name="connsiteX2770" fmla="*/ 1184969 w 2792478"/>
                <a:gd name="connsiteY2770" fmla="*/ 2475749 h 4235290"/>
                <a:gd name="connsiteX2771" fmla="*/ 1126553 w 2792478"/>
                <a:gd name="connsiteY2771" fmla="*/ 2475749 h 4235290"/>
                <a:gd name="connsiteX2772" fmla="*/ 1121585 w 2792478"/>
                <a:gd name="connsiteY2772" fmla="*/ 2470777 h 4235290"/>
                <a:gd name="connsiteX2773" fmla="*/ 1126553 w 2792478"/>
                <a:gd name="connsiteY2773" fmla="*/ 2465871 h 4235290"/>
                <a:gd name="connsiteX2774" fmla="*/ 1459796 w 2792478"/>
                <a:gd name="connsiteY2774" fmla="*/ 2463867 h 4235290"/>
                <a:gd name="connsiteX2775" fmla="*/ 1471803 w 2792478"/>
                <a:gd name="connsiteY2775" fmla="*/ 2463867 h 4235290"/>
                <a:gd name="connsiteX2776" fmla="*/ 1489952 w 2792478"/>
                <a:gd name="connsiteY2776" fmla="*/ 2481926 h 4235290"/>
                <a:gd name="connsiteX2777" fmla="*/ 1489952 w 2792478"/>
                <a:gd name="connsiteY2777" fmla="*/ 2519785 h 4235290"/>
                <a:gd name="connsiteX2778" fmla="*/ 1503802 w 2792478"/>
                <a:gd name="connsiteY2778" fmla="*/ 2541686 h 4235290"/>
                <a:gd name="connsiteX2779" fmla="*/ 1503802 w 2792478"/>
                <a:gd name="connsiteY2779" fmla="*/ 2555028 h 4235290"/>
                <a:gd name="connsiteX2780" fmla="*/ 1496843 w 2792478"/>
                <a:gd name="connsiteY2780" fmla="*/ 2561826 h 4235290"/>
                <a:gd name="connsiteX2781" fmla="*/ 1434629 w 2792478"/>
                <a:gd name="connsiteY2781" fmla="*/ 2561826 h 4235290"/>
                <a:gd name="connsiteX2782" fmla="*/ 1427815 w 2792478"/>
                <a:gd name="connsiteY2782" fmla="*/ 2554992 h 4235290"/>
                <a:gd name="connsiteX2783" fmla="*/ 1427815 w 2792478"/>
                <a:gd name="connsiteY2783" fmla="*/ 2541658 h 4235290"/>
                <a:gd name="connsiteX2784" fmla="*/ 1441813 w 2792478"/>
                <a:gd name="connsiteY2784" fmla="*/ 2519658 h 4235290"/>
                <a:gd name="connsiteX2785" fmla="*/ 1441813 w 2792478"/>
                <a:gd name="connsiteY2785" fmla="*/ 2481926 h 4235290"/>
                <a:gd name="connsiteX2786" fmla="*/ 1459796 w 2792478"/>
                <a:gd name="connsiteY2786" fmla="*/ 2463867 h 4235290"/>
                <a:gd name="connsiteX2787" fmla="*/ 996174 w 2792478"/>
                <a:gd name="connsiteY2787" fmla="*/ 2461890 h 4235290"/>
                <a:gd name="connsiteX2788" fmla="*/ 1001646 w 2792478"/>
                <a:gd name="connsiteY2788" fmla="*/ 2465313 h 4235290"/>
                <a:gd name="connsiteX2789" fmla="*/ 1007178 w 2792478"/>
                <a:gd name="connsiteY2789" fmla="*/ 2461890 h 4235290"/>
                <a:gd name="connsiteX2790" fmla="*/ 1013017 w 2792478"/>
                <a:gd name="connsiteY2790" fmla="*/ 2467549 h 4235290"/>
                <a:gd name="connsiteX2791" fmla="*/ 1011712 w 2792478"/>
                <a:gd name="connsiteY2791" fmla="*/ 2471900 h 4235290"/>
                <a:gd name="connsiteX2792" fmla="*/ 1001646 w 2792478"/>
                <a:gd name="connsiteY2792" fmla="*/ 2480164 h 4235290"/>
                <a:gd name="connsiteX2793" fmla="*/ 991580 w 2792478"/>
                <a:gd name="connsiteY2793" fmla="*/ 2471900 h 4235290"/>
                <a:gd name="connsiteX2794" fmla="*/ 990335 w 2792478"/>
                <a:gd name="connsiteY2794" fmla="*/ 2467549 h 4235290"/>
                <a:gd name="connsiteX2795" fmla="*/ 996174 w 2792478"/>
                <a:gd name="connsiteY2795" fmla="*/ 2461890 h 4235290"/>
                <a:gd name="connsiteX2796" fmla="*/ 1693182 w 2792478"/>
                <a:gd name="connsiteY2796" fmla="*/ 2453907 h 4235290"/>
                <a:gd name="connsiteX2797" fmla="*/ 1695045 w 2792478"/>
                <a:gd name="connsiteY2797" fmla="*/ 2453907 h 4235290"/>
                <a:gd name="connsiteX2798" fmla="*/ 1699956 w 2792478"/>
                <a:gd name="connsiteY2798" fmla="*/ 2458813 h 4235290"/>
                <a:gd name="connsiteX2799" fmla="*/ 1699025 w 2792478"/>
                <a:gd name="connsiteY2799" fmla="*/ 2461669 h 4235290"/>
                <a:gd name="connsiteX2800" fmla="*/ 1699025 w 2792478"/>
                <a:gd name="connsiteY2800" fmla="*/ 2475591 h 4235290"/>
                <a:gd name="connsiteX2801" fmla="*/ 1694114 w 2792478"/>
                <a:gd name="connsiteY2801" fmla="*/ 2480503 h 4235290"/>
                <a:gd name="connsiteX2802" fmla="*/ 1689264 w 2792478"/>
                <a:gd name="connsiteY2802" fmla="*/ 2475591 h 4235290"/>
                <a:gd name="connsiteX2803" fmla="*/ 1689264 w 2792478"/>
                <a:gd name="connsiteY2803" fmla="*/ 2461669 h 4235290"/>
                <a:gd name="connsiteX2804" fmla="*/ 1688333 w 2792478"/>
                <a:gd name="connsiteY2804" fmla="*/ 2458813 h 4235290"/>
                <a:gd name="connsiteX2805" fmla="*/ 1693182 w 2792478"/>
                <a:gd name="connsiteY2805" fmla="*/ 2453907 h 4235290"/>
                <a:gd name="connsiteX2806" fmla="*/ 946278 w 2792478"/>
                <a:gd name="connsiteY2806" fmla="*/ 2452323 h 4235290"/>
                <a:gd name="connsiteX2807" fmla="*/ 940247 w 2792478"/>
                <a:gd name="connsiteY2807" fmla="*/ 2458228 h 4235290"/>
                <a:gd name="connsiteX2808" fmla="*/ 940247 w 2792478"/>
                <a:gd name="connsiteY2808" fmla="*/ 2527955 h 4235290"/>
                <a:gd name="connsiteX2809" fmla="*/ 946278 w 2792478"/>
                <a:gd name="connsiteY2809" fmla="*/ 2533853 h 4235290"/>
                <a:gd name="connsiteX2810" fmla="*/ 1037002 w 2792478"/>
                <a:gd name="connsiteY2810" fmla="*/ 2533853 h 4235290"/>
                <a:gd name="connsiteX2811" fmla="*/ 1043033 w 2792478"/>
                <a:gd name="connsiteY2811" fmla="*/ 2527955 h 4235290"/>
                <a:gd name="connsiteX2812" fmla="*/ 1043033 w 2792478"/>
                <a:gd name="connsiteY2812" fmla="*/ 2458228 h 4235290"/>
                <a:gd name="connsiteX2813" fmla="*/ 1037002 w 2792478"/>
                <a:gd name="connsiteY2813" fmla="*/ 2452323 h 4235290"/>
                <a:gd name="connsiteX2814" fmla="*/ 1126553 w 2792478"/>
                <a:gd name="connsiteY2814" fmla="*/ 2445982 h 4235290"/>
                <a:gd name="connsiteX2815" fmla="*/ 1152779 w 2792478"/>
                <a:gd name="connsiteY2815" fmla="*/ 2445982 h 4235290"/>
                <a:gd name="connsiteX2816" fmla="*/ 1157314 w 2792478"/>
                <a:gd name="connsiteY2816" fmla="*/ 2449212 h 4235290"/>
                <a:gd name="connsiteX2817" fmla="*/ 1157314 w 2792478"/>
                <a:gd name="connsiteY2817" fmla="*/ 2452756 h 4235290"/>
                <a:gd name="connsiteX2818" fmla="*/ 1152779 w 2792478"/>
                <a:gd name="connsiteY2818" fmla="*/ 2455867 h 4235290"/>
                <a:gd name="connsiteX2819" fmla="*/ 1126553 w 2792478"/>
                <a:gd name="connsiteY2819" fmla="*/ 2455867 h 4235290"/>
                <a:gd name="connsiteX2820" fmla="*/ 1121585 w 2792478"/>
                <a:gd name="connsiteY2820" fmla="*/ 2450894 h 4235290"/>
                <a:gd name="connsiteX2821" fmla="*/ 1126553 w 2792478"/>
                <a:gd name="connsiteY2821" fmla="*/ 2445982 h 4235290"/>
                <a:gd name="connsiteX2822" fmla="*/ 1326465 w 2792478"/>
                <a:gd name="connsiteY2822" fmla="*/ 2439334 h 4235290"/>
                <a:gd name="connsiteX2823" fmla="*/ 1322741 w 2792478"/>
                <a:gd name="connsiteY2823" fmla="*/ 2439646 h 4235290"/>
                <a:gd name="connsiteX2824" fmla="*/ 1298878 w 2792478"/>
                <a:gd name="connsiteY2824" fmla="*/ 2461331 h 4235290"/>
                <a:gd name="connsiteX2825" fmla="*/ 1298878 w 2792478"/>
                <a:gd name="connsiteY2825" fmla="*/ 2464812 h 4235290"/>
                <a:gd name="connsiteX2826" fmla="*/ 1378110 w 2792478"/>
                <a:gd name="connsiteY2826" fmla="*/ 2539328 h 4235290"/>
                <a:gd name="connsiteX2827" fmla="*/ 1397681 w 2792478"/>
                <a:gd name="connsiteY2827" fmla="*/ 2539016 h 4235290"/>
                <a:gd name="connsiteX2828" fmla="*/ 1405080 w 2792478"/>
                <a:gd name="connsiteY2828" fmla="*/ 2531552 h 4235290"/>
                <a:gd name="connsiteX2829" fmla="*/ 1408931 w 2792478"/>
                <a:gd name="connsiteY2829" fmla="*/ 2522175 h 4235290"/>
                <a:gd name="connsiteX2830" fmla="*/ 1404834 w 2792478"/>
                <a:gd name="connsiteY2830" fmla="*/ 2512913 h 4235290"/>
                <a:gd name="connsiteX2831" fmla="*/ 1326465 w 2792478"/>
                <a:gd name="connsiteY2831" fmla="*/ 2439334 h 4235290"/>
                <a:gd name="connsiteX2832" fmla="*/ 1514557 w 2792478"/>
                <a:gd name="connsiteY2832" fmla="*/ 2437495 h 4235290"/>
                <a:gd name="connsiteX2833" fmla="*/ 1574585 w 2792478"/>
                <a:gd name="connsiteY2833" fmla="*/ 2437495 h 4235290"/>
                <a:gd name="connsiteX2834" fmla="*/ 1574585 w 2792478"/>
                <a:gd name="connsiteY2834" fmla="*/ 2446069 h 4235290"/>
                <a:gd name="connsiteX2835" fmla="*/ 1514557 w 2792478"/>
                <a:gd name="connsiteY2835" fmla="*/ 2446069 h 4235290"/>
                <a:gd name="connsiteX2836" fmla="*/ 1652352 w 2792478"/>
                <a:gd name="connsiteY2836" fmla="*/ 2422148 h 4235290"/>
                <a:gd name="connsiteX2837" fmla="*/ 1652352 w 2792478"/>
                <a:gd name="connsiteY2837" fmla="*/ 2464967 h 4235290"/>
                <a:gd name="connsiteX2838" fmla="*/ 1678704 w 2792478"/>
                <a:gd name="connsiteY2838" fmla="*/ 2491314 h 4235290"/>
                <a:gd name="connsiteX2839" fmla="*/ 1708033 w 2792478"/>
                <a:gd name="connsiteY2839" fmla="*/ 2491314 h 4235290"/>
                <a:gd name="connsiteX2840" fmla="*/ 1734385 w 2792478"/>
                <a:gd name="connsiteY2840" fmla="*/ 2464967 h 4235290"/>
                <a:gd name="connsiteX2841" fmla="*/ 1734385 w 2792478"/>
                <a:gd name="connsiteY2841" fmla="*/ 2422148 h 4235290"/>
                <a:gd name="connsiteX2842" fmla="*/ 1514557 w 2792478"/>
                <a:gd name="connsiteY2842" fmla="*/ 2420341 h 4235290"/>
                <a:gd name="connsiteX2843" fmla="*/ 1574585 w 2792478"/>
                <a:gd name="connsiteY2843" fmla="*/ 2420341 h 4235290"/>
                <a:gd name="connsiteX2844" fmla="*/ 1574585 w 2792478"/>
                <a:gd name="connsiteY2844" fmla="*/ 2428921 h 4235290"/>
                <a:gd name="connsiteX2845" fmla="*/ 1514557 w 2792478"/>
                <a:gd name="connsiteY2845" fmla="*/ 2428921 h 4235290"/>
                <a:gd name="connsiteX2846" fmla="*/ 1121398 w 2792478"/>
                <a:gd name="connsiteY2846" fmla="*/ 2418143 h 4235290"/>
                <a:gd name="connsiteX2847" fmla="*/ 1192241 w 2792478"/>
                <a:gd name="connsiteY2847" fmla="*/ 2418143 h 4235290"/>
                <a:gd name="connsiteX2848" fmla="*/ 1211008 w 2792478"/>
                <a:gd name="connsiteY2848" fmla="*/ 2437218 h 4235290"/>
                <a:gd name="connsiteX2849" fmla="*/ 1211008 w 2792478"/>
                <a:gd name="connsiteY2849" fmla="*/ 2500544 h 4235290"/>
                <a:gd name="connsiteX2850" fmla="*/ 1215916 w 2792478"/>
                <a:gd name="connsiteY2850" fmla="*/ 2497067 h 4235290"/>
                <a:gd name="connsiteX2851" fmla="*/ 1219896 w 2792478"/>
                <a:gd name="connsiteY2851" fmla="*/ 2496820 h 4235290"/>
                <a:gd name="connsiteX2852" fmla="*/ 1222007 w 2792478"/>
                <a:gd name="connsiteY2852" fmla="*/ 2500110 h 4235290"/>
                <a:gd name="connsiteX2853" fmla="*/ 1222007 w 2792478"/>
                <a:gd name="connsiteY2853" fmla="*/ 2565986 h 4235290"/>
                <a:gd name="connsiteX2854" fmla="*/ 1219896 w 2792478"/>
                <a:gd name="connsiteY2854" fmla="*/ 2569404 h 4235290"/>
                <a:gd name="connsiteX2855" fmla="*/ 1215856 w 2792478"/>
                <a:gd name="connsiteY2855" fmla="*/ 2569090 h 4235290"/>
                <a:gd name="connsiteX2856" fmla="*/ 1169682 w 2792478"/>
                <a:gd name="connsiteY2856" fmla="*/ 2536152 h 4235290"/>
                <a:gd name="connsiteX2857" fmla="*/ 1168126 w 2792478"/>
                <a:gd name="connsiteY2857" fmla="*/ 2533108 h 4235290"/>
                <a:gd name="connsiteX2858" fmla="*/ 1169682 w 2792478"/>
                <a:gd name="connsiteY2858" fmla="*/ 2530125 h 4235290"/>
                <a:gd name="connsiteX2859" fmla="*/ 1201124 w 2792478"/>
                <a:gd name="connsiteY2859" fmla="*/ 2507752 h 4235290"/>
                <a:gd name="connsiteX2860" fmla="*/ 1201124 w 2792478"/>
                <a:gd name="connsiteY2860" fmla="*/ 2437218 h 4235290"/>
                <a:gd name="connsiteX2861" fmla="*/ 1192241 w 2792478"/>
                <a:gd name="connsiteY2861" fmla="*/ 2428395 h 4235290"/>
                <a:gd name="connsiteX2862" fmla="*/ 1121398 w 2792478"/>
                <a:gd name="connsiteY2862" fmla="*/ 2428395 h 4235290"/>
                <a:gd name="connsiteX2863" fmla="*/ 1112636 w 2792478"/>
                <a:gd name="connsiteY2863" fmla="*/ 2437218 h 4235290"/>
                <a:gd name="connsiteX2864" fmla="*/ 1112636 w 2792478"/>
                <a:gd name="connsiteY2864" fmla="*/ 2507752 h 4235290"/>
                <a:gd name="connsiteX2865" fmla="*/ 1143951 w 2792478"/>
                <a:gd name="connsiteY2865" fmla="*/ 2530125 h 4235290"/>
                <a:gd name="connsiteX2866" fmla="*/ 1145567 w 2792478"/>
                <a:gd name="connsiteY2866" fmla="*/ 2533108 h 4235290"/>
                <a:gd name="connsiteX2867" fmla="*/ 1144017 w 2792478"/>
                <a:gd name="connsiteY2867" fmla="*/ 2536219 h 4235290"/>
                <a:gd name="connsiteX2868" fmla="*/ 1097783 w 2792478"/>
                <a:gd name="connsiteY2868" fmla="*/ 2569090 h 4235290"/>
                <a:gd name="connsiteX2869" fmla="*/ 1093803 w 2792478"/>
                <a:gd name="connsiteY2869" fmla="*/ 2569404 h 4235290"/>
                <a:gd name="connsiteX2870" fmla="*/ 1091753 w 2792478"/>
                <a:gd name="connsiteY2870" fmla="*/ 2565986 h 4235290"/>
                <a:gd name="connsiteX2871" fmla="*/ 1091753 w 2792478"/>
                <a:gd name="connsiteY2871" fmla="*/ 2500110 h 4235290"/>
                <a:gd name="connsiteX2872" fmla="*/ 1093743 w 2792478"/>
                <a:gd name="connsiteY2872" fmla="*/ 2496820 h 4235290"/>
                <a:gd name="connsiteX2873" fmla="*/ 1097596 w 2792478"/>
                <a:gd name="connsiteY2873" fmla="*/ 2497067 h 4235290"/>
                <a:gd name="connsiteX2874" fmla="*/ 1102378 w 2792478"/>
                <a:gd name="connsiteY2874" fmla="*/ 2500544 h 4235290"/>
                <a:gd name="connsiteX2875" fmla="*/ 1102378 w 2792478"/>
                <a:gd name="connsiteY2875" fmla="*/ 2437218 h 4235290"/>
                <a:gd name="connsiteX2876" fmla="*/ 1121398 w 2792478"/>
                <a:gd name="connsiteY2876" fmla="*/ 2418143 h 4235290"/>
                <a:gd name="connsiteX2877" fmla="*/ 1032968 w 2792478"/>
                <a:gd name="connsiteY2877" fmla="*/ 2408200 h 4235290"/>
                <a:gd name="connsiteX2878" fmla="*/ 1035078 w 2792478"/>
                <a:gd name="connsiteY2878" fmla="*/ 2410314 h 4235290"/>
                <a:gd name="connsiteX2879" fmla="*/ 1034393 w 2792478"/>
                <a:gd name="connsiteY2879" fmla="*/ 2411869 h 4235290"/>
                <a:gd name="connsiteX2880" fmla="*/ 1008044 w 2792478"/>
                <a:gd name="connsiteY2880" fmla="*/ 2438959 h 4235290"/>
                <a:gd name="connsiteX2881" fmla="*/ 1045270 w 2792478"/>
                <a:gd name="connsiteY2881" fmla="*/ 2438959 h 4235290"/>
                <a:gd name="connsiteX2882" fmla="*/ 1056581 w 2792478"/>
                <a:gd name="connsiteY2882" fmla="*/ 2450332 h 4235290"/>
                <a:gd name="connsiteX2883" fmla="*/ 1056581 w 2792478"/>
                <a:gd name="connsiteY2883" fmla="*/ 2534849 h 4235290"/>
                <a:gd name="connsiteX2884" fmla="*/ 1045270 w 2792478"/>
                <a:gd name="connsiteY2884" fmla="*/ 2546161 h 4235290"/>
                <a:gd name="connsiteX2885" fmla="*/ 1022403 w 2792478"/>
                <a:gd name="connsiteY2885" fmla="*/ 2546161 h 4235290"/>
                <a:gd name="connsiteX2886" fmla="*/ 1022896 w 2792478"/>
                <a:gd name="connsiteY2886" fmla="*/ 2548773 h 4235290"/>
                <a:gd name="connsiteX2887" fmla="*/ 1016185 w 2792478"/>
                <a:gd name="connsiteY2887" fmla="*/ 2555482 h 4235290"/>
                <a:gd name="connsiteX2888" fmla="*/ 967095 w 2792478"/>
                <a:gd name="connsiteY2888" fmla="*/ 2555482 h 4235290"/>
                <a:gd name="connsiteX2889" fmla="*/ 960385 w 2792478"/>
                <a:gd name="connsiteY2889" fmla="*/ 2548773 h 4235290"/>
                <a:gd name="connsiteX2890" fmla="*/ 960878 w 2792478"/>
                <a:gd name="connsiteY2890" fmla="*/ 2546161 h 4235290"/>
                <a:gd name="connsiteX2891" fmla="*/ 938010 w 2792478"/>
                <a:gd name="connsiteY2891" fmla="*/ 2546161 h 4235290"/>
                <a:gd name="connsiteX2892" fmla="*/ 926700 w 2792478"/>
                <a:gd name="connsiteY2892" fmla="*/ 2534849 h 4235290"/>
                <a:gd name="connsiteX2893" fmla="*/ 926700 w 2792478"/>
                <a:gd name="connsiteY2893" fmla="*/ 2450332 h 4235290"/>
                <a:gd name="connsiteX2894" fmla="*/ 938010 w 2792478"/>
                <a:gd name="connsiteY2894" fmla="*/ 2438959 h 4235290"/>
                <a:gd name="connsiteX2895" fmla="*/ 994809 w 2792478"/>
                <a:gd name="connsiteY2895" fmla="*/ 2438959 h 4235290"/>
                <a:gd name="connsiteX2896" fmla="*/ 967468 w 2792478"/>
                <a:gd name="connsiteY2896" fmla="*/ 2412489 h 4235290"/>
                <a:gd name="connsiteX2897" fmla="*/ 966536 w 2792478"/>
                <a:gd name="connsiteY2897" fmla="*/ 2410750 h 4235290"/>
                <a:gd name="connsiteX2898" fmla="*/ 968647 w 2792478"/>
                <a:gd name="connsiteY2898" fmla="*/ 2408637 h 4235290"/>
                <a:gd name="connsiteX2899" fmla="*/ 970198 w 2792478"/>
                <a:gd name="connsiteY2899" fmla="*/ 2409318 h 4235290"/>
                <a:gd name="connsiteX2900" fmla="*/ 1000774 w 2792478"/>
                <a:gd name="connsiteY2900" fmla="*/ 2438959 h 4235290"/>
                <a:gd name="connsiteX2901" fmla="*/ 1002205 w 2792478"/>
                <a:gd name="connsiteY2901" fmla="*/ 2438959 h 4235290"/>
                <a:gd name="connsiteX2902" fmla="*/ 1031224 w 2792478"/>
                <a:gd name="connsiteY2902" fmla="*/ 2409134 h 4235290"/>
                <a:gd name="connsiteX2903" fmla="*/ 1032968 w 2792478"/>
                <a:gd name="connsiteY2903" fmla="*/ 2408200 h 4235290"/>
                <a:gd name="connsiteX2904" fmla="*/ 1394202 w 2792478"/>
                <a:gd name="connsiteY2904" fmla="*/ 2398254 h 4235290"/>
                <a:gd name="connsiteX2905" fmla="*/ 1396750 w 2792478"/>
                <a:gd name="connsiteY2905" fmla="*/ 2399255 h 4235290"/>
                <a:gd name="connsiteX2906" fmla="*/ 1396818 w 2792478"/>
                <a:gd name="connsiteY2906" fmla="*/ 2404346 h 4235290"/>
                <a:gd name="connsiteX2907" fmla="*/ 1356482 w 2792478"/>
                <a:gd name="connsiteY2907" fmla="*/ 2445919 h 4235290"/>
                <a:gd name="connsiteX2908" fmla="*/ 1353875 w 2792478"/>
                <a:gd name="connsiteY2908" fmla="*/ 2447044 h 4235290"/>
                <a:gd name="connsiteX2909" fmla="*/ 1351327 w 2792478"/>
                <a:gd name="connsiteY2909" fmla="*/ 2446042 h 4235290"/>
                <a:gd name="connsiteX2910" fmla="*/ 1351268 w 2792478"/>
                <a:gd name="connsiteY2910" fmla="*/ 2440885 h 4235290"/>
                <a:gd name="connsiteX2911" fmla="*/ 1391654 w 2792478"/>
                <a:gd name="connsiteY2911" fmla="*/ 2399313 h 4235290"/>
                <a:gd name="connsiteX2912" fmla="*/ 1394202 w 2792478"/>
                <a:gd name="connsiteY2912" fmla="*/ 2398254 h 4235290"/>
                <a:gd name="connsiteX2913" fmla="*/ 1386254 w 2792478"/>
                <a:gd name="connsiteY2913" fmla="*/ 2392292 h 4235290"/>
                <a:gd name="connsiteX2914" fmla="*/ 1388801 w 2792478"/>
                <a:gd name="connsiteY2914" fmla="*/ 2393286 h 4235290"/>
                <a:gd name="connsiteX2915" fmla="*/ 1388861 w 2792478"/>
                <a:gd name="connsiteY2915" fmla="*/ 2398385 h 4235290"/>
                <a:gd name="connsiteX2916" fmla="*/ 1348533 w 2792478"/>
                <a:gd name="connsiteY2916" fmla="*/ 2439958 h 4235290"/>
                <a:gd name="connsiteX2917" fmla="*/ 1345918 w 2792478"/>
                <a:gd name="connsiteY2917" fmla="*/ 2441074 h 4235290"/>
                <a:gd name="connsiteX2918" fmla="*/ 1343438 w 2792478"/>
                <a:gd name="connsiteY2918" fmla="*/ 2440081 h 4235290"/>
                <a:gd name="connsiteX2919" fmla="*/ 1343311 w 2792478"/>
                <a:gd name="connsiteY2919" fmla="*/ 2434924 h 4235290"/>
                <a:gd name="connsiteX2920" fmla="*/ 1383706 w 2792478"/>
                <a:gd name="connsiteY2920" fmla="*/ 2393352 h 4235290"/>
                <a:gd name="connsiteX2921" fmla="*/ 1386254 w 2792478"/>
                <a:gd name="connsiteY2921" fmla="*/ 2392292 h 4235290"/>
                <a:gd name="connsiteX2922" fmla="*/ 1591726 w 2792478"/>
                <a:gd name="connsiteY2922" fmla="*/ 2386058 h 4235290"/>
                <a:gd name="connsiteX2923" fmla="*/ 1617447 w 2792478"/>
                <a:gd name="connsiteY2923" fmla="*/ 2386058 h 4235290"/>
                <a:gd name="connsiteX2924" fmla="*/ 1617447 w 2792478"/>
                <a:gd name="connsiteY2924" fmla="*/ 2411774 h 4235290"/>
                <a:gd name="connsiteX2925" fmla="*/ 1591726 w 2792478"/>
                <a:gd name="connsiteY2925" fmla="*/ 2411774 h 4235290"/>
                <a:gd name="connsiteX2926" fmla="*/ 1384137 w 2792478"/>
                <a:gd name="connsiteY2926" fmla="*/ 2384714 h 4235290"/>
                <a:gd name="connsiteX2927" fmla="*/ 1332501 w 2792478"/>
                <a:gd name="connsiteY2927" fmla="*/ 2435729 h 4235290"/>
                <a:gd name="connsiteX2928" fmla="*/ 1356110 w 2792478"/>
                <a:gd name="connsiteY2928" fmla="*/ 2457915 h 4235290"/>
                <a:gd name="connsiteX2929" fmla="*/ 1407128 w 2792478"/>
                <a:gd name="connsiteY2929" fmla="*/ 2405340 h 4235290"/>
                <a:gd name="connsiteX2930" fmla="*/ 1277690 w 2792478"/>
                <a:gd name="connsiteY2930" fmla="*/ 2379179 h 4235290"/>
                <a:gd name="connsiteX2931" fmla="*/ 1269233 w 2792478"/>
                <a:gd name="connsiteY2931" fmla="*/ 2380050 h 4235290"/>
                <a:gd name="connsiteX2932" fmla="*/ 1274143 w 2792478"/>
                <a:gd name="connsiteY2932" fmla="*/ 2389123 h 4235290"/>
                <a:gd name="connsiteX2933" fmla="*/ 1291852 w 2792478"/>
                <a:gd name="connsiteY2933" fmla="*/ 2406399 h 4235290"/>
                <a:gd name="connsiteX2934" fmla="*/ 1292851 w 2792478"/>
                <a:gd name="connsiteY2934" fmla="*/ 2408756 h 4235290"/>
                <a:gd name="connsiteX2935" fmla="*/ 1291919 w 2792478"/>
                <a:gd name="connsiteY2935" fmla="*/ 2411120 h 4235290"/>
                <a:gd name="connsiteX2936" fmla="*/ 1274769 w 2792478"/>
                <a:gd name="connsiteY2936" fmla="*/ 2428708 h 4235290"/>
                <a:gd name="connsiteX2937" fmla="*/ 1272340 w 2792478"/>
                <a:gd name="connsiteY2937" fmla="*/ 2429768 h 4235290"/>
                <a:gd name="connsiteX2938" fmla="*/ 1269919 w 2792478"/>
                <a:gd name="connsiteY2938" fmla="*/ 2428766 h 4235290"/>
                <a:gd name="connsiteX2939" fmla="*/ 1251465 w 2792478"/>
                <a:gd name="connsiteY2939" fmla="*/ 2410127 h 4235290"/>
                <a:gd name="connsiteX2940" fmla="*/ 1242822 w 2792478"/>
                <a:gd name="connsiteY2940" fmla="*/ 2405340 h 4235290"/>
                <a:gd name="connsiteX2941" fmla="*/ 1241019 w 2792478"/>
                <a:gd name="connsiteY2941" fmla="*/ 2406522 h 4235290"/>
                <a:gd name="connsiteX2942" fmla="*/ 1239657 w 2792478"/>
                <a:gd name="connsiteY2942" fmla="*/ 2416277 h 4235290"/>
                <a:gd name="connsiteX2943" fmla="*/ 1277690 w 2792478"/>
                <a:gd name="connsiteY2943" fmla="*/ 2453440 h 4235290"/>
                <a:gd name="connsiteX2944" fmla="*/ 1278248 w 2792478"/>
                <a:gd name="connsiteY2944" fmla="*/ 2453506 h 4235290"/>
                <a:gd name="connsiteX2945" fmla="*/ 1294400 w 2792478"/>
                <a:gd name="connsiteY2945" fmla="*/ 2456240 h 4235290"/>
                <a:gd name="connsiteX2946" fmla="*/ 1317772 w 2792478"/>
                <a:gd name="connsiteY2946" fmla="*/ 2435047 h 4235290"/>
                <a:gd name="connsiteX2947" fmla="*/ 1315715 w 2792478"/>
                <a:gd name="connsiteY2947" fmla="*/ 2416655 h 4235290"/>
                <a:gd name="connsiteX2948" fmla="*/ 1315715 w 2792478"/>
                <a:gd name="connsiteY2948" fmla="*/ 2416277 h 4235290"/>
                <a:gd name="connsiteX2949" fmla="*/ 1277690 w 2792478"/>
                <a:gd name="connsiteY2949" fmla="*/ 2379179 h 4235290"/>
                <a:gd name="connsiteX2950" fmla="*/ 1505989 w 2792478"/>
                <a:gd name="connsiteY2950" fmla="*/ 2377478 h 4235290"/>
                <a:gd name="connsiteX2951" fmla="*/ 1505989 w 2792478"/>
                <a:gd name="connsiteY2951" fmla="*/ 2463217 h 4235290"/>
                <a:gd name="connsiteX2952" fmla="*/ 1626021 w 2792478"/>
                <a:gd name="connsiteY2952" fmla="*/ 2463217 h 4235290"/>
                <a:gd name="connsiteX2953" fmla="*/ 1626021 w 2792478"/>
                <a:gd name="connsiteY2953" fmla="*/ 2377478 h 4235290"/>
                <a:gd name="connsiteX2954" fmla="*/ 1683116 w 2792478"/>
                <a:gd name="connsiteY2954" fmla="*/ 2376162 h 4235290"/>
                <a:gd name="connsiteX2955" fmla="*/ 1666831 w 2792478"/>
                <a:gd name="connsiteY2955" fmla="*/ 2392503 h 4235290"/>
                <a:gd name="connsiteX2956" fmla="*/ 1666831 w 2792478"/>
                <a:gd name="connsiteY2956" fmla="*/ 2412329 h 4235290"/>
                <a:gd name="connsiteX2957" fmla="*/ 1719901 w 2792478"/>
                <a:gd name="connsiteY2957" fmla="*/ 2412329 h 4235290"/>
                <a:gd name="connsiteX2958" fmla="*/ 1719901 w 2792478"/>
                <a:gd name="connsiteY2958" fmla="*/ 2392503 h 4235290"/>
                <a:gd name="connsiteX2959" fmla="*/ 1703621 w 2792478"/>
                <a:gd name="connsiteY2959" fmla="*/ 2376162 h 4235290"/>
                <a:gd name="connsiteX2960" fmla="*/ 1277622 w 2792478"/>
                <a:gd name="connsiteY2960" fmla="*/ 2372405 h 4235290"/>
                <a:gd name="connsiteX2961" fmla="*/ 1322427 w 2792478"/>
                <a:gd name="connsiteY2961" fmla="*/ 2416096 h 4235290"/>
                <a:gd name="connsiteX2962" fmla="*/ 1324298 w 2792478"/>
                <a:gd name="connsiteY2962" fmla="*/ 2432748 h 4235290"/>
                <a:gd name="connsiteX2963" fmla="*/ 1326347 w 2792478"/>
                <a:gd name="connsiteY2963" fmla="*/ 2432559 h 4235290"/>
                <a:gd name="connsiteX2964" fmla="*/ 1326651 w 2792478"/>
                <a:gd name="connsiteY2964" fmla="*/ 2432001 h 4235290"/>
                <a:gd name="connsiteX2965" fmla="*/ 1381649 w 2792478"/>
                <a:gd name="connsiteY2965" fmla="*/ 2377627 h 4235290"/>
                <a:gd name="connsiteX2966" fmla="*/ 1386313 w 2792478"/>
                <a:gd name="connsiteY2966" fmla="*/ 2377562 h 4235290"/>
                <a:gd name="connsiteX2967" fmla="*/ 1414281 w 2792478"/>
                <a:gd name="connsiteY2967" fmla="*/ 2402671 h 4235290"/>
                <a:gd name="connsiteX2968" fmla="*/ 1415399 w 2792478"/>
                <a:gd name="connsiteY2968" fmla="*/ 2405028 h 4235290"/>
                <a:gd name="connsiteX2969" fmla="*/ 1414467 w 2792478"/>
                <a:gd name="connsiteY2969" fmla="*/ 2407516 h 4235290"/>
                <a:gd name="connsiteX2970" fmla="*/ 1361019 w 2792478"/>
                <a:gd name="connsiteY2970" fmla="*/ 2462513 h 4235290"/>
                <a:gd name="connsiteX2971" fmla="*/ 1409431 w 2792478"/>
                <a:gd name="connsiteY2971" fmla="*/ 2508003 h 4235290"/>
                <a:gd name="connsiteX2972" fmla="*/ 1415703 w 2792478"/>
                <a:gd name="connsiteY2972" fmla="*/ 2522052 h 4235290"/>
                <a:gd name="connsiteX2973" fmla="*/ 1409862 w 2792478"/>
                <a:gd name="connsiteY2973" fmla="*/ 2536339 h 4235290"/>
                <a:gd name="connsiteX2974" fmla="*/ 1402405 w 2792478"/>
                <a:gd name="connsiteY2974" fmla="*/ 2543795 h 4235290"/>
                <a:gd name="connsiteX2975" fmla="*/ 1387743 w 2792478"/>
                <a:gd name="connsiteY2975" fmla="*/ 2549764 h 4235290"/>
                <a:gd name="connsiteX2976" fmla="*/ 1373514 w 2792478"/>
                <a:gd name="connsiteY2976" fmla="*/ 2544230 h 4235290"/>
                <a:gd name="connsiteX2977" fmla="*/ 1315037 w 2792478"/>
                <a:gd name="connsiteY2977" fmla="*/ 2489298 h 4235290"/>
                <a:gd name="connsiteX2978" fmla="*/ 1281973 w 2792478"/>
                <a:gd name="connsiteY2978" fmla="*/ 2517577 h 4235290"/>
                <a:gd name="connsiteX2979" fmla="*/ 1279984 w 2792478"/>
                <a:gd name="connsiteY2979" fmla="*/ 2524162 h 4235290"/>
                <a:gd name="connsiteX2980" fmla="*/ 1278866 w 2792478"/>
                <a:gd name="connsiteY2980" fmla="*/ 2525837 h 4235290"/>
                <a:gd name="connsiteX2981" fmla="*/ 1266567 w 2792478"/>
                <a:gd name="connsiteY2981" fmla="*/ 2535346 h 4235290"/>
                <a:gd name="connsiteX2982" fmla="*/ 1251584 w 2792478"/>
                <a:gd name="connsiteY2982" fmla="*/ 2541249 h 4235290"/>
                <a:gd name="connsiteX2983" fmla="*/ 1244312 w 2792478"/>
                <a:gd name="connsiteY2983" fmla="*/ 2538392 h 4235290"/>
                <a:gd name="connsiteX2984" fmla="*/ 1250035 w 2792478"/>
                <a:gd name="connsiteY2984" fmla="*/ 2517010 h 4235290"/>
                <a:gd name="connsiteX2985" fmla="*/ 1260971 w 2792478"/>
                <a:gd name="connsiteY2985" fmla="*/ 2506328 h 4235290"/>
                <a:gd name="connsiteX2986" fmla="*/ 1263079 w 2792478"/>
                <a:gd name="connsiteY2986" fmla="*/ 2505334 h 4235290"/>
                <a:gd name="connsiteX2987" fmla="*/ 1270232 w 2792478"/>
                <a:gd name="connsiteY2987" fmla="*/ 2504899 h 4235290"/>
                <a:gd name="connsiteX2988" fmla="*/ 1299064 w 2792478"/>
                <a:gd name="connsiteY2988" fmla="*/ 2474255 h 4235290"/>
                <a:gd name="connsiteX2989" fmla="*/ 1293164 w 2792478"/>
                <a:gd name="connsiteY2989" fmla="*/ 2468729 h 4235290"/>
                <a:gd name="connsiteX2990" fmla="*/ 1292106 w 2792478"/>
                <a:gd name="connsiteY2990" fmla="*/ 2466241 h 4235290"/>
                <a:gd name="connsiteX2991" fmla="*/ 1292106 w 2792478"/>
                <a:gd name="connsiteY2991" fmla="*/ 2462702 h 4235290"/>
                <a:gd name="connsiteX2992" fmla="*/ 1277377 w 2792478"/>
                <a:gd name="connsiteY2992" fmla="*/ 2460214 h 4235290"/>
                <a:gd name="connsiteX2993" fmla="*/ 1232944 w 2792478"/>
                <a:gd name="connsiteY2993" fmla="*/ 2416277 h 4235290"/>
                <a:gd name="connsiteX2994" fmla="*/ 1234501 w 2792478"/>
                <a:gd name="connsiteY2994" fmla="*/ 2404724 h 4235290"/>
                <a:gd name="connsiteX2995" fmla="*/ 1242822 w 2792478"/>
                <a:gd name="connsiteY2995" fmla="*/ 2398566 h 4235290"/>
                <a:gd name="connsiteX2996" fmla="*/ 1256307 w 2792478"/>
                <a:gd name="connsiteY2996" fmla="*/ 2405340 h 4235290"/>
                <a:gd name="connsiteX2997" fmla="*/ 1272340 w 2792478"/>
                <a:gd name="connsiteY2997" fmla="*/ 2421565 h 4235290"/>
                <a:gd name="connsiteX2998" fmla="*/ 1284707 w 2792478"/>
                <a:gd name="connsiteY2998" fmla="*/ 2408821 h 4235290"/>
                <a:gd name="connsiteX2999" fmla="*/ 1269487 w 2792478"/>
                <a:gd name="connsiteY2999" fmla="*/ 2393967 h 4235290"/>
                <a:gd name="connsiteX3000" fmla="*/ 1262520 w 2792478"/>
                <a:gd name="connsiteY3000" fmla="*/ 2378309 h 4235290"/>
                <a:gd name="connsiteX3001" fmla="*/ 1267743 w 2792478"/>
                <a:gd name="connsiteY3001" fmla="*/ 2373464 h 4235290"/>
                <a:gd name="connsiteX3002" fmla="*/ 1277622 w 2792478"/>
                <a:gd name="connsiteY3002" fmla="*/ 2372405 h 4235290"/>
                <a:gd name="connsiteX3003" fmla="*/ 1497416 w 2792478"/>
                <a:gd name="connsiteY3003" fmla="*/ 2368904 h 4235290"/>
                <a:gd name="connsiteX3004" fmla="*/ 1634595 w 2792478"/>
                <a:gd name="connsiteY3004" fmla="*/ 2368904 h 4235290"/>
                <a:gd name="connsiteX3005" fmla="*/ 1634595 w 2792478"/>
                <a:gd name="connsiteY3005" fmla="*/ 2471791 h 4235290"/>
                <a:gd name="connsiteX3006" fmla="*/ 1497416 w 2792478"/>
                <a:gd name="connsiteY3006" fmla="*/ 2471791 h 4235290"/>
                <a:gd name="connsiteX3007" fmla="*/ 1683116 w 2792478"/>
                <a:gd name="connsiteY3007" fmla="*/ 2366405 h 4235290"/>
                <a:gd name="connsiteX3008" fmla="*/ 1703621 w 2792478"/>
                <a:gd name="connsiteY3008" fmla="*/ 2366405 h 4235290"/>
                <a:gd name="connsiteX3009" fmla="*/ 1729723 w 2792478"/>
                <a:gd name="connsiteY3009" fmla="*/ 2392503 h 4235290"/>
                <a:gd name="connsiteX3010" fmla="*/ 1729723 w 2792478"/>
                <a:gd name="connsiteY3010" fmla="*/ 2412329 h 4235290"/>
                <a:gd name="connsiteX3011" fmla="*/ 1739291 w 2792478"/>
                <a:gd name="connsiteY3011" fmla="*/ 2412329 h 4235290"/>
                <a:gd name="connsiteX3012" fmla="*/ 1744202 w 2792478"/>
                <a:gd name="connsiteY3012" fmla="*/ 2417242 h 4235290"/>
                <a:gd name="connsiteX3013" fmla="*/ 1744202 w 2792478"/>
                <a:gd name="connsiteY3013" fmla="*/ 2464967 h 4235290"/>
                <a:gd name="connsiteX3014" fmla="*/ 1708033 w 2792478"/>
                <a:gd name="connsiteY3014" fmla="*/ 2501071 h 4235290"/>
                <a:gd name="connsiteX3015" fmla="*/ 1678704 w 2792478"/>
                <a:gd name="connsiteY3015" fmla="*/ 2501071 h 4235290"/>
                <a:gd name="connsiteX3016" fmla="*/ 1642596 w 2792478"/>
                <a:gd name="connsiteY3016" fmla="*/ 2464967 h 4235290"/>
                <a:gd name="connsiteX3017" fmla="*/ 1642596 w 2792478"/>
                <a:gd name="connsiteY3017" fmla="*/ 2417242 h 4235290"/>
                <a:gd name="connsiteX3018" fmla="*/ 1647507 w 2792478"/>
                <a:gd name="connsiteY3018" fmla="*/ 2412329 h 4235290"/>
                <a:gd name="connsiteX3019" fmla="*/ 1657075 w 2792478"/>
                <a:gd name="connsiteY3019" fmla="*/ 2412329 h 4235290"/>
                <a:gd name="connsiteX3020" fmla="*/ 1657075 w 2792478"/>
                <a:gd name="connsiteY3020" fmla="*/ 2392503 h 4235290"/>
                <a:gd name="connsiteX3021" fmla="*/ 1683116 w 2792478"/>
                <a:gd name="connsiteY3021" fmla="*/ 2366405 h 4235290"/>
                <a:gd name="connsiteX3022" fmla="*/ 1108352 w 2792478"/>
                <a:gd name="connsiteY3022" fmla="*/ 2354701 h 4235290"/>
                <a:gd name="connsiteX3023" fmla="*/ 1100871 w 2792478"/>
                <a:gd name="connsiteY3023" fmla="*/ 2362176 h 4235290"/>
                <a:gd name="connsiteX3024" fmla="*/ 1108352 w 2792478"/>
                <a:gd name="connsiteY3024" fmla="*/ 2369641 h 4235290"/>
                <a:gd name="connsiteX3025" fmla="*/ 1115834 w 2792478"/>
                <a:gd name="connsiteY3025" fmla="*/ 2362176 h 4235290"/>
                <a:gd name="connsiteX3026" fmla="*/ 1108352 w 2792478"/>
                <a:gd name="connsiteY3026" fmla="*/ 2354701 h 4235290"/>
                <a:gd name="connsiteX3027" fmla="*/ 1505989 w 2792478"/>
                <a:gd name="connsiteY3027" fmla="*/ 2351762 h 4235290"/>
                <a:gd name="connsiteX3028" fmla="*/ 1626021 w 2792478"/>
                <a:gd name="connsiteY3028" fmla="*/ 2351762 h 4235290"/>
                <a:gd name="connsiteX3029" fmla="*/ 1626021 w 2792478"/>
                <a:gd name="connsiteY3029" fmla="*/ 2360330 h 4235290"/>
                <a:gd name="connsiteX3030" fmla="*/ 1505989 w 2792478"/>
                <a:gd name="connsiteY3030" fmla="*/ 2360330 h 4235290"/>
                <a:gd name="connsiteX3031" fmla="*/ 1514557 w 2792478"/>
                <a:gd name="connsiteY3031" fmla="*/ 2334608 h 4235290"/>
                <a:gd name="connsiteX3032" fmla="*/ 1617447 w 2792478"/>
                <a:gd name="connsiteY3032" fmla="*/ 2334608 h 4235290"/>
                <a:gd name="connsiteX3033" fmla="*/ 1617447 w 2792478"/>
                <a:gd name="connsiteY3033" fmla="*/ 2343182 h 4235290"/>
                <a:gd name="connsiteX3034" fmla="*/ 1514557 w 2792478"/>
                <a:gd name="connsiteY3034" fmla="*/ 2343182 h 4235290"/>
                <a:gd name="connsiteX3035" fmla="*/ 1755409 w 2792478"/>
                <a:gd name="connsiteY3035" fmla="*/ 2320161 h 4235290"/>
                <a:gd name="connsiteX3036" fmla="*/ 1740539 w 2792478"/>
                <a:gd name="connsiteY3036" fmla="*/ 2327015 h 4235290"/>
                <a:gd name="connsiteX3037" fmla="*/ 1739873 w 2792478"/>
                <a:gd name="connsiteY3037" fmla="*/ 2327756 h 4235290"/>
                <a:gd name="connsiteX3038" fmla="*/ 1739853 w 2792478"/>
                <a:gd name="connsiteY3038" fmla="*/ 2361773 h 4235290"/>
                <a:gd name="connsiteX3039" fmla="*/ 1780973 w 2792478"/>
                <a:gd name="connsiteY3039" fmla="*/ 2406086 h 4235290"/>
                <a:gd name="connsiteX3040" fmla="*/ 1822093 w 2792478"/>
                <a:gd name="connsiteY3040" fmla="*/ 2361773 h 4235290"/>
                <a:gd name="connsiteX3041" fmla="*/ 1822068 w 2792478"/>
                <a:gd name="connsiteY3041" fmla="*/ 2327756 h 4235290"/>
                <a:gd name="connsiteX3042" fmla="*/ 1821402 w 2792478"/>
                <a:gd name="connsiteY3042" fmla="*/ 2327020 h 4235290"/>
                <a:gd name="connsiteX3043" fmla="*/ 1806548 w 2792478"/>
                <a:gd name="connsiteY3043" fmla="*/ 2320161 h 4235290"/>
                <a:gd name="connsiteX3044" fmla="*/ 1791677 w 2792478"/>
                <a:gd name="connsiteY3044" fmla="*/ 2327015 h 4235290"/>
                <a:gd name="connsiteX3045" fmla="*/ 1783727 w 2792478"/>
                <a:gd name="connsiteY3045" fmla="*/ 2335825 h 4235290"/>
                <a:gd name="connsiteX3046" fmla="*/ 1780973 w 2792478"/>
                <a:gd name="connsiteY3046" fmla="*/ 2337049 h 4235290"/>
                <a:gd name="connsiteX3047" fmla="*/ 1778220 w 2792478"/>
                <a:gd name="connsiteY3047" fmla="*/ 2335825 h 4235290"/>
                <a:gd name="connsiteX3048" fmla="*/ 1770264 w 2792478"/>
                <a:gd name="connsiteY3048" fmla="*/ 2327015 h 4235290"/>
                <a:gd name="connsiteX3049" fmla="*/ 1755409 w 2792478"/>
                <a:gd name="connsiteY3049" fmla="*/ 2320161 h 4235290"/>
                <a:gd name="connsiteX3050" fmla="*/ 1755399 w 2792478"/>
                <a:gd name="connsiteY3050" fmla="*/ 2312733 h 4235290"/>
                <a:gd name="connsiteX3051" fmla="*/ 1775776 w 2792478"/>
                <a:gd name="connsiteY3051" fmla="*/ 2322041 h 4235290"/>
                <a:gd name="connsiteX3052" fmla="*/ 1780973 w 2792478"/>
                <a:gd name="connsiteY3052" fmla="*/ 2327794 h 4235290"/>
                <a:gd name="connsiteX3053" fmla="*/ 1786170 w 2792478"/>
                <a:gd name="connsiteY3053" fmla="*/ 2322041 h 4235290"/>
                <a:gd name="connsiteX3054" fmla="*/ 1806548 w 2792478"/>
                <a:gd name="connsiteY3054" fmla="*/ 2312733 h 4235290"/>
                <a:gd name="connsiteX3055" fmla="*/ 1826915 w 2792478"/>
                <a:gd name="connsiteY3055" fmla="*/ 2322041 h 4235290"/>
                <a:gd name="connsiteX3056" fmla="*/ 1827580 w 2792478"/>
                <a:gd name="connsiteY3056" fmla="*/ 2322777 h 4235290"/>
                <a:gd name="connsiteX3057" fmla="*/ 1835841 w 2792478"/>
                <a:gd name="connsiteY3057" fmla="*/ 2344772 h 4235290"/>
                <a:gd name="connsiteX3058" fmla="*/ 1827580 w 2792478"/>
                <a:gd name="connsiteY3058" fmla="*/ 2366767 h 4235290"/>
                <a:gd name="connsiteX3059" fmla="*/ 1827545 w 2792478"/>
                <a:gd name="connsiteY3059" fmla="*/ 2366805 h 4235290"/>
                <a:gd name="connsiteX3060" fmla="*/ 1783691 w 2792478"/>
                <a:gd name="connsiteY3060" fmla="*/ 2414074 h 4235290"/>
                <a:gd name="connsiteX3061" fmla="*/ 1780973 w 2792478"/>
                <a:gd name="connsiteY3061" fmla="*/ 2415256 h 4235290"/>
                <a:gd name="connsiteX3062" fmla="*/ 1778255 w 2792478"/>
                <a:gd name="connsiteY3062" fmla="*/ 2414074 h 4235290"/>
                <a:gd name="connsiteX3063" fmla="*/ 1734397 w 2792478"/>
                <a:gd name="connsiteY3063" fmla="*/ 2366805 h 4235290"/>
                <a:gd name="connsiteX3064" fmla="*/ 1734361 w 2792478"/>
                <a:gd name="connsiteY3064" fmla="*/ 2366767 h 4235290"/>
                <a:gd name="connsiteX3065" fmla="*/ 1726106 w 2792478"/>
                <a:gd name="connsiteY3065" fmla="*/ 2344772 h 4235290"/>
                <a:gd name="connsiteX3066" fmla="*/ 1734361 w 2792478"/>
                <a:gd name="connsiteY3066" fmla="*/ 2322777 h 4235290"/>
                <a:gd name="connsiteX3067" fmla="*/ 1735027 w 2792478"/>
                <a:gd name="connsiteY3067" fmla="*/ 2322041 h 4235290"/>
                <a:gd name="connsiteX3068" fmla="*/ 1755399 w 2792478"/>
                <a:gd name="connsiteY3068" fmla="*/ 2312733 h 4235290"/>
                <a:gd name="connsiteX3069" fmla="*/ 992150 w 2792478"/>
                <a:gd name="connsiteY3069" fmla="*/ 2287020 h 4235290"/>
                <a:gd name="connsiteX3070" fmla="*/ 968039 w 2792478"/>
                <a:gd name="connsiteY3070" fmla="*/ 2331829 h 4235290"/>
                <a:gd name="connsiteX3071" fmla="*/ 964779 w 2792478"/>
                <a:gd name="connsiteY3071" fmla="*/ 2344778 h 4235290"/>
                <a:gd name="connsiteX3072" fmla="*/ 992150 w 2792478"/>
                <a:gd name="connsiteY3072" fmla="*/ 2372125 h 4235290"/>
                <a:gd name="connsiteX3073" fmla="*/ 1019497 w 2792478"/>
                <a:gd name="connsiteY3073" fmla="*/ 2344778 h 4235290"/>
                <a:gd name="connsiteX3074" fmla="*/ 1016258 w 2792478"/>
                <a:gd name="connsiteY3074" fmla="*/ 2331829 h 4235290"/>
                <a:gd name="connsiteX3075" fmla="*/ 1112336 w 2792478"/>
                <a:gd name="connsiteY3075" fmla="*/ 2280162 h 4235290"/>
                <a:gd name="connsiteX3076" fmla="*/ 1184610 w 2792478"/>
                <a:gd name="connsiteY3076" fmla="*/ 2280162 h 4235290"/>
                <a:gd name="connsiteX3077" fmla="*/ 1188293 w 2792478"/>
                <a:gd name="connsiteY3077" fmla="*/ 2284090 h 4235290"/>
                <a:gd name="connsiteX3078" fmla="*/ 1184610 w 2792478"/>
                <a:gd name="connsiteY3078" fmla="*/ 2288017 h 4235290"/>
                <a:gd name="connsiteX3079" fmla="*/ 1112336 w 2792478"/>
                <a:gd name="connsiteY3079" fmla="*/ 2288017 h 4235290"/>
                <a:gd name="connsiteX3080" fmla="*/ 1108660 w 2792478"/>
                <a:gd name="connsiteY3080" fmla="*/ 2284090 h 4235290"/>
                <a:gd name="connsiteX3081" fmla="*/ 1112336 w 2792478"/>
                <a:gd name="connsiteY3081" fmla="*/ 2280162 h 4235290"/>
                <a:gd name="connsiteX3082" fmla="*/ 992150 w 2792478"/>
                <a:gd name="connsiteY3082" fmla="*/ 2272961 h 4235290"/>
                <a:gd name="connsiteX3083" fmla="*/ 998173 w 2792478"/>
                <a:gd name="connsiteY3083" fmla="*/ 2276573 h 4235290"/>
                <a:gd name="connsiteX3084" fmla="*/ 1025286 w 2792478"/>
                <a:gd name="connsiteY3084" fmla="*/ 2326981 h 4235290"/>
                <a:gd name="connsiteX3085" fmla="*/ 1029766 w 2792478"/>
                <a:gd name="connsiteY3085" fmla="*/ 2344778 h 4235290"/>
                <a:gd name="connsiteX3086" fmla="*/ 992150 w 2792478"/>
                <a:gd name="connsiteY3086" fmla="*/ 2382389 h 4235290"/>
                <a:gd name="connsiteX3087" fmla="*/ 954528 w 2792478"/>
                <a:gd name="connsiteY3087" fmla="*/ 2344778 h 4235290"/>
                <a:gd name="connsiteX3088" fmla="*/ 959004 w 2792478"/>
                <a:gd name="connsiteY3088" fmla="*/ 2326981 h 4235290"/>
                <a:gd name="connsiteX3089" fmla="*/ 986121 w 2792478"/>
                <a:gd name="connsiteY3089" fmla="*/ 2276573 h 4235290"/>
                <a:gd name="connsiteX3090" fmla="*/ 992150 w 2792478"/>
                <a:gd name="connsiteY3090" fmla="*/ 2272961 h 4235290"/>
                <a:gd name="connsiteX3091" fmla="*/ 1874510 w 2792478"/>
                <a:gd name="connsiteY3091" fmla="*/ 2263230 h 4235290"/>
                <a:gd name="connsiteX3092" fmla="*/ 1869177 w 2792478"/>
                <a:gd name="connsiteY3092" fmla="*/ 2268565 h 4235290"/>
                <a:gd name="connsiteX3093" fmla="*/ 1869177 w 2792478"/>
                <a:gd name="connsiteY3093" fmla="*/ 2298601 h 4235290"/>
                <a:gd name="connsiteX3094" fmla="*/ 1874510 w 2792478"/>
                <a:gd name="connsiteY3094" fmla="*/ 2303941 h 4235290"/>
                <a:gd name="connsiteX3095" fmla="*/ 1895827 w 2792478"/>
                <a:gd name="connsiteY3095" fmla="*/ 2303941 h 4235290"/>
                <a:gd name="connsiteX3096" fmla="*/ 1901165 w 2792478"/>
                <a:gd name="connsiteY3096" fmla="*/ 2298601 h 4235290"/>
                <a:gd name="connsiteX3097" fmla="*/ 1901165 w 2792478"/>
                <a:gd name="connsiteY3097" fmla="*/ 2268565 h 4235290"/>
                <a:gd name="connsiteX3098" fmla="*/ 1895827 w 2792478"/>
                <a:gd name="connsiteY3098" fmla="*/ 2263230 h 4235290"/>
                <a:gd name="connsiteX3099" fmla="*/ 1836935 w 2792478"/>
                <a:gd name="connsiteY3099" fmla="*/ 2263230 h 4235290"/>
                <a:gd name="connsiteX3100" fmla="*/ 1831611 w 2792478"/>
                <a:gd name="connsiteY3100" fmla="*/ 2268565 h 4235290"/>
                <a:gd name="connsiteX3101" fmla="*/ 1831611 w 2792478"/>
                <a:gd name="connsiteY3101" fmla="*/ 2298601 h 4235290"/>
                <a:gd name="connsiteX3102" fmla="*/ 1836935 w 2792478"/>
                <a:gd name="connsiteY3102" fmla="*/ 2303941 h 4235290"/>
                <a:gd name="connsiteX3103" fmla="*/ 1858270 w 2792478"/>
                <a:gd name="connsiteY3103" fmla="*/ 2303941 h 4235290"/>
                <a:gd name="connsiteX3104" fmla="*/ 1863581 w 2792478"/>
                <a:gd name="connsiteY3104" fmla="*/ 2298601 h 4235290"/>
                <a:gd name="connsiteX3105" fmla="*/ 1863581 w 2792478"/>
                <a:gd name="connsiteY3105" fmla="*/ 2268565 h 4235290"/>
                <a:gd name="connsiteX3106" fmla="*/ 1858270 w 2792478"/>
                <a:gd name="connsiteY3106" fmla="*/ 2263230 h 4235290"/>
                <a:gd name="connsiteX3107" fmla="*/ 1112336 w 2792478"/>
                <a:gd name="connsiteY3107" fmla="*/ 2258967 h 4235290"/>
                <a:gd name="connsiteX3108" fmla="*/ 1184610 w 2792478"/>
                <a:gd name="connsiteY3108" fmla="*/ 2258967 h 4235290"/>
                <a:gd name="connsiteX3109" fmla="*/ 1188293 w 2792478"/>
                <a:gd name="connsiteY3109" fmla="*/ 2262853 h 4235290"/>
                <a:gd name="connsiteX3110" fmla="*/ 1184610 w 2792478"/>
                <a:gd name="connsiteY3110" fmla="*/ 2266791 h 4235290"/>
                <a:gd name="connsiteX3111" fmla="*/ 1112336 w 2792478"/>
                <a:gd name="connsiteY3111" fmla="*/ 2266791 h 4235290"/>
                <a:gd name="connsiteX3112" fmla="*/ 1108660 w 2792478"/>
                <a:gd name="connsiteY3112" fmla="*/ 2262853 h 4235290"/>
                <a:gd name="connsiteX3113" fmla="*/ 1112336 w 2792478"/>
                <a:gd name="connsiteY3113" fmla="*/ 2258967 h 4235290"/>
                <a:gd name="connsiteX3114" fmla="*/ 1736361 w 2792478"/>
                <a:gd name="connsiteY3114" fmla="*/ 2248408 h 4235290"/>
                <a:gd name="connsiteX3115" fmla="*/ 1742029 w 2792478"/>
                <a:gd name="connsiteY3115" fmla="*/ 2254078 h 4235290"/>
                <a:gd name="connsiteX3116" fmla="*/ 1742029 w 2792478"/>
                <a:gd name="connsiteY3116" fmla="*/ 2265411 h 4235290"/>
                <a:gd name="connsiteX3117" fmla="*/ 1753364 w 2792478"/>
                <a:gd name="connsiteY3117" fmla="*/ 2265411 h 4235290"/>
                <a:gd name="connsiteX3118" fmla="*/ 1759038 w 2792478"/>
                <a:gd name="connsiteY3118" fmla="*/ 2271086 h 4235290"/>
                <a:gd name="connsiteX3119" fmla="*/ 1753364 w 2792478"/>
                <a:gd name="connsiteY3119" fmla="*/ 2276738 h 4235290"/>
                <a:gd name="connsiteX3120" fmla="*/ 1742029 w 2792478"/>
                <a:gd name="connsiteY3120" fmla="*/ 2276738 h 4235290"/>
                <a:gd name="connsiteX3121" fmla="*/ 1742029 w 2792478"/>
                <a:gd name="connsiteY3121" fmla="*/ 2288080 h 4235290"/>
                <a:gd name="connsiteX3122" fmla="*/ 1736361 w 2792478"/>
                <a:gd name="connsiteY3122" fmla="*/ 2293746 h 4235290"/>
                <a:gd name="connsiteX3123" fmla="*/ 1730693 w 2792478"/>
                <a:gd name="connsiteY3123" fmla="*/ 2288080 h 4235290"/>
                <a:gd name="connsiteX3124" fmla="*/ 1730693 w 2792478"/>
                <a:gd name="connsiteY3124" fmla="*/ 2276738 h 4235290"/>
                <a:gd name="connsiteX3125" fmla="*/ 1719346 w 2792478"/>
                <a:gd name="connsiteY3125" fmla="*/ 2276738 h 4235290"/>
                <a:gd name="connsiteX3126" fmla="*/ 1713691 w 2792478"/>
                <a:gd name="connsiteY3126" fmla="*/ 2271086 h 4235290"/>
                <a:gd name="connsiteX3127" fmla="*/ 1719346 w 2792478"/>
                <a:gd name="connsiteY3127" fmla="*/ 2265411 h 4235290"/>
                <a:gd name="connsiteX3128" fmla="*/ 1730693 w 2792478"/>
                <a:gd name="connsiteY3128" fmla="*/ 2265411 h 4235290"/>
                <a:gd name="connsiteX3129" fmla="*/ 1730693 w 2792478"/>
                <a:gd name="connsiteY3129" fmla="*/ 2254078 h 4235290"/>
                <a:gd name="connsiteX3130" fmla="*/ 1736361 w 2792478"/>
                <a:gd name="connsiteY3130" fmla="*/ 2248408 h 4235290"/>
                <a:gd name="connsiteX3131" fmla="*/ 1112336 w 2792478"/>
                <a:gd name="connsiteY3131" fmla="*/ 2237740 h 4235290"/>
                <a:gd name="connsiteX3132" fmla="*/ 1184610 w 2792478"/>
                <a:gd name="connsiteY3132" fmla="*/ 2237740 h 4235290"/>
                <a:gd name="connsiteX3133" fmla="*/ 1188293 w 2792478"/>
                <a:gd name="connsiteY3133" fmla="*/ 2241657 h 4235290"/>
                <a:gd name="connsiteX3134" fmla="*/ 1184610 w 2792478"/>
                <a:gd name="connsiteY3134" fmla="*/ 2245554 h 4235290"/>
                <a:gd name="connsiteX3135" fmla="*/ 1112336 w 2792478"/>
                <a:gd name="connsiteY3135" fmla="*/ 2245554 h 4235290"/>
                <a:gd name="connsiteX3136" fmla="*/ 1108660 w 2792478"/>
                <a:gd name="connsiteY3136" fmla="*/ 2241657 h 4235290"/>
                <a:gd name="connsiteX3137" fmla="*/ 1112336 w 2792478"/>
                <a:gd name="connsiteY3137" fmla="*/ 2237740 h 4235290"/>
                <a:gd name="connsiteX3138" fmla="*/ 1874510 w 2792478"/>
                <a:gd name="connsiteY3138" fmla="*/ 2232071 h 4235290"/>
                <a:gd name="connsiteX3139" fmla="*/ 1869177 w 2792478"/>
                <a:gd name="connsiteY3139" fmla="*/ 2237401 h 4235290"/>
                <a:gd name="connsiteX3140" fmla="*/ 1869177 w 2792478"/>
                <a:gd name="connsiteY3140" fmla="*/ 2250727 h 4235290"/>
                <a:gd name="connsiteX3141" fmla="*/ 1874510 w 2792478"/>
                <a:gd name="connsiteY3141" fmla="*/ 2256073 h 4235290"/>
                <a:gd name="connsiteX3142" fmla="*/ 1904551 w 2792478"/>
                <a:gd name="connsiteY3142" fmla="*/ 2256073 h 4235290"/>
                <a:gd name="connsiteX3143" fmla="*/ 1909871 w 2792478"/>
                <a:gd name="connsiteY3143" fmla="*/ 2250727 h 4235290"/>
                <a:gd name="connsiteX3144" fmla="*/ 1909871 w 2792478"/>
                <a:gd name="connsiteY3144" fmla="*/ 2237401 h 4235290"/>
                <a:gd name="connsiteX3145" fmla="*/ 1904551 w 2792478"/>
                <a:gd name="connsiteY3145" fmla="*/ 2232071 h 4235290"/>
                <a:gd name="connsiteX3146" fmla="*/ 1828239 w 2792478"/>
                <a:gd name="connsiteY3146" fmla="*/ 2232071 h 4235290"/>
                <a:gd name="connsiteX3147" fmla="*/ 1822919 w 2792478"/>
                <a:gd name="connsiteY3147" fmla="*/ 2237401 h 4235290"/>
                <a:gd name="connsiteX3148" fmla="*/ 1822919 w 2792478"/>
                <a:gd name="connsiteY3148" fmla="*/ 2250727 h 4235290"/>
                <a:gd name="connsiteX3149" fmla="*/ 1828239 w 2792478"/>
                <a:gd name="connsiteY3149" fmla="*/ 2256073 h 4235290"/>
                <a:gd name="connsiteX3150" fmla="*/ 1858292 w 2792478"/>
                <a:gd name="connsiteY3150" fmla="*/ 2256073 h 4235290"/>
                <a:gd name="connsiteX3151" fmla="*/ 1863617 w 2792478"/>
                <a:gd name="connsiteY3151" fmla="*/ 2250727 h 4235290"/>
                <a:gd name="connsiteX3152" fmla="*/ 1863617 w 2792478"/>
                <a:gd name="connsiteY3152" fmla="*/ 2237401 h 4235290"/>
                <a:gd name="connsiteX3153" fmla="*/ 1858292 w 2792478"/>
                <a:gd name="connsiteY3153" fmla="*/ 2232071 h 4235290"/>
                <a:gd name="connsiteX3154" fmla="*/ 1865244 w 2792478"/>
                <a:gd name="connsiteY3154" fmla="*/ 2229381 h 4235290"/>
                <a:gd name="connsiteX3155" fmla="*/ 1866401 w 2792478"/>
                <a:gd name="connsiteY3155" fmla="*/ 2230554 h 4235290"/>
                <a:gd name="connsiteX3156" fmla="*/ 1867531 w 2792478"/>
                <a:gd name="connsiteY3156" fmla="*/ 2229404 h 4235290"/>
                <a:gd name="connsiteX3157" fmla="*/ 1865244 w 2792478"/>
                <a:gd name="connsiteY3157" fmla="*/ 2229381 h 4235290"/>
                <a:gd name="connsiteX3158" fmla="*/ 1100624 w 2792478"/>
                <a:gd name="connsiteY3158" fmla="*/ 2219067 h 4235290"/>
                <a:gd name="connsiteX3159" fmla="*/ 1092649 w 2792478"/>
                <a:gd name="connsiteY3159" fmla="*/ 2226953 h 4235290"/>
                <a:gd name="connsiteX3160" fmla="*/ 1092649 w 2792478"/>
                <a:gd name="connsiteY3160" fmla="*/ 2299840 h 4235290"/>
                <a:gd name="connsiteX3161" fmla="*/ 1100624 w 2792478"/>
                <a:gd name="connsiteY3161" fmla="*/ 2307716 h 4235290"/>
                <a:gd name="connsiteX3162" fmla="*/ 1115580 w 2792478"/>
                <a:gd name="connsiteY3162" fmla="*/ 2307716 h 4235290"/>
                <a:gd name="connsiteX3163" fmla="*/ 1115580 w 2792478"/>
                <a:gd name="connsiteY3163" fmla="*/ 2323200 h 4235290"/>
                <a:gd name="connsiteX3164" fmla="*/ 1131067 w 2792478"/>
                <a:gd name="connsiteY3164" fmla="*/ 2307716 h 4235290"/>
                <a:gd name="connsiteX3165" fmla="*/ 1196136 w 2792478"/>
                <a:gd name="connsiteY3165" fmla="*/ 2307716 h 4235290"/>
                <a:gd name="connsiteX3166" fmla="*/ 1204111 w 2792478"/>
                <a:gd name="connsiteY3166" fmla="*/ 2299840 h 4235290"/>
                <a:gd name="connsiteX3167" fmla="*/ 1204111 w 2792478"/>
                <a:gd name="connsiteY3167" fmla="*/ 2226953 h 4235290"/>
                <a:gd name="connsiteX3168" fmla="*/ 1196136 w 2792478"/>
                <a:gd name="connsiteY3168" fmla="*/ 2219067 h 4235290"/>
                <a:gd name="connsiteX3169" fmla="*/ 1639999 w 2792478"/>
                <a:gd name="connsiteY3169" fmla="*/ 2197394 h 4235290"/>
                <a:gd name="connsiteX3170" fmla="*/ 1730693 w 2792478"/>
                <a:gd name="connsiteY3170" fmla="*/ 2197394 h 4235290"/>
                <a:gd name="connsiteX3171" fmla="*/ 1742029 w 2792478"/>
                <a:gd name="connsiteY3171" fmla="*/ 2208721 h 4235290"/>
                <a:gd name="connsiteX3172" fmla="*/ 1742029 w 2792478"/>
                <a:gd name="connsiteY3172" fmla="*/ 2244307 h 4235290"/>
                <a:gd name="connsiteX3173" fmla="*/ 1736361 w 2792478"/>
                <a:gd name="connsiteY3173" fmla="*/ 2242742 h 4235290"/>
                <a:gd name="connsiteX3174" fmla="*/ 1730693 w 2792478"/>
                <a:gd name="connsiteY3174" fmla="*/ 2244307 h 4235290"/>
                <a:gd name="connsiteX3175" fmla="*/ 1730693 w 2792478"/>
                <a:gd name="connsiteY3175" fmla="*/ 2208721 h 4235290"/>
                <a:gd name="connsiteX3176" fmla="*/ 1639999 w 2792478"/>
                <a:gd name="connsiteY3176" fmla="*/ 2208721 h 4235290"/>
                <a:gd name="connsiteX3177" fmla="*/ 1639999 w 2792478"/>
                <a:gd name="connsiteY3177" fmla="*/ 2265411 h 4235290"/>
                <a:gd name="connsiteX3178" fmla="*/ 1709592 w 2792478"/>
                <a:gd name="connsiteY3178" fmla="*/ 2265411 h 4235290"/>
                <a:gd name="connsiteX3179" fmla="*/ 1708023 w 2792478"/>
                <a:gd name="connsiteY3179" fmla="*/ 2271086 h 4235290"/>
                <a:gd name="connsiteX3180" fmla="*/ 1709592 w 2792478"/>
                <a:gd name="connsiteY3180" fmla="*/ 2276738 h 4235290"/>
                <a:gd name="connsiteX3181" fmla="*/ 1679498 w 2792478"/>
                <a:gd name="connsiteY3181" fmla="*/ 2276738 h 4235290"/>
                <a:gd name="connsiteX3182" fmla="*/ 1664052 w 2792478"/>
                <a:gd name="connsiteY3182" fmla="*/ 2296209 h 4235290"/>
                <a:gd name="connsiteX3183" fmla="*/ 1657008 w 2792478"/>
                <a:gd name="connsiteY3183" fmla="*/ 2293746 h 4235290"/>
                <a:gd name="connsiteX3184" fmla="*/ 1657008 w 2792478"/>
                <a:gd name="connsiteY3184" fmla="*/ 2276738 h 4235290"/>
                <a:gd name="connsiteX3185" fmla="*/ 1639999 w 2792478"/>
                <a:gd name="connsiteY3185" fmla="*/ 2276738 h 4235290"/>
                <a:gd name="connsiteX3186" fmla="*/ 1628664 w 2792478"/>
                <a:gd name="connsiteY3186" fmla="*/ 2265411 h 4235290"/>
                <a:gd name="connsiteX3187" fmla="*/ 1628664 w 2792478"/>
                <a:gd name="connsiteY3187" fmla="*/ 2208721 h 4235290"/>
                <a:gd name="connsiteX3188" fmla="*/ 1639999 w 2792478"/>
                <a:gd name="connsiteY3188" fmla="*/ 2197394 h 4235290"/>
                <a:gd name="connsiteX3189" fmla="*/ 1842188 w 2792478"/>
                <a:gd name="connsiteY3189" fmla="*/ 2193373 h 4235290"/>
                <a:gd name="connsiteX3190" fmla="*/ 1839891 w 2792478"/>
                <a:gd name="connsiteY3190" fmla="*/ 2194343 h 4235290"/>
                <a:gd name="connsiteX3191" fmla="*/ 1833243 w 2792478"/>
                <a:gd name="connsiteY3191" fmla="*/ 2201347 h 4235290"/>
                <a:gd name="connsiteX3192" fmla="*/ 1832366 w 2792478"/>
                <a:gd name="connsiteY3192" fmla="*/ 2203524 h 4235290"/>
                <a:gd name="connsiteX3193" fmla="*/ 1833319 w 2792478"/>
                <a:gd name="connsiteY3193" fmla="*/ 2205723 h 4235290"/>
                <a:gd name="connsiteX3194" fmla="*/ 1857628 w 2792478"/>
                <a:gd name="connsiteY3194" fmla="*/ 2223403 h 4235290"/>
                <a:gd name="connsiteX3195" fmla="*/ 1859829 w 2792478"/>
                <a:gd name="connsiteY3195" fmla="*/ 2224322 h 4235290"/>
                <a:gd name="connsiteX3196" fmla="*/ 1862103 w 2792478"/>
                <a:gd name="connsiteY3196" fmla="*/ 2223341 h 4235290"/>
                <a:gd name="connsiteX3197" fmla="*/ 1863305 w 2792478"/>
                <a:gd name="connsiteY3197" fmla="*/ 2222095 h 4235290"/>
                <a:gd name="connsiteX3198" fmla="*/ 1864128 w 2792478"/>
                <a:gd name="connsiteY3198" fmla="*/ 2220110 h 4235290"/>
                <a:gd name="connsiteX3199" fmla="*/ 1864132 w 2792478"/>
                <a:gd name="connsiteY3199" fmla="*/ 2219862 h 4235290"/>
                <a:gd name="connsiteX3200" fmla="*/ 1863224 w 2792478"/>
                <a:gd name="connsiteY3200" fmla="*/ 2217724 h 4235290"/>
                <a:gd name="connsiteX3201" fmla="*/ 1844172 w 2792478"/>
                <a:gd name="connsiteY3201" fmla="*/ 2194100 h 4235290"/>
                <a:gd name="connsiteX3202" fmla="*/ 1842188 w 2792478"/>
                <a:gd name="connsiteY3202" fmla="*/ 2193373 h 4235290"/>
                <a:gd name="connsiteX3203" fmla="*/ 1889996 w 2792478"/>
                <a:gd name="connsiteY3203" fmla="*/ 2192521 h 4235290"/>
                <a:gd name="connsiteX3204" fmla="*/ 1887794 w 2792478"/>
                <a:gd name="connsiteY3204" fmla="*/ 2193469 h 4235290"/>
                <a:gd name="connsiteX3205" fmla="*/ 1870108 w 2792478"/>
                <a:gd name="connsiteY3205" fmla="*/ 2217786 h 4235290"/>
                <a:gd name="connsiteX3206" fmla="*/ 1869235 w 2792478"/>
                <a:gd name="connsiteY3206" fmla="*/ 2219895 h 4235290"/>
                <a:gd name="connsiteX3207" fmla="*/ 1869222 w 2792478"/>
                <a:gd name="connsiteY3207" fmla="*/ 2220172 h 4235290"/>
                <a:gd name="connsiteX3208" fmla="*/ 1870180 w 2792478"/>
                <a:gd name="connsiteY3208" fmla="*/ 2222270 h 4235290"/>
                <a:gd name="connsiteX3209" fmla="*/ 1871423 w 2792478"/>
                <a:gd name="connsiteY3209" fmla="*/ 2223454 h 4235290"/>
                <a:gd name="connsiteX3210" fmla="*/ 1875794 w 2792478"/>
                <a:gd name="connsiteY3210" fmla="*/ 2223392 h 4235290"/>
                <a:gd name="connsiteX3211" fmla="*/ 1899411 w 2792478"/>
                <a:gd name="connsiteY3211" fmla="*/ 2204325 h 4235290"/>
                <a:gd name="connsiteX3212" fmla="*/ 1899176 w 2792478"/>
                <a:gd name="connsiteY3212" fmla="*/ 2200050 h 4235290"/>
                <a:gd name="connsiteX3213" fmla="*/ 1892170 w 2792478"/>
                <a:gd name="connsiteY3213" fmla="*/ 2193395 h 4235290"/>
                <a:gd name="connsiteX3214" fmla="*/ 1889996 w 2792478"/>
                <a:gd name="connsiteY3214" fmla="*/ 2192521 h 4235290"/>
                <a:gd name="connsiteX3215" fmla="*/ 1986608 w 2792478"/>
                <a:gd name="connsiteY3215" fmla="*/ 2192416 h 4235290"/>
                <a:gd name="connsiteX3216" fmla="*/ 1986608 w 2792478"/>
                <a:gd name="connsiteY3216" fmla="*/ 2227206 h 4235290"/>
                <a:gd name="connsiteX3217" fmla="*/ 1994064 w 2792478"/>
                <a:gd name="connsiteY3217" fmla="*/ 2227206 h 4235290"/>
                <a:gd name="connsiteX3218" fmla="*/ 1996549 w 2792478"/>
                <a:gd name="connsiteY3218" fmla="*/ 2192416 h 4235290"/>
                <a:gd name="connsiteX3219" fmla="*/ 1971693 w 2792478"/>
                <a:gd name="connsiteY3219" fmla="*/ 2192416 h 4235290"/>
                <a:gd name="connsiteX3220" fmla="*/ 1971693 w 2792478"/>
                <a:gd name="connsiteY3220" fmla="*/ 2227206 h 4235290"/>
                <a:gd name="connsiteX3221" fmla="*/ 1981634 w 2792478"/>
                <a:gd name="connsiteY3221" fmla="*/ 2227206 h 4235290"/>
                <a:gd name="connsiteX3222" fmla="*/ 1981634 w 2792478"/>
                <a:gd name="connsiteY3222" fmla="*/ 2192416 h 4235290"/>
                <a:gd name="connsiteX3223" fmla="*/ 1956779 w 2792478"/>
                <a:gd name="connsiteY3223" fmla="*/ 2192416 h 4235290"/>
                <a:gd name="connsiteX3224" fmla="*/ 1959272 w 2792478"/>
                <a:gd name="connsiteY3224" fmla="*/ 2227206 h 4235290"/>
                <a:gd name="connsiteX3225" fmla="*/ 1966720 w 2792478"/>
                <a:gd name="connsiteY3225" fmla="*/ 2227206 h 4235290"/>
                <a:gd name="connsiteX3226" fmla="*/ 1966720 w 2792478"/>
                <a:gd name="connsiteY3226" fmla="*/ 2192416 h 4235290"/>
                <a:gd name="connsiteX3227" fmla="*/ 1570743 w 2792478"/>
                <a:gd name="connsiteY3227" fmla="*/ 2192364 h 4235290"/>
                <a:gd name="connsiteX3228" fmla="*/ 1541916 w 2792478"/>
                <a:gd name="connsiteY3228" fmla="*/ 2228205 h 4235290"/>
                <a:gd name="connsiteX3229" fmla="*/ 1529307 w 2792478"/>
                <a:gd name="connsiteY3229" fmla="*/ 2216245 h 4235290"/>
                <a:gd name="connsiteX3230" fmla="*/ 1570743 w 2792478"/>
                <a:gd name="connsiteY3230" fmla="*/ 2192364 h 4235290"/>
                <a:gd name="connsiteX3231" fmla="*/ 1890009 w 2792478"/>
                <a:gd name="connsiteY3231" fmla="*/ 2187451 h 4235290"/>
                <a:gd name="connsiteX3232" fmla="*/ 1895673 w 2792478"/>
                <a:gd name="connsiteY3232" fmla="*/ 2189718 h 4235290"/>
                <a:gd name="connsiteX3233" fmla="*/ 1902666 w 2792478"/>
                <a:gd name="connsiteY3233" fmla="*/ 2196379 h 4235290"/>
                <a:gd name="connsiteX3234" fmla="*/ 1905229 w 2792478"/>
                <a:gd name="connsiteY3234" fmla="*/ 2202091 h 4235290"/>
                <a:gd name="connsiteX3235" fmla="*/ 1902991 w 2792478"/>
                <a:gd name="connsiteY3235" fmla="*/ 2207917 h 4235290"/>
                <a:gd name="connsiteX3236" fmla="*/ 1879672 w 2792478"/>
                <a:gd name="connsiteY3236" fmla="*/ 2226747 h 4235290"/>
                <a:gd name="connsiteX3237" fmla="*/ 1904551 w 2792478"/>
                <a:gd name="connsiteY3237" fmla="*/ 2226747 h 4235290"/>
                <a:gd name="connsiteX3238" fmla="*/ 1915213 w 2792478"/>
                <a:gd name="connsiteY3238" fmla="*/ 2237401 h 4235290"/>
                <a:gd name="connsiteX3239" fmla="*/ 1915213 w 2792478"/>
                <a:gd name="connsiteY3239" fmla="*/ 2250727 h 4235290"/>
                <a:gd name="connsiteX3240" fmla="*/ 1904542 w 2792478"/>
                <a:gd name="connsiteY3240" fmla="*/ 2261397 h 4235290"/>
                <a:gd name="connsiteX3241" fmla="*/ 1903665 w 2792478"/>
                <a:gd name="connsiteY3241" fmla="*/ 2261397 h 4235290"/>
                <a:gd name="connsiteX3242" fmla="*/ 1906485 w 2792478"/>
                <a:gd name="connsiteY3242" fmla="*/ 2268565 h 4235290"/>
                <a:gd name="connsiteX3243" fmla="*/ 1906485 w 2792478"/>
                <a:gd name="connsiteY3243" fmla="*/ 2298601 h 4235290"/>
                <a:gd name="connsiteX3244" fmla="*/ 1895827 w 2792478"/>
                <a:gd name="connsiteY3244" fmla="*/ 2309265 h 4235290"/>
                <a:gd name="connsiteX3245" fmla="*/ 1874501 w 2792478"/>
                <a:gd name="connsiteY3245" fmla="*/ 2309265 h 4235290"/>
                <a:gd name="connsiteX3246" fmla="*/ 1866379 w 2792478"/>
                <a:gd name="connsiteY3246" fmla="*/ 2305442 h 4235290"/>
                <a:gd name="connsiteX3247" fmla="*/ 1858270 w 2792478"/>
                <a:gd name="connsiteY3247" fmla="*/ 2309265 h 4235290"/>
                <a:gd name="connsiteX3248" fmla="*/ 1836935 w 2792478"/>
                <a:gd name="connsiteY3248" fmla="*/ 2309265 h 4235290"/>
                <a:gd name="connsiteX3249" fmla="*/ 1826273 w 2792478"/>
                <a:gd name="connsiteY3249" fmla="*/ 2298601 h 4235290"/>
                <a:gd name="connsiteX3250" fmla="*/ 1826273 w 2792478"/>
                <a:gd name="connsiteY3250" fmla="*/ 2268565 h 4235290"/>
                <a:gd name="connsiteX3251" fmla="*/ 1829102 w 2792478"/>
                <a:gd name="connsiteY3251" fmla="*/ 2261397 h 4235290"/>
                <a:gd name="connsiteX3252" fmla="*/ 1828239 w 2792478"/>
                <a:gd name="connsiteY3252" fmla="*/ 2261397 h 4235290"/>
                <a:gd name="connsiteX3253" fmla="*/ 1817581 w 2792478"/>
                <a:gd name="connsiteY3253" fmla="*/ 2250727 h 4235290"/>
                <a:gd name="connsiteX3254" fmla="*/ 1817581 w 2792478"/>
                <a:gd name="connsiteY3254" fmla="*/ 2237401 h 4235290"/>
                <a:gd name="connsiteX3255" fmla="*/ 1828239 w 2792478"/>
                <a:gd name="connsiteY3255" fmla="*/ 2226747 h 4235290"/>
                <a:gd name="connsiteX3256" fmla="*/ 1853646 w 2792478"/>
                <a:gd name="connsiteY3256" fmla="*/ 2226747 h 4235290"/>
                <a:gd name="connsiteX3257" fmla="*/ 1829902 w 2792478"/>
                <a:gd name="connsiteY3257" fmla="*/ 2209502 h 4235290"/>
                <a:gd name="connsiteX3258" fmla="*/ 1827285 w 2792478"/>
                <a:gd name="connsiteY3258" fmla="*/ 2203513 h 4235290"/>
                <a:gd name="connsiteX3259" fmla="*/ 1829550 w 2792478"/>
                <a:gd name="connsiteY3259" fmla="*/ 2197850 h 4235290"/>
                <a:gd name="connsiteX3260" fmla="*/ 1836212 w 2792478"/>
                <a:gd name="connsiteY3260" fmla="*/ 2190846 h 4235290"/>
                <a:gd name="connsiteX3261" fmla="*/ 1841935 w 2792478"/>
                <a:gd name="connsiteY3261" fmla="*/ 2188291 h 4235290"/>
                <a:gd name="connsiteX3262" fmla="*/ 1842179 w 2792478"/>
                <a:gd name="connsiteY3262" fmla="*/ 2188291 h 4235290"/>
                <a:gd name="connsiteX3263" fmla="*/ 1847774 w 2792478"/>
                <a:gd name="connsiteY3263" fmla="*/ 2190519 h 4235290"/>
                <a:gd name="connsiteX3264" fmla="*/ 1864991 w 2792478"/>
                <a:gd name="connsiteY3264" fmla="*/ 2211876 h 4235290"/>
                <a:gd name="connsiteX3265" fmla="*/ 1868236 w 2792478"/>
                <a:gd name="connsiteY3265" fmla="*/ 2211808 h 4235290"/>
                <a:gd name="connsiteX3266" fmla="*/ 1884020 w 2792478"/>
                <a:gd name="connsiteY3266" fmla="*/ 2190079 h 4235290"/>
                <a:gd name="connsiteX3267" fmla="*/ 1890009 w 2792478"/>
                <a:gd name="connsiteY3267" fmla="*/ 2187451 h 4235290"/>
                <a:gd name="connsiteX3268" fmla="*/ 1953051 w 2792478"/>
                <a:gd name="connsiteY3268" fmla="*/ 2182479 h 4235290"/>
                <a:gd name="connsiteX3269" fmla="*/ 2000277 w 2792478"/>
                <a:gd name="connsiteY3269" fmla="*/ 2182479 h 4235290"/>
                <a:gd name="connsiteX3270" fmla="*/ 2004797 w 2792478"/>
                <a:gd name="connsiteY3270" fmla="*/ 2187423 h 4235290"/>
                <a:gd name="connsiteX3271" fmla="*/ 2000727 w 2792478"/>
                <a:gd name="connsiteY3271" fmla="*/ 2232195 h 4235290"/>
                <a:gd name="connsiteX3272" fmla="*/ 1995301 w 2792478"/>
                <a:gd name="connsiteY3272" fmla="*/ 2237151 h 4235290"/>
                <a:gd name="connsiteX3273" fmla="*/ 1958027 w 2792478"/>
                <a:gd name="connsiteY3273" fmla="*/ 2237151 h 4235290"/>
                <a:gd name="connsiteX3274" fmla="*/ 1952609 w 2792478"/>
                <a:gd name="connsiteY3274" fmla="*/ 2232195 h 4235290"/>
                <a:gd name="connsiteX3275" fmla="*/ 1948530 w 2792478"/>
                <a:gd name="connsiteY3275" fmla="*/ 2187423 h 4235290"/>
                <a:gd name="connsiteX3276" fmla="*/ 1953051 w 2792478"/>
                <a:gd name="connsiteY3276" fmla="*/ 2182479 h 4235290"/>
                <a:gd name="connsiteX3277" fmla="*/ 1054432 w 2792478"/>
                <a:gd name="connsiteY3277" fmla="*/ 2179373 h 4235290"/>
                <a:gd name="connsiteX3278" fmla="*/ 1054432 w 2792478"/>
                <a:gd name="connsiteY3278" fmla="*/ 2349441 h 4235290"/>
                <a:gd name="connsiteX3279" fmla="*/ 1162265 w 2792478"/>
                <a:gd name="connsiteY3279" fmla="*/ 2349441 h 4235290"/>
                <a:gd name="connsiteX3280" fmla="*/ 1162265 w 2792478"/>
                <a:gd name="connsiteY3280" fmla="*/ 2314063 h 4235290"/>
                <a:gd name="connsiteX3281" fmla="*/ 1133687 w 2792478"/>
                <a:gd name="connsiteY3281" fmla="*/ 2314063 h 4235290"/>
                <a:gd name="connsiteX3282" fmla="*/ 1109246 w 2792478"/>
                <a:gd name="connsiteY3282" fmla="*/ 2338509 h 4235290"/>
                <a:gd name="connsiteX3283" fmla="*/ 1109246 w 2792478"/>
                <a:gd name="connsiteY3283" fmla="*/ 2314063 h 4235290"/>
                <a:gd name="connsiteX3284" fmla="*/ 1100624 w 2792478"/>
                <a:gd name="connsiteY3284" fmla="*/ 2314063 h 4235290"/>
                <a:gd name="connsiteX3285" fmla="*/ 1086316 w 2792478"/>
                <a:gd name="connsiteY3285" fmla="*/ 2299840 h 4235290"/>
                <a:gd name="connsiteX3286" fmla="*/ 1086316 w 2792478"/>
                <a:gd name="connsiteY3286" fmla="*/ 2226953 h 4235290"/>
                <a:gd name="connsiteX3287" fmla="*/ 1100624 w 2792478"/>
                <a:gd name="connsiteY3287" fmla="*/ 2212740 h 4235290"/>
                <a:gd name="connsiteX3288" fmla="*/ 1162265 w 2792478"/>
                <a:gd name="connsiteY3288" fmla="*/ 2212740 h 4235290"/>
                <a:gd name="connsiteX3289" fmla="*/ 1162265 w 2792478"/>
                <a:gd name="connsiteY3289" fmla="*/ 2179373 h 4235290"/>
                <a:gd name="connsiteX3290" fmla="*/ 1505537 w 2792478"/>
                <a:gd name="connsiteY3290" fmla="*/ 2179308 h 4235290"/>
                <a:gd name="connsiteX3291" fmla="*/ 1533201 w 2792478"/>
                <a:gd name="connsiteY3291" fmla="*/ 2229242 h 4235290"/>
                <a:gd name="connsiteX3292" fmla="*/ 1535340 w 2792478"/>
                <a:gd name="connsiteY3292" fmla="*/ 2232766 h 4235290"/>
                <a:gd name="connsiteX3293" fmla="*/ 1533201 w 2792478"/>
                <a:gd name="connsiteY3293" fmla="*/ 2236302 h 4235290"/>
                <a:gd name="connsiteX3294" fmla="*/ 1505537 w 2792478"/>
                <a:gd name="connsiteY3294" fmla="*/ 2286236 h 4235290"/>
                <a:gd name="connsiteX3295" fmla="*/ 1509987 w 2792478"/>
                <a:gd name="connsiteY3295" fmla="*/ 2285217 h 4235290"/>
                <a:gd name="connsiteX3296" fmla="*/ 1541916 w 2792478"/>
                <a:gd name="connsiteY3296" fmla="*/ 2247993 h 4235290"/>
                <a:gd name="connsiteX3297" fmla="*/ 1573828 w 2792478"/>
                <a:gd name="connsiteY3297" fmla="*/ 2285217 h 4235290"/>
                <a:gd name="connsiteX3298" fmla="*/ 1578274 w 2792478"/>
                <a:gd name="connsiteY3298" fmla="*/ 2286236 h 4235290"/>
                <a:gd name="connsiteX3299" fmla="*/ 1550627 w 2792478"/>
                <a:gd name="connsiteY3299" fmla="*/ 2236302 h 4235290"/>
                <a:gd name="connsiteX3300" fmla="*/ 1548484 w 2792478"/>
                <a:gd name="connsiteY3300" fmla="*/ 2232766 h 4235290"/>
                <a:gd name="connsiteX3301" fmla="*/ 1550627 w 2792478"/>
                <a:gd name="connsiteY3301" fmla="*/ 2229242 h 4235290"/>
                <a:gd name="connsiteX3302" fmla="*/ 1578274 w 2792478"/>
                <a:gd name="connsiteY3302" fmla="*/ 2179308 h 4235290"/>
                <a:gd name="connsiteX3303" fmla="*/ 1541916 w 2792478"/>
                <a:gd name="connsiteY3303" fmla="*/ 2182979 h 4235290"/>
                <a:gd name="connsiteX3304" fmla="*/ 1505537 w 2792478"/>
                <a:gd name="connsiteY3304" fmla="*/ 2179308 h 4235290"/>
                <a:gd name="connsiteX3305" fmla="*/ 1966626 w 2792478"/>
                <a:gd name="connsiteY3305" fmla="*/ 2167567 h 4235290"/>
                <a:gd name="connsiteX3306" fmla="*/ 1986706 w 2792478"/>
                <a:gd name="connsiteY3306" fmla="*/ 2167567 h 4235290"/>
                <a:gd name="connsiteX3307" fmla="*/ 1987110 w 2792478"/>
                <a:gd name="connsiteY3307" fmla="*/ 2170435 h 4235290"/>
                <a:gd name="connsiteX3308" fmla="*/ 1966223 w 2792478"/>
                <a:gd name="connsiteY3308" fmla="*/ 2170435 h 4235290"/>
                <a:gd name="connsiteX3309" fmla="*/ 1954299 w 2792478"/>
                <a:gd name="connsiteY3309" fmla="*/ 2167567 h 4235290"/>
                <a:gd name="connsiteX3310" fmla="*/ 1961609 w 2792478"/>
                <a:gd name="connsiteY3310" fmla="*/ 2167567 h 4235290"/>
                <a:gd name="connsiteX3311" fmla="*/ 1961031 w 2792478"/>
                <a:gd name="connsiteY3311" fmla="*/ 2171716 h 4235290"/>
                <a:gd name="connsiteX3312" fmla="*/ 1964237 w 2792478"/>
                <a:gd name="connsiteY3312" fmla="*/ 2175402 h 4235290"/>
                <a:gd name="connsiteX3313" fmla="*/ 1989090 w 2792478"/>
                <a:gd name="connsiteY3313" fmla="*/ 2175402 h 4235290"/>
                <a:gd name="connsiteX3314" fmla="*/ 1992307 w 2792478"/>
                <a:gd name="connsiteY3314" fmla="*/ 2171716 h 4235290"/>
                <a:gd name="connsiteX3315" fmla="*/ 1991725 w 2792478"/>
                <a:gd name="connsiteY3315" fmla="*/ 2167567 h 4235290"/>
                <a:gd name="connsiteX3316" fmla="*/ 1999029 w 2792478"/>
                <a:gd name="connsiteY3316" fmla="*/ 2167567 h 4235290"/>
                <a:gd name="connsiteX3317" fmla="*/ 2006487 w 2792478"/>
                <a:gd name="connsiteY3317" fmla="*/ 2175023 h 4235290"/>
                <a:gd name="connsiteX3318" fmla="*/ 2006487 w 2792478"/>
                <a:gd name="connsiteY3318" fmla="*/ 2177501 h 4235290"/>
                <a:gd name="connsiteX3319" fmla="*/ 1946840 w 2792478"/>
                <a:gd name="connsiteY3319" fmla="*/ 2177501 h 4235290"/>
                <a:gd name="connsiteX3320" fmla="*/ 1946840 w 2792478"/>
                <a:gd name="connsiteY3320" fmla="*/ 2175023 h 4235290"/>
                <a:gd name="connsiteX3321" fmla="*/ 1954299 w 2792478"/>
                <a:gd name="connsiteY3321" fmla="*/ 2167567 h 4235290"/>
                <a:gd name="connsiteX3322" fmla="*/ 1092565 w 2792478"/>
                <a:gd name="connsiteY3322" fmla="*/ 2166411 h 4235290"/>
                <a:gd name="connsiteX3323" fmla="*/ 1090738 w 2792478"/>
                <a:gd name="connsiteY3323" fmla="*/ 2168237 h 4235290"/>
                <a:gd name="connsiteX3324" fmla="*/ 1092565 w 2792478"/>
                <a:gd name="connsiteY3324" fmla="*/ 2170031 h 4235290"/>
                <a:gd name="connsiteX3325" fmla="*/ 1124140 w 2792478"/>
                <a:gd name="connsiteY3325" fmla="*/ 2170031 h 4235290"/>
                <a:gd name="connsiteX3326" fmla="*/ 1125966 w 2792478"/>
                <a:gd name="connsiteY3326" fmla="*/ 2168237 h 4235290"/>
                <a:gd name="connsiteX3327" fmla="*/ 1124140 w 2792478"/>
                <a:gd name="connsiteY3327" fmla="*/ 2166411 h 4235290"/>
                <a:gd name="connsiteX3328" fmla="*/ 1541916 w 2792478"/>
                <a:gd name="connsiteY3328" fmla="*/ 2163588 h 4235290"/>
                <a:gd name="connsiteX3329" fmla="*/ 1588388 w 2792478"/>
                <a:gd name="connsiteY3329" fmla="*/ 2173280 h 4235290"/>
                <a:gd name="connsiteX3330" fmla="*/ 1584704 w 2792478"/>
                <a:gd name="connsiteY3330" fmla="*/ 2177079 h 4235290"/>
                <a:gd name="connsiteX3331" fmla="*/ 1559265 w 2792478"/>
                <a:gd name="connsiteY3331" fmla="*/ 2232779 h 4235290"/>
                <a:gd name="connsiteX3332" fmla="*/ 1584704 w 2792478"/>
                <a:gd name="connsiteY3332" fmla="*/ 2288465 h 4235290"/>
                <a:gd name="connsiteX3333" fmla="*/ 1588388 w 2792478"/>
                <a:gd name="connsiteY3333" fmla="*/ 2292264 h 4235290"/>
                <a:gd name="connsiteX3334" fmla="*/ 1541916 w 2792478"/>
                <a:gd name="connsiteY3334" fmla="*/ 2301956 h 4235290"/>
                <a:gd name="connsiteX3335" fmla="*/ 1495428 w 2792478"/>
                <a:gd name="connsiteY3335" fmla="*/ 2292264 h 4235290"/>
                <a:gd name="connsiteX3336" fmla="*/ 1499116 w 2792478"/>
                <a:gd name="connsiteY3336" fmla="*/ 2288465 h 4235290"/>
                <a:gd name="connsiteX3337" fmla="*/ 1524555 w 2792478"/>
                <a:gd name="connsiteY3337" fmla="*/ 2232766 h 4235290"/>
                <a:gd name="connsiteX3338" fmla="*/ 1499116 w 2792478"/>
                <a:gd name="connsiteY3338" fmla="*/ 2177079 h 4235290"/>
                <a:gd name="connsiteX3339" fmla="*/ 1495428 w 2792478"/>
                <a:gd name="connsiteY3339" fmla="*/ 2173280 h 4235290"/>
                <a:gd name="connsiteX3340" fmla="*/ 1541916 w 2792478"/>
                <a:gd name="connsiteY3340" fmla="*/ 2163588 h 4235290"/>
                <a:gd name="connsiteX3341" fmla="*/ 1305579 w 2792478"/>
                <a:gd name="connsiteY3341" fmla="*/ 2162532 h 4235290"/>
                <a:gd name="connsiteX3342" fmla="*/ 1264169 w 2792478"/>
                <a:gd name="connsiteY3342" fmla="*/ 2186797 h 4235290"/>
                <a:gd name="connsiteX3343" fmla="*/ 1258647 w 2792478"/>
                <a:gd name="connsiteY3343" fmla="*/ 2213851 h 4235290"/>
                <a:gd name="connsiteX3344" fmla="*/ 1301874 w 2792478"/>
                <a:gd name="connsiteY3344" fmla="*/ 2261263 h 4235290"/>
                <a:gd name="connsiteX3345" fmla="*/ 1307244 w 2792478"/>
                <a:gd name="connsiteY3345" fmla="*/ 2270318 h 4235290"/>
                <a:gd name="connsiteX3346" fmla="*/ 1307244 w 2792478"/>
                <a:gd name="connsiteY3346" fmla="*/ 2336158 h 4235290"/>
                <a:gd name="connsiteX3347" fmla="*/ 1423912 w 2792478"/>
                <a:gd name="connsiteY3347" fmla="*/ 2336158 h 4235290"/>
                <a:gd name="connsiteX3348" fmla="*/ 1423912 w 2792478"/>
                <a:gd name="connsiteY3348" fmla="*/ 2278863 h 4235290"/>
                <a:gd name="connsiteX3349" fmla="*/ 1356873 w 2792478"/>
                <a:gd name="connsiteY3349" fmla="*/ 2287178 h 4235290"/>
                <a:gd name="connsiteX3350" fmla="*/ 1336426 w 2792478"/>
                <a:gd name="connsiteY3350" fmla="*/ 2286458 h 4235290"/>
                <a:gd name="connsiteX3351" fmla="*/ 1326941 w 2792478"/>
                <a:gd name="connsiteY3351" fmla="*/ 2275235 h 4235290"/>
                <a:gd name="connsiteX3352" fmla="*/ 1338126 w 2792478"/>
                <a:gd name="connsiteY3352" fmla="*/ 2265760 h 4235290"/>
                <a:gd name="connsiteX3353" fmla="*/ 1455732 w 2792478"/>
                <a:gd name="connsiteY3353" fmla="*/ 2234269 h 4235290"/>
                <a:gd name="connsiteX3354" fmla="*/ 1459144 w 2792478"/>
                <a:gd name="connsiteY3354" fmla="*/ 2188266 h 4235290"/>
                <a:gd name="connsiteX3355" fmla="*/ 1417570 w 2792478"/>
                <a:gd name="connsiteY3355" fmla="*/ 2169328 h 4235290"/>
                <a:gd name="connsiteX3356" fmla="*/ 1346180 w 2792478"/>
                <a:gd name="connsiteY3356" fmla="*/ 2221457 h 4235290"/>
                <a:gd name="connsiteX3357" fmla="*/ 1331888 w 2792478"/>
                <a:gd name="connsiteY3357" fmla="*/ 2224925 h 4235290"/>
                <a:gd name="connsiteX3358" fmla="*/ 1328371 w 2792478"/>
                <a:gd name="connsiteY3358" fmla="*/ 2210643 h 4235290"/>
                <a:gd name="connsiteX3359" fmla="*/ 1351843 w 2792478"/>
                <a:gd name="connsiteY3359" fmla="*/ 2181241 h 4235290"/>
                <a:gd name="connsiteX3360" fmla="*/ 1305579 w 2792478"/>
                <a:gd name="connsiteY3360" fmla="*/ 2162532 h 4235290"/>
                <a:gd name="connsiteX3361" fmla="*/ 1966720 w 2792478"/>
                <a:gd name="connsiteY3361" fmla="*/ 2157622 h 4235290"/>
                <a:gd name="connsiteX3362" fmla="*/ 1986608 w 2792478"/>
                <a:gd name="connsiteY3362" fmla="*/ 2157622 h 4235290"/>
                <a:gd name="connsiteX3363" fmla="*/ 1990849 w 2792478"/>
                <a:gd name="connsiteY3363" fmla="*/ 2161319 h 4235290"/>
                <a:gd name="connsiteX3364" fmla="*/ 1991725 w 2792478"/>
                <a:gd name="connsiteY3364" fmla="*/ 2167567 h 4235290"/>
                <a:gd name="connsiteX3365" fmla="*/ 1986706 w 2792478"/>
                <a:gd name="connsiteY3365" fmla="*/ 2167567 h 4235290"/>
                <a:gd name="connsiteX3366" fmla="*/ 1986006 w 2792478"/>
                <a:gd name="connsiteY3366" fmla="*/ 2162593 h 4235290"/>
                <a:gd name="connsiteX3367" fmla="*/ 1967325 w 2792478"/>
                <a:gd name="connsiteY3367" fmla="*/ 2162593 h 4235290"/>
                <a:gd name="connsiteX3368" fmla="*/ 1966626 w 2792478"/>
                <a:gd name="connsiteY3368" fmla="*/ 2167567 h 4235290"/>
                <a:gd name="connsiteX3369" fmla="*/ 1961609 w 2792478"/>
                <a:gd name="connsiteY3369" fmla="*/ 2167567 h 4235290"/>
                <a:gd name="connsiteX3370" fmla="*/ 1962478 w 2792478"/>
                <a:gd name="connsiteY3370" fmla="*/ 2161319 h 4235290"/>
                <a:gd name="connsiteX3371" fmla="*/ 1966720 w 2792478"/>
                <a:gd name="connsiteY3371" fmla="*/ 2157622 h 4235290"/>
                <a:gd name="connsiteX3372" fmla="*/ 1058970 w 2792478"/>
                <a:gd name="connsiteY3372" fmla="*/ 2155634 h 4235290"/>
                <a:gd name="connsiteX3373" fmla="*/ 1157734 w 2792478"/>
                <a:gd name="connsiteY3373" fmla="*/ 2155634 h 4235290"/>
                <a:gd name="connsiteX3374" fmla="*/ 1172682 w 2792478"/>
                <a:gd name="connsiteY3374" fmla="*/ 2170595 h 4235290"/>
                <a:gd name="connsiteX3375" fmla="*/ 1172682 w 2792478"/>
                <a:gd name="connsiteY3375" fmla="*/ 2212740 h 4235290"/>
                <a:gd name="connsiteX3376" fmla="*/ 1196136 w 2792478"/>
                <a:gd name="connsiteY3376" fmla="*/ 2212740 h 4235290"/>
                <a:gd name="connsiteX3377" fmla="*/ 1210445 w 2792478"/>
                <a:gd name="connsiteY3377" fmla="*/ 2226953 h 4235290"/>
                <a:gd name="connsiteX3378" fmla="*/ 1210445 w 2792478"/>
                <a:gd name="connsiteY3378" fmla="*/ 2299840 h 4235290"/>
                <a:gd name="connsiteX3379" fmla="*/ 1196136 w 2792478"/>
                <a:gd name="connsiteY3379" fmla="*/ 2314063 h 4235290"/>
                <a:gd name="connsiteX3380" fmla="*/ 1172682 w 2792478"/>
                <a:gd name="connsiteY3380" fmla="*/ 2314063 h 4235290"/>
                <a:gd name="connsiteX3381" fmla="*/ 1172682 w 2792478"/>
                <a:gd name="connsiteY3381" fmla="*/ 2362176 h 4235290"/>
                <a:gd name="connsiteX3382" fmla="*/ 1157734 w 2792478"/>
                <a:gd name="connsiteY3382" fmla="*/ 2377127 h 4235290"/>
                <a:gd name="connsiteX3383" fmla="*/ 1058970 w 2792478"/>
                <a:gd name="connsiteY3383" fmla="*/ 2377127 h 4235290"/>
                <a:gd name="connsiteX3384" fmla="*/ 1044015 w 2792478"/>
                <a:gd name="connsiteY3384" fmla="*/ 2362176 h 4235290"/>
                <a:gd name="connsiteX3385" fmla="*/ 1044015 w 2792478"/>
                <a:gd name="connsiteY3385" fmla="*/ 2170595 h 4235290"/>
                <a:gd name="connsiteX3386" fmla="*/ 1058970 w 2792478"/>
                <a:gd name="connsiteY3386" fmla="*/ 2155634 h 4235290"/>
                <a:gd name="connsiteX3387" fmla="*/ 1305051 w 2792478"/>
                <a:gd name="connsiteY3387" fmla="*/ 2141744 h 4235290"/>
                <a:gd name="connsiteX3388" fmla="*/ 1367413 w 2792478"/>
                <a:gd name="connsiteY3388" fmla="*/ 2167489 h 4235290"/>
                <a:gd name="connsiteX3389" fmla="*/ 1417523 w 2792478"/>
                <a:gd name="connsiteY3389" fmla="*/ 2148510 h 4235290"/>
                <a:gd name="connsiteX3390" fmla="*/ 1476942 w 2792478"/>
                <a:gd name="connsiteY3390" fmla="*/ 2177533 h 4235290"/>
                <a:gd name="connsiteX3391" fmla="*/ 1474069 w 2792478"/>
                <a:gd name="connsiteY3391" fmla="*/ 2244023 h 4235290"/>
                <a:gd name="connsiteX3392" fmla="*/ 1444700 w 2792478"/>
                <a:gd name="connsiteY3392" fmla="*/ 2270847 h 4235290"/>
                <a:gd name="connsiteX3393" fmla="*/ 1444700 w 2792478"/>
                <a:gd name="connsiteY3393" fmla="*/ 2346542 h 4235290"/>
                <a:gd name="connsiteX3394" fmla="*/ 1434300 w 2792478"/>
                <a:gd name="connsiteY3394" fmla="*/ 2356936 h 4235290"/>
                <a:gd name="connsiteX3395" fmla="*/ 1296856 w 2792478"/>
                <a:gd name="connsiteY3395" fmla="*/ 2356936 h 4235290"/>
                <a:gd name="connsiteX3396" fmla="*/ 1286468 w 2792478"/>
                <a:gd name="connsiteY3396" fmla="*/ 2346542 h 4235290"/>
                <a:gd name="connsiteX3397" fmla="*/ 1286468 w 2792478"/>
                <a:gd name="connsiteY3397" fmla="*/ 2276184 h 4235290"/>
                <a:gd name="connsiteX3398" fmla="*/ 1238457 w 2792478"/>
                <a:gd name="connsiteY3398" fmla="*/ 2218798 h 4235290"/>
                <a:gd name="connsiteX3399" fmla="*/ 1246887 w 2792478"/>
                <a:gd name="connsiteY3399" fmla="*/ 2175274 h 4235290"/>
                <a:gd name="connsiteX3400" fmla="*/ 1305051 w 2792478"/>
                <a:gd name="connsiteY3400" fmla="*/ 2141744 h 4235290"/>
                <a:gd name="connsiteX3401" fmla="*/ 1753220 w 2792478"/>
                <a:gd name="connsiteY3401" fmla="*/ 2107242 h 4235290"/>
                <a:gd name="connsiteX3402" fmla="*/ 1773255 w 2792478"/>
                <a:gd name="connsiteY3402" fmla="*/ 2107242 h 4235290"/>
                <a:gd name="connsiteX3403" fmla="*/ 1773255 w 2792478"/>
                <a:gd name="connsiteY3403" fmla="*/ 2127287 h 4235290"/>
                <a:gd name="connsiteX3404" fmla="*/ 1753220 w 2792478"/>
                <a:gd name="connsiteY3404" fmla="*/ 2127287 h 4235290"/>
                <a:gd name="connsiteX3405" fmla="*/ 1753220 w 2792478"/>
                <a:gd name="connsiteY3405" fmla="*/ 2107242 h 4235290"/>
                <a:gd name="connsiteX3406" fmla="*/ 1713151 w 2792478"/>
                <a:gd name="connsiteY3406" fmla="*/ 2107242 h 4235290"/>
                <a:gd name="connsiteX3407" fmla="*/ 1733175 w 2792478"/>
                <a:gd name="connsiteY3407" fmla="*/ 2107242 h 4235290"/>
                <a:gd name="connsiteX3408" fmla="*/ 1733175 w 2792478"/>
                <a:gd name="connsiteY3408" fmla="*/ 2127287 h 4235290"/>
                <a:gd name="connsiteX3409" fmla="*/ 1713151 w 2792478"/>
                <a:gd name="connsiteY3409" fmla="*/ 2127287 h 4235290"/>
                <a:gd name="connsiteX3410" fmla="*/ 1713151 w 2792478"/>
                <a:gd name="connsiteY3410" fmla="*/ 2107242 h 4235290"/>
                <a:gd name="connsiteX3411" fmla="*/ 1673093 w 2792478"/>
                <a:gd name="connsiteY3411" fmla="*/ 2107242 h 4235290"/>
                <a:gd name="connsiteX3412" fmla="*/ 1693116 w 2792478"/>
                <a:gd name="connsiteY3412" fmla="*/ 2107242 h 4235290"/>
                <a:gd name="connsiteX3413" fmla="*/ 1693116 w 2792478"/>
                <a:gd name="connsiteY3413" fmla="*/ 2127287 h 4235290"/>
                <a:gd name="connsiteX3414" fmla="*/ 1673093 w 2792478"/>
                <a:gd name="connsiteY3414" fmla="*/ 2127287 h 4235290"/>
                <a:gd name="connsiteX3415" fmla="*/ 1673093 w 2792478"/>
                <a:gd name="connsiteY3415" fmla="*/ 2107242 h 4235290"/>
                <a:gd name="connsiteX3416" fmla="*/ 1633012 w 2792478"/>
                <a:gd name="connsiteY3416" fmla="*/ 2107242 h 4235290"/>
                <a:gd name="connsiteX3417" fmla="*/ 1653047 w 2792478"/>
                <a:gd name="connsiteY3417" fmla="*/ 2107242 h 4235290"/>
                <a:gd name="connsiteX3418" fmla="*/ 1653047 w 2792478"/>
                <a:gd name="connsiteY3418" fmla="*/ 2127287 h 4235290"/>
                <a:gd name="connsiteX3419" fmla="*/ 1633012 w 2792478"/>
                <a:gd name="connsiteY3419" fmla="*/ 2127287 h 4235290"/>
                <a:gd name="connsiteX3420" fmla="*/ 1633012 w 2792478"/>
                <a:gd name="connsiteY3420" fmla="*/ 2107242 h 4235290"/>
                <a:gd name="connsiteX3421" fmla="*/ 2129053 w 2792478"/>
                <a:gd name="connsiteY3421" fmla="*/ 2105900 h 4235290"/>
                <a:gd name="connsiteX3422" fmla="*/ 2129053 w 2792478"/>
                <a:gd name="connsiteY3422" fmla="*/ 2116715 h 4235290"/>
                <a:gd name="connsiteX3423" fmla="*/ 2129053 w 2792478"/>
                <a:gd name="connsiteY3423" fmla="*/ 2105900 h 4235290"/>
                <a:gd name="connsiteX3424" fmla="*/ 2039566 w 2792478"/>
                <a:gd name="connsiteY3424" fmla="*/ 2103913 h 4235290"/>
                <a:gd name="connsiteX3425" fmla="*/ 2039566 w 2792478"/>
                <a:gd name="connsiteY3425" fmla="*/ 2114729 h 4235290"/>
                <a:gd name="connsiteX3426" fmla="*/ 2039566 w 2792478"/>
                <a:gd name="connsiteY3426" fmla="*/ 2103913 h 4235290"/>
                <a:gd name="connsiteX3427" fmla="*/ 2086798 w 2792478"/>
                <a:gd name="connsiteY3427" fmla="*/ 2099379 h 4235290"/>
                <a:gd name="connsiteX3428" fmla="*/ 2085927 w 2792478"/>
                <a:gd name="connsiteY3428" fmla="*/ 2112120 h 4235290"/>
                <a:gd name="connsiteX3429" fmla="*/ 2094313 w 2792478"/>
                <a:gd name="connsiteY3429" fmla="*/ 2108017 h 4235290"/>
                <a:gd name="connsiteX3430" fmla="*/ 2092385 w 2792478"/>
                <a:gd name="connsiteY3430" fmla="*/ 2101365 h 4235290"/>
                <a:gd name="connsiteX3431" fmla="*/ 2086798 w 2792478"/>
                <a:gd name="connsiteY3431" fmla="*/ 2099379 h 4235290"/>
                <a:gd name="connsiteX3432" fmla="*/ 2088540 w 2792478"/>
                <a:gd name="connsiteY3432" fmla="*/ 2086015 h 4235290"/>
                <a:gd name="connsiteX3433" fmla="*/ 2091894 w 2792478"/>
                <a:gd name="connsiteY3433" fmla="*/ 2087008 h 4235290"/>
                <a:gd name="connsiteX3434" fmla="*/ 2101708 w 2792478"/>
                <a:gd name="connsiteY3434" fmla="*/ 2091419 h 4235290"/>
                <a:gd name="connsiteX3435" fmla="*/ 2107740 w 2792478"/>
                <a:gd name="connsiteY3435" fmla="*/ 2101743 h 4235290"/>
                <a:gd name="connsiteX3436" fmla="*/ 2107861 w 2792478"/>
                <a:gd name="connsiteY3436" fmla="*/ 2103667 h 4235290"/>
                <a:gd name="connsiteX3437" fmla="*/ 2107990 w 2792478"/>
                <a:gd name="connsiteY3437" fmla="*/ 2104160 h 4235290"/>
                <a:gd name="connsiteX3438" fmla="*/ 2104506 w 2792478"/>
                <a:gd name="connsiteY3438" fmla="*/ 2119017 h 4235290"/>
                <a:gd name="connsiteX3439" fmla="*/ 2103264 w 2792478"/>
                <a:gd name="connsiteY3439" fmla="*/ 2120318 h 4235290"/>
                <a:gd name="connsiteX3440" fmla="*/ 2101522 w 2792478"/>
                <a:gd name="connsiteY3440" fmla="*/ 2121996 h 4235290"/>
                <a:gd name="connsiteX3441" fmla="*/ 2078782 w 2792478"/>
                <a:gd name="connsiteY3441" fmla="*/ 2123182 h 4235290"/>
                <a:gd name="connsiteX3442" fmla="*/ 2075613 w 2792478"/>
                <a:gd name="connsiteY3442" fmla="*/ 2121627 h 4235290"/>
                <a:gd name="connsiteX3443" fmla="*/ 2068218 w 2792478"/>
                <a:gd name="connsiteY3443" fmla="*/ 2106962 h 4235290"/>
                <a:gd name="connsiteX3444" fmla="*/ 2070637 w 2792478"/>
                <a:gd name="connsiteY3444" fmla="*/ 2099002 h 4235290"/>
                <a:gd name="connsiteX3445" fmla="*/ 2071322 w 2792478"/>
                <a:gd name="connsiteY3445" fmla="*/ 2094406 h 4235290"/>
                <a:gd name="connsiteX3446" fmla="*/ 2088540 w 2792478"/>
                <a:gd name="connsiteY3446" fmla="*/ 2086015 h 4235290"/>
                <a:gd name="connsiteX3447" fmla="*/ 1242855 w 2792478"/>
                <a:gd name="connsiteY3447" fmla="*/ 2068538 h 4235290"/>
                <a:gd name="connsiteX3448" fmla="*/ 1255481 w 2792478"/>
                <a:gd name="connsiteY3448" fmla="*/ 2081164 h 4235290"/>
                <a:gd name="connsiteX3449" fmla="*/ 1251682 w 2792478"/>
                <a:gd name="connsiteY3449" fmla="*/ 2090184 h 4235290"/>
                <a:gd name="connsiteX3450" fmla="*/ 1255481 w 2792478"/>
                <a:gd name="connsiteY3450" fmla="*/ 2099192 h 4235290"/>
                <a:gd name="connsiteX3451" fmla="*/ 1242855 w 2792478"/>
                <a:gd name="connsiteY3451" fmla="*/ 2111824 h 4235290"/>
                <a:gd name="connsiteX3452" fmla="*/ 1230229 w 2792478"/>
                <a:gd name="connsiteY3452" fmla="*/ 2099192 h 4235290"/>
                <a:gd name="connsiteX3453" fmla="*/ 1233836 w 2792478"/>
                <a:gd name="connsiteY3453" fmla="*/ 2095580 h 4235290"/>
                <a:gd name="connsiteX3454" fmla="*/ 1237448 w 2792478"/>
                <a:gd name="connsiteY3454" fmla="*/ 2099192 h 4235290"/>
                <a:gd name="connsiteX3455" fmla="*/ 1242855 w 2792478"/>
                <a:gd name="connsiteY3455" fmla="*/ 2104600 h 4235290"/>
                <a:gd name="connsiteX3456" fmla="*/ 1248262 w 2792478"/>
                <a:gd name="connsiteY3456" fmla="*/ 2099192 h 4235290"/>
                <a:gd name="connsiteX3457" fmla="*/ 1242855 w 2792478"/>
                <a:gd name="connsiteY3457" fmla="*/ 2093796 h 4235290"/>
                <a:gd name="connsiteX3458" fmla="*/ 1239243 w 2792478"/>
                <a:gd name="connsiteY3458" fmla="*/ 2090184 h 4235290"/>
                <a:gd name="connsiteX3459" fmla="*/ 1242855 w 2792478"/>
                <a:gd name="connsiteY3459" fmla="*/ 2086577 h 4235290"/>
                <a:gd name="connsiteX3460" fmla="*/ 1248262 w 2792478"/>
                <a:gd name="connsiteY3460" fmla="*/ 2081164 h 4235290"/>
                <a:gd name="connsiteX3461" fmla="*/ 1242855 w 2792478"/>
                <a:gd name="connsiteY3461" fmla="*/ 2075757 h 4235290"/>
                <a:gd name="connsiteX3462" fmla="*/ 1237448 w 2792478"/>
                <a:gd name="connsiteY3462" fmla="*/ 2081164 h 4235290"/>
                <a:gd name="connsiteX3463" fmla="*/ 1233836 w 2792478"/>
                <a:gd name="connsiteY3463" fmla="*/ 2084776 h 4235290"/>
                <a:gd name="connsiteX3464" fmla="*/ 1230229 w 2792478"/>
                <a:gd name="connsiteY3464" fmla="*/ 2081164 h 4235290"/>
                <a:gd name="connsiteX3465" fmla="*/ 1242855 w 2792478"/>
                <a:gd name="connsiteY3465" fmla="*/ 2068538 h 4235290"/>
                <a:gd name="connsiteX3466" fmla="*/ 1203182 w 2792478"/>
                <a:gd name="connsiteY3466" fmla="*/ 2068538 h 4235290"/>
                <a:gd name="connsiteX3467" fmla="*/ 1215802 w 2792478"/>
                <a:gd name="connsiteY3467" fmla="*/ 2081164 h 4235290"/>
                <a:gd name="connsiteX3468" fmla="*/ 1205046 w 2792478"/>
                <a:gd name="connsiteY3468" fmla="*/ 2098653 h 4235290"/>
                <a:gd name="connsiteX3469" fmla="*/ 1199693 w 2792478"/>
                <a:gd name="connsiteY3469" fmla="*/ 2104600 h 4235290"/>
                <a:gd name="connsiteX3470" fmla="*/ 1212201 w 2792478"/>
                <a:gd name="connsiteY3470" fmla="*/ 2104600 h 4235290"/>
                <a:gd name="connsiteX3471" fmla="*/ 1215802 w 2792478"/>
                <a:gd name="connsiteY3471" fmla="*/ 2108212 h 4235290"/>
                <a:gd name="connsiteX3472" fmla="*/ 1212201 w 2792478"/>
                <a:gd name="connsiteY3472" fmla="*/ 2111824 h 4235290"/>
                <a:gd name="connsiteX3473" fmla="*/ 1194162 w 2792478"/>
                <a:gd name="connsiteY3473" fmla="*/ 2111824 h 4235290"/>
                <a:gd name="connsiteX3474" fmla="*/ 1190572 w 2792478"/>
                <a:gd name="connsiteY3474" fmla="*/ 2108212 h 4235290"/>
                <a:gd name="connsiteX3475" fmla="*/ 1199837 w 2792478"/>
                <a:gd name="connsiteY3475" fmla="*/ 2093667 h 4235290"/>
                <a:gd name="connsiteX3476" fmla="*/ 1208605 w 2792478"/>
                <a:gd name="connsiteY3476" fmla="*/ 2081164 h 4235290"/>
                <a:gd name="connsiteX3477" fmla="*/ 1203182 w 2792478"/>
                <a:gd name="connsiteY3477" fmla="*/ 2075757 h 4235290"/>
                <a:gd name="connsiteX3478" fmla="*/ 1197774 w 2792478"/>
                <a:gd name="connsiteY3478" fmla="*/ 2081164 h 4235290"/>
                <a:gd name="connsiteX3479" fmla="*/ 1194162 w 2792478"/>
                <a:gd name="connsiteY3479" fmla="*/ 2084776 h 4235290"/>
                <a:gd name="connsiteX3480" fmla="*/ 1190572 w 2792478"/>
                <a:gd name="connsiteY3480" fmla="*/ 2081164 h 4235290"/>
                <a:gd name="connsiteX3481" fmla="*/ 1203182 w 2792478"/>
                <a:gd name="connsiteY3481" fmla="*/ 2068538 h 4235290"/>
                <a:gd name="connsiteX3482" fmla="*/ 1753220 w 2792478"/>
                <a:gd name="connsiteY3482" fmla="*/ 2067184 h 4235290"/>
                <a:gd name="connsiteX3483" fmla="*/ 1773255 w 2792478"/>
                <a:gd name="connsiteY3483" fmla="*/ 2067184 h 4235290"/>
                <a:gd name="connsiteX3484" fmla="*/ 1773255 w 2792478"/>
                <a:gd name="connsiteY3484" fmla="*/ 2087219 h 4235290"/>
                <a:gd name="connsiteX3485" fmla="*/ 1753220 w 2792478"/>
                <a:gd name="connsiteY3485" fmla="*/ 2087219 h 4235290"/>
                <a:gd name="connsiteX3486" fmla="*/ 1753220 w 2792478"/>
                <a:gd name="connsiteY3486" fmla="*/ 2067184 h 4235290"/>
                <a:gd name="connsiteX3487" fmla="*/ 1713151 w 2792478"/>
                <a:gd name="connsiteY3487" fmla="*/ 2067184 h 4235290"/>
                <a:gd name="connsiteX3488" fmla="*/ 1733175 w 2792478"/>
                <a:gd name="connsiteY3488" fmla="*/ 2067184 h 4235290"/>
                <a:gd name="connsiteX3489" fmla="*/ 1733175 w 2792478"/>
                <a:gd name="connsiteY3489" fmla="*/ 2087219 h 4235290"/>
                <a:gd name="connsiteX3490" fmla="*/ 1713151 w 2792478"/>
                <a:gd name="connsiteY3490" fmla="*/ 2087219 h 4235290"/>
                <a:gd name="connsiteX3491" fmla="*/ 1713151 w 2792478"/>
                <a:gd name="connsiteY3491" fmla="*/ 2067184 h 4235290"/>
                <a:gd name="connsiteX3492" fmla="*/ 1673093 w 2792478"/>
                <a:gd name="connsiteY3492" fmla="*/ 2067184 h 4235290"/>
                <a:gd name="connsiteX3493" fmla="*/ 1693116 w 2792478"/>
                <a:gd name="connsiteY3493" fmla="*/ 2067184 h 4235290"/>
                <a:gd name="connsiteX3494" fmla="*/ 1693116 w 2792478"/>
                <a:gd name="connsiteY3494" fmla="*/ 2087219 h 4235290"/>
                <a:gd name="connsiteX3495" fmla="*/ 1673093 w 2792478"/>
                <a:gd name="connsiteY3495" fmla="*/ 2087219 h 4235290"/>
                <a:gd name="connsiteX3496" fmla="*/ 1673093 w 2792478"/>
                <a:gd name="connsiteY3496" fmla="*/ 2067184 h 4235290"/>
                <a:gd name="connsiteX3497" fmla="*/ 1633012 w 2792478"/>
                <a:gd name="connsiteY3497" fmla="*/ 2067184 h 4235290"/>
                <a:gd name="connsiteX3498" fmla="*/ 1653047 w 2792478"/>
                <a:gd name="connsiteY3498" fmla="*/ 2067184 h 4235290"/>
                <a:gd name="connsiteX3499" fmla="*/ 1653047 w 2792478"/>
                <a:gd name="connsiteY3499" fmla="*/ 2087219 h 4235290"/>
                <a:gd name="connsiteX3500" fmla="*/ 1633012 w 2792478"/>
                <a:gd name="connsiteY3500" fmla="*/ 2087219 h 4235290"/>
                <a:gd name="connsiteX3501" fmla="*/ 1633012 w 2792478"/>
                <a:gd name="connsiteY3501" fmla="*/ 2067184 h 4235290"/>
                <a:gd name="connsiteX3502" fmla="*/ 1915284 w 2792478"/>
                <a:gd name="connsiteY3502" fmla="*/ 2059104 h 4235290"/>
                <a:gd name="connsiteX3503" fmla="*/ 1912240 w 2792478"/>
                <a:gd name="connsiteY3503" fmla="*/ 2069544 h 4235290"/>
                <a:gd name="connsiteX3504" fmla="*/ 1914912 w 2792478"/>
                <a:gd name="connsiteY3504" fmla="*/ 2072030 h 4235290"/>
                <a:gd name="connsiteX3505" fmla="*/ 1925037 w 2792478"/>
                <a:gd name="connsiteY3505" fmla="*/ 2068175 h 4235290"/>
                <a:gd name="connsiteX3506" fmla="*/ 1924789 w 2792478"/>
                <a:gd name="connsiteY3506" fmla="*/ 2067244 h 4235290"/>
                <a:gd name="connsiteX3507" fmla="*/ 1916089 w 2792478"/>
                <a:gd name="connsiteY3507" fmla="*/ 2059226 h 4235290"/>
                <a:gd name="connsiteX3508" fmla="*/ 2002222 w 2792478"/>
                <a:gd name="connsiteY3508" fmla="*/ 2059049 h 4235290"/>
                <a:gd name="connsiteX3509" fmla="*/ 2001536 w 2792478"/>
                <a:gd name="connsiteY3509" fmla="*/ 2069734 h 4235290"/>
                <a:gd name="connsiteX3510" fmla="*/ 2008495 w 2792478"/>
                <a:gd name="connsiteY3510" fmla="*/ 2066254 h 4235290"/>
                <a:gd name="connsiteX3511" fmla="*/ 2006883 w 2792478"/>
                <a:gd name="connsiteY3511" fmla="*/ 2060727 h 4235290"/>
                <a:gd name="connsiteX3512" fmla="*/ 2002222 w 2792478"/>
                <a:gd name="connsiteY3512" fmla="*/ 2059049 h 4235290"/>
                <a:gd name="connsiteX3513" fmla="*/ 1172544 w 2792478"/>
                <a:gd name="connsiteY3513" fmla="*/ 2057729 h 4235290"/>
                <a:gd name="connsiteX3514" fmla="*/ 1172544 w 2792478"/>
                <a:gd name="connsiteY3514" fmla="*/ 2119026 h 4235290"/>
                <a:gd name="connsiteX3515" fmla="*/ 1176134 w 2792478"/>
                <a:gd name="connsiteY3515" fmla="*/ 2122638 h 4235290"/>
                <a:gd name="connsiteX3516" fmla="*/ 1269907 w 2792478"/>
                <a:gd name="connsiteY3516" fmla="*/ 2122638 h 4235290"/>
                <a:gd name="connsiteX3517" fmla="*/ 1273514 w 2792478"/>
                <a:gd name="connsiteY3517" fmla="*/ 2119026 h 4235290"/>
                <a:gd name="connsiteX3518" fmla="*/ 1273514 w 2792478"/>
                <a:gd name="connsiteY3518" fmla="*/ 2057729 h 4235290"/>
                <a:gd name="connsiteX3519" fmla="*/ 2168084 w 2792478"/>
                <a:gd name="connsiteY3519" fmla="*/ 2052583 h 4235290"/>
                <a:gd name="connsiteX3520" fmla="*/ 2167398 w 2792478"/>
                <a:gd name="connsiteY3520" fmla="*/ 2063206 h 4235290"/>
                <a:gd name="connsiteX3521" fmla="*/ 2174357 w 2792478"/>
                <a:gd name="connsiteY3521" fmla="*/ 2059788 h 4235290"/>
                <a:gd name="connsiteX3522" fmla="*/ 2172745 w 2792478"/>
                <a:gd name="connsiteY3522" fmla="*/ 2054199 h 4235290"/>
                <a:gd name="connsiteX3523" fmla="*/ 2168084 w 2792478"/>
                <a:gd name="connsiteY3523" fmla="*/ 2052583 h 4235290"/>
                <a:gd name="connsiteX3524" fmla="*/ 2089216 w 2792478"/>
                <a:gd name="connsiteY3524" fmla="*/ 2048857 h 4235290"/>
                <a:gd name="connsiteX3525" fmla="*/ 2071943 w 2792478"/>
                <a:gd name="connsiteY3525" fmla="*/ 2084714 h 4235290"/>
                <a:gd name="connsiteX3526" fmla="*/ 2019680 w 2792478"/>
                <a:gd name="connsiteY3526" fmla="*/ 2088871 h 4235290"/>
                <a:gd name="connsiteX3527" fmla="*/ 2032106 w 2792478"/>
                <a:gd name="connsiteY3527" fmla="*/ 2117085 h 4235290"/>
                <a:gd name="connsiteX3528" fmla="*/ 2032486 w 2792478"/>
                <a:gd name="connsiteY3528" fmla="*/ 2118147 h 4235290"/>
                <a:gd name="connsiteX3529" fmla="*/ 2141609 w 2792478"/>
                <a:gd name="connsiteY3529" fmla="*/ 2119825 h 4235290"/>
                <a:gd name="connsiteX3530" fmla="*/ 2151488 w 2792478"/>
                <a:gd name="connsiteY3530" fmla="*/ 2089064 h 4235290"/>
                <a:gd name="connsiteX3531" fmla="*/ 2125328 w 2792478"/>
                <a:gd name="connsiteY3531" fmla="*/ 2097201 h 4235290"/>
                <a:gd name="connsiteX3532" fmla="*/ 2100345 w 2792478"/>
                <a:gd name="connsiteY3532" fmla="*/ 2081042 h 4235290"/>
                <a:gd name="connsiteX3533" fmla="*/ 2089216 w 2792478"/>
                <a:gd name="connsiteY3533" fmla="*/ 2048857 h 4235290"/>
                <a:gd name="connsiteX3534" fmla="*/ 1471456 w 2792478"/>
                <a:gd name="connsiteY3534" fmla="*/ 2048398 h 4235290"/>
                <a:gd name="connsiteX3535" fmla="*/ 1477956 w 2792478"/>
                <a:gd name="connsiteY3535" fmla="*/ 2054905 h 4235290"/>
                <a:gd name="connsiteX3536" fmla="*/ 1477956 w 2792478"/>
                <a:gd name="connsiteY3536" fmla="*/ 2069692 h 4235290"/>
                <a:gd name="connsiteX3537" fmla="*/ 1484422 w 2792478"/>
                <a:gd name="connsiteY3537" fmla="*/ 2080887 h 4235290"/>
                <a:gd name="connsiteX3538" fmla="*/ 1471456 w 2792478"/>
                <a:gd name="connsiteY3538" fmla="*/ 2093893 h 4235290"/>
                <a:gd name="connsiteX3539" fmla="*/ 1458444 w 2792478"/>
                <a:gd name="connsiteY3539" fmla="*/ 2080887 h 4235290"/>
                <a:gd name="connsiteX3540" fmla="*/ 1464943 w 2792478"/>
                <a:gd name="connsiteY3540" fmla="*/ 2069692 h 4235290"/>
                <a:gd name="connsiteX3541" fmla="*/ 1464943 w 2792478"/>
                <a:gd name="connsiteY3541" fmla="*/ 2054905 h 4235290"/>
                <a:gd name="connsiteX3542" fmla="*/ 1471456 w 2792478"/>
                <a:gd name="connsiteY3542" fmla="*/ 2048398 h 4235290"/>
                <a:gd name="connsiteX3543" fmla="*/ 1875819 w 2792478"/>
                <a:gd name="connsiteY3543" fmla="*/ 2042265 h 4235290"/>
                <a:gd name="connsiteX3544" fmla="*/ 1896329 w 2792478"/>
                <a:gd name="connsiteY3544" fmla="*/ 2042265 h 4235290"/>
                <a:gd name="connsiteX3545" fmla="*/ 1898817 w 2792478"/>
                <a:gd name="connsiteY3545" fmla="*/ 2044809 h 4235290"/>
                <a:gd name="connsiteX3546" fmla="*/ 1896329 w 2792478"/>
                <a:gd name="connsiteY3546" fmla="*/ 2047418 h 4235290"/>
                <a:gd name="connsiteX3547" fmla="*/ 1875819 w 2792478"/>
                <a:gd name="connsiteY3547" fmla="*/ 2047418 h 4235290"/>
                <a:gd name="connsiteX3548" fmla="*/ 1873271 w 2792478"/>
                <a:gd name="connsiteY3548" fmla="*/ 2044809 h 4235290"/>
                <a:gd name="connsiteX3549" fmla="*/ 1875819 w 2792478"/>
                <a:gd name="connsiteY3549" fmla="*/ 2042265 h 4235290"/>
                <a:gd name="connsiteX3550" fmla="*/ 1942503 w 2792478"/>
                <a:gd name="connsiteY3550" fmla="*/ 2029089 h 4235290"/>
                <a:gd name="connsiteX3551" fmla="*/ 1940015 w 2792478"/>
                <a:gd name="connsiteY3551" fmla="*/ 2031697 h 4235290"/>
                <a:gd name="connsiteX3552" fmla="*/ 1950394 w 2792478"/>
                <a:gd name="connsiteY3552" fmla="*/ 2041270 h 4235290"/>
                <a:gd name="connsiteX3553" fmla="*/ 1952882 w 2792478"/>
                <a:gd name="connsiteY3553" fmla="*/ 2038597 h 4235290"/>
                <a:gd name="connsiteX3554" fmla="*/ 1419460 w 2792478"/>
                <a:gd name="connsiteY3554" fmla="*/ 2028923 h 4235290"/>
                <a:gd name="connsiteX3555" fmla="*/ 1412980 w 2792478"/>
                <a:gd name="connsiteY3555" fmla="*/ 2035421 h 4235290"/>
                <a:gd name="connsiteX3556" fmla="*/ 1412980 w 2792478"/>
                <a:gd name="connsiteY3556" fmla="*/ 2113377 h 4235290"/>
                <a:gd name="connsiteX3557" fmla="*/ 1419460 w 2792478"/>
                <a:gd name="connsiteY3557" fmla="*/ 2119875 h 4235290"/>
                <a:gd name="connsiteX3558" fmla="*/ 1523426 w 2792478"/>
                <a:gd name="connsiteY3558" fmla="*/ 2119875 h 4235290"/>
                <a:gd name="connsiteX3559" fmla="*/ 1529925 w 2792478"/>
                <a:gd name="connsiteY3559" fmla="*/ 2113377 h 4235290"/>
                <a:gd name="connsiteX3560" fmla="*/ 1529925 w 2792478"/>
                <a:gd name="connsiteY3560" fmla="*/ 2035421 h 4235290"/>
                <a:gd name="connsiteX3561" fmla="*/ 1523426 w 2792478"/>
                <a:gd name="connsiteY3561" fmla="*/ 2028923 h 4235290"/>
                <a:gd name="connsiteX3562" fmla="*/ 1753220 w 2792478"/>
                <a:gd name="connsiteY3562" fmla="*/ 2027105 h 4235290"/>
                <a:gd name="connsiteX3563" fmla="*/ 1773255 w 2792478"/>
                <a:gd name="connsiteY3563" fmla="*/ 2027105 h 4235290"/>
                <a:gd name="connsiteX3564" fmla="*/ 1773255 w 2792478"/>
                <a:gd name="connsiteY3564" fmla="*/ 2047150 h 4235290"/>
                <a:gd name="connsiteX3565" fmla="*/ 1753220 w 2792478"/>
                <a:gd name="connsiteY3565" fmla="*/ 2047150 h 4235290"/>
                <a:gd name="connsiteX3566" fmla="*/ 1753220 w 2792478"/>
                <a:gd name="connsiteY3566" fmla="*/ 2027105 h 4235290"/>
                <a:gd name="connsiteX3567" fmla="*/ 1713151 w 2792478"/>
                <a:gd name="connsiteY3567" fmla="*/ 2027105 h 4235290"/>
                <a:gd name="connsiteX3568" fmla="*/ 1733175 w 2792478"/>
                <a:gd name="connsiteY3568" fmla="*/ 2027105 h 4235290"/>
                <a:gd name="connsiteX3569" fmla="*/ 1733175 w 2792478"/>
                <a:gd name="connsiteY3569" fmla="*/ 2047150 h 4235290"/>
                <a:gd name="connsiteX3570" fmla="*/ 1713151 w 2792478"/>
                <a:gd name="connsiteY3570" fmla="*/ 2047150 h 4235290"/>
                <a:gd name="connsiteX3571" fmla="*/ 1713151 w 2792478"/>
                <a:gd name="connsiteY3571" fmla="*/ 2027105 h 4235290"/>
                <a:gd name="connsiteX3572" fmla="*/ 1673093 w 2792478"/>
                <a:gd name="connsiteY3572" fmla="*/ 2027105 h 4235290"/>
                <a:gd name="connsiteX3573" fmla="*/ 1693116 w 2792478"/>
                <a:gd name="connsiteY3573" fmla="*/ 2027105 h 4235290"/>
                <a:gd name="connsiteX3574" fmla="*/ 1693116 w 2792478"/>
                <a:gd name="connsiteY3574" fmla="*/ 2047150 h 4235290"/>
                <a:gd name="connsiteX3575" fmla="*/ 1673093 w 2792478"/>
                <a:gd name="connsiteY3575" fmla="*/ 2047150 h 4235290"/>
                <a:gd name="connsiteX3576" fmla="*/ 1673093 w 2792478"/>
                <a:gd name="connsiteY3576" fmla="*/ 2027105 h 4235290"/>
                <a:gd name="connsiteX3577" fmla="*/ 1633012 w 2792478"/>
                <a:gd name="connsiteY3577" fmla="*/ 2027105 h 4235290"/>
                <a:gd name="connsiteX3578" fmla="*/ 1653047 w 2792478"/>
                <a:gd name="connsiteY3578" fmla="*/ 2027105 h 4235290"/>
                <a:gd name="connsiteX3579" fmla="*/ 1653047 w 2792478"/>
                <a:gd name="connsiteY3579" fmla="*/ 2047150 h 4235290"/>
                <a:gd name="connsiteX3580" fmla="*/ 1633012 w 2792478"/>
                <a:gd name="connsiteY3580" fmla="*/ 2047150 h 4235290"/>
                <a:gd name="connsiteX3581" fmla="*/ 1633012 w 2792478"/>
                <a:gd name="connsiteY3581" fmla="*/ 2027105 h 4235290"/>
                <a:gd name="connsiteX3582" fmla="*/ 1948284 w 2792478"/>
                <a:gd name="connsiteY3582" fmla="*/ 2024367 h 4235290"/>
                <a:gd name="connsiteX3583" fmla="*/ 1954307 w 2792478"/>
                <a:gd name="connsiteY3583" fmla="*/ 2026603 h 4235290"/>
                <a:gd name="connsiteX3584" fmla="*/ 1954809 w 2792478"/>
                <a:gd name="connsiteY3584" fmla="*/ 2038533 h 4235290"/>
                <a:gd name="connsiteX3585" fmla="*/ 1951452 w 2792478"/>
                <a:gd name="connsiteY3585" fmla="*/ 2042201 h 4235290"/>
                <a:gd name="connsiteX3586" fmla="*/ 1949336 w 2792478"/>
                <a:gd name="connsiteY3586" fmla="*/ 2044437 h 4235290"/>
                <a:gd name="connsiteX3587" fmla="*/ 1926657 w 2792478"/>
                <a:gd name="connsiteY3587" fmla="*/ 2069049 h 4235290"/>
                <a:gd name="connsiteX3588" fmla="*/ 1916089 w 2792478"/>
                <a:gd name="connsiteY3588" fmla="*/ 2073083 h 4235290"/>
                <a:gd name="connsiteX3589" fmla="*/ 1909067 w 2792478"/>
                <a:gd name="connsiteY3589" fmla="*/ 2075698 h 4235290"/>
                <a:gd name="connsiteX3590" fmla="*/ 1911118 w 2792478"/>
                <a:gd name="connsiteY3590" fmla="*/ 2068490 h 4235290"/>
                <a:gd name="connsiteX3591" fmla="*/ 1914286 w 2792478"/>
                <a:gd name="connsiteY3591" fmla="*/ 2057613 h 4235290"/>
                <a:gd name="connsiteX3592" fmla="*/ 1936971 w 2792478"/>
                <a:gd name="connsiteY3592" fmla="*/ 2033001 h 4235290"/>
                <a:gd name="connsiteX3593" fmla="*/ 1939022 w 2792478"/>
                <a:gd name="connsiteY3593" fmla="*/ 2030766 h 4235290"/>
                <a:gd name="connsiteX3594" fmla="*/ 1942438 w 2792478"/>
                <a:gd name="connsiteY3594" fmla="*/ 2027097 h 4235290"/>
                <a:gd name="connsiteX3595" fmla="*/ 1948284 w 2792478"/>
                <a:gd name="connsiteY3595" fmla="*/ 2024367 h 4235290"/>
                <a:gd name="connsiteX3596" fmla="*/ 1176134 w 2792478"/>
                <a:gd name="connsiteY3596" fmla="*/ 2021662 h 4235290"/>
                <a:gd name="connsiteX3597" fmla="*/ 1179746 w 2792478"/>
                <a:gd name="connsiteY3597" fmla="*/ 2025247 h 4235290"/>
                <a:gd name="connsiteX3598" fmla="*/ 1176134 w 2792478"/>
                <a:gd name="connsiteY3598" fmla="*/ 2028859 h 4235290"/>
                <a:gd name="connsiteX3599" fmla="*/ 1172544 w 2792478"/>
                <a:gd name="connsiteY3599" fmla="*/ 2032471 h 4235290"/>
                <a:gd name="connsiteX3600" fmla="*/ 1172544 w 2792478"/>
                <a:gd name="connsiteY3600" fmla="*/ 2050505 h 4235290"/>
                <a:gd name="connsiteX3601" fmla="*/ 1273514 w 2792478"/>
                <a:gd name="connsiteY3601" fmla="*/ 2050505 h 4235290"/>
                <a:gd name="connsiteX3602" fmla="*/ 1273514 w 2792478"/>
                <a:gd name="connsiteY3602" fmla="*/ 2032471 h 4235290"/>
                <a:gd name="connsiteX3603" fmla="*/ 1269907 w 2792478"/>
                <a:gd name="connsiteY3603" fmla="*/ 2028859 h 4235290"/>
                <a:gd name="connsiteX3604" fmla="*/ 1266295 w 2792478"/>
                <a:gd name="connsiteY3604" fmla="*/ 2025247 h 4235290"/>
                <a:gd name="connsiteX3605" fmla="*/ 1269907 w 2792478"/>
                <a:gd name="connsiteY3605" fmla="*/ 2021662 h 4235290"/>
                <a:gd name="connsiteX3606" fmla="*/ 1280733 w 2792478"/>
                <a:gd name="connsiteY3606" fmla="*/ 2032471 h 4235290"/>
                <a:gd name="connsiteX3607" fmla="*/ 1280733 w 2792478"/>
                <a:gd name="connsiteY3607" fmla="*/ 2119026 h 4235290"/>
                <a:gd name="connsiteX3608" fmla="*/ 1269907 w 2792478"/>
                <a:gd name="connsiteY3608" fmla="*/ 2129857 h 4235290"/>
                <a:gd name="connsiteX3609" fmla="*/ 1176134 w 2792478"/>
                <a:gd name="connsiteY3609" fmla="*/ 2129857 h 4235290"/>
                <a:gd name="connsiteX3610" fmla="*/ 1165320 w 2792478"/>
                <a:gd name="connsiteY3610" fmla="*/ 2119026 h 4235290"/>
                <a:gd name="connsiteX3611" fmla="*/ 1165320 w 2792478"/>
                <a:gd name="connsiteY3611" fmla="*/ 2032471 h 4235290"/>
                <a:gd name="connsiteX3612" fmla="*/ 1176134 w 2792478"/>
                <a:gd name="connsiteY3612" fmla="*/ 2021662 h 4235290"/>
                <a:gd name="connsiteX3613" fmla="*/ 1875819 w 2792478"/>
                <a:gd name="connsiteY3613" fmla="*/ 2020390 h 4235290"/>
                <a:gd name="connsiteX3614" fmla="*/ 1905089 w 2792478"/>
                <a:gd name="connsiteY3614" fmla="*/ 2020390 h 4235290"/>
                <a:gd name="connsiteX3615" fmla="*/ 1907636 w 2792478"/>
                <a:gd name="connsiteY3615" fmla="*/ 2022998 h 4235290"/>
                <a:gd name="connsiteX3616" fmla="*/ 1905089 w 2792478"/>
                <a:gd name="connsiteY3616" fmla="*/ 2025549 h 4235290"/>
                <a:gd name="connsiteX3617" fmla="*/ 1875819 w 2792478"/>
                <a:gd name="connsiteY3617" fmla="*/ 2025549 h 4235290"/>
                <a:gd name="connsiteX3618" fmla="*/ 1873271 w 2792478"/>
                <a:gd name="connsiteY3618" fmla="*/ 2022998 h 4235290"/>
                <a:gd name="connsiteX3619" fmla="*/ 1875819 w 2792478"/>
                <a:gd name="connsiteY3619" fmla="*/ 2020390 h 4235290"/>
                <a:gd name="connsiteX3620" fmla="*/ 1259093 w 2792478"/>
                <a:gd name="connsiteY3620" fmla="*/ 2014443 h 4235290"/>
                <a:gd name="connsiteX3621" fmla="*/ 1262705 w 2792478"/>
                <a:gd name="connsiteY3621" fmla="*/ 2018055 h 4235290"/>
                <a:gd name="connsiteX3622" fmla="*/ 1262705 w 2792478"/>
                <a:gd name="connsiteY3622" fmla="*/ 2032471 h 4235290"/>
                <a:gd name="connsiteX3623" fmla="*/ 1259093 w 2792478"/>
                <a:gd name="connsiteY3623" fmla="*/ 2036083 h 4235290"/>
                <a:gd name="connsiteX3624" fmla="*/ 1255481 w 2792478"/>
                <a:gd name="connsiteY3624" fmla="*/ 2032471 h 4235290"/>
                <a:gd name="connsiteX3625" fmla="*/ 1255481 w 2792478"/>
                <a:gd name="connsiteY3625" fmla="*/ 2018055 h 4235290"/>
                <a:gd name="connsiteX3626" fmla="*/ 1259093 w 2792478"/>
                <a:gd name="connsiteY3626" fmla="*/ 2014443 h 4235290"/>
                <a:gd name="connsiteX3627" fmla="*/ 1244672 w 2792478"/>
                <a:gd name="connsiteY3627" fmla="*/ 2014443 h 4235290"/>
                <a:gd name="connsiteX3628" fmla="*/ 1248262 w 2792478"/>
                <a:gd name="connsiteY3628" fmla="*/ 2018055 h 4235290"/>
                <a:gd name="connsiteX3629" fmla="*/ 1248262 w 2792478"/>
                <a:gd name="connsiteY3629" fmla="*/ 2032471 h 4235290"/>
                <a:gd name="connsiteX3630" fmla="*/ 1244672 w 2792478"/>
                <a:gd name="connsiteY3630" fmla="*/ 2036083 h 4235290"/>
                <a:gd name="connsiteX3631" fmla="*/ 1241060 w 2792478"/>
                <a:gd name="connsiteY3631" fmla="*/ 2032471 h 4235290"/>
                <a:gd name="connsiteX3632" fmla="*/ 1241060 w 2792478"/>
                <a:gd name="connsiteY3632" fmla="*/ 2018055 h 4235290"/>
                <a:gd name="connsiteX3633" fmla="*/ 1244672 w 2792478"/>
                <a:gd name="connsiteY3633" fmla="*/ 2014443 h 4235290"/>
                <a:gd name="connsiteX3634" fmla="*/ 1230229 w 2792478"/>
                <a:gd name="connsiteY3634" fmla="*/ 2014443 h 4235290"/>
                <a:gd name="connsiteX3635" fmla="*/ 1233836 w 2792478"/>
                <a:gd name="connsiteY3635" fmla="*/ 2018055 h 4235290"/>
                <a:gd name="connsiteX3636" fmla="*/ 1233836 w 2792478"/>
                <a:gd name="connsiteY3636" fmla="*/ 2032471 h 4235290"/>
                <a:gd name="connsiteX3637" fmla="*/ 1230229 w 2792478"/>
                <a:gd name="connsiteY3637" fmla="*/ 2036083 h 4235290"/>
                <a:gd name="connsiteX3638" fmla="*/ 1226638 w 2792478"/>
                <a:gd name="connsiteY3638" fmla="*/ 2032471 h 4235290"/>
                <a:gd name="connsiteX3639" fmla="*/ 1226638 w 2792478"/>
                <a:gd name="connsiteY3639" fmla="*/ 2018055 h 4235290"/>
                <a:gd name="connsiteX3640" fmla="*/ 1230229 w 2792478"/>
                <a:gd name="connsiteY3640" fmla="*/ 2014443 h 4235290"/>
                <a:gd name="connsiteX3641" fmla="*/ 1215802 w 2792478"/>
                <a:gd name="connsiteY3641" fmla="*/ 2014443 h 4235290"/>
                <a:gd name="connsiteX3642" fmla="*/ 1219414 w 2792478"/>
                <a:gd name="connsiteY3642" fmla="*/ 2018055 h 4235290"/>
                <a:gd name="connsiteX3643" fmla="*/ 1219414 w 2792478"/>
                <a:gd name="connsiteY3643" fmla="*/ 2032471 h 4235290"/>
                <a:gd name="connsiteX3644" fmla="*/ 1215802 w 2792478"/>
                <a:gd name="connsiteY3644" fmla="*/ 2036083 h 4235290"/>
                <a:gd name="connsiteX3645" fmla="*/ 1212201 w 2792478"/>
                <a:gd name="connsiteY3645" fmla="*/ 2032471 h 4235290"/>
                <a:gd name="connsiteX3646" fmla="*/ 1212201 w 2792478"/>
                <a:gd name="connsiteY3646" fmla="*/ 2018055 h 4235290"/>
                <a:gd name="connsiteX3647" fmla="*/ 1215802 w 2792478"/>
                <a:gd name="connsiteY3647" fmla="*/ 2014443 h 4235290"/>
                <a:gd name="connsiteX3648" fmla="*/ 1201392 w 2792478"/>
                <a:gd name="connsiteY3648" fmla="*/ 2014443 h 4235290"/>
                <a:gd name="connsiteX3649" fmla="*/ 1204993 w 2792478"/>
                <a:gd name="connsiteY3649" fmla="*/ 2018055 h 4235290"/>
                <a:gd name="connsiteX3650" fmla="*/ 1204993 w 2792478"/>
                <a:gd name="connsiteY3650" fmla="*/ 2032471 h 4235290"/>
                <a:gd name="connsiteX3651" fmla="*/ 1201392 w 2792478"/>
                <a:gd name="connsiteY3651" fmla="*/ 2036083 h 4235290"/>
                <a:gd name="connsiteX3652" fmla="*/ 1197774 w 2792478"/>
                <a:gd name="connsiteY3652" fmla="*/ 2032471 h 4235290"/>
                <a:gd name="connsiteX3653" fmla="*/ 1197774 w 2792478"/>
                <a:gd name="connsiteY3653" fmla="*/ 2018055 h 4235290"/>
                <a:gd name="connsiteX3654" fmla="*/ 1201392 w 2792478"/>
                <a:gd name="connsiteY3654" fmla="*/ 2014443 h 4235290"/>
                <a:gd name="connsiteX3655" fmla="*/ 1186965 w 2792478"/>
                <a:gd name="connsiteY3655" fmla="*/ 2014443 h 4235290"/>
                <a:gd name="connsiteX3656" fmla="*/ 1190572 w 2792478"/>
                <a:gd name="connsiteY3656" fmla="*/ 2018055 h 4235290"/>
                <a:gd name="connsiteX3657" fmla="*/ 1190572 w 2792478"/>
                <a:gd name="connsiteY3657" fmla="*/ 2032471 h 4235290"/>
                <a:gd name="connsiteX3658" fmla="*/ 1186965 w 2792478"/>
                <a:gd name="connsiteY3658" fmla="*/ 2036083 h 4235290"/>
                <a:gd name="connsiteX3659" fmla="*/ 1183353 w 2792478"/>
                <a:gd name="connsiteY3659" fmla="*/ 2032471 h 4235290"/>
                <a:gd name="connsiteX3660" fmla="*/ 1183353 w 2792478"/>
                <a:gd name="connsiteY3660" fmla="*/ 2018055 h 4235290"/>
                <a:gd name="connsiteX3661" fmla="*/ 1186965 w 2792478"/>
                <a:gd name="connsiteY3661" fmla="*/ 2014443 h 4235290"/>
                <a:gd name="connsiteX3662" fmla="*/ 1875819 w 2792478"/>
                <a:gd name="connsiteY3662" fmla="*/ 2008453 h 4235290"/>
                <a:gd name="connsiteX3663" fmla="*/ 1934359 w 2792478"/>
                <a:gd name="connsiteY3663" fmla="*/ 2008453 h 4235290"/>
                <a:gd name="connsiteX3664" fmla="*/ 1936847 w 2792478"/>
                <a:gd name="connsiteY3664" fmla="*/ 2011004 h 4235290"/>
                <a:gd name="connsiteX3665" fmla="*/ 1934359 w 2792478"/>
                <a:gd name="connsiteY3665" fmla="*/ 2013612 h 4235290"/>
                <a:gd name="connsiteX3666" fmla="*/ 1875819 w 2792478"/>
                <a:gd name="connsiteY3666" fmla="*/ 2013612 h 4235290"/>
                <a:gd name="connsiteX3667" fmla="*/ 1873271 w 2792478"/>
                <a:gd name="connsiteY3667" fmla="*/ 2011004 h 4235290"/>
                <a:gd name="connsiteX3668" fmla="*/ 1875819 w 2792478"/>
                <a:gd name="connsiteY3668" fmla="*/ 2008453 h 4235290"/>
                <a:gd name="connsiteX3669" fmla="*/ 1612978 w 2792478"/>
                <a:gd name="connsiteY3669" fmla="*/ 2007081 h 4235290"/>
                <a:gd name="connsiteX3670" fmla="*/ 1612978 w 2792478"/>
                <a:gd name="connsiteY3670" fmla="*/ 2147311 h 4235290"/>
                <a:gd name="connsiteX3671" fmla="*/ 1793290 w 2792478"/>
                <a:gd name="connsiteY3671" fmla="*/ 2147311 h 4235290"/>
                <a:gd name="connsiteX3672" fmla="*/ 1793290 w 2792478"/>
                <a:gd name="connsiteY3672" fmla="*/ 2007081 h 4235290"/>
                <a:gd name="connsiteX3673" fmla="*/ 1875819 w 2792478"/>
                <a:gd name="connsiteY3673" fmla="*/ 1996523 h 4235290"/>
                <a:gd name="connsiteX3674" fmla="*/ 1934359 w 2792478"/>
                <a:gd name="connsiteY3674" fmla="*/ 1996523 h 4235290"/>
                <a:gd name="connsiteX3675" fmla="*/ 1936847 w 2792478"/>
                <a:gd name="connsiteY3675" fmla="*/ 1999138 h 4235290"/>
                <a:gd name="connsiteX3676" fmla="*/ 1934359 w 2792478"/>
                <a:gd name="connsiteY3676" fmla="*/ 2001682 h 4235290"/>
                <a:gd name="connsiteX3677" fmla="*/ 1875819 w 2792478"/>
                <a:gd name="connsiteY3677" fmla="*/ 2001682 h 4235290"/>
                <a:gd name="connsiteX3678" fmla="*/ 1873271 w 2792478"/>
                <a:gd name="connsiteY3678" fmla="*/ 1999138 h 4235290"/>
                <a:gd name="connsiteX3679" fmla="*/ 1875819 w 2792478"/>
                <a:gd name="connsiteY3679" fmla="*/ 1996523 h 4235290"/>
                <a:gd name="connsiteX3680" fmla="*/ 2089596 w 2792478"/>
                <a:gd name="connsiteY3680" fmla="*/ 1989820 h 4235290"/>
                <a:gd name="connsiteX3681" fmla="*/ 2088846 w 2792478"/>
                <a:gd name="connsiteY3681" fmla="*/ 2000505 h 4235290"/>
                <a:gd name="connsiteX3682" fmla="*/ 2095870 w 2792478"/>
                <a:gd name="connsiteY3682" fmla="*/ 1997026 h 4235290"/>
                <a:gd name="connsiteX3683" fmla="*/ 2094257 w 2792478"/>
                <a:gd name="connsiteY3683" fmla="*/ 1991498 h 4235290"/>
                <a:gd name="connsiteX3684" fmla="*/ 2089596 w 2792478"/>
                <a:gd name="connsiteY3684" fmla="*/ 1989820 h 4235290"/>
                <a:gd name="connsiteX3685" fmla="*/ 1875819 w 2792478"/>
                <a:gd name="connsiteY3685" fmla="*/ 1984593 h 4235290"/>
                <a:gd name="connsiteX3686" fmla="*/ 1934359 w 2792478"/>
                <a:gd name="connsiteY3686" fmla="*/ 1984593 h 4235290"/>
                <a:gd name="connsiteX3687" fmla="*/ 1936847 w 2792478"/>
                <a:gd name="connsiteY3687" fmla="*/ 1987201 h 4235290"/>
                <a:gd name="connsiteX3688" fmla="*/ 1934359 w 2792478"/>
                <a:gd name="connsiteY3688" fmla="*/ 1989752 h 4235290"/>
                <a:gd name="connsiteX3689" fmla="*/ 1875819 w 2792478"/>
                <a:gd name="connsiteY3689" fmla="*/ 1989752 h 4235290"/>
                <a:gd name="connsiteX3690" fmla="*/ 1873271 w 2792478"/>
                <a:gd name="connsiteY3690" fmla="*/ 1987201 h 4235290"/>
                <a:gd name="connsiteX3691" fmla="*/ 1875819 w 2792478"/>
                <a:gd name="connsiteY3691" fmla="*/ 1984593 h 4235290"/>
                <a:gd name="connsiteX3692" fmla="*/ 2091023 w 2792478"/>
                <a:gd name="connsiteY3692" fmla="*/ 1978635 h 4235290"/>
                <a:gd name="connsiteX3693" fmla="*/ 2093877 w 2792478"/>
                <a:gd name="connsiteY3693" fmla="*/ 1979435 h 4235290"/>
                <a:gd name="connsiteX3694" fmla="*/ 2102087 w 2792478"/>
                <a:gd name="connsiteY3694" fmla="*/ 1983107 h 4235290"/>
                <a:gd name="connsiteX3695" fmla="*/ 2107054 w 2792478"/>
                <a:gd name="connsiteY3695" fmla="*/ 1991806 h 4235290"/>
                <a:gd name="connsiteX3696" fmla="*/ 2107175 w 2792478"/>
                <a:gd name="connsiteY3696" fmla="*/ 1993423 h 4235290"/>
                <a:gd name="connsiteX3697" fmla="*/ 2107240 w 2792478"/>
                <a:gd name="connsiteY3697" fmla="*/ 1993792 h 4235290"/>
                <a:gd name="connsiteX3698" fmla="*/ 2104386 w 2792478"/>
                <a:gd name="connsiteY3698" fmla="*/ 2006286 h 4235290"/>
                <a:gd name="connsiteX3699" fmla="*/ 2103329 w 2792478"/>
                <a:gd name="connsiteY3699" fmla="*/ 2007341 h 4235290"/>
                <a:gd name="connsiteX3700" fmla="*/ 2101893 w 2792478"/>
                <a:gd name="connsiteY3700" fmla="*/ 2008773 h 4235290"/>
                <a:gd name="connsiteX3701" fmla="*/ 2095934 w 2792478"/>
                <a:gd name="connsiteY3701" fmla="*/ 2011382 h 4235290"/>
                <a:gd name="connsiteX3702" fmla="*/ 2105257 w 2792478"/>
                <a:gd name="connsiteY3702" fmla="*/ 2066501 h 4235290"/>
                <a:gd name="connsiteX3703" fmla="*/ 2121658 w 2792478"/>
                <a:gd name="connsiteY3703" fmla="*/ 2085707 h 4235290"/>
                <a:gd name="connsiteX3704" fmla="*/ 2156464 w 2792478"/>
                <a:gd name="connsiteY3704" fmla="*/ 2068864 h 4235290"/>
                <a:gd name="connsiteX3705" fmla="*/ 2152544 w 2792478"/>
                <a:gd name="connsiteY3705" fmla="*/ 2058918 h 4235290"/>
                <a:gd name="connsiteX3706" fmla="*/ 2154536 w 2792478"/>
                <a:gd name="connsiteY3706" fmla="*/ 2052213 h 4235290"/>
                <a:gd name="connsiteX3707" fmla="*/ 2155157 w 2792478"/>
                <a:gd name="connsiteY3707" fmla="*/ 2048418 h 4235290"/>
                <a:gd name="connsiteX3708" fmla="*/ 2169576 w 2792478"/>
                <a:gd name="connsiteY3708" fmla="*/ 2041397 h 4235290"/>
                <a:gd name="connsiteX3709" fmla="*/ 2172365 w 2792478"/>
                <a:gd name="connsiteY3709" fmla="*/ 2042206 h 4235290"/>
                <a:gd name="connsiteX3710" fmla="*/ 2180575 w 2792478"/>
                <a:gd name="connsiteY3710" fmla="*/ 2045870 h 4235290"/>
                <a:gd name="connsiteX3711" fmla="*/ 2185607 w 2792478"/>
                <a:gd name="connsiteY3711" fmla="*/ 2054569 h 4235290"/>
                <a:gd name="connsiteX3712" fmla="*/ 2185728 w 2792478"/>
                <a:gd name="connsiteY3712" fmla="*/ 2056124 h 4235290"/>
                <a:gd name="connsiteX3713" fmla="*/ 2185792 w 2792478"/>
                <a:gd name="connsiteY3713" fmla="*/ 2056563 h 4235290"/>
                <a:gd name="connsiteX3714" fmla="*/ 2182873 w 2792478"/>
                <a:gd name="connsiteY3714" fmla="*/ 2068987 h 4235290"/>
                <a:gd name="connsiteX3715" fmla="*/ 2181873 w 2792478"/>
                <a:gd name="connsiteY3715" fmla="*/ 2070111 h 4235290"/>
                <a:gd name="connsiteX3716" fmla="*/ 2180381 w 2792478"/>
                <a:gd name="connsiteY3716" fmla="*/ 2071474 h 4235290"/>
                <a:gd name="connsiteX3717" fmla="*/ 2167519 w 2792478"/>
                <a:gd name="connsiteY3717" fmla="*/ 2074330 h 4235290"/>
                <a:gd name="connsiteX3718" fmla="*/ 2151608 w 2792478"/>
                <a:gd name="connsiteY3718" fmla="*/ 2123921 h 4235290"/>
                <a:gd name="connsiteX3719" fmla="*/ 2149004 w 2792478"/>
                <a:gd name="connsiteY3719" fmla="*/ 2127092 h 4235290"/>
                <a:gd name="connsiteX3720" fmla="*/ 2145650 w 2792478"/>
                <a:gd name="connsiteY3720" fmla="*/ 2129887 h 4235290"/>
                <a:gd name="connsiteX3721" fmla="*/ 2026333 w 2792478"/>
                <a:gd name="connsiteY3721" fmla="*/ 2127154 h 4235290"/>
                <a:gd name="connsiteX3722" fmla="*/ 2023600 w 2792478"/>
                <a:gd name="connsiteY3722" fmla="*/ 2123736 h 4235290"/>
                <a:gd name="connsiteX3723" fmla="*/ 2022784 w 2792478"/>
                <a:gd name="connsiteY3723" fmla="*/ 2122558 h 4235290"/>
                <a:gd name="connsiteX3724" fmla="*/ 2004890 w 2792478"/>
                <a:gd name="connsiteY3724" fmla="*/ 2081042 h 4235290"/>
                <a:gd name="connsiteX3725" fmla="*/ 1995503 w 2792478"/>
                <a:gd name="connsiteY3725" fmla="*/ 2078995 h 4235290"/>
                <a:gd name="connsiteX3726" fmla="*/ 1992835 w 2792478"/>
                <a:gd name="connsiteY3726" fmla="*/ 2077686 h 4235290"/>
                <a:gd name="connsiteX3727" fmla="*/ 1986682 w 2792478"/>
                <a:gd name="connsiteY3727" fmla="*/ 2065385 h 4235290"/>
                <a:gd name="connsiteX3728" fmla="*/ 1988674 w 2792478"/>
                <a:gd name="connsiteY3728" fmla="*/ 2058733 h 4235290"/>
                <a:gd name="connsiteX3729" fmla="*/ 1989295 w 2792478"/>
                <a:gd name="connsiteY3729" fmla="*/ 2054884 h 4235290"/>
                <a:gd name="connsiteX3730" fmla="*/ 2003714 w 2792478"/>
                <a:gd name="connsiteY3730" fmla="*/ 2047856 h 4235290"/>
                <a:gd name="connsiteX3731" fmla="*/ 2006503 w 2792478"/>
                <a:gd name="connsiteY3731" fmla="*/ 2048664 h 4235290"/>
                <a:gd name="connsiteX3732" fmla="*/ 2014713 w 2792478"/>
                <a:gd name="connsiteY3732" fmla="*/ 2052336 h 4235290"/>
                <a:gd name="connsiteX3733" fmla="*/ 2019745 w 2792478"/>
                <a:gd name="connsiteY3733" fmla="*/ 2061035 h 4235290"/>
                <a:gd name="connsiteX3734" fmla="*/ 2019810 w 2792478"/>
                <a:gd name="connsiteY3734" fmla="*/ 2062652 h 4235290"/>
                <a:gd name="connsiteX3735" fmla="*/ 2019930 w 2792478"/>
                <a:gd name="connsiteY3735" fmla="*/ 2063021 h 4235290"/>
                <a:gd name="connsiteX3736" fmla="*/ 2017196 w 2792478"/>
                <a:gd name="connsiteY3736" fmla="*/ 2075200 h 4235290"/>
                <a:gd name="connsiteX3737" fmla="*/ 2067097 w 2792478"/>
                <a:gd name="connsiteY3737" fmla="*/ 2073398 h 4235290"/>
                <a:gd name="connsiteX3738" fmla="*/ 2084555 w 2792478"/>
                <a:gd name="connsiteY3738" fmla="*/ 2010451 h 4235290"/>
                <a:gd name="connsiteX3739" fmla="*/ 2082878 w 2792478"/>
                <a:gd name="connsiteY3739" fmla="*/ 2009766 h 4235290"/>
                <a:gd name="connsiteX3740" fmla="*/ 2080209 w 2792478"/>
                <a:gd name="connsiteY3740" fmla="*/ 2008457 h 4235290"/>
                <a:gd name="connsiteX3741" fmla="*/ 2074056 w 2792478"/>
                <a:gd name="connsiteY3741" fmla="*/ 1996156 h 4235290"/>
                <a:gd name="connsiteX3742" fmla="*/ 2076048 w 2792478"/>
                <a:gd name="connsiteY3742" fmla="*/ 1989505 h 4235290"/>
                <a:gd name="connsiteX3743" fmla="*/ 2076669 w 2792478"/>
                <a:gd name="connsiteY3743" fmla="*/ 1985655 h 4235290"/>
                <a:gd name="connsiteX3744" fmla="*/ 2091023 w 2792478"/>
                <a:gd name="connsiteY3744" fmla="*/ 1978635 h 4235290"/>
                <a:gd name="connsiteX3745" fmla="*/ 1863270 w 2792478"/>
                <a:gd name="connsiteY3745" fmla="*/ 1964337 h 4235290"/>
                <a:gd name="connsiteX3746" fmla="*/ 1854942 w 2792478"/>
                <a:gd name="connsiteY3746" fmla="*/ 1972663 h 4235290"/>
                <a:gd name="connsiteX3747" fmla="*/ 1854942 w 2792478"/>
                <a:gd name="connsiteY3747" fmla="*/ 2083652 h 4235290"/>
                <a:gd name="connsiteX3748" fmla="*/ 1863270 w 2792478"/>
                <a:gd name="connsiteY3748" fmla="*/ 2091978 h 4235290"/>
                <a:gd name="connsiteX3749" fmla="*/ 1952073 w 2792478"/>
                <a:gd name="connsiteY3749" fmla="*/ 2091978 h 4235290"/>
                <a:gd name="connsiteX3750" fmla="*/ 1960401 w 2792478"/>
                <a:gd name="connsiteY3750" fmla="*/ 2083652 h 4235290"/>
                <a:gd name="connsiteX3751" fmla="*/ 1960401 w 2792478"/>
                <a:gd name="connsiteY3751" fmla="*/ 1972663 h 4235290"/>
                <a:gd name="connsiteX3752" fmla="*/ 1952073 w 2792478"/>
                <a:gd name="connsiteY3752" fmla="*/ 1964337 h 4235290"/>
                <a:gd name="connsiteX3753" fmla="*/ 1863270 w 2792478"/>
                <a:gd name="connsiteY3753" fmla="*/ 1958741 h 4235290"/>
                <a:gd name="connsiteX3754" fmla="*/ 1952073 w 2792478"/>
                <a:gd name="connsiteY3754" fmla="*/ 1958741 h 4235290"/>
                <a:gd name="connsiteX3755" fmla="*/ 1965992 w 2792478"/>
                <a:gd name="connsiteY3755" fmla="*/ 1972663 h 4235290"/>
                <a:gd name="connsiteX3756" fmla="*/ 1965992 w 2792478"/>
                <a:gd name="connsiteY3756" fmla="*/ 2083652 h 4235290"/>
                <a:gd name="connsiteX3757" fmla="*/ 1952073 w 2792478"/>
                <a:gd name="connsiteY3757" fmla="*/ 2097509 h 4235290"/>
                <a:gd name="connsiteX3758" fmla="*/ 1863270 w 2792478"/>
                <a:gd name="connsiteY3758" fmla="*/ 2097509 h 4235290"/>
                <a:gd name="connsiteX3759" fmla="*/ 1849410 w 2792478"/>
                <a:gd name="connsiteY3759" fmla="*/ 2083652 h 4235290"/>
                <a:gd name="connsiteX3760" fmla="*/ 1849410 w 2792478"/>
                <a:gd name="connsiteY3760" fmla="*/ 1972663 h 4235290"/>
                <a:gd name="connsiteX3761" fmla="*/ 1863270 w 2792478"/>
                <a:gd name="connsiteY3761" fmla="*/ 1958741 h 4235290"/>
                <a:gd name="connsiteX3762" fmla="*/ 1592943 w 2792478"/>
                <a:gd name="connsiteY3762" fmla="*/ 1956996 h 4235290"/>
                <a:gd name="connsiteX3763" fmla="*/ 1622995 w 2792478"/>
                <a:gd name="connsiteY3763" fmla="*/ 1956996 h 4235290"/>
                <a:gd name="connsiteX3764" fmla="*/ 1622995 w 2792478"/>
                <a:gd name="connsiteY3764" fmla="*/ 1977030 h 4235290"/>
                <a:gd name="connsiteX3765" fmla="*/ 1663064 w 2792478"/>
                <a:gd name="connsiteY3765" fmla="*/ 1977030 h 4235290"/>
                <a:gd name="connsiteX3766" fmla="*/ 1663064 w 2792478"/>
                <a:gd name="connsiteY3766" fmla="*/ 1956996 h 4235290"/>
                <a:gd name="connsiteX3767" fmla="*/ 1743203 w 2792478"/>
                <a:gd name="connsiteY3767" fmla="*/ 1956996 h 4235290"/>
                <a:gd name="connsiteX3768" fmla="*/ 1743203 w 2792478"/>
                <a:gd name="connsiteY3768" fmla="*/ 1977030 h 4235290"/>
                <a:gd name="connsiteX3769" fmla="*/ 1783272 w 2792478"/>
                <a:gd name="connsiteY3769" fmla="*/ 1977030 h 4235290"/>
                <a:gd name="connsiteX3770" fmla="*/ 1783272 w 2792478"/>
                <a:gd name="connsiteY3770" fmla="*/ 1956996 h 4235290"/>
                <a:gd name="connsiteX3771" fmla="*/ 1813324 w 2792478"/>
                <a:gd name="connsiteY3771" fmla="*/ 1956996 h 4235290"/>
                <a:gd name="connsiteX3772" fmla="*/ 1823342 w 2792478"/>
                <a:gd name="connsiteY3772" fmla="*/ 1967013 h 4235290"/>
                <a:gd name="connsiteX3773" fmla="*/ 1823342 w 2792478"/>
                <a:gd name="connsiteY3773" fmla="*/ 1997053 h 4235290"/>
                <a:gd name="connsiteX3774" fmla="*/ 1813324 w 2792478"/>
                <a:gd name="connsiteY3774" fmla="*/ 2007081 h 4235290"/>
                <a:gd name="connsiteX3775" fmla="*/ 1813324 w 2792478"/>
                <a:gd name="connsiteY3775" fmla="*/ 2167356 h 4235290"/>
                <a:gd name="connsiteX3776" fmla="*/ 1592943 w 2792478"/>
                <a:gd name="connsiteY3776" fmla="*/ 2167356 h 4235290"/>
                <a:gd name="connsiteX3777" fmla="*/ 1592943 w 2792478"/>
                <a:gd name="connsiteY3777" fmla="*/ 2007081 h 4235290"/>
                <a:gd name="connsiteX3778" fmla="*/ 1582926 w 2792478"/>
                <a:gd name="connsiteY3778" fmla="*/ 1997053 h 4235290"/>
                <a:gd name="connsiteX3779" fmla="*/ 1582926 w 2792478"/>
                <a:gd name="connsiteY3779" fmla="*/ 1967013 h 4235290"/>
                <a:gd name="connsiteX3780" fmla="*/ 1592943 w 2792478"/>
                <a:gd name="connsiteY3780" fmla="*/ 1956996 h 4235290"/>
                <a:gd name="connsiteX3781" fmla="*/ 1471456 w 2792478"/>
                <a:gd name="connsiteY3781" fmla="*/ 1937971 h 4235290"/>
                <a:gd name="connsiteX3782" fmla="*/ 1432459 w 2792478"/>
                <a:gd name="connsiteY3782" fmla="*/ 1976920 h 4235290"/>
                <a:gd name="connsiteX3783" fmla="*/ 1432459 w 2792478"/>
                <a:gd name="connsiteY3783" fmla="*/ 2015908 h 4235290"/>
                <a:gd name="connsiteX3784" fmla="*/ 1510447 w 2792478"/>
                <a:gd name="connsiteY3784" fmla="*/ 2015908 h 4235290"/>
                <a:gd name="connsiteX3785" fmla="*/ 1510447 w 2792478"/>
                <a:gd name="connsiteY3785" fmla="*/ 1976920 h 4235290"/>
                <a:gd name="connsiteX3786" fmla="*/ 1471456 w 2792478"/>
                <a:gd name="connsiteY3786" fmla="*/ 1937971 h 4235290"/>
                <a:gd name="connsiteX3787" fmla="*/ 2240183 w 2792478"/>
                <a:gd name="connsiteY3787" fmla="*/ 1935059 h 4235290"/>
                <a:gd name="connsiteX3788" fmla="*/ 2225411 w 2792478"/>
                <a:gd name="connsiteY3788" fmla="*/ 1949840 h 4235290"/>
                <a:gd name="connsiteX3789" fmla="*/ 2240183 w 2792478"/>
                <a:gd name="connsiteY3789" fmla="*/ 1964605 h 4235290"/>
                <a:gd name="connsiteX3790" fmla="*/ 2254940 w 2792478"/>
                <a:gd name="connsiteY3790" fmla="*/ 1949840 h 4235290"/>
                <a:gd name="connsiteX3791" fmla="*/ 2240183 w 2792478"/>
                <a:gd name="connsiteY3791" fmla="*/ 1935059 h 4235290"/>
                <a:gd name="connsiteX3792" fmla="*/ 1753220 w 2792478"/>
                <a:gd name="connsiteY3792" fmla="*/ 1926944 h 4235290"/>
                <a:gd name="connsiteX3793" fmla="*/ 1773255 w 2792478"/>
                <a:gd name="connsiteY3793" fmla="*/ 1926944 h 4235290"/>
                <a:gd name="connsiteX3794" fmla="*/ 1773255 w 2792478"/>
                <a:gd name="connsiteY3794" fmla="*/ 1967013 h 4235290"/>
                <a:gd name="connsiteX3795" fmla="*/ 1753220 w 2792478"/>
                <a:gd name="connsiteY3795" fmla="*/ 1967013 h 4235290"/>
                <a:gd name="connsiteX3796" fmla="*/ 1633012 w 2792478"/>
                <a:gd name="connsiteY3796" fmla="*/ 1926944 h 4235290"/>
                <a:gd name="connsiteX3797" fmla="*/ 1653047 w 2792478"/>
                <a:gd name="connsiteY3797" fmla="*/ 1926944 h 4235290"/>
                <a:gd name="connsiteX3798" fmla="*/ 1653047 w 2792478"/>
                <a:gd name="connsiteY3798" fmla="*/ 1967013 h 4235290"/>
                <a:gd name="connsiteX3799" fmla="*/ 1633012 w 2792478"/>
                <a:gd name="connsiteY3799" fmla="*/ 1967013 h 4235290"/>
                <a:gd name="connsiteX3800" fmla="*/ 1471456 w 2792478"/>
                <a:gd name="connsiteY3800" fmla="*/ 1924956 h 4235290"/>
                <a:gd name="connsiteX3801" fmla="*/ 1523426 w 2792478"/>
                <a:gd name="connsiteY3801" fmla="*/ 1976920 h 4235290"/>
                <a:gd name="connsiteX3802" fmla="*/ 1523426 w 2792478"/>
                <a:gd name="connsiteY3802" fmla="*/ 2015908 h 4235290"/>
                <a:gd name="connsiteX3803" fmla="*/ 1542938 w 2792478"/>
                <a:gd name="connsiteY3803" fmla="*/ 2035421 h 4235290"/>
                <a:gd name="connsiteX3804" fmla="*/ 1542938 w 2792478"/>
                <a:gd name="connsiteY3804" fmla="*/ 2113377 h 4235290"/>
                <a:gd name="connsiteX3805" fmla="*/ 1523426 w 2792478"/>
                <a:gd name="connsiteY3805" fmla="*/ 2132890 h 4235290"/>
                <a:gd name="connsiteX3806" fmla="*/ 1419460 w 2792478"/>
                <a:gd name="connsiteY3806" fmla="*/ 2132890 h 4235290"/>
                <a:gd name="connsiteX3807" fmla="*/ 1399975 w 2792478"/>
                <a:gd name="connsiteY3807" fmla="*/ 2113377 h 4235290"/>
                <a:gd name="connsiteX3808" fmla="*/ 1399975 w 2792478"/>
                <a:gd name="connsiteY3808" fmla="*/ 2035421 h 4235290"/>
                <a:gd name="connsiteX3809" fmla="*/ 1419460 w 2792478"/>
                <a:gd name="connsiteY3809" fmla="*/ 2015908 h 4235290"/>
                <a:gd name="connsiteX3810" fmla="*/ 1419460 w 2792478"/>
                <a:gd name="connsiteY3810" fmla="*/ 1976920 h 4235290"/>
                <a:gd name="connsiteX3811" fmla="*/ 1471456 w 2792478"/>
                <a:gd name="connsiteY3811" fmla="*/ 1924956 h 4235290"/>
                <a:gd name="connsiteX3812" fmla="*/ 2240183 w 2792478"/>
                <a:gd name="connsiteY3812" fmla="*/ 1924396 h 4235290"/>
                <a:gd name="connsiteX3813" fmla="*/ 2265619 w 2792478"/>
                <a:gd name="connsiteY3813" fmla="*/ 1949840 h 4235290"/>
                <a:gd name="connsiteX3814" fmla="*/ 2240183 w 2792478"/>
                <a:gd name="connsiteY3814" fmla="*/ 1975276 h 4235290"/>
                <a:gd name="connsiteX3815" fmla="*/ 2214748 w 2792478"/>
                <a:gd name="connsiteY3815" fmla="*/ 1949840 h 4235290"/>
                <a:gd name="connsiteX3816" fmla="*/ 2240183 w 2792478"/>
                <a:gd name="connsiteY3816" fmla="*/ 1924396 h 4235290"/>
                <a:gd name="connsiteX3817" fmla="*/ 1326890 w 2792478"/>
                <a:gd name="connsiteY3817" fmla="*/ 1911106 h 4235290"/>
                <a:gd name="connsiteX3818" fmla="*/ 1302974 w 2792478"/>
                <a:gd name="connsiteY3818" fmla="*/ 1915466 h 4235290"/>
                <a:gd name="connsiteX3819" fmla="*/ 1285295 w 2792478"/>
                <a:gd name="connsiteY3819" fmla="*/ 1927218 h 4235290"/>
                <a:gd name="connsiteX3820" fmla="*/ 1278741 w 2792478"/>
                <a:gd name="connsiteY3820" fmla="*/ 1943204 h 4235290"/>
                <a:gd name="connsiteX3821" fmla="*/ 1283225 w 2792478"/>
                <a:gd name="connsiteY3821" fmla="*/ 1956587 h 4235290"/>
                <a:gd name="connsiteX3822" fmla="*/ 1295859 w 2792478"/>
                <a:gd name="connsiteY3822" fmla="*/ 1967589 h 4235290"/>
                <a:gd name="connsiteX3823" fmla="*/ 1301310 w 2792478"/>
                <a:gd name="connsiteY3823" fmla="*/ 1970727 h 4235290"/>
                <a:gd name="connsiteX3824" fmla="*/ 1299614 w 2792478"/>
                <a:gd name="connsiteY3824" fmla="*/ 1976741 h 4235290"/>
                <a:gd name="connsiteX3825" fmla="*/ 1295230 w 2792478"/>
                <a:gd name="connsiteY3825" fmla="*/ 1987534 h 4235290"/>
                <a:gd name="connsiteX3826" fmla="*/ 1312467 w 2792478"/>
                <a:gd name="connsiteY3826" fmla="*/ 1976808 h 4235290"/>
                <a:gd name="connsiteX3827" fmla="*/ 1315166 w 2792478"/>
                <a:gd name="connsiteY3827" fmla="*/ 1974423 h 4235290"/>
                <a:gd name="connsiteX3828" fmla="*/ 1318740 w 2792478"/>
                <a:gd name="connsiteY3828" fmla="*/ 1974797 h 4235290"/>
                <a:gd name="connsiteX3829" fmla="*/ 1326890 w 2792478"/>
                <a:gd name="connsiteY3829" fmla="*/ 1975301 h 4235290"/>
                <a:gd name="connsiteX3830" fmla="*/ 1350806 w 2792478"/>
                <a:gd name="connsiteY3830" fmla="*/ 1970941 h 4235290"/>
                <a:gd name="connsiteX3831" fmla="*/ 1368491 w 2792478"/>
                <a:gd name="connsiteY3831" fmla="*/ 1959190 h 4235290"/>
                <a:gd name="connsiteX3832" fmla="*/ 1375039 w 2792478"/>
                <a:gd name="connsiteY3832" fmla="*/ 1943204 h 4235290"/>
                <a:gd name="connsiteX3833" fmla="*/ 1368491 w 2792478"/>
                <a:gd name="connsiteY3833" fmla="*/ 1927218 h 4235290"/>
                <a:gd name="connsiteX3834" fmla="*/ 1350806 w 2792478"/>
                <a:gd name="connsiteY3834" fmla="*/ 1915457 h 4235290"/>
                <a:gd name="connsiteX3835" fmla="*/ 1326890 w 2792478"/>
                <a:gd name="connsiteY3835" fmla="*/ 1911106 h 4235290"/>
                <a:gd name="connsiteX3836" fmla="*/ 1326890 w 2792478"/>
                <a:gd name="connsiteY3836" fmla="*/ 1903082 h 4235290"/>
                <a:gd name="connsiteX3837" fmla="*/ 1355102 w 2792478"/>
                <a:gd name="connsiteY3837" fmla="*/ 1908436 h 4235290"/>
                <a:gd name="connsiteX3838" fmla="*/ 1375538 w 2792478"/>
                <a:gd name="connsiteY3838" fmla="*/ 1923045 h 4235290"/>
                <a:gd name="connsiteX3839" fmla="*/ 1383065 w 2792478"/>
                <a:gd name="connsiteY3839" fmla="*/ 1943204 h 4235290"/>
                <a:gd name="connsiteX3840" fmla="*/ 1375538 w 2792478"/>
                <a:gd name="connsiteY3840" fmla="*/ 1963363 h 4235290"/>
                <a:gd name="connsiteX3841" fmla="*/ 1355102 w 2792478"/>
                <a:gd name="connsiteY3841" fmla="*/ 1977958 h 4235290"/>
                <a:gd name="connsiteX3842" fmla="*/ 1326890 w 2792478"/>
                <a:gd name="connsiteY3842" fmla="*/ 1983317 h 4235290"/>
                <a:gd name="connsiteX3843" fmla="*/ 1317798 w 2792478"/>
                <a:gd name="connsiteY3843" fmla="*/ 1982826 h 4235290"/>
                <a:gd name="connsiteX3844" fmla="*/ 1288962 w 2792478"/>
                <a:gd name="connsiteY3844" fmla="*/ 1998001 h 4235290"/>
                <a:gd name="connsiteX3845" fmla="*/ 1281810 w 2792478"/>
                <a:gd name="connsiteY3845" fmla="*/ 1999374 h 4235290"/>
                <a:gd name="connsiteX3846" fmla="*/ 1281503 w 2792478"/>
                <a:gd name="connsiteY3846" fmla="*/ 1999374 h 4235290"/>
                <a:gd name="connsiteX3847" fmla="*/ 1279802 w 2792478"/>
                <a:gd name="connsiteY3847" fmla="*/ 1998719 h 4235290"/>
                <a:gd name="connsiteX3848" fmla="*/ 1278804 w 2792478"/>
                <a:gd name="connsiteY3848" fmla="*/ 1996998 h 4235290"/>
                <a:gd name="connsiteX3849" fmla="*/ 1278804 w 2792478"/>
                <a:gd name="connsiteY3849" fmla="*/ 1996927 h 4235290"/>
                <a:gd name="connsiteX3850" fmla="*/ 1278773 w 2792478"/>
                <a:gd name="connsiteY3850" fmla="*/ 1996182 h 4235290"/>
                <a:gd name="connsiteX3851" fmla="*/ 1278897 w 2792478"/>
                <a:gd name="connsiteY3851" fmla="*/ 1995554 h 4235290"/>
                <a:gd name="connsiteX3852" fmla="*/ 1279184 w 2792478"/>
                <a:gd name="connsiteY3852" fmla="*/ 1994961 h 4235290"/>
                <a:gd name="connsiteX3853" fmla="*/ 1279558 w 2792478"/>
                <a:gd name="connsiteY3853" fmla="*/ 1994386 h 4235290"/>
                <a:gd name="connsiteX3854" fmla="*/ 1279990 w 2792478"/>
                <a:gd name="connsiteY3854" fmla="*/ 1993860 h 4235290"/>
                <a:gd name="connsiteX3855" fmla="*/ 1280499 w 2792478"/>
                <a:gd name="connsiteY3855" fmla="*/ 1993293 h 4235290"/>
                <a:gd name="connsiteX3856" fmla="*/ 1282440 w 2792478"/>
                <a:gd name="connsiteY3856" fmla="*/ 1991131 h 4235290"/>
                <a:gd name="connsiteX3857" fmla="*/ 1284603 w 2792478"/>
                <a:gd name="connsiteY3857" fmla="*/ 1988746 h 4235290"/>
                <a:gd name="connsiteX3858" fmla="*/ 1286549 w 2792478"/>
                <a:gd name="connsiteY3858" fmla="*/ 1986272 h 4235290"/>
                <a:gd name="connsiteX3859" fmla="*/ 1288588 w 2792478"/>
                <a:gd name="connsiteY3859" fmla="*/ 1983076 h 4235290"/>
                <a:gd name="connsiteX3860" fmla="*/ 1290278 w 2792478"/>
                <a:gd name="connsiteY3860" fmla="*/ 1979376 h 4235290"/>
                <a:gd name="connsiteX3861" fmla="*/ 1291906 w 2792478"/>
                <a:gd name="connsiteY3861" fmla="*/ 1974619 h 4235290"/>
                <a:gd name="connsiteX3862" fmla="*/ 1276396 w 2792478"/>
                <a:gd name="connsiteY3862" fmla="*/ 1960822 h 4235290"/>
                <a:gd name="connsiteX3863" fmla="*/ 1270716 w 2792478"/>
                <a:gd name="connsiteY3863" fmla="*/ 1943204 h 4235290"/>
                <a:gd name="connsiteX3864" fmla="*/ 1278237 w 2792478"/>
                <a:gd name="connsiteY3864" fmla="*/ 1923045 h 4235290"/>
                <a:gd name="connsiteX3865" fmla="*/ 1298678 w 2792478"/>
                <a:gd name="connsiteY3865" fmla="*/ 1908436 h 4235290"/>
                <a:gd name="connsiteX3866" fmla="*/ 1326890 w 2792478"/>
                <a:gd name="connsiteY3866" fmla="*/ 1903082 h 4235290"/>
                <a:gd name="connsiteX3867" fmla="*/ 2231075 w 2792478"/>
                <a:gd name="connsiteY3867" fmla="*/ 1873973 h 4235290"/>
                <a:gd name="connsiteX3868" fmla="*/ 2228848 w 2792478"/>
                <a:gd name="connsiteY3868" fmla="*/ 1876200 h 4235290"/>
                <a:gd name="connsiteX3869" fmla="*/ 2228848 w 2792478"/>
                <a:gd name="connsiteY3869" fmla="*/ 1899665 h 4235290"/>
                <a:gd name="connsiteX3870" fmla="*/ 2225202 w 2792478"/>
                <a:gd name="connsiteY3870" fmla="*/ 1904721 h 4235290"/>
                <a:gd name="connsiteX3871" fmla="*/ 2218890 w 2792478"/>
                <a:gd name="connsiteY3871" fmla="*/ 1907356 h 4235290"/>
                <a:gd name="connsiteX3872" fmla="*/ 2212737 w 2792478"/>
                <a:gd name="connsiteY3872" fmla="*/ 1906363 h 4235290"/>
                <a:gd name="connsiteX3873" fmla="*/ 2196130 w 2792478"/>
                <a:gd name="connsiteY3873" fmla="*/ 1889755 h 4235290"/>
                <a:gd name="connsiteX3874" fmla="*/ 2194544 w 2792478"/>
                <a:gd name="connsiteY3874" fmla="*/ 1889107 h 4235290"/>
                <a:gd name="connsiteX3875" fmla="*/ 2192974 w 2792478"/>
                <a:gd name="connsiteY3875" fmla="*/ 1889755 h 4235290"/>
                <a:gd name="connsiteX3876" fmla="*/ 2180108 w 2792478"/>
                <a:gd name="connsiteY3876" fmla="*/ 1902630 h 4235290"/>
                <a:gd name="connsiteX3877" fmla="*/ 2180108 w 2792478"/>
                <a:gd name="connsiteY3877" fmla="*/ 1905778 h 4235290"/>
                <a:gd name="connsiteX3878" fmla="*/ 2196715 w 2792478"/>
                <a:gd name="connsiteY3878" fmla="*/ 1922385 h 4235290"/>
                <a:gd name="connsiteX3879" fmla="*/ 2197700 w 2792478"/>
                <a:gd name="connsiteY3879" fmla="*/ 1928538 h 4235290"/>
                <a:gd name="connsiteX3880" fmla="*/ 2195073 w 2792478"/>
                <a:gd name="connsiteY3880" fmla="*/ 1934851 h 4235290"/>
                <a:gd name="connsiteX3881" fmla="*/ 2190010 w 2792478"/>
                <a:gd name="connsiteY3881" fmla="*/ 1938504 h 4235290"/>
                <a:gd name="connsiteX3882" fmla="*/ 2166545 w 2792478"/>
                <a:gd name="connsiteY3882" fmla="*/ 1938504 h 4235290"/>
                <a:gd name="connsiteX3883" fmla="*/ 2164310 w 2792478"/>
                <a:gd name="connsiteY3883" fmla="*/ 1940723 h 4235290"/>
                <a:gd name="connsiteX3884" fmla="*/ 2164310 w 2792478"/>
                <a:gd name="connsiteY3884" fmla="*/ 1958941 h 4235290"/>
                <a:gd name="connsiteX3885" fmla="*/ 2166545 w 2792478"/>
                <a:gd name="connsiteY3885" fmla="*/ 1961160 h 4235290"/>
                <a:gd name="connsiteX3886" fmla="*/ 2190010 w 2792478"/>
                <a:gd name="connsiteY3886" fmla="*/ 1961160 h 4235290"/>
                <a:gd name="connsiteX3887" fmla="*/ 2195073 w 2792478"/>
                <a:gd name="connsiteY3887" fmla="*/ 1964821 h 4235290"/>
                <a:gd name="connsiteX3888" fmla="*/ 2197700 w 2792478"/>
                <a:gd name="connsiteY3888" fmla="*/ 1971118 h 4235290"/>
                <a:gd name="connsiteX3889" fmla="*/ 2196715 w 2792478"/>
                <a:gd name="connsiteY3889" fmla="*/ 1977287 h 4235290"/>
                <a:gd name="connsiteX3890" fmla="*/ 2180108 w 2792478"/>
                <a:gd name="connsiteY3890" fmla="*/ 1993894 h 4235290"/>
                <a:gd name="connsiteX3891" fmla="*/ 2180108 w 2792478"/>
                <a:gd name="connsiteY3891" fmla="*/ 1997035 h 4235290"/>
                <a:gd name="connsiteX3892" fmla="*/ 2192974 w 2792478"/>
                <a:gd name="connsiteY3892" fmla="*/ 2009917 h 4235290"/>
                <a:gd name="connsiteX3893" fmla="*/ 2194544 w 2792478"/>
                <a:gd name="connsiteY3893" fmla="*/ 2010566 h 4235290"/>
                <a:gd name="connsiteX3894" fmla="*/ 2196130 w 2792478"/>
                <a:gd name="connsiteY3894" fmla="*/ 2009917 h 4235290"/>
                <a:gd name="connsiteX3895" fmla="*/ 2212737 w 2792478"/>
                <a:gd name="connsiteY3895" fmla="*/ 1993309 h 4235290"/>
                <a:gd name="connsiteX3896" fmla="*/ 2216494 w 2792478"/>
                <a:gd name="connsiteY3896" fmla="*/ 1991747 h 4235290"/>
                <a:gd name="connsiteX3897" fmla="*/ 2218890 w 2792478"/>
                <a:gd name="connsiteY3897" fmla="*/ 1992308 h 4235290"/>
                <a:gd name="connsiteX3898" fmla="*/ 2225194 w 2792478"/>
                <a:gd name="connsiteY3898" fmla="*/ 1994936 h 4235290"/>
                <a:gd name="connsiteX3899" fmla="*/ 2228848 w 2792478"/>
                <a:gd name="connsiteY3899" fmla="*/ 1999999 h 4235290"/>
                <a:gd name="connsiteX3900" fmla="*/ 2228848 w 2792478"/>
                <a:gd name="connsiteY3900" fmla="*/ 2023464 h 4235290"/>
                <a:gd name="connsiteX3901" fmla="*/ 2231075 w 2792478"/>
                <a:gd name="connsiteY3901" fmla="*/ 2025691 h 4235290"/>
                <a:gd name="connsiteX3902" fmla="*/ 2249276 w 2792478"/>
                <a:gd name="connsiteY3902" fmla="*/ 2025691 h 4235290"/>
                <a:gd name="connsiteX3903" fmla="*/ 2251511 w 2792478"/>
                <a:gd name="connsiteY3903" fmla="*/ 2023464 h 4235290"/>
                <a:gd name="connsiteX3904" fmla="*/ 2251511 w 2792478"/>
                <a:gd name="connsiteY3904" fmla="*/ 1999999 h 4235290"/>
                <a:gd name="connsiteX3905" fmla="*/ 2255164 w 2792478"/>
                <a:gd name="connsiteY3905" fmla="*/ 1994936 h 4235290"/>
                <a:gd name="connsiteX3906" fmla="*/ 2261461 w 2792478"/>
                <a:gd name="connsiteY3906" fmla="*/ 1992308 h 4235290"/>
                <a:gd name="connsiteX3907" fmla="*/ 2267637 w 2792478"/>
                <a:gd name="connsiteY3907" fmla="*/ 1993309 h 4235290"/>
                <a:gd name="connsiteX3908" fmla="*/ 2284228 w 2792478"/>
                <a:gd name="connsiteY3908" fmla="*/ 2009901 h 4235290"/>
                <a:gd name="connsiteX3909" fmla="*/ 2285815 w 2792478"/>
                <a:gd name="connsiteY3909" fmla="*/ 2010566 h 4235290"/>
                <a:gd name="connsiteX3910" fmla="*/ 2287377 w 2792478"/>
                <a:gd name="connsiteY3910" fmla="*/ 2009917 h 4235290"/>
                <a:gd name="connsiteX3911" fmla="*/ 2300259 w 2792478"/>
                <a:gd name="connsiteY3911" fmla="*/ 1997051 h 4235290"/>
                <a:gd name="connsiteX3912" fmla="*/ 2300243 w 2792478"/>
                <a:gd name="connsiteY3912" fmla="*/ 1993894 h 4235290"/>
                <a:gd name="connsiteX3913" fmla="*/ 2283652 w 2792478"/>
                <a:gd name="connsiteY3913" fmla="*/ 1977287 h 4235290"/>
                <a:gd name="connsiteX3914" fmla="*/ 2282650 w 2792478"/>
                <a:gd name="connsiteY3914" fmla="*/ 1971118 h 4235290"/>
                <a:gd name="connsiteX3915" fmla="*/ 2285278 w 2792478"/>
                <a:gd name="connsiteY3915" fmla="*/ 1964821 h 4235290"/>
                <a:gd name="connsiteX3916" fmla="*/ 2290341 w 2792478"/>
                <a:gd name="connsiteY3916" fmla="*/ 1961160 h 4235290"/>
                <a:gd name="connsiteX3917" fmla="*/ 2313805 w 2792478"/>
                <a:gd name="connsiteY3917" fmla="*/ 1961160 h 4235290"/>
                <a:gd name="connsiteX3918" fmla="*/ 2315392 w 2792478"/>
                <a:gd name="connsiteY3918" fmla="*/ 1960511 h 4235290"/>
                <a:gd name="connsiteX3919" fmla="*/ 2316040 w 2792478"/>
                <a:gd name="connsiteY3919" fmla="*/ 1958941 h 4235290"/>
                <a:gd name="connsiteX3920" fmla="*/ 2316040 w 2792478"/>
                <a:gd name="connsiteY3920" fmla="*/ 1940723 h 4235290"/>
                <a:gd name="connsiteX3921" fmla="*/ 2313805 w 2792478"/>
                <a:gd name="connsiteY3921" fmla="*/ 1938504 h 4235290"/>
                <a:gd name="connsiteX3922" fmla="*/ 2290341 w 2792478"/>
                <a:gd name="connsiteY3922" fmla="*/ 1938504 h 4235290"/>
                <a:gd name="connsiteX3923" fmla="*/ 2285278 w 2792478"/>
                <a:gd name="connsiteY3923" fmla="*/ 1934851 h 4235290"/>
                <a:gd name="connsiteX3924" fmla="*/ 2282650 w 2792478"/>
                <a:gd name="connsiteY3924" fmla="*/ 1928538 h 4235290"/>
                <a:gd name="connsiteX3925" fmla="*/ 2283652 w 2792478"/>
                <a:gd name="connsiteY3925" fmla="*/ 1922385 h 4235290"/>
                <a:gd name="connsiteX3926" fmla="*/ 2300259 w 2792478"/>
                <a:gd name="connsiteY3926" fmla="*/ 1905770 h 4235290"/>
                <a:gd name="connsiteX3927" fmla="*/ 2300915 w 2792478"/>
                <a:gd name="connsiteY3927" fmla="*/ 1904208 h 4235290"/>
                <a:gd name="connsiteX3928" fmla="*/ 2300259 w 2792478"/>
                <a:gd name="connsiteY3928" fmla="*/ 1902630 h 4235290"/>
                <a:gd name="connsiteX3929" fmla="*/ 2287377 w 2792478"/>
                <a:gd name="connsiteY3929" fmla="*/ 1889739 h 4235290"/>
                <a:gd name="connsiteX3930" fmla="*/ 2285815 w 2792478"/>
                <a:gd name="connsiteY3930" fmla="*/ 1889107 h 4235290"/>
                <a:gd name="connsiteX3931" fmla="*/ 2284228 w 2792478"/>
                <a:gd name="connsiteY3931" fmla="*/ 1889755 h 4235290"/>
                <a:gd name="connsiteX3932" fmla="*/ 2267637 w 2792478"/>
                <a:gd name="connsiteY3932" fmla="*/ 1906363 h 4235290"/>
                <a:gd name="connsiteX3933" fmla="*/ 2261461 w 2792478"/>
                <a:gd name="connsiteY3933" fmla="*/ 1907356 h 4235290"/>
                <a:gd name="connsiteX3934" fmla="*/ 2255164 w 2792478"/>
                <a:gd name="connsiteY3934" fmla="*/ 1904721 h 4235290"/>
                <a:gd name="connsiteX3935" fmla="*/ 2251511 w 2792478"/>
                <a:gd name="connsiteY3935" fmla="*/ 1899665 h 4235290"/>
                <a:gd name="connsiteX3936" fmla="*/ 2251511 w 2792478"/>
                <a:gd name="connsiteY3936" fmla="*/ 1876200 h 4235290"/>
                <a:gd name="connsiteX3937" fmla="*/ 2249276 w 2792478"/>
                <a:gd name="connsiteY3937" fmla="*/ 1873973 h 4235290"/>
                <a:gd name="connsiteX3938" fmla="*/ 2231075 w 2792478"/>
                <a:gd name="connsiteY3938" fmla="*/ 1863310 h 4235290"/>
                <a:gd name="connsiteX3939" fmla="*/ 2249276 w 2792478"/>
                <a:gd name="connsiteY3939" fmla="*/ 1863310 h 4235290"/>
                <a:gd name="connsiteX3940" fmla="*/ 2262166 w 2792478"/>
                <a:gd name="connsiteY3940" fmla="*/ 1876200 h 4235290"/>
                <a:gd name="connsiteX3941" fmla="*/ 2262166 w 2792478"/>
                <a:gd name="connsiteY3941" fmla="*/ 1895972 h 4235290"/>
                <a:gd name="connsiteX3942" fmla="*/ 2262719 w 2792478"/>
                <a:gd name="connsiteY3942" fmla="*/ 1896188 h 4235290"/>
                <a:gd name="connsiteX3943" fmla="*/ 2276706 w 2792478"/>
                <a:gd name="connsiteY3943" fmla="*/ 1882209 h 4235290"/>
                <a:gd name="connsiteX3944" fmla="*/ 2285815 w 2792478"/>
                <a:gd name="connsiteY3944" fmla="*/ 1878435 h 4235290"/>
                <a:gd name="connsiteX3945" fmla="*/ 2294931 w 2792478"/>
                <a:gd name="connsiteY3945" fmla="*/ 1882209 h 4235290"/>
                <a:gd name="connsiteX3946" fmla="*/ 2307797 w 2792478"/>
                <a:gd name="connsiteY3946" fmla="*/ 1895099 h 4235290"/>
                <a:gd name="connsiteX3947" fmla="*/ 2311570 w 2792478"/>
                <a:gd name="connsiteY3947" fmla="*/ 1904208 h 4235290"/>
                <a:gd name="connsiteX3948" fmla="*/ 2307789 w 2792478"/>
                <a:gd name="connsiteY3948" fmla="*/ 1913317 h 4235290"/>
                <a:gd name="connsiteX3949" fmla="*/ 2293818 w 2792478"/>
                <a:gd name="connsiteY3949" fmla="*/ 1927288 h 4235290"/>
                <a:gd name="connsiteX3950" fmla="*/ 2294042 w 2792478"/>
                <a:gd name="connsiteY3950" fmla="*/ 1927841 h 4235290"/>
                <a:gd name="connsiteX3951" fmla="*/ 2313805 w 2792478"/>
                <a:gd name="connsiteY3951" fmla="*/ 1927841 h 4235290"/>
                <a:gd name="connsiteX3952" fmla="*/ 2326695 w 2792478"/>
                <a:gd name="connsiteY3952" fmla="*/ 1940723 h 4235290"/>
                <a:gd name="connsiteX3953" fmla="*/ 2326695 w 2792478"/>
                <a:gd name="connsiteY3953" fmla="*/ 1958941 h 4235290"/>
                <a:gd name="connsiteX3954" fmla="*/ 2322922 w 2792478"/>
                <a:gd name="connsiteY3954" fmla="*/ 1968050 h 4235290"/>
                <a:gd name="connsiteX3955" fmla="*/ 2313821 w 2792478"/>
                <a:gd name="connsiteY3955" fmla="*/ 1971823 h 4235290"/>
                <a:gd name="connsiteX3956" fmla="*/ 2294058 w 2792478"/>
                <a:gd name="connsiteY3956" fmla="*/ 1971823 h 4235290"/>
                <a:gd name="connsiteX3957" fmla="*/ 2293818 w 2792478"/>
                <a:gd name="connsiteY3957" fmla="*/ 1972368 h 4235290"/>
                <a:gd name="connsiteX3958" fmla="*/ 2307797 w 2792478"/>
                <a:gd name="connsiteY3958" fmla="*/ 1986348 h 4235290"/>
                <a:gd name="connsiteX3959" fmla="*/ 2307797 w 2792478"/>
                <a:gd name="connsiteY3959" fmla="*/ 2004581 h 4235290"/>
                <a:gd name="connsiteX3960" fmla="*/ 2294931 w 2792478"/>
                <a:gd name="connsiteY3960" fmla="*/ 2017455 h 4235290"/>
                <a:gd name="connsiteX3961" fmla="*/ 2285815 w 2792478"/>
                <a:gd name="connsiteY3961" fmla="*/ 2021229 h 4235290"/>
                <a:gd name="connsiteX3962" fmla="*/ 2276690 w 2792478"/>
                <a:gd name="connsiteY3962" fmla="*/ 2017439 h 4235290"/>
                <a:gd name="connsiteX3963" fmla="*/ 2262719 w 2792478"/>
                <a:gd name="connsiteY3963" fmla="*/ 2003484 h 4235290"/>
                <a:gd name="connsiteX3964" fmla="*/ 2262166 w 2792478"/>
                <a:gd name="connsiteY3964" fmla="*/ 2003700 h 4235290"/>
                <a:gd name="connsiteX3965" fmla="*/ 2262166 w 2792478"/>
                <a:gd name="connsiteY3965" fmla="*/ 2023464 h 4235290"/>
                <a:gd name="connsiteX3966" fmla="*/ 2249276 w 2792478"/>
                <a:gd name="connsiteY3966" fmla="*/ 2036354 h 4235290"/>
                <a:gd name="connsiteX3967" fmla="*/ 2231075 w 2792478"/>
                <a:gd name="connsiteY3967" fmla="*/ 2036354 h 4235290"/>
                <a:gd name="connsiteX3968" fmla="*/ 2218185 w 2792478"/>
                <a:gd name="connsiteY3968" fmla="*/ 2023464 h 4235290"/>
                <a:gd name="connsiteX3969" fmla="*/ 2218185 w 2792478"/>
                <a:gd name="connsiteY3969" fmla="*/ 2003700 h 4235290"/>
                <a:gd name="connsiteX3970" fmla="*/ 2217640 w 2792478"/>
                <a:gd name="connsiteY3970" fmla="*/ 2003484 h 4235290"/>
                <a:gd name="connsiteX3971" fmla="*/ 2203661 w 2792478"/>
                <a:gd name="connsiteY3971" fmla="*/ 2017439 h 4235290"/>
                <a:gd name="connsiteX3972" fmla="*/ 2194544 w 2792478"/>
                <a:gd name="connsiteY3972" fmla="*/ 2021221 h 4235290"/>
                <a:gd name="connsiteX3973" fmla="*/ 2185435 w 2792478"/>
                <a:gd name="connsiteY3973" fmla="*/ 2017439 h 4235290"/>
                <a:gd name="connsiteX3974" fmla="*/ 2172569 w 2792478"/>
                <a:gd name="connsiteY3974" fmla="*/ 2004565 h 4235290"/>
                <a:gd name="connsiteX3975" fmla="*/ 2172569 w 2792478"/>
                <a:gd name="connsiteY3975" fmla="*/ 1986348 h 4235290"/>
                <a:gd name="connsiteX3976" fmla="*/ 2186533 w 2792478"/>
                <a:gd name="connsiteY3976" fmla="*/ 1972384 h 4235290"/>
                <a:gd name="connsiteX3977" fmla="*/ 2186309 w 2792478"/>
                <a:gd name="connsiteY3977" fmla="*/ 1971823 h 4235290"/>
                <a:gd name="connsiteX3978" fmla="*/ 2166545 w 2792478"/>
                <a:gd name="connsiteY3978" fmla="*/ 1971823 h 4235290"/>
                <a:gd name="connsiteX3979" fmla="*/ 2153655 w 2792478"/>
                <a:gd name="connsiteY3979" fmla="*/ 1958941 h 4235290"/>
                <a:gd name="connsiteX3980" fmla="*/ 2153655 w 2792478"/>
                <a:gd name="connsiteY3980" fmla="*/ 1940723 h 4235290"/>
                <a:gd name="connsiteX3981" fmla="*/ 2166545 w 2792478"/>
                <a:gd name="connsiteY3981" fmla="*/ 1927841 h 4235290"/>
                <a:gd name="connsiteX3982" fmla="*/ 2186309 w 2792478"/>
                <a:gd name="connsiteY3982" fmla="*/ 1927841 h 4235290"/>
                <a:gd name="connsiteX3983" fmla="*/ 2186533 w 2792478"/>
                <a:gd name="connsiteY3983" fmla="*/ 1927288 h 4235290"/>
                <a:gd name="connsiteX3984" fmla="*/ 2172553 w 2792478"/>
                <a:gd name="connsiteY3984" fmla="*/ 1913317 h 4235290"/>
                <a:gd name="connsiteX3985" fmla="*/ 2172553 w 2792478"/>
                <a:gd name="connsiteY3985" fmla="*/ 1895099 h 4235290"/>
                <a:gd name="connsiteX3986" fmla="*/ 2185435 w 2792478"/>
                <a:gd name="connsiteY3986" fmla="*/ 1882209 h 4235290"/>
                <a:gd name="connsiteX3987" fmla="*/ 2194544 w 2792478"/>
                <a:gd name="connsiteY3987" fmla="*/ 1878435 h 4235290"/>
                <a:gd name="connsiteX3988" fmla="*/ 2203661 w 2792478"/>
                <a:gd name="connsiteY3988" fmla="*/ 1882225 h 4235290"/>
                <a:gd name="connsiteX3989" fmla="*/ 2217640 w 2792478"/>
                <a:gd name="connsiteY3989" fmla="*/ 1896188 h 4235290"/>
                <a:gd name="connsiteX3990" fmla="*/ 2218185 w 2792478"/>
                <a:gd name="connsiteY3990" fmla="*/ 1895972 h 4235290"/>
                <a:gd name="connsiteX3991" fmla="*/ 2218185 w 2792478"/>
                <a:gd name="connsiteY3991" fmla="*/ 1876200 h 4235290"/>
                <a:gd name="connsiteX3992" fmla="*/ 2231075 w 2792478"/>
                <a:gd name="connsiteY3992" fmla="*/ 1863310 h 4235290"/>
                <a:gd name="connsiteX3993" fmla="*/ 1793850 w 2792478"/>
                <a:gd name="connsiteY3993" fmla="*/ 1846321 h 4235290"/>
                <a:gd name="connsiteX3994" fmla="*/ 1790091 w 2792478"/>
                <a:gd name="connsiteY3994" fmla="*/ 1846564 h 4235290"/>
                <a:gd name="connsiteX3995" fmla="*/ 1799220 w 2792478"/>
                <a:gd name="connsiteY3995" fmla="*/ 1870138 h 4235290"/>
                <a:gd name="connsiteX3996" fmla="*/ 1801413 w 2792478"/>
                <a:gd name="connsiteY3996" fmla="*/ 1855644 h 4235290"/>
                <a:gd name="connsiteX3997" fmla="*/ 1793850 w 2792478"/>
                <a:gd name="connsiteY3997" fmla="*/ 1846321 h 4235290"/>
                <a:gd name="connsiteX3998" fmla="*/ 1727439 w 2792478"/>
                <a:gd name="connsiteY3998" fmla="*/ 1842336 h 4235290"/>
                <a:gd name="connsiteX3999" fmla="*/ 1712595 w 2792478"/>
                <a:gd name="connsiteY3999" fmla="*/ 1874036 h 4235290"/>
                <a:gd name="connsiteX4000" fmla="*/ 1734251 w 2792478"/>
                <a:gd name="connsiteY4000" fmla="*/ 1910382 h 4235290"/>
                <a:gd name="connsiteX4001" fmla="*/ 1773625 w 2792478"/>
                <a:gd name="connsiteY4001" fmla="*/ 1910382 h 4235290"/>
                <a:gd name="connsiteX4002" fmla="*/ 1795275 w 2792478"/>
                <a:gd name="connsiteY4002" fmla="*/ 1874036 h 4235290"/>
                <a:gd name="connsiteX4003" fmla="*/ 1780758 w 2792478"/>
                <a:gd name="connsiteY4003" fmla="*/ 1842638 h 4235290"/>
                <a:gd name="connsiteX4004" fmla="*/ 1754984 w 2792478"/>
                <a:gd name="connsiteY4004" fmla="*/ 1847911 h 4235290"/>
                <a:gd name="connsiteX4005" fmla="*/ 1727503 w 2792478"/>
                <a:gd name="connsiteY4005" fmla="*/ 1842382 h 4235290"/>
                <a:gd name="connsiteX4006" fmla="*/ 1727439 w 2792478"/>
                <a:gd name="connsiteY4006" fmla="*/ 1842336 h 4235290"/>
                <a:gd name="connsiteX4007" fmla="*/ 1442248 w 2792478"/>
                <a:gd name="connsiteY4007" fmla="*/ 1841419 h 4235290"/>
                <a:gd name="connsiteX4008" fmla="*/ 1446849 w 2792478"/>
                <a:gd name="connsiteY4008" fmla="*/ 1842595 h 4235290"/>
                <a:gd name="connsiteX4009" fmla="*/ 1450326 w 2792478"/>
                <a:gd name="connsiteY4009" fmla="*/ 1844091 h 4235290"/>
                <a:gd name="connsiteX4010" fmla="*/ 1459339 w 2792478"/>
                <a:gd name="connsiteY4010" fmla="*/ 1856331 h 4235290"/>
                <a:gd name="connsiteX4011" fmla="*/ 1459529 w 2792478"/>
                <a:gd name="connsiteY4011" fmla="*/ 1859253 h 4235290"/>
                <a:gd name="connsiteX4012" fmla="*/ 1459590 w 2792478"/>
                <a:gd name="connsiteY4012" fmla="*/ 1859498 h 4235290"/>
                <a:gd name="connsiteX4013" fmla="*/ 1453561 w 2792478"/>
                <a:gd name="connsiteY4013" fmla="*/ 1872552 h 4235290"/>
                <a:gd name="connsiteX4014" fmla="*/ 1452255 w 2792478"/>
                <a:gd name="connsiteY4014" fmla="*/ 1873542 h 4235290"/>
                <a:gd name="connsiteX4015" fmla="*/ 1449954 w 2792478"/>
                <a:gd name="connsiteY4015" fmla="*/ 1874724 h 4235290"/>
                <a:gd name="connsiteX4016" fmla="*/ 1449582 w 2792478"/>
                <a:gd name="connsiteY4016" fmla="*/ 1874910 h 4235290"/>
                <a:gd name="connsiteX4017" fmla="*/ 1423297 w 2792478"/>
                <a:gd name="connsiteY4017" fmla="*/ 1868263 h 4235290"/>
                <a:gd name="connsiteX4018" fmla="*/ 1423418 w 2792478"/>
                <a:gd name="connsiteY4018" fmla="*/ 1850057 h 4235290"/>
                <a:gd name="connsiteX4019" fmla="*/ 1424413 w 2792478"/>
                <a:gd name="connsiteY4019" fmla="*/ 1851855 h 4235290"/>
                <a:gd name="connsiteX4020" fmla="*/ 1432370 w 2792478"/>
                <a:gd name="connsiteY4020" fmla="*/ 1857385 h 4235290"/>
                <a:gd name="connsiteX4021" fmla="*/ 1440760 w 2792478"/>
                <a:gd name="connsiteY4021" fmla="*/ 1855464 h 4235290"/>
                <a:gd name="connsiteX4022" fmla="*/ 1443744 w 2792478"/>
                <a:gd name="connsiteY4022" fmla="*/ 1849806 h 4235290"/>
                <a:gd name="connsiteX4023" fmla="*/ 1442620 w 2792478"/>
                <a:gd name="connsiteY4023" fmla="*/ 1842100 h 4235290"/>
                <a:gd name="connsiteX4024" fmla="*/ 1442248 w 2792478"/>
                <a:gd name="connsiteY4024" fmla="*/ 1841419 h 4235290"/>
                <a:gd name="connsiteX4025" fmla="*/ 1625632 w 2792478"/>
                <a:gd name="connsiteY4025" fmla="*/ 1838308 h 4235290"/>
                <a:gd name="connsiteX4026" fmla="*/ 1623084 w 2792478"/>
                <a:gd name="connsiteY4026" fmla="*/ 1840853 h 4235290"/>
                <a:gd name="connsiteX4027" fmla="*/ 1625632 w 2792478"/>
                <a:gd name="connsiteY4027" fmla="*/ 1843406 h 4235290"/>
                <a:gd name="connsiteX4028" fmla="*/ 1628180 w 2792478"/>
                <a:gd name="connsiteY4028" fmla="*/ 1840853 h 4235290"/>
                <a:gd name="connsiteX4029" fmla="*/ 1625632 w 2792478"/>
                <a:gd name="connsiteY4029" fmla="*/ 1838308 h 4235290"/>
                <a:gd name="connsiteX4030" fmla="*/ 1797796 w 2792478"/>
                <a:gd name="connsiteY4030" fmla="*/ 1837521 h 4235290"/>
                <a:gd name="connsiteX4031" fmla="*/ 1784414 w 2792478"/>
                <a:gd name="connsiteY4031" fmla="*/ 1840380 h 4235290"/>
                <a:gd name="connsiteX4032" fmla="*/ 1787340 w 2792478"/>
                <a:gd name="connsiteY4032" fmla="*/ 1843275 h 4235290"/>
                <a:gd name="connsiteX4033" fmla="*/ 1794960 w 2792478"/>
                <a:gd name="connsiteY4033" fmla="*/ 1842322 h 4235290"/>
                <a:gd name="connsiteX4034" fmla="*/ 1805256 w 2792478"/>
                <a:gd name="connsiteY4034" fmla="*/ 1854127 h 4235290"/>
                <a:gd name="connsiteX4035" fmla="*/ 1799457 w 2792478"/>
                <a:gd name="connsiteY4035" fmla="*/ 1875310 h 4235290"/>
                <a:gd name="connsiteX4036" fmla="*/ 1799380 w 2792478"/>
                <a:gd name="connsiteY4036" fmla="*/ 1875342 h 4235290"/>
                <a:gd name="connsiteX4037" fmla="*/ 1798982 w 2792478"/>
                <a:gd name="connsiteY4037" fmla="*/ 1880344 h 4235290"/>
                <a:gd name="connsiteX4038" fmla="*/ 1810202 w 2792478"/>
                <a:gd name="connsiteY4038" fmla="*/ 1870440 h 4235290"/>
                <a:gd name="connsiteX4039" fmla="*/ 1810388 w 2792478"/>
                <a:gd name="connsiteY4039" fmla="*/ 1851356 h 4235290"/>
                <a:gd name="connsiteX4040" fmla="*/ 1797796 w 2792478"/>
                <a:gd name="connsiteY4040" fmla="*/ 1837521 h 4235290"/>
                <a:gd name="connsiteX4041" fmla="*/ 1565418 w 2792478"/>
                <a:gd name="connsiteY4041" fmla="*/ 1836006 h 4235290"/>
                <a:gd name="connsiteX4042" fmla="*/ 1562429 w 2792478"/>
                <a:gd name="connsiteY4042" fmla="*/ 1838926 h 4235290"/>
                <a:gd name="connsiteX4043" fmla="*/ 1565418 w 2792478"/>
                <a:gd name="connsiteY4043" fmla="*/ 1841913 h 4235290"/>
                <a:gd name="connsiteX4044" fmla="*/ 1568334 w 2792478"/>
                <a:gd name="connsiteY4044" fmla="*/ 1838926 h 4235290"/>
                <a:gd name="connsiteX4045" fmla="*/ 1565418 w 2792478"/>
                <a:gd name="connsiteY4045" fmla="*/ 1836006 h 4235290"/>
                <a:gd name="connsiteX4046" fmla="*/ 1684512 w 2792478"/>
                <a:gd name="connsiteY4046" fmla="*/ 1834351 h 4235290"/>
                <a:gd name="connsiteX4047" fmla="*/ 1684512 w 2792478"/>
                <a:gd name="connsiteY4047" fmla="*/ 1839413 h 4235290"/>
                <a:gd name="connsiteX4048" fmla="*/ 1691645 w 2792478"/>
                <a:gd name="connsiteY4048" fmla="*/ 1842538 h 4235290"/>
                <a:gd name="connsiteX4049" fmla="*/ 1695571 w 2792478"/>
                <a:gd name="connsiteY4049" fmla="*/ 1853935 h 4235290"/>
                <a:gd name="connsiteX4050" fmla="*/ 1708791 w 2792478"/>
                <a:gd name="connsiteY4050" fmla="*/ 1879437 h 4235290"/>
                <a:gd name="connsiteX4051" fmla="*/ 1708458 w 2792478"/>
                <a:gd name="connsiteY4051" fmla="*/ 1874036 h 4235290"/>
                <a:gd name="connsiteX4052" fmla="*/ 1712961 w 2792478"/>
                <a:gd name="connsiteY4052" fmla="*/ 1854453 h 4235290"/>
                <a:gd name="connsiteX4053" fmla="*/ 1703429 w 2792478"/>
                <a:gd name="connsiteY4053" fmla="*/ 1842840 h 4235290"/>
                <a:gd name="connsiteX4054" fmla="*/ 1695654 w 2792478"/>
                <a:gd name="connsiteY4054" fmla="*/ 1834351 h 4235290"/>
                <a:gd name="connsiteX4055" fmla="*/ 1684512 w 2792478"/>
                <a:gd name="connsiteY4055" fmla="*/ 1834351 h 4235290"/>
                <a:gd name="connsiteX4056" fmla="*/ 1753932 w 2792478"/>
                <a:gd name="connsiteY4056" fmla="*/ 1832693 h 4235290"/>
                <a:gd name="connsiteX4057" fmla="*/ 1731333 w 2792478"/>
                <a:gd name="connsiteY4057" fmla="*/ 1839468 h 4235290"/>
                <a:gd name="connsiteX4058" fmla="*/ 1776961 w 2792478"/>
                <a:gd name="connsiteY4058" fmla="*/ 1839711 h 4235290"/>
                <a:gd name="connsiteX4059" fmla="*/ 1753932 w 2792478"/>
                <a:gd name="connsiteY4059" fmla="*/ 1832693 h 4235290"/>
                <a:gd name="connsiteX4060" fmla="*/ 1432309 w 2792478"/>
                <a:gd name="connsiteY4060" fmla="*/ 1829359 h 4235290"/>
                <a:gd name="connsiteX4061" fmla="*/ 1407451 w 2792478"/>
                <a:gd name="connsiteY4061" fmla="*/ 1858071 h 4235290"/>
                <a:gd name="connsiteX4062" fmla="*/ 1439887 w 2792478"/>
                <a:gd name="connsiteY4062" fmla="*/ 1891812 h 4235290"/>
                <a:gd name="connsiteX4063" fmla="*/ 1471267 w 2792478"/>
                <a:gd name="connsiteY4063" fmla="*/ 1864224 h 4235290"/>
                <a:gd name="connsiteX4064" fmla="*/ 1446166 w 2792478"/>
                <a:gd name="connsiteY4064" fmla="*/ 1829423 h 4235290"/>
                <a:gd name="connsiteX4065" fmla="*/ 1445042 w 2792478"/>
                <a:gd name="connsiteY4065" fmla="*/ 1829423 h 4235290"/>
                <a:gd name="connsiteX4066" fmla="*/ 1432309 w 2792478"/>
                <a:gd name="connsiteY4066" fmla="*/ 1829359 h 4235290"/>
                <a:gd name="connsiteX4067" fmla="*/ 1425779 w 2792478"/>
                <a:gd name="connsiteY4067" fmla="*/ 1821717 h 4235290"/>
                <a:gd name="connsiteX4068" fmla="*/ 1374514 w 2792478"/>
                <a:gd name="connsiteY4068" fmla="*/ 1863787 h 4235290"/>
                <a:gd name="connsiteX4069" fmla="*/ 1413039 w 2792478"/>
                <a:gd name="connsiteY4069" fmla="*/ 1891067 h 4235290"/>
                <a:gd name="connsiteX4070" fmla="*/ 1398309 w 2792478"/>
                <a:gd name="connsiteY4070" fmla="*/ 1856022 h 4235290"/>
                <a:gd name="connsiteX4071" fmla="*/ 1425779 w 2792478"/>
                <a:gd name="connsiteY4071" fmla="*/ 1821717 h 4235290"/>
                <a:gd name="connsiteX4072" fmla="*/ 1753444 w 2792478"/>
                <a:gd name="connsiteY4072" fmla="*/ 1819733 h 4235290"/>
                <a:gd name="connsiteX4073" fmla="*/ 1750019 w 2792478"/>
                <a:gd name="connsiteY4073" fmla="*/ 1823142 h 4235290"/>
                <a:gd name="connsiteX4074" fmla="*/ 1753444 w 2792478"/>
                <a:gd name="connsiteY4074" fmla="*/ 1826559 h 4235290"/>
                <a:gd name="connsiteX4075" fmla="*/ 1756850 w 2792478"/>
                <a:gd name="connsiteY4075" fmla="*/ 1823142 h 4235290"/>
                <a:gd name="connsiteX4076" fmla="*/ 1753444 w 2792478"/>
                <a:gd name="connsiteY4076" fmla="*/ 1819733 h 4235290"/>
                <a:gd name="connsiteX4077" fmla="*/ 1446166 w 2792478"/>
                <a:gd name="connsiteY4077" fmla="*/ 1819668 h 4235290"/>
                <a:gd name="connsiteX4078" fmla="*/ 1446287 w 2792478"/>
                <a:gd name="connsiteY4078" fmla="*/ 1819855 h 4235290"/>
                <a:gd name="connsiteX4079" fmla="*/ 1480591 w 2792478"/>
                <a:gd name="connsiteY4079" fmla="*/ 1864782 h 4235290"/>
                <a:gd name="connsiteX4080" fmla="*/ 1467729 w 2792478"/>
                <a:gd name="connsiteY4080" fmla="*/ 1889327 h 4235290"/>
                <a:gd name="connsiteX4081" fmla="*/ 1516390 w 2792478"/>
                <a:gd name="connsiteY4081" fmla="*/ 1859998 h 4235290"/>
                <a:gd name="connsiteX4082" fmla="*/ 1446166 w 2792478"/>
                <a:gd name="connsiteY4082" fmla="*/ 1819668 h 4235290"/>
                <a:gd name="connsiteX4083" fmla="*/ 1753444 w 2792478"/>
                <a:gd name="connsiteY4083" fmla="*/ 1815583 h 4235290"/>
                <a:gd name="connsiteX4084" fmla="*/ 1760994 w 2792478"/>
                <a:gd name="connsiteY4084" fmla="*/ 1823142 h 4235290"/>
                <a:gd name="connsiteX4085" fmla="*/ 1758435 w 2792478"/>
                <a:gd name="connsiteY4085" fmla="*/ 1828781 h 4235290"/>
                <a:gd name="connsiteX4086" fmla="*/ 1781098 w 2792478"/>
                <a:gd name="connsiteY4086" fmla="*/ 1837636 h 4235290"/>
                <a:gd name="connsiteX4087" fmla="*/ 1798815 w 2792478"/>
                <a:gd name="connsiteY4087" fmla="*/ 1833513 h 4235290"/>
                <a:gd name="connsiteX4088" fmla="*/ 1814236 w 2792478"/>
                <a:gd name="connsiteY4088" fmla="*/ 1849785 h 4235290"/>
                <a:gd name="connsiteX4089" fmla="*/ 1813941 w 2792478"/>
                <a:gd name="connsiteY4089" fmla="*/ 1872236 h 4235290"/>
                <a:gd name="connsiteX4090" fmla="*/ 1798039 w 2792478"/>
                <a:gd name="connsiteY4090" fmla="*/ 1885122 h 4235290"/>
                <a:gd name="connsiteX4091" fmla="*/ 1775107 w 2792478"/>
                <a:gd name="connsiteY4091" fmla="*/ 1914280 h 4235290"/>
                <a:gd name="connsiteX4092" fmla="*/ 1774138 w 2792478"/>
                <a:gd name="connsiteY4092" fmla="*/ 1914532 h 4235290"/>
                <a:gd name="connsiteX4093" fmla="*/ 1733732 w 2792478"/>
                <a:gd name="connsiteY4093" fmla="*/ 1914532 h 4235290"/>
                <a:gd name="connsiteX4094" fmla="*/ 1732757 w 2792478"/>
                <a:gd name="connsiteY4094" fmla="*/ 1914280 h 4235290"/>
                <a:gd name="connsiteX4095" fmla="*/ 1709612 w 2792478"/>
                <a:gd name="connsiteY4095" fmla="*/ 1884151 h 4235290"/>
                <a:gd name="connsiteX4096" fmla="*/ 1691440 w 2792478"/>
                <a:gd name="connsiteY4096" fmla="*/ 1853715 h 4235290"/>
                <a:gd name="connsiteX4097" fmla="*/ 1688707 w 2792478"/>
                <a:gd name="connsiteY4097" fmla="*/ 1845465 h 4235290"/>
                <a:gd name="connsiteX4098" fmla="*/ 1682555 w 2792478"/>
                <a:gd name="connsiteY4098" fmla="*/ 1843532 h 4235290"/>
                <a:gd name="connsiteX4099" fmla="*/ 1681016 w 2792478"/>
                <a:gd name="connsiteY4099" fmla="*/ 1842973 h 4235290"/>
                <a:gd name="connsiteX4100" fmla="*/ 1680368 w 2792478"/>
                <a:gd name="connsiteY4100" fmla="*/ 1841475 h 4235290"/>
                <a:gd name="connsiteX4101" fmla="*/ 1680368 w 2792478"/>
                <a:gd name="connsiteY4101" fmla="*/ 1832904 h 4235290"/>
                <a:gd name="connsiteX4102" fmla="*/ 1681593 w 2792478"/>
                <a:gd name="connsiteY4102" fmla="*/ 1831016 h 4235290"/>
                <a:gd name="connsiteX4103" fmla="*/ 1697168 w 2792478"/>
                <a:gd name="connsiteY4103" fmla="*/ 1830503 h 4235290"/>
                <a:gd name="connsiteX4104" fmla="*/ 1707329 w 2792478"/>
                <a:gd name="connsiteY4104" fmla="*/ 1841434 h 4235290"/>
                <a:gd name="connsiteX4105" fmla="*/ 1714937 w 2792478"/>
                <a:gd name="connsiteY4105" fmla="*/ 1850751 h 4235290"/>
                <a:gd name="connsiteX4106" fmla="*/ 1748601 w 2792478"/>
                <a:gd name="connsiteY4106" fmla="*/ 1828895 h 4235290"/>
                <a:gd name="connsiteX4107" fmla="*/ 1745868 w 2792478"/>
                <a:gd name="connsiteY4107" fmla="*/ 1823142 h 4235290"/>
                <a:gd name="connsiteX4108" fmla="*/ 1753444 w 2792478"/>
                <a:gd name="connsiteY4108" fmla="*/ 1815583 h 4235290"/>
                <a:gd name="connsiteX4109" fmla="*/ 1438520 w 2792478"/>
                <a:gd name="connsiteY4109" fmla="*/ 1809722 h 4235290"/>
                <a:gd name="connsiteX4110" fmla="*/ 1526952 w 2792478"/>
                <a:gd name="connsiteY4110" fmla="*/ 1858135 h 4235290"/>
                <a:gd name="connsiteX4111" fmla="*/ 1526329 w 2792478"/>
                <a:gd name="connsiteY4111" fmla="*/ 1863787 h 4235290"/>
                <a:gd name="connsiteX4112" fmla="*/ 1525646 w 2792478"/>
                <a:gd name="connsiteY4112" fmla="*/ 1864782 h 4235290"/>
                <a:gd name="connsiteX4113" fmla="*/ 1365000 w 2792478"/>
                <a:gd name="connsiteY4113" fmla="*/ 1867768 h 4235290"/>
                <a:gd name="connsiteX4114" fmla="*/ 1364317 w 2792478"/>
                <a:gd name="connsiteY4114" fmla="*/ 1864287 h 4235290"/>
                <a:gd name="connsiteX4115" fmla="*/ 1364506 w 2792478"/>
                <a:gd name="connsiteY4115" fmla="*/ 1861861 h 4235290"/>
                <a:gd name="connsiteX4116" fmla="*/ 1438520 w 2792478"/>
                <a:gd name="connsiteY4116" fmla="*/ 1809722 h 4235290"/>
                <a:gd name="connsiteX4117" fmla="*/ 1652536 w 2792478"/>
                <a:gd name="connsiteY4117" fmla="*/ 1803633 h 4235290"/>
                <a:gd name="connsiteX4118" fmla="*/ 1672359 w 2792478"/>
                <a:gd name="connsiteY4118" fmla="*/ 1803633 h 4235290"/>
                <a:gd name="connsiteX4119" fmla="*/ 1689142 w 2792478"/>
                <a:gd name="connsiteY4119" fmla="*/ 1804501 h 4235290"/>
                <a:gd name="connsiteX4120" fmla="*/ 1689142 w 2792478"/>
                <a:gd name="connsiteY4120" fmla="*/ 1816056 h 4235290"/>
                <a:gd name="connsiteX4121" fmla="*/ 1652536 w 2792478"/>
                <a:gd name="connsiteY4121" fmla="*/ 1816056 h 4235290"/>
                <a:gd name="connsiteX4122" fmla="*/ 2409508 w 2792478"/>
                <a:gd name="connsiteY4122" fmla="*/ 1792052 h 4235290"/>
                <a:gd name="connsiteX4123" fmla="*/ 2396985 w 2792478"/>
                <a:gd name="connsiteY4123" fmla="*/ 1794009 h 4235290"/>
                <a:gd name="connsiteX4124" fmla="*/ 2378618 w 2792478"/>
                <a:gd name="connsiteY4124" fmla="*/ 1796633 h 4235290"/>
                <a:gd name="connsiteX4125" fmla="*/ 2366737 w 2792478"/>
                <a:gd name="connsiteY4125" fmla="*/ 1793664 h 4235290"/>
                <a:gd name="connsiteX4126" fmla="*/ 2366432 w 2792478"/>
                <a:gd name="connsiteY4126" fmla="*/ 1793513 h 4235290"/>
                <a:gd name="connsiteX4127" fmla="*/ 2365581 w 2792478"/>
                <a:gd name="connsiteY4127" fmla="*/ 1794682 h 4235290"/>
                <a:gd name="connsiteX4128" fmla="*/ 2365475 w 2792478"/>
                <a:gd name="connsiteY4128" fmla="*/ 1794869 h 4235290"/>
                <a:gd name="connsiteX4129" fmla="*/ 2358750 w 2792478"/>
                <a:gd name="connsiteY4129" fmla="*/ 1809964 h 4235290"/>
                <a:gd name="connsiteX4130" fmla="*/ 2360863 w 2792478"/>
                <a:gd name="connsiteY4130" fmla="*/ 1815782 h 4235290"/>
                <a:gd name="connsiteX4131" fmla="*/ 2361643 w 2792478"/>
                <a:gd name="connsiteY4131" fmla="*/ 1819033 h 4235290"/>
                <a:gd name="connsiteX4132" fmla="*/ 2361209 w 2792478"/>
                <a:gd name="connsiteY4132" fmla="*/ 1821015 h 4235290"/>
                <a:gd name="connsiteX4133" fmla="*/ 2363309 w 2792478"/>
                <a:gd name="connsiteY4133" fmla="*/ 1825210 h 4235290"/>
                <a:gd name="connsiteX4134" fmla="*/ 2365918 w 2792478"/>
                <a:gd name="connsiteY4134" fmla="*/ 1828310 h 4235290"/>
                <a:gd name="connsiteX4135" fmla="*/ 2365918 w 2792478"/>
                <a:gd name="connsiteY4135" fmla="*/ 1879380 h 4235290"/>
                <a:gd name="connsiteX4136" fmla="*/ 2365904 w 2792478"/>
                <a:gd name="connsiteY4136" fmla="*/ 1879594 h 4235290"/>
                <a:gd name="connsiteX4137" fmla="*/ 2355375 w 2792478"/>
                <a:gd name="connsiteY4137" fmla="*/ 1892164 h 4235290"/>
                <a:gd name="connsiteX4138" fmla="*/ 2424494 w 2792478"/>
                <a:gd name="connsiteY4138" fmla="*/ 1892164 h 4235290"/>
                <a:gd name="connsiteX4139" fmla="*/ 2412042 w 2792478"/>
                <a:gd name="connsiteY4139" fmla="*/ 1876573 h 4235290"/>
                <a:gd name="connsiteX4140" fmla="*/ 2412042 w 2792478"/>
                <a:gd name="connsiteY4140" fmla="*/ 1813904 h 4235290"/>
                <a:gd name="connsiteX4141" fmla="*/ 2415196 w 2792478"/>
                <a:gd name="connsiteY4141" fmla="*/ 1810757 h 4235290"/>
                <a:gd name="connsiteX4142" fmla="*/ 2417455 w 2792478"/>
                <a:gd name="connsiteY4142" fmla="*/ 1806536 h 4235290"/>
                <a:gd name="connsiteX4143" fmla="*/ 2412538 w 2792478"/>
                <a:gd name="connsiteY4143" fmla="*/ 1795683 h 4235290"/>
                <a:gd name="connsiteX4144" fmla="*/ 2412042 w 2792478"/>
                <a:gd name="connsiteY4144" fmla="*/ 1793993 h 4235290"/>
                <a:gd name="connsiteX4145" fmla="*/ 2412042 w 2792478"/>
                <a:gd name="connsiteY4145" fmla="*/ 1792386 h 4235290"/>
                <a:gd name="connsiteX4146" fmla="*/ 2409508 w 2792478"/>
                <a:gd name="connsiteY4146" fmla="*/ 1792052 h 4235290"/>
                <a:gd name="connsiteX4147" fmla="*/ 2409508 w 2792478"/>
                <a:gd name="connsiteY4147" fmla="*/ 1785754 h 4235290"/>
                <a:gd name="connsiteX4148" fmla="*/ 2417836 w 2792478"/>
                <a:gd name="connsiteY4148" fmla="*/ 1789292 h 4235290"/>
                <a:gd name="connsiteX4149" fmla="*/ 2418341 w 2792478"/>
                <a:gd name="connsiteY4149" fmla="*/ 1791008 h 4235290"/>
                <a:gd name="connsiteX4150" fmla="*/ 2418341 w 2792478"/>
                <a:gd name="connsiteY4150" fmla="*/ 1793090 h 4235290"/>
                <a:gd name="connsiteX4151" fmla="*/ 2423745 w 2792478"/>
                <a:gd name="connsiteY4151" fmla="*/ 1806536 h 4235290"/>
                <a:gd name="connsiteX4152" fmla="*/ 2418341 w 2792478"/>
                <a:gd name="connsiteY4152" fmla="*/ 1816340 h 4235290"/>
                <a:gd name="connsiteX4153" fmla="*/ 2418341 w 2792478"/>
                <a:gd name="connsiteY4153" fmla="*/ 1876615 h 4235290"/>
                <a:gd name="connsiteX4154" fmla="*/ 2418341 w 2792478"/>
                <a:gd name="connsiteY4154" fmla="*/ 1876651 h 4235290"/>
                <a:gd name="connsiteX4155" fmla="*/ 2428153 w 2792478"/>
                <a:gd name="connsiteY4155" fmla="*/ 1886993 h 4235290"/>
                <a:gd name="connsiteX4156" fmla="*/ 2436109 w 2792478"/>
                <a:gd name="connsiteY4156" fmla="*/ 1895310 h 4235290"/>
                <a:gd name="connsiteX4157" fmla="*/ 2432960 w 2792478"/>
                <a:gd name="connsiteY4157" fmla="*/ 1898456 h 4235290"/>
                <a:gd name="connsiteX4158" fmla="*/ 2343733 w 2792478"/>
                <a:gd name="connsiteY4158" fmla="*/ 1898456 h 4235290"/>
                <a:gd name="connsiteX4159" fmla="*/ 2341181 w 2792478"/>
                <a:gd name="connsiteY4159" fmla="*/ 1897146 h 4235290"/>
                <a:gd name="connsiteX4160" fmla="*/ 2340752 w 2792478"/>
                <a:gd name="connsiteY4160" fmla="*/ 1894303 h 4235290"/>
                <a:gd name="connsiteX4161" fmla="*/ 2348823 w 2792478"/>
                <a:gd name="connsiteY4161" fmla="*/ 1888287 h 4235290"/>
                <a:gd name="connsiteX4162" fmla="*/ 2359614 w 2792478"/>
                <a:gd name="connsiteY4162" fmla="*/ 1879255 h 4235290"/>
                <a:gd name="connsiteX4163" fmla="*/ 2359614 w 2792478"/>
                <a:gd name="connsiteY4163" fmla="*/ 1830428 h 4235290"/>
                <a:gd name="connsiteX4164" fmla="*/ 2354905 w 2792478"/>
                <a:gd name="connsiteY4164" fmla="*/ 1821015 h 4235290"/>
                <a:gd name="connsiteX4165" fmla="*/ 2355175 w 2792478"/>
                <a:gd name="connsiteY4165" fmla="*/ 1818813 h 4235290"/>
                <a:gd name="connsiteX4166" fmla="*/ 2352460 w 2792478"/>
                <a:gd name="connsiteY4166" fmla="*/ 1809964 h 4235290"/>
                <a:gd name="connsiteX4167" fmla="*/ 2360088 w 2792478"/>
                <a:gd name="connsiteY4167" fmla="*/ 1791603 h 4235290"/>
                <a:gd name="connsiteX4168" fmla="*/ 2366361 w 2792478"/>
                <a:gd name="connsiteY4168" fmla="*/ 1787194 h 4235290"/>
                <a:gd name="connsiteX4169" fmla="*/ 2370064 w 2792478"/>
                <a:gd name="connsiteY4169" fmla="*/ 1788321 h 4235290"/>
                <a:gd name="connsiteX4170" fmla="*/ 2370170 w 2792478"/>
                <a:gd name="connsiteY4170" fmla="*/ 1788384 h 4235290"/>
                <a:gd name="connsiteX4171" fmla="*/ 2378618 w 2792478"/>
                <a:gd name="connsiteY4171" fmla="*/ 1790325 h 4235290"/>
                <a:gd name="connsiteX4172" fmla="*/ 2395700 w 2792478"/>
                <a:gd name="connsiteY4172" fmla="*/ 1787852 h 4235290"/>
                <a:gd name="connsiteX4173" fmla="*/ 2409508 w 2792478"/>
                <a:gd name="connsiteY4173" fmla="*/ 1785754 h 4235290"/>
                <a:gd name="connsiteX4174" fmla="*/ 1640174 w 2792478"/>
                <a:gd name="connsiteY4174" fmla="*/ 1783183 h 4235290"/>
                <a:gd name="connsiteX4175" fmla="*/ 1609975 w 2792478"/>
                <a:gd name="connsiteY4175" fmla="*/ 1783250 h 4235290"/>
                <a:gd name="connsiteX4176" fmla="*/ 1609975 w 2792478"/>
                <a:gd name="connsiteY4176" fmla="*/ 1834637 h 4235290"/>
                <a:gd name="connsiteX4177" fmla="*/ 1640174 w 2792478"/>
                <a:gd name="connsiteY4177" fmla="*/ 1834579 h 4235290"/>
                <a:gd name="connsiteX4178" fmla="*/ 1619666 w 2792478"/>
                <a:gd name="connsiteY4178" fmla="*/ 1778528 h 4235290"/>
                <a:gd name="connsiteX4179" fmla="*/ 1619666 w 2792478"/>
                <a:gd name="connsiteY4179" fmla="*/ 1779521 h 4235290"/>
                <a:gd name="connsiteX4180" fmla="*/ 1632468 w 2792478"/>
                <a:gd name="connsiteY4180" fmla="*/ 1779521 h 4235290"/>
                <a:gd name="connsiteX4181" fmla="*/ 1632468 w 2792478"/>
                <a:gd name="connsiteY4181" fmla="*/ 1778528 h 4235290"/>
                <a:gd name="connsiteX4182" fmla="*/ 1626062 w 2792478"/>
                <a:gd name="connsiteY4182" fmla="*/ 1774923 h 4235290"/>
                <a:gd name="connsiteX4183" fmla="*/ 1625008 w 2792478"/>
                <a:gd name="connsiteY4183" fmla="*/ 1776041 h 4235290"/>
                <a:gd name="connsiteX4184" fmla="*/ 1626062 w 2792478"/>
                <a:gd name="connsiteY4184" fmla="*/ 1777093 h 4235290"/>
                <a:gd name="connsiteX4185" fmla="*/ 1627126 w 2792478"/>
                <a:gd name="connsiteY4185" fmla="*/ 1776041 h 4235290"/>
                <a:gd name="connsiteX4186" fmla="*/ 1626062 w 2792478"/>
                <a:gd name="connsiteY4186" fmla="*/ 1774923 h 4235290"/>
                <a:gd name="connsiteX4187" fmla="*/ 1602822 w 2792478"/>
                <a:gd name="connsiteY4187" fmla="*/ 1771811 h 4235290"/>
                <a:gd name="connsiteX4188" fmla="*/ 1647317 w 2792478"/>
                <a:gd name="connsiteY4188" fmla="*/ 1771811 h 4235290"/>
                <a:gd name="connsiteX4189" fmla="*/ 1647317 w 2792478"/>
                <a:gd name="connsiteY4189" fmla="*/ 1846635 h 4235290"/>
                <a:gd name="connsiteX4190" fmla="*/ 1602822 w 2792478"/>
                <a:gd name="connsiteY4190" fmla="*/ 1846635 h 4235290"/>
                <a:gd name="connsiteX4191" fmla="*/ 1602822 w 2792478"/>
                <a:gd name="connsiteY4191" fmla="*/ 1771811 h 4235290"/>
                <a:gd name="connsiteX4192" fmla="*/ 1542106 w 2792478"/>
                <a:gd name="connsiteY4192" fmla="*/ 1762867 h 4235290"/>
                <a:gd name="connsiteX4193" fmla="*/ 1542106 w 2792478"/>
                <a:gd name="connsiteY4193" fmla="*/ 1831225 h 4235290"/>
                <a:gd name="connsiteX4194" fmla="*/ 1586049 w 2792478"/>
                <a:gd name="connsiteY4194" fmla="*/ 1831225 h 4235290"/>
                <a:gd name="connsiteX4195" fmla="*/ 1586049 w 2792478"/>
                <a:gd name="connsiteY4195" fmla="*/ 1762867 h 4235290"/>
                <a:gd name="connsiteX4196" fmla="*/ 1533223 w 2792478"/>
                <a:gd name="connsiteY4196" fmla="*/ 1753915 h 4235290"/>
                <a:gd name="connsiteX4197" fmla="*/ 1594931 w 2792478"/>
                <a:gd name="connsiteY4197" fmla="*/ 1753915 h 4235290"/>
                <a:gd name="connsiteX4198" fmla="*/ 1594931 w 2792478"/>
                <a:gd name="connsiteY4198" fmla="*/ 1846577 h 4235290"/>
                <a:gd name="connsiteX4199" fmla="*/ 1533223 w 2792478"/>
                <a:gd name="connsiteY4199" fmla="*/ 1846577 h 4235290"/>
                <a:gd name="connsiteX4200" fmla="*/ 1533223 w 2792478"/>
                <a:gd name="connsiteY4200" fmla="*/ 1753915 h 4235290"/>
                <a:gd name="connsiteX4201" fmla="*/ 2151514 w 2792478"/>
                <a:gd name="connsiteY4201" fmla="*/ 1746958 h 4235290"/>
                <a:gd name="connsiteX4202" fmla="*/ 2237016 w 2792478"/>
                <a:gd name="connsiteY4202" fmla="*/ 1746958 h 4235290"/>
                <a:gd name="connsiteX4203" fmla="*/ 2242767 w 2792478"/>
                <a:gd name="connsiteY4203" fmla="*/ 1752707 h 4235290"/>
                <a:gd name="connsiteX4204" fmla="*/ 2237016 w 2792478"/>
                <a:gd name="connsiteY4204" fmla="*/ 1758465 h 4235290"/>
                <a:gd name="connsiteX4205" fmla="*/ 2151514 w 2792478"/>
                <a:gd name="connsiteY4205" fmla="*/ 1758465 h 4235290"/>
                <a:gd name="connsiteX4206" fmla="*/ 2145763 w 2792478"/>
                <a:gd name="connsiteY4206" fmla="*/ 1752707 h 4235290"/>
                <a:gd name="connsiteX4207" fmla="*/ 2151514 w 2792478"/>
                <a:gd name="connsiteY4207" fmla="*/ 1746958 h 4235290"/>
                <a:gd name="connsiteX4208" fmla="*/ 2387145 w 2792478"/>
                <a:gd name="connsiteY4208" fmla="*/ 1743847 h 4235290"/>
                <a:gd name="connsiteX4209" fmla="*/ 2374728 w 2792478"/>
                <a:gd name="connsiteY4209" fmla="*/ 1767740 h 4235290"/>
                <a:gd name="connsiteX4210" fmla="*/ 2387145 w 2792478"/>
                <a:gd name="connsiteY4210" fmla="*/ 1781906 h 4235290"/>
                <a:gd name="connsiteX4211" fmla="*/ 2399567 w 2792478"/>
                <a:gd name="connsiteY4211" fmla="*/ 1767740 h 4235290"/>
                <a:gd name="connsiteX4212" fmla="*/ 2387145 w 2792478"/>
                <a:gd name="connsiteY4212" fmla="*/ 1743847 h 4235290"/>
                <a:gd name="connsiteX4213" fmla="*/ 2387145 w 2792478"/>
                <a:gd name="connsiteY4213" fmla="*/ 1736039 h 4235290"/>
                <a:gd name="connsiteX4214" fmla="*/ 2389390 w 2792478"/>
                <a:gd name="connsiteY4214" fmla="*/ 1736979 h 4235290"/>
                <a:gd name="connsiteX4215" fmla="*/ 2405862 w 2792478"/>
                <a:gd name="connsiteY4215" fmla="*/ 1767740 h 4235290"/>
                <a:gd name="connsiteX4216" fmla="*/ 2400351 w 2792478"/>
                <a:gd name="connsiteY4216" fmla="*/ 1783425 h 4235290"/>
                <a:gd name="connsiteX4217" fmla="*/ 2387145 w 2792478"/>
                <a:gd name="connsiteY4217" fmla="*/ 1788202 h 4235290"/>
                <a:gd name="connsiteX4218" fmla="*/ 2373939 w 2792478"/>
                <a:gd name="connsiteY4218" fmla="*/ 1783425 h 4235290"/>
                <a:gd name="connsiteX4219" fmla="*/ 2368424 w 2792478"/>
                <a:gd name="connsiteY4219" fmla="*/ 1767740 h 4235290"/>
                <a:gd name="connsiteX4220" fmla="*/ 2384900 w 2792478"/>
                <a:gd name="connsiteY4220" fmla="*/ 1736979 h 4235290"/>
                <a:gd name="connsiteX4221" fmla="*/ 2387145 w 2792478"/>
                <a:gd name="connsiteY4221" fmla="*/ 1736039 h 4235290"/>
                <a:gd name="connsiteX4222" fmla="*/ 1911698 w 2792478"/>
                <a:gd name="connsiteY4222" fmla="*/ 1734990 h 4235290"/>
                <a:gd name="connsiteX4223" fmla="*/ 1925509 w 2792478"/>
                <a:gd name="connsiteY4223" fmla="*/ 1767472 h 4235290"/>
                <a:gd name="connsiteX4224" fmla="*/ 1898411 w 2792478"/>
                <a:gd name="connsiteY4224" fmla="*/ 1838221 h 4235290"/>
                <a:gd name="connsiteX4225" fmla="*/ 1874985 w 2792478"/>
                <a:gd name="connsiteY4225" fmla="*/ 1838295 h 4235290"/>
                <a:gd name="connsiteX4226" fmla="*/ 1854878 w 2792478"/>
                <a:gd name="connsiteY4226" fmla="*/ 1806697 h 4235290"/>
                <a:gd name="connsiteX4227" fmla="*/ 1873985 w 2792478"/>
                <a:gd name="connsiteY4227" fmla="*/ 1757942 h 4235290"/>
                <a:gd name="connsiteX4228" fmla="*/ 1886295 w 2792478"/>
                <a:gd name="connsiteY4228" fmla="*/ 1762093 h 4235290"/>
                <a:gd name="connsiteX4229" fmla="*/ 1882159 w 2792478"/>
                <a:gd name="connsiteY4229" fmla="*/ 1774386 h 4235290"/>
                <a:gd name="connsiteX4230" fmla="*/ 1872996 w 2792478"/>
                <a:gd name="connsiteY4230" fmla="*/ 1803565 h 4235290"/>
                <a:gd name="connsiteX4231" fmla="*/ 1883233 w 2792478"/>
                <a:gd name="connsiteY4231" fmla="*/ 1821851 h 4235290"/>
                <a:gd name="connsiteX4232" fmla="*/ 1890248 w 2792478"/>
                <a:gd name="connsiteY4232" fmla="*/ 1821789 h 4235290"/>
                <a:gd name="connsiteX4233" fmla="*/ 1907378 w 2792478"/>
                <a:gd name="connsiteY4233" fmla="*/ 1770628 h 4235290"/>
                <a:gd name="connsiteX4234" fmla="*/ 1888540 w 2792478"/>
                <a:gd name="connsiteY4234" fmla="*/ 1738306 h 4235290"/>
                <a:gd name="connsiteX4235" fmla="*/ 1873094 w 2792478"/>
                <a:gd name="connsiteY4235" fmla="*/ 1738404 h 4235290"/>
                <a:gd name="connsiteX4236" fmla="*/ 1843483 w 2792478"/>
                <a:gd name="connsiteY4236" fmla="*/ 1823939 h 4235290"/>
                <a:gd name="connsiteX4237" fmla="*/ 1875619 w 2792478"/>
                <a:gd name="connsiteY4237" fmla="*/ 1878158 h 4235290"/>
                <a:gd name="connsiteX4238" fmla="*/ 1886917 w 2792478"/>
                <a:gd name="connsiteY4238" fmla="*/ 1881486 h 4235290"/>
                <a:gd name="connsiteX4239" fmla="*/ 1890346 w 2792478"/>
                <a:gd name="connsiteY4239" fmla="*/ 1880761 h 4235290"/>
                <a:gd name="connsiteX4240" fmla="*/ 1897776 w 2792478"/>
                <a:gd name="connsiteY4240" fmla="*/ 1880491 h 4235290"/>
                <a:gd name="connsiteX4241" fmla="*/ 1904511 w 2792478"/>
                <a:gd name="connsiteY4241" fmla="*/ 1877887 h 4235290"/>
                <a:gd name="connsiteX4242" fmla="*/ 1953522 w 2792478"/>
                <a:gd name="connsiteY4242" fmla="*/ 1738748 h 4235290"/>
                <a:gd name="connsiteX4243" fmla="*/ 1952716 w 2792478"/>
                <a:gd name="connsiteY4243" fmla="*/ 1734990 h 4235290"/>
                <a:gd name="connsiteX4244" fmla="*/ 1555102 w 2792478"/>
                <a:gd name="connsiteY4244" fmla="*/ 1724087 h 4235290"/>
                <a:gd name="connsiteX4245" fmla="*/ 1671489 w 2792478"/>
                <a:gd name="connsiteY4245" fmla="*/ 1724087 h 4235290"/>
                <a:gd name="connsiteX4246" fmla="*/ 1671489 w 2792478"/>
                <a:gd name="connsiteY4246" fmla="*/ 1800838 h 4235290"/>
                <a:gd name="connsiteX4247" fmla="*/ 1651605 w 2792478"/>
                <a:gd name="connsiteY4247" fmla="*/ 1800838 h 4235290"/>
                <a:gd name="connsiteX4248" fmla="*/ 1651605 w 2792478"/>
                <a:gd name="connsiteY4248" fmla="*/ 1792136 h 4235290"/>
                <a:gd name="connsiteX4249" fmla="*/ 1662729 w 2792478"/>
                <a:gd name="connsiteY4249" fmla="*/ 1792136 h 4235290"/>
                <a:gd name="connsiteX4250" fmla="*/ 1662729 w 2792478"/>
                <a:gd name="connsiteY4250" fmla="*/ 1732789 h 4235290"/>
                <a:gd name="connsiteX4251" fmla="*/ 1563801 w 2792478"/>
                <a:gd name="connsiteY4251" fmla="*/ 1732789 h 4235290"/>
                <a:gd name="connsiteX4252" fmla="*/ 1563801 w 2792478"/>
                <a:gd name="connsiteY4252" fmla="*/ 1750936 h 4235290"/>
                <a:gd name="connsiteX4253" fmla="*/ 1555102 w 2792478"/>
                <a:gd name="connsiteY4253" fmla="*/ 1750936 h 4235290"/>
                <a:gd name="connsiteX4254" fmla="*/ 2151514 w 2792478"/>
                <a:gd name="connsiteY4254" fmla="*/ 1707438 h 4235290"/>
                <a:gd name="connsiteX4255" fmla="*/ 2237016 w 2792478"/>
                <a:gd name="connsiteY4255" fmla="*/ 1707438 h 4235290"/>
                <a:gd name="connsiteX4256" fmla="*/ 2242767 w 2792478"/>
                <a:gd name="connsiteY4256" fmla="*/ 1713196 h 4235290"/>
                <a:gd name="connsiteX4257" fmla="*/ 2237016 w 2792478"/>
                <a:gd name="connsiteY4257" fmla="*/ 1718936 h 4235290"/>
                <a:gd name="connsiteX4258" fmla="*/ 2151514 w 2792478"/>
                <a:gd name="connsiteY4258" fmla="*/ 1718936 h 4235290"/>
                <a:gd name="connsiteX4259" fmla="*/ 2145763 w 2792478"/>
                <a:gd name="connsiteY4259" fmla="*/ 1713196 h 4235290"/>
                <a:gd name="connsiteX4260" fmla="*/ 2151514 w 2792478"/>
                <a:gd name="connsiteY4260" fmla="*/ 1707438 h 4235290"/>
                <a:gd name="connsiteX4261" fmla="*/ 2491173 w 2792478"/>
                <a:gd name="connsiteY4261" fmla="*/ 1682326 h 4235290"/>
                <a:gd name="connsiteX4262" fmla="*/ 2495025 w 2792478"/>
                <a:gd name="connsiteY4262" fmla="*/ 1686180 h 4235290"/>
                <a:gd name="connsiteX4263" fmla="*/ 2496331 w 2792478"/>
                <a:gd name="connsiteY4263" fmla="*/ 1716069 h 4235290"/>
                <a:gd name="connsiteX4264" fmla="*/ 2500552 w 2792478"/>
                <a:gd name="connsiteY4264" fmla="*/ 1723905 h 4235290"/>
                <a:gd name="connsiteX4265" fmla="*/ 2500552 w 2792478"/>
                <a:gd name="connsiteY4265" fmla="*/ 1724338 h 4235290"/>
                <a:gd name="connsiteX4266" fmla="*/ 2516714 w 2792478"/>
                <a:gd name="connsiteY4266" fmla="*/ 1742976 h 4235290"/>
                <a:gd name="connsiteX4267" fmla="*/ 2516274 w 2792478"/>
                <a:gd name="connsiteY4267" fmla="*/ 1748818 h 4235290"/>
                <a:gd name="connsiteX4268" fmla="*/ 2510435 w 2792478"/>
                <a:gd name="connsiteY4268" fmla="*/ 1749258 h 4235290"/>
                <a:gd name="connsiteX4269" fmla="*/ 2492287 w 2792478"/>
                <a:gd name="connsiteY4269" fmla="*/ 1733160 h 4235290"/>
                <a:gd name="connsiteX4270" fmla="*/ 2491173 w 2792478"/>
                <a:gd name="connsiteY4270" fmla="*/ 1733288 h 4235290"/>
                <a:gd name="connsiteX4271" fmla="*/ 2481786 w 2792478"/>
                <a:gd name="connsiteY4271" fmla="*/ 1723905 h 4235290"/>
                <a:gd name="connsiteX4272" fmla="*/ 2485703 w 2792478"/>
                <a:gd name="connsiteY4272" fmla="*/ 1716260 h 4235290"/>
                <a:gd name="connsiteX4273" fmla="*/ 2487256 w 2792478"/>
                <a:gd name="connsiteY4273" fmla="*/ 1686180 h 4235290"/>
                <a:gd name="connsiteX4274" fmla="*/ 2491173 w 2792478"/>
                <a:gd name="connsiteY4274" fmla="*/ 1682326 h 4235290"/>
                <a:gd name="connsiteX4275" fmla="*/ 2137144 w 2792478"/>
                <a:gd name="connsiteY4275" fmla="*/ 1667918 h 4235290"/>
                <a:gd name="connsiteX4276" fmla="*/ 2250677 w 2792478"/>
                <a:gd name="connsiteY4276" fmla="*/ 1667918 h 4235290"/>
                <a:gd name="connsiteX4277" fmla="*/ 2256412 w 2792478"/>
                <a:gd name="connsiteY4277" fmla="*/ 1673667 h 4235290"/>
                <a:gd name="connsiteX4278" fmla="*/ 2250677 w 2792478"/>
                <a:gd name="connsiteY4278" fmla="*/ 1679425 h 4235290"/>
                <a:gd name="connsiteX4279" fmla="*/ 2137144 w 2792478"/>
                <a:gd name="connsiteY4279" fmla="*/ 1679425 h 4235290"/>
                <a:gd name="connsiteX4280" fmla="*/ 2131393 w 2792478"/>
                <a:gd name="connsiteY4280" fmla="*/ 1673667 h 4235290"/>
                <a:gd name="connsiteX4281" fmla="*/ 2137144 w 2792478"/>
                <a:gd name="connsiteY4281" fmla="*/ 1667918 h 4235290"/>
                <a:gd name="connsiteX4282" fmla="*/ 1586919 w 2792478"/>
                <a:gd name="connsiteY4282" fmla="*/ 1666417 h 4235290"/>
                <a:gd name="connsiteX4283" fmla="*/ 1754269 w 2792478"/>
                <a:gd name="connsiteY4283" fmla="*/ 1666417 h 4235290"/>
                <a:gd name="connsiteX4284" fmla="*/ 1754269 w 2792478"/>
                <a:gd name="connsiteY4284" fmla="*/ 1773680 h 4235290"/>
                <a:gd name="connsiteX4285" fmla="*/ 1684547 w 2792478"/>
                <a:gd name="connsiteY4285" fmla="*/ 1773680 h 4235290"/>
                <a:gd name="connsiteX4286" fmla="*/ 1684547 w 2792478"/>
                <a:gd name="connsiteY4286" fmla="*/ 1780572 h 4235290"/>
                <a:gd name="connsiteX4287" fmla="*/ 1719464 w 2792478"/>
                <a:gd name="connsiteY4287" fmla="*/ 1780572 h 4235290"/>
                <a:gd name="connsiteX4288" fmla="*/ 1719464 w 2792478"/>
                <a:gd name="connsiteY4288" fmla="*/ 1786229 h 4235290"/>
                <a:gd name="connsiteX4289" fmla="*/ 1675286 w 2792478"/>
                <a:gd name="connsiteY4289" fmla="*/ 1786229 h 4235290"/>
                <a:gd name="connsiteX4290" fmla="*/ 1675286 w 2792478"/>
                <a:gd name="connsiteY4290" fmla="*/ 1757894 h 4235290"/>
                <a:gd name="connsiteX4291" fmla="*/ 1742029 w 2792478"/>
                <a:gd name="connsiteY4291" fmla="*/ 1757894 h 4235290"/>
                <a:gd name="connsiteX4292" fmla="*/ 1742029 w 2792478"/>
                <a:gd name="connsiteY4292" fmla="*/ 1678657 h 4235290"/>
                <a:gd name="connsiteX4293" fmla="*/ 1599158 w 2792478"/>
                <a:gd name="connsiteY4293" fmla="*/ 1678657 h 4235290"/>
                <a:gd name="connsiteX4294" fmla="*/ 1599158 w 2792478"/>
                <a:gd name="connsiteY4294" fmla="*/ 1720541 h 4235290"/>
                <a:gd name="connsiteX4295" fmla="*/ 1586919 w 2792478"/>
                <a:gd name="connsiteY4295" fmla="*/ 1720541 h 4235290"/>
                <a:gd name="connsiteX4296" fmla="*/ 2485951 w 2792478"/>
                <a:gd name="connsiteY4296" fmla="*/ 1663745 h 4235290"/>
                <a:gd name="connsiteX4297" fmla="*/ 2429335 w 2792478"/>
                <a:gd name="connsiteY4297" fmla="*/ 1720299 h 4235290"/>
                <a:gd name="connsiteX4298" fmla="*/ 2433932 w 2792478"/>
                <a:gd name="connsiteY4298" fmla="*/ 1718432 h 4235290"/>
                <a:gd name="connsiteX4299" fmla="*/ 2436983 w 2792478"/>
                <a:gd name="connsiteY4299" fmla="*/ 1718432 h 4235290"/>
                <a:gd name="connsiteX4300" fmla="*/ 2443695 w 2792478"/>
                <a:gd name="connsiteY4300" fmla="*/ 1725147 h 4235290"/>
                <a:gd name="connsiteX4301" fmla="*/ 2436983 w 2792478"/>
                <a:gd name="connsiteY4301" fmla="*/ 1731918 h 4235290"/>
                <a:gd name="connsiteX4302" fmla="*/ 2433932 w 2792478"/>
                <a:gd name="connsiteY4302" fmla="*/ 1731918 h 4235290"/>
                <a:gd name="connsiteX4303" fmla="*/ 2429335 w 2792478"/>
                <a:gd name="connsiteY4303" fmla="*/ 1729994 h 4235290"/>
                <a:gd name="connsiteX4304" fmla="*/ 2485951 w 2792478"/>
                <a:gd name="connsiteY4304" fmla="*/ 1786606 h 4235290"/>
                <a:gd name="connsiteX4305" fmla="*/ 2484085 w 2792478"/>
                <a:gd name="connsiteY4305" fmla="*/ 1781942 h 4235290"/>
                <a:gd name="connsiteX4306" fmla="*/ 2484085 w 2792478"/>
                <a:gd name="connsiteY4306" fmla="*/ 1779025 h 4235290"/>
                <a:gd name="connsiteX4307" fmla="*/ 2490797 w 2792478"/>
                <a:gd name="connsiteY4307" fmla="*/ 1772311 h 4235290"/>
                <a:gd name="connsiteX4308" fmla="*/ 2497508 w 2792478"/>
                <a:gd name="connsiteY4308" fmla="*/ 1779025 h 4235290"/>
                <a:gd name="connsiteX4309" fmla="*/ 2497508 w 2792478"/>
                <a:gd name="connsiteY4309" fmla="*/ 1781942 h 4235290"/>
                <a:gd name="connsiteX4310" fmla="*/ 2495642 w 2792478"/>
                <a:gd name="connsiteY4310" fmla="*/ 1786606 h 4235290"/>
                <a:gd name="connsiteX4311" fmla="*/ 2552195 w 2792478"/>
                <a:gd name="connsiteY4311" fmla="*/ 1729994 h 4235290"/>
                <a:gd name="connsiteX4312" fmla="*/ 2547597 w 2792478"/>
                <a:gd name="connsiteY4312" fmla="*/ 1731918 h 4235290"/>
                <a:gd name="connsiteX4313" fmla="*/ 2544611 w 2792478"/>
                <a:gd name="connsiteY4313" fmla="*/ 1731918 h 4235290"/>
                <a:gd name="connsiteX4314" fmla="*/ 2537899 w 2792478"/>
                <a:gd name="connsiteY4314" fmla="*/ 1725147 h 4235290"/>
                <a:gd name="connsiteX4315" fmla="*/ 2544611 w 2792478"/>
                <a:gd name="connsiteY4315" fmla="*/ 1718432 h 4235290"/>
                <a:gd name="connsiteX4316" fmla="*/ 2547597 w 2792478"/>
                <a:gd name="connsiteY4316" fmla="*/ 1718432 h 4235290"/>
                <a:gd name="connsiteX4317" fmla="*/ 2552259 w 2792478"/>
                <a:gd name="connsiteY4317" fmla="*/ 1720299 h 4235290"/>
                <a:gd name="connsiteX4318" fmla="*/ 2495642 w 2792478"/>
                <a:gd name="connsiteY4318" fmla="*/ 1663745 h 4235290"/>
                <a:gd name="connsiteX4319" fmla="*/ 2497508 w 2792478"/>
                <a:gd name="connsiteY4319" fmla="*/ 1668344 h 4235290"/>
                <a:gd name="connsiteX4320" fmla="*/ 2497508 w 2792478"/>
                <a:gd name="connsiteY4320" fmla="*/ 1671325 h 4235290"/>
                <a:gd name="connsiteX4321" fmla="*/ 2490797 w 2792478"/>
                <a:gd name="connsiteY4321" fmla="*/ 1678039 h 4235290"/>
                <a:gd name="connsiteX4322" fmla="*/ 2484085 w 2792478"/>
                <a:gd name="connsiteY4322" fmla="*/ 1671325 h 4235290"/>
                <a:gd name="connsiteX4323" fmla="*/ 2484085 w 2792478"/>
                <a:gd name="connsiteY4323" fmla="*/ 1668344 h 4235290"/>
                <a:gd name="connsiteX4324" fmla="*/ 2485951 w 2792478"/>
                <a:gd name="connsiteY4324" fmla="*/ 1663745 h 4235290"/>
                <a:gd name="connsiteX4325" fmla="*/ 2589994 w 2792478"/>
                <a:gd name="connsiteY4325" fmla="*/ 1658699 h 4235290"/>
                <a:gd name="connsiteX4326" fmla="*/ 2575227 w 2792478"/>
                <a:gd name="connsiteY4326" fmla="*/ 1677291 h 4235290"/>
                <a:gd name="connsiteX4327" fmla="*/ 2568500 w 2792478"/>
                <a:gd name="connsiteY4327" fmla="*/ 1674943 h 4235290"/>
                <a:gd name="connsiteX4328" fmla="*/ 2568500 w 2792478"/>
                <a:gd name="connsiteY4328" fmla="*/ 1658718 h 4235290"/>
                <a:gd name="connsiteX4329" fmla="*/ 1933952 w 2792478"/>
                <a:gd name="connsiteY4329" fmla="*/ 1653017 h 4235290"/>
                <a:gd name="connsiteX4330" fmla="*/ 1971652 w 2792478"/>
                <a:gd name="connsiteY4330" fmla="*/ 1735628 h 4235290"/>
                <a:gd name="connsiteX4331" fmla="*/ 1933415 w 2792478"/>
                <a:gd name="connsiteY4331" fmla="*/ 1879410 h 4235290"/>
                <a:gd name="connsiteX4332" fmla="*/ 2013037 w 2792478"/>
                <a:gd name="connsiteY4332" fmla="*/ 1876979 h 4235290"/>
                <a:gd name="connsiteX4333" fmla="*/ 2042916 w 2792478"/>
                <a:gd name="connsiteY4333" fmla="*/ 1845381 h 4235290"/>
                <a:gd name="connsiteX4334" fmla="*/ 1991563 w 2792478"/>
                <a:gd name="connsiteY4334" fmla="*/ 1845381 h 4235290"/>
                <a:gd name="connsiteX4335" fmla="*/ 1982437 w 2792478"/>
                <a:gd name="connsiteY4335" fmla="*/ 1836219 h 4235290"/>
                <a:gd name="connsiteX4336" fmla="*/ 1991563 w 2792478"/>
                <a:gd name="connsiteY4336" fmla="*/ 1827082 h 4235290"/>
                <a:gd name="connsiteX4337" fmla="*/ 2051725 w 2792478"/>
                <a:gd name="connsiteY4337" fmla="*/ 1827082 h 4235290"/>
                <a:gd name="connsiteX4338" fmla="*/ 2062230 w 2792478"/>
                <a:gd name="connsiteY4338" fmla="*/ 1776449 h 4235290"/>
                <a:gd name="connsiteX4339" fmla="*/ 2007742 w 2792478"/>
                <a:gd name="connsiteY4339" fmla="*/ 1776449 h 4235290"/>
                <a:gd name="connsiteX4340" fmla="*/ 1998493 w 2792478"/>
                <a:gd name="connsiteY4340" fmla="*/ 1767288 h 4235290"/>
                <a:gd name="connsiteX4341" fmla="*/ 2007742 w 2792478"/>
                <a:gd name="connsiteY4341" fmla="*/ 1758151 h 4235290"/>
                <a:gd name="connsiteX4342" fmla="*/ 2062303 w 2792478"/>
                <a:gd name="connsiteY4342" fmla="*/ 1758151 h 4235290"/>
                <a:gd name="connsiteX4343" fmla="*/ 2060266 w 2792478"/>
                <a:gd name="connsiteY4343" fmla="*/ 1738662 h 4235290"/>
                <a:gd name="connsiteX4344" fmla="*/ 2051896 w 2792478"/>
                <a:gd name="connsiteY4344" fmla="*/ 1707518 h 4235290"/>
                <a:gd name="connsiteX4345" fmla="*/ 1991673 w 2792478"/>
                <a:gd name="connsiteY4345" fmla="*/ 1707518 h 4235290"/>
                <a:gd name="connsiteX4346" fmla="*/ 1982437 w 2792478"/>
                <a:gd name="connsiteY4346" fmla="*/ 1698357 h 4235290"/>
                <a:gd name="connsiteX4347" fmla="*/ 1991673 w 2792478"/>
                <a:gd name="connsiteY4347" fmla="*/ 1689208 h 4235290"/>
                <a:gd name="connsiteX4348" fmla="*/ 2043746 w 2792478"/>
                <a:gd name="connsiteY4348" fmla="*/ 1689208 h 4235290"/>
                <a:gd name="connsiteX4349" fmla="*/ 2012146 w 2792478"/>
                <a:gd name="connsiteY4349" fmla="*/ 1653017 h 4235290"/>
                <a:gd name="connsiteX4350" fmla="*/ 2490797 w 2792478"/>
                <a:gd name="connsiteY4350" fmla="*/ 1648520 h 4235290"/>
                <a:gd name="connsiteX4351" fmla="*/ 2567420 w 2792478"/>
                <a:gd name="connsiteY4351" fmla="*/ 1725147 h 4235290"/>
                <a:gd name="connsiteX4352" fmla="*/ 2490797 w 2792478"/>
                <a:gd name="connsiteY4352" fmla="*/ 1801830 h 4235290"/>
                <a:gd name="connsiteX4353" fmla="*/ 2414173 w 2792478"/>
                <a:gd name="connsiteY4353" fmla="*/ 1725147 h 4235290"/>
                <a:gd name="connsiteX4354" fmla="*/ 2490797 w 2792478"/>
                <a:gd name="connsiteY4354" fmla="*/ 1648520 h 4235290"/>
                <a:gd name="connsiteX4355" fmla="*/ 1907830 w 2792478"/>
                <a:gd name="connsiteY4355" fmla="*/ 1634620 h 4235290"/>
                <a:gd name="connsiteX4356" fmla="*/ 2014659 w 2792478"/>
                <a:gd name="connsiteY4356" fmla="*/ 1634620 h 4235290"/>
                <a:gd name="connsiteX4357" fmla="*/ 2019223 w 2792478"/>
                <a:gd name="connsiteY4357" fmla="*/ 1635885 h 4235290"/>
                <a:gd name="connsiteX4358" fmla="*/ 2078384 w 2792478"/>
                <a:gd name="connsiteY4358" fmla="*/ 1735628 h 4235290"/>
                <a:gd name="connsiteX4359" fmla="*/ 2081068 w 2792478"/>
                <a:gd name="connsiteY4359" fmla="*/ 1766048 h 4235290"/>
                <a:gd name="connsiteX4360" fmla="*/ 2081263 w 2792478"/>
                <a:gd name="connsiteY4360" fmla="*/ 1767288 h 4235290"/>
                <a:gd name="connsiteX4361" fmla="*/ 2080983 w 2792478"/>
                <a:gd name="connsiteY4361" fmla="*/ 1768553 h 4235290"/>
                <a:gd name="connsiteX4362" fmla="*/ 2019503 w 2792478"/>
                <a:gd name="connsiteY4362" fmla="*/ 1894319 h 4235290"/>
                <a:gd name="connsiteX4363" fmla="*/ 2015636 w 2792478"/>
                <a:gd name="connsiteY4363" fmla="*/ 1895301 h 4235290"/>
                <a:gd name="connsiteX4364" fmla="*/ 1900119 w 2792478"/>
                <a:gd name="connsiteY4364" fmla="*/ 1898789 h 4235290"/>
                <a:gd name="connsiteX4365" fmla="*/ 1889614 w 2792478"/>
                <a:gd name="connsiteY4365" fmla="*/ 1899882 h 4235290"/>
                <a:gd name="connsiteX4366" fmla="*/ 1867262 w 2792478"/>
                <a:gd name="connsiteY4366" fmla="*/ 1894503 h 4235290"/>
                <a:gd name="connsiteX4367" fmla="*/ 1825340 w 2792478"/>
                <a:gd name="connsiteY4367" fmla="*/ 1826996 h 4235290"/>
                <a:gd name="connsiteX4368" fmla="*/ 1864834 w 2792478"/>
                <a:gd name="connsiteY4368" fmla="*/ 1721874 h 4235290"/>
                <a:gd name="connsiteX4369" fmla="*/ 1882257 w 2792478"/>
                <a:gd name="connsiteY4369" fmla="*/ 1718116 h 4235290"/>
                <a:gd name="connsiteX4370" fmla="*/ 1887088 w 2792478"/>
                <a:gd name="connsiteY4370" fmla="*/ 1716569 h 4235290"/>
                <a:gd name="connsiteX4371" fmla="*/ 1948141 w 2792478"/>
                <a:gd name="connsiteY4371" fmla="*/ 1716569 h 4235290"/>
                <a:gd name="connsiteX4372" fmla="*/ 1903255 w 2792478"/>
                <a:gd name="connsiteY4372" fmla="*/ 1651776 h 4235290"/>
                <a:gd name="connsiteX4373" fmla="*/ 1898948 w 2792478"/>
                <a:gd name="connsiteY4373" fmla="*/ 1641448 h 4235290"/>
                <a:gd name="connsiteX4374" fmla="*/ 1907830 w 2792478"/>
                <a:gd name="connsiteY4374" fmla="*/ 1634620 h 4235290"/>
                <a:gd name="connsiteX4375" fmla="*/ 2246254 w 2792478"/>
                <a:gd name="connsiteY4375" fmla="*/ 1627494 h 4235290"/>
                <a:gd name="connsiteX4376" fmla="*/ 2246832 w 2792478"/>
                <a:gd name="connsiteY4376" fmla="*/ 1633328 h 4235290"/>
                <a:gd name="connsiteX4377" fmla="*/ 2243696 w 2792478"/>
                <a:gd name="connsiteY4377" fmla="*/ 1637526 h 4235290"/>
                <a:gd name="connsiteX4378" fmla="*/ 2243167 w 2792478"/>
                <a:gd name="connsiteY4378" fmla="*/ 1637554 h 4235290"/>
                <a:gd name="connsiteX4379" fmla="*/ 2239493 w 2792478"/>
                <a:gd name="connsiteY4379" fmla="*/ 1634375 h 4235290"/>
                <a:gd name="connsiteX4380" fmla="*/ 2238857 w 2792478"/>
                <a:gd name="connsiteY4380" fmla="*/ 1628388 h 4235290"/>
                <a:gd name="connsiteX4381" fmla="*/ 2236992 w 2792478"/>
                <a:gd name="connsiteY4381" fmla="*/ 1632805 h 4235290"/>
                <a:gd name="connsiteX4382" fmla="*/ 2243167 w 2792478"/>
                <a:gd name="connsiteY4382" fmla="*/ 1638973 h 4235290"/>
                <a:gd name="connsiteX4383" fmla="*/ 2249341 w 2792478"/>
                <a:gd name="connsiteY4383" fmla="*/ 1632805 h 4235290"/>
                <a:gd name="connsiteX4384" fmla="*/ 2246254 w 2792478"/>
                <a:gd name="connsiteY4384" fmla="*/ 1627494 h 4235290"/>
                <a:gd name="connsiteX4385" fmla="*/ 2210891 w 2792478"/>
                <a:gd name="connsiteY4385" fmla="*/ 1627494 h 4235290"/>
                <a:gd name="connsiteX4386" fmla="*/ 2211478 w 2792478"/>
                <a:gd name="connsiteY4386" fmla="*/ 1633328 h 4235290"/>
                <a:gd name="connsiteX4387" fmla="*/ 2208342 w 2792478"/>
                <a:gd name="connsiteY4387" fmla="*/ 1637526 h 4235290"/>
                <a:gd name="connsiteX4388" fmla="*/ 2207788 w 2792478"/>
                <a:gd name="connsiteY4388" fmla="*/ 1637554 h 4235290"/>
                <a:gd name="connsiteX4389" fmla="*/ 2204138 w 2792478"/>
                <a:gd name="connsiteY4389" fmla="*/ 1634375 h 4235290"/>
                <a:gd name="connsiteX4390" fmla="*/ 2203503 w 2792478"/>
                <a:gd name="connsiteY4390" fmla="*/ 1628388 h 4235290"/>
                <a:gd name="connsiteX4391" fmla="*/ 2201629 w 2792478"/>
                <a:gd name="connsiteY4391" fmla="*/ 1632805 h 4235290"/>
                <a:gd name="connsiteX4392" fmla="*/ 2207804 w 2792478"/>
                <a:gd name="connsiteY4392" fmla="*/ 1638973 h 4235290"/>
                <a:gd name="connsiteX4393" fmla="*/ 2213979 w 2792478"/>
                <a:gd name="connsiteY4393" fmla="*/ 1632805 h 4235290"/>
                <a:gd name="connsiteX4394" fmla="*/ 2210891 w 2792478"/>
                <a:gd name="connsiteY4394" fmla="*/ 1627494 h 4235290"/>
                <a:gd name="connsiteX4395" fmla="*/ 2174771 w 2792478"/>
                <a:gd name="connsiteY4395" fmla="*/ 1627494 h 4235290"/>
                <a:gd name="connsiteX4396" fmla="*/ 2175342 w 2792478"/>
                <a:gd name="connsiteY4396" fmla="*/ 1633328 h 4235290"/>
                <a:gd name="connsiteX4397" fmla="*/ 2172214 w 2792478"/>
                <a:gd name="connsiteY4397" fmla="*/ 1637526 h 4235290"/>
                <a:gd name="connsiteX4398" fmla="*/ 2171676 w 2792478"/>
                <a:gd name="connsiteY4398" fmla="*/ 1637554 h 4235290"/>
                <a:gd name="connsiteX4399" fmla="*/ 2168018 w 2792478"/>
                <a:gd name="connsiteY4399" fmla="*/ 1634375 h 4235290"/>
                <a:gd name="connsiteX4400" fmla="*/ 2167383 w 2792478"/>
                <a:gd name="connsiteY4400" fmla="*/ 1628388 h 4235290"/>
                <a:gd name="connsiteX4401" fmla="*/ 2165509 w 2792478"/>
                <a:gd name="connsiteY4401" fmla="*/ 1632805 h 4235290"/>
                <a:gd name="connsiteX4402" fmla="*/ 2171684 w 2792478"/>
                <a:gd name="connsiteY4402" fmla="*/ 1638973 h 4235290"/>
                <a:gd name="connsiteX4403" fmla="*/ 2177859 w 2792478"/>
                <a:gd name="connsiteY4403" fmla="*/ 1632805 h 4235290"/>
                <a:gd name="connsiteX4404" fmla="*/ 2174771 w 2792478"/>
                <a:gd name="connsiteY4404" fmla="*/ 1627494 h 4235290"/>
                <a:gd name="connsiteX4405" fmla="*/ 2140810 w 2792478"/>
                <a:gd name="connsiteY4405" fmla="*/ 1627494 h 4235290"/>
                <a:gd name="connsiteX4406" fmla="*/ 2141397 w 2792478"/>
                <a:gd name="connsiteY4406" fmla="*/ 1633328 h 4235290"/>
                <a:gd name="connsiteX4407" fmla="*/ 2138260 w 2792478"/>
                <a:gd name="connsiteY4407" fmla="*/ 1637526 h 4235290"/>
                <a:gd name="connsiteX4408" fmla="*/ 2137723 w 2792478"/>
                <a:gd name="connsiteY4408" fmla="*/ 1637554 h 4235290"/>
                <a:gd name="connsiteX4409" fmla="*/ 2134057 w 2792478"/>
                <a:gd name="connsiteY4409" fmla="*/ 1634375 h 4235290"/>
                <a:gd name="connsiteX4410" fmla="*/ 2133413 w 2792478"/>
                <a:gd name="connsiteY4410" fmla="*/ 1628388 h 4235290"/>
                <a:gd name="connsiteX4411" fmla="*/ 2131548 w 2792478"/>
                <a:gd name="connsiteY4411" fmla="*/ 1632805 h 4235290"/>
                <a:gd name="connsiteX4412" fmla="*/ 2137723 w 2792478"/>
                <a:gd name="connsiteY4412" fmla="*/ 1638973 h 4235290"/>
                <a:gd name="connsiteX4413" fmla="*/ 2143897 w 2792478"/>
                <a:gd name="connsiteY4413" fmla="*/ 1632805 h 4235290"/>
                <a:gd name="connsiteX4414" fmla="*/ 2140810 w 2792478"/>
                <a:gd name="connsiteY4414" fmla="*/ 1627494 h 4235290"/>
                <a:gd name="connsiteX4415" fmla="*/ 2119826 w 2792478"/>
                <a:gd name="connsiteY4415" fmla="*/ 1620583 h 4235290"/>
                <a:gd name="connsiteX4416" fmla="*/ 2115190 w 2792478"/>
                <a:gd name="connsiteY4416" fmla="*/ 1625209 h 4235290"/>
                <a:gd name="connsiteX4417" fmla="*/ 2115190 w 2792478"/>
                <a:gd name="connsiteY4417" fmla="*/ 1791912 h 4235290"/>
                <a:gd name="connsiteX4418" fmla="*/ 2119826 w 2792478"/>
                <a:gd name="connsiteY4418" fmla="*/ 1796538 h 4235290"/>
                <a:gd name="connsiteX4419" fmla="*/ 2267996 w 2792478"/>
                <a:gd name="connsiteY4419" fmla="*/ 1796538 h 4235290"/>
                <a:gd name="connsiteX4420" fmla="*/ 2272631 w 2792478"/>
                <a:gd name="connsiteY4420" fmla="*/ 1791912 h 4235290"/>
                <a:gd name="connsiteX4421" fmla="*/ 2272631 w 2792478"/>
                <a:gd name="connsiteY4421" fmla="*/ 1625209 h 4235290"/>
                <a:gd name="connsiteX4422" fmla="*/ 2268004 w 2792478"/>
                <a:gd name="connsiteY4422" fmla="*/ 1620583 h 4235290"/>
                <a:gd name="connsiteX4423" fmla="*/ 2249048 w 2792478"/>
                <a:gd name="connsiteY4423" fmla="*/ 1620583 h 4235290"/>
                <a:gd name="connsiteX4424" fmla="*/ 2256754 w 2792478"/>
                <a:gd name="connsiteY4424" fmla="*/ 1632805 h 4235290"/>
                <a:gd name="connsiteX4425" fmla="*/ 2243167 w 2792478"/>
                <a:gd name="connsiteY4425" fmla="*/ 1646397 h 4235290"/>
                <a:gd name="connsiteX4426" fmla="*/ 2229595 w 2792478"/>
                <a:gd name="connsiteY4426" fmla="*/ 1632805 h 4235290"/>
                <a:gd name="connsiteX4427" fmla="*/ 2237301 w 2792478"/>
                <a:gd name="connsiteY4427" fmla="*/ 1620583 h 4235290"/>
                <a:gd name="connsiteX4428" fmla="*/ 2213677 w 2792478"/>
                <a:gd name="connsiteY4428" fmla="*/ 1620583 h 4235290"/>
                <a:gd name="connsiteX4429" fmla="*/ 2221384 w 2792478"/>
                <a:gd name="connsiteY4429" fmla="*/ 1632805 h 4235290"/>
                <a:gd name="connsiteX4430" fmla="*/ 2207804 w 2792478"/>
                <a:gd name="connsiteY4430" fmla="*/ 1646397 h 4235290"/>
                <a:gd name="connsiteX4431" fmla="*/ 2194216 w 2792478"/>
                <a:gd name="connsiteY4431" fmla="*/ 1632805 h 4235290"/>
                <a:gd name="connsiteX4432" fmla="*/ 2201931 w 2792478"/>
                <a:gd name="connsiteY4432" fmla="*/ 1620583 h 4235290"/>
                <a:gd name="connsiteX4433" fmla="*/ 2177549 w 2792478"/>
                <a:gd name="connsiteY4433" fmla="*/ 1620583 h 4235290"/>
                <a:gd name="connsiteX4434" fmla="*/ 2185256 w 2792478"/>
                <a:gd name="connsiteY4434" fmla="*/ 1632805 h 4235290"/>
                <a:gd name="connsiteX4435" fmla="*/ 2171684 w 2792478"/>
                <a:gd name="connsiteY4435" fmla="*/ 1646397 h 4235290"/>
                <a:gd name="connsiteX4436" fmla="*/ 2158096 w 2792478"/>
                <a:gd name="connsiteY4436" fmla="*/ 1632805 h 4235290"/>
                <a:gd name="connsiteX4437" fmla="*/ 2165811 w 2792478"/>
                <a:gd name="connsiteY4437" fmla="*/ 1620583 h 4235290"/>
                <a:gd name="connsiteX4438" fmla="*/ 2143604 w 2792478"/>
                <a:gd name="connsiteY4438" fmla="*/ 1620583 h 4235290"/>
                <a:gd name="connsiteX4439" fmla="*/ 2151302 w 2792478"/>
                <a:gd name="connsiteY4439" fmla="*/ 1632805 h 4235290"/>
                <a:gd name="connsiteX4440" fmla="*/ 2137723 w 2792478"/>
                <a:gd name="connsiteY4440" fmla="*/ 1646397 h 4235290"/>
                <a:gd name="connsiteX4441" fmla="*/ 2124143 w 2792478"/>
                <a:gd name="connsiteY4441" fmla="*/ 1632805 h 4235290"/>
                <a:gd name="connsiteX4442" fmla="*/ 2131849 w 2792478"/>
                <a:gd name="connsiteY4442" fmla="*/ 1620583 h 4235290"/>
                <a:gd name="connsiteX4443" fmla="*/ 2249138 w 2792478"/>
                <a:gd name="connsiteY4443" fmla="*/ 1610351 h 4235290"/>
                <a:gd name="connsiteX4444" fmla="*/ 2248160 w 2792478"/>
                <a:gd name="connsiteY4444" fmla="*/ 1611312 h 4235290"/>
                <a:gd name="connsiteX4445" fmla="*/ 2253113 w 2792478"/>
                <a:gd name="connsiteY4445" fmla="*/ 1611312 h 4235290"/>
                <a:gd name="connsiteX4446" fmla="*/ 2249138 w 2792478"/>
                <a:gd name="connsiteY4446" fmla="*/ 1610351 h 4235290"/>
                <a:gd name="connsiteX4447" fmla="*/ 2213783 w 2792478"/>
                <a:gd name="connsiteY4447" fmla="*/ 1610351 h 4235290"/>
                <a:gd name="connsiteX4448" fmla="*/ 2212790 w 2792478"/>
                <a:gd name="connsiteY4448" fmla="*/ 1611312 h 4235290"/>
                <a:gd name="connsiteX4449" fmla="*/ 2217751 w 2792478"/>
                <a:gd name="connsiteY4449" fmla="*/ 1611312 h 4235290"/>
                <a:gd name="connsiteX4450" fmla="*/ 2213783 w 2792478"/>
                <a:gd name="connsiteY4450" fmla="*/ 1610351 h 4235290"/>
                <a:gd name="connsiteX4451" fmla="*/ 2177663 w 2792478"/>
                <a:gd name="connsiteY4451" fmla="*/ 1610351 h 4235290"/>
                <a:gd name="connsiteX4452" fmla="*/ 2176669 w 2792478"/>
                <a:gd name="connsiteY4452" fmla="*/ 1611312 h 4235290"/>
                <a:gd name="connsiteX4453" fmla="*/ 2181630 w 2792478"/>
                <a:gd name="connsiteY4453" fmla="*/ 1611312 h 4235290"/>
                <a:gd name="connsiteX4454" fmla="*/ 2177663 w 2792478"/>
                <a:gd name="connsiteY4454" fmla="*/ 1610351 h 4235290"/>
                <a:gd name="connsiteX4455" fmla="*/ 2143702 w 2792478"/>
                <a:gd name="connsiteY4455" fmla="*/ 1610351 h 4235290"/>
                <a:gd name="connsiteX4456" fmla="*/ 2142716 w 2792478"/>
                <a:gd name="connsiteY4456" fmla="*/ 1611312 h 4235290"/>
                <a:gd name="connsiteX4457" fmla="*/ 2147677 w 2792478"/>
                <a:gd name="connsiteY4457" fmla="*/ 1611312 h 4235290"/>
                <a:gd name="connsiteX4458" fmla="*/ 2143702 w 2792478"/>
                <a:gd name="connsiteY4458" fmla="*/ 1610351 h 4235290"/>
                <a:gd name="connsiteX4459" fmla="*/ 2140378 w 2792478"/>
                <a:gd name="connsiteY4459" fmla="*/ 1603726 h 4235290"/>
                <a:gd name="connsiteX4460" fmla="*/ 2159620 w 2792478"/>
                <a:gd name="connsiteY4460" fmla="*/ 1611312 h 4235290"/>
                <a:gd name="connsiteX4461" fmla="*/ 2168703 w 2792478"/>
                <a:gd name="connsiteY4461" fmla="*/ 1611312 h 4235290"/>
                <a:gd name="connsiteX4462" fmla="*/ 2174340 w 2792478"/>
                <a:gd name="connsiteY4462" fmla="*/ 1603726 h 4235290"/>
                <a:gd name="connsiteX4463" fmla="*/ 2193589 w 2792478"/>
                <a:gd name="connsiteY4463" fmla="*/ 1611312 h 4235290"/>
                <a:gd name="connsiteX4464" fmla="*/ 2204823 w 2792478"/>
                <a:gd name="connsiteY4464" fmla="*/ 1611312 h 4235290"/>
                <a:gd name="connsiteX4465" fmla="*/ 2210460 w 2792478"/>
                <a:gd name="connsiteY4465" fmla="*/ 1603726 h 4235290"/>
                <a:gd name="connsiteX4466" fmla="*/ 2229701 w 2792478"/>
                <a:gd name="connsiteY4466" fmla="*/ 1611312 h 4235290"/>
                <a:gd name="connsiteX4467" fmla="*/ 2240193 w 2792478"/>
                <a:gd name="connsiteY4467" fmla="*/ 1611312 h 4235290"/>
                <a:gd name="connsiteX4468" fmla="*/ 2245822 w 2792478"/>
                <a:gd name="connsiteY4468" fmla="*/ 1603726 h 4235290"/>
                <a:gd name="connsiteX4469" fmla="*/ 2265063 w 2792478"/>
                <a:gd name="connsiteY4469" fmla="*/ 1611312 h 4235290"/>
                <a:gd name="connsiteX4470" fmla="*/ 2268004 w 2792478"/>
                <a:gd name="connsiteY4470" fmla="*/ 1611312 h 4235290"/>
                <a:gd name="connsiteX4471" fmla="*/ 2281885 w 2792478"/>
                <a:gd name="connsiteY4471" fmla="*/ 1625209 h 4235290"/>
                <a:gd name="connsiteX4472" fmla="*/ 2281885 w 2792478"/>
                <a:gd name="connsiteY4472" fmla="*/ 1791912 h 4235290"/>
                <a:gd name="connsiteX4473" fmla="*/ 2268004 w 2792478"/>
                <a:gd name="connsiteY4473" fmla="*/ 1805809 h 4235290"/>
                <a:gd name="connsiteX4474" fmla="*/ 2119826 w 2792478"/>
                <a:gd name="connsiteY4474" fmla="*/ 1805809 h 4235290"/>
                <a:gd name="connsiteX4475" fmla="*/ 2105928 w 2792478"/>
                <a:gd name="connsiteY4475" fmla="*/ 1791912 h 4235290"/>
                <a:gd name="connsiteX4476" fmla="*/ 2105928 w 2792478"/>
                <a:gd name="connsiteY4476" fmla="*/ 1625209 h 4235290"/>
                <a:gd name="connsiteX4477" fmla="*/ 2119826 w 2792478"/>
                <a:gd name="connsiteY4477" fmla="*/ 1611312 h 4235290"/>
                <a:gd name="connsiteX4478" fmla="*/ 2134741 w 2792478"/>
                <a:gd name="connsiteY4478" fmla="*/ 1611312 h 4235290"/>
                <a:gd name="connsiteX4479" fmla="*/ 2140378 w 2792478"/>
                <a:gd name="connsiteY4479" fmla="*/ 1603726 h 4235290"/>
                <a:gd name="connsiteX4480" fmla="*/ 2552259 w 2792478"/>
                <a:gd name="connsiteY4480" fmla="*/ 1593744 h 4235290"/>
                <a:gd name="connsiteX4481" fmla="*/ 2552259 w 2792478"/>
                <a:gd name="connsiteY4481" fmla="*/ 1647881 h 4235290"/>
                <a:gd name="connsiteX4482" fmla="*/ 2638876 w 2792478"/>
                <a:gd name="connsiteY4482" fmla="*/ 1647881 h 4235290"/>
                <a:gd name="connsiteX4483" fmla="*/ 2638876 w 2792478"/>
                <a:gd name="connsiteY4483" fmla="*/ 1593744 h 4235290"/>
                <a:gd name="connsiteX4484" fmla="*/ 2552259 w 2792478"/>
                <a:gd name="connsiteY4484" fmla="*/ 1582917 h 4235290"/>
                <a:gd name="connsiteX4485" fmla="*/ 2638876 w 2792478"/>
                <a:gd name="connsiteY4485" fmla="*/ 1582917 h 4235290"/>
                <a:gd name="connsiteX4486" fmla="*/ 2649703 w 2792478"/>
                <a:gd name="connsiteY4486" fmla="*/ 1593744 h 4235290"/>
                <a:gd name="connsiteX4487" fmla="*/ 2649703 w 2792478"/>
                <a:gd name="connsiteY4487" fmla="*/ 1647881 h 4235290"/>
                <a:gd name="connsiteX4488" fmla="*/ 2638876 w 2792478"/>
                <a:gd name="connsiteY4488" fmla="*/ 1658699 h 4235290"/>
                <a:gd name="connsiteX4489" fmla="*/ 2589994 w 2792478"/>
                <a:gd name="connsiteY4489" fmla="*/ 1658699 h 4235290"/>
                <a:gd name="connsiteX4490" fmla="*/ 2552259 w 2792478"/>
                <a:gd name="connsiteY4490" fmla="*/ 1658699 h 4235290"/>
                <a:gd name="connsiteX4491" fmla="*/ 2541432 w 2792478"/>
                <a:gd name="connsiteY4491" fmla="*/ 1647881 h 4235290"/>
                <a:gd name="connsiteX4492" fmla="*/ 2541432 w 2792478"/>
                <a:gd name="connsiteY4492" fmla="*/ 1593744 h 4235290"/>
                <a:gd name="connsiteX4493" fmla="*/ 2552259 w 2792478"/>
                <a:gd name="connsiteY4493" fmla="*/ 1582917 h 4235290"/>
                <a:gd name="connsiteX4494" fmla="*/ 2365227 w 2792478"/>
                <a:gd name="connsiteY4494" fmla="*/ 1575165 h 4235290"/>
                <a:gd name="connsiteX4495" fmla="*/ 2363750 w 2792478"/>
                <a:gd name="connsiteY4495" fmla="*/ 1576305 h 4235290"/>
                <a:gd name="connsiteX4496" fmla="*/ 2351747 w 2792478"/>
                <a:gd name="connsiteY4496" fmla="*/ 1613390 h 4235290"/>
                <a:gd name="connsiteX4497" fmla="*/ 2312466 w 2792478"/>
                <a:gd name="connsiteY4497" fmla="*/ 1613390 h 4235290"/>
                <a:gd name="connsiteX4498" fmla="*/ 2310966 w 2792478"/>
                <a:gd name="connsiteY4498" fmla="*/ 1615115 h 4235290"/>
                <a:gd name="connsiteX4499" fmla="*/ 2311637 w 2792478"/>
                <a:gd name="connsiteY4499" fmla="*/ 1616410 h 4235290"/>
                <a:gd name="connsiteX4500" fmla="*/ 2341597 w 2792478"/>
                <a:gd name="connsiteY4500" fmla="*/ 1638266 h 4235290"/>
                <a:gd name="connsiteX4501" fmla="*/ 2343404 w 2792478"/>
                <a:gd name="connsiteY4501" fmla="*/ 1639583 h 4235290"/>
                <a:gd name="connsiteX4502" fmla="*/ 2342716 w 2792478"/>
                <a:gd name="connsiteY4502" fmla="*/ 1641705 h 4235290"/>
                <a:gd name="connsiteX4503" fmla="*/ 2331284 w 2792478"/>
                <a:gd name="connsiteY4503" fmla="*/ 1676684 h 4235290"/>
                <a:gd name="connsiteX4504" fmla="*/ 2331155 w 2792478"/>
                <a:gd name="connsiteY4504" fmla="*/ 1677335 h 4235290"/>
                <a:gd name="connsiteX4505" fmla="*/ 2332705 w 2792478"/>
                <a:gd name="connsiteY4505" fmla="*/ 1678909 h 4235290"/>
                <a:gd name="connsiteX4506" fmla="*/ 2333606 w 2792478"/>
                <a:gd name="connsiteY4506" fmla="*/ 1678619 h 4235290"/>
                <a:gd name="connsiteX4507" fmla="*/ 2365227 w 2792478"/>
                <a:gd name="connsiteY4507" fmla="*/ 1655608 h 4235290"/>
                <a:gd name="connsiteX4508" fmla="*/ 2367046 w 2792478"/>
                <a:gd name="connsiteY4508" fmla="*/ 1656924 h 4235290"/>
                <a:gd name="connsiteX4509" fmla="*/ 2396888 w 2792478"/>
                <a:gd name="connsiteY4509" fmla="*/ 1678651 h 4235290"/>
                <a:gd name="connsiteX4510" fmla="*/ 2397750 w 2792478"/>
                <a:gd name="connsiteY4510" fmla="*/ 1678909 h 4235290"/>
                <a:gd name="connsiteX4511" fmla="*/ 2399300 w 2792478"/>
                <a:gd name="connsiteY4511" fmla="*/ 1677335 h 4235290"/>
                <a:gd name="connsiteX4512" fmla="*/ 2399171 w 2792478"/>
                <a:gd name="connsiteY4512" fmla="*/ 1676690 h 4235290"/>
                <a:gd name="connsiteX4513" fmla="*/ 2387739 w 2792478"/>
                <a:gd name="connsiteY4513" fmla="*/ 1641705 h 4235290"/>
                <a:gd name="connsiteX4514" fmla="*/ 2387051 w 2792478"/>
                <a:gd name="connsiteY4514" fmla="*/ 1639583 h 4235290"/>
                <a:gd name="connsiteX4515" fmla="*/ 2388858 w 2792478"/>
                <a:gd name="connsiteY4515" fmla="*/ 1638266 h 4235290"/>
                <a:gd name="connsiteX4516" fmla="*/ 2418868 w 2792478"/>
                <a:gd name="connsiteY4516" fmla="*/ 1616383 h 4235290"/>
                <a:gd name="connsiteX4517" fmla="*/ 2419489 w 2792478"/>
                <a:gd name="connsiteY4517" fmla="*/ 1615094 h 4235290"/>
                <a:gd name="connsiteX4518" fmla="*/ 2418034 w 2792478"/>
                <a:gd name="connsiteY4518" fmla="*/ 1613401 h 4235290"/>
                <a:gd name="connsiteX4519" fmla="*/ 2378758 w 2792478"/>
                <a:gd name="connsiteY4519" fmla="*/ 1613401 h 4235290"/>
                <a:gd name="connsiteX4520" fmla="*/ 2366693 w 2792478"/>
                <a:gd name="connsiteY4520" fmla="*/ 1576305 h 4235290"/>
                <a:gd name="connsiteX4521" fmla="*/ 2365227 w 2792478"/>
                <a:gd name="connsiteY4521" fmla="*/ 1575165 h 4235290"/>
                <a:gd name="connsiteX4522" fmla="*/ 2365227 w 2792478"/>
                <a:gd name="connsiteY4522" fmla="*/ 1568996 h 4235290"/>
                <a:gd name="connsiteX4523" fmla="*/ 2372614 w 2792478"/>
                <a:gd name="connsiteY4523" fmla="*/ 1574564 h 4235290"/>
                <a:gd name="connsiteX4524" fmla="*/ 2383240 w 2792478"/>
                <a:gd name="connsiteY4524" fmla="*/ 1607226 h 4235290"/>
                <a:gd name="connsiteX4525" fmla="*/ 2418034 w 2792478"/>
                <a:gd name="connsiteY4525" fmla="*/ 1607226 h 4235290"/>
                <a:gd name="connsiteX4526" fmla="*/ 2425655 w 2792478"/>
                <a:gd name="connsiteY4526" fmla="*/ 1615094 h 4235290"/>
                <a:gd name="connsiteX4527" fmla="*/ 2422359 w 2792478"/>
                <a:gd name="connsiteY4527" fmla="*/ 1621467 h 4235290"/>
                <a:gd name="connsiteX4528" fmla="*/ 2394297 w 2792478"/>
                <a:gd name="connsiteY4528" fmla="*/ 1641926 h 4235290"/>
                <a:gd name="connsiteX4529" fmla="*/ 2404996 w 2792478"/>
                <a:gd name="connsiteY4529" fmla="*/ 1674642 h 4235290"/>
                <a:gd name="connsiteX4530" fmla="*/ 2405466 w 2792478"/>
                <a:gd name="connsiteY4530" fmla="*/ 1677335 h 4235290"/>
                <a:gd name="connsiteX4531" fmla="*/ 2397744 w 2792478"/>
                <a:gd name="connsiteY4531" fmla="*/ 1685073 h 4235290"/>
                <a:gd name="connsiteX4532" fmla="*/ 2393346 w 2792478"/>
                <a:gd name="connsiteY4532" fmla="*/ 1683697 h 4235290"/>
                <a:gd name="connsiteX4533" fmla="*/ 2365227 w 2792478"/>
                <a:gd name="connsiteY4533" fmla="*/ 1663228 h 4235290"/>
                <a:gd name="connsiteX4534" fmla="*/ 2337171 w 2792478"/>
                <a:gd name="connsiteY4534" fmla="*/ 1683649 h 4235290"/>
                <a:gd name="connsiteX4535" fmla="*/ 2332705 w 2792478"/>
                <a:gd name="connsiteY4535" fmla="*/ 1685073 h 4235290"/>
                <a:gd name="connsiteX4536" fmla="*/ 2324983 w 2792478"/>
                <a:gd name="connsiteY4536" fmla="*/ 1677335 h 4235290"/>
                <a:gd name="connsiteX4537" fmla="*/ 2325425 w 2792478"/>
                <a:gd name="connsiteY4537" fmla="*/ 1674739 h 4235290"/>
                <a:gd name="connsiteX4538" fmla="*/ 2325481 w 2792478"/>
                <a:gd name="connsiteY4538" fmla="*/ 1674572 h 4235290"/>
                <a:gd name="connsiteX4539" fmla="*/ 2336158 w 2792478"/>
                <a:gd name="connsiteY4539" fmla="*/ 1641926 h 4235290"/>
                <a:gd name="connsiteX4540" fmla="*/ 2308123 w 2792478"/>
                <a:gd name="connsiteY4540" fmla="*/ 1621489 h 4235290"/>
                <a:gd name="connsiteX4541" fmla="*/ 2304788 w 2792478"/>
                <a:gd name="connsiteY4541" fmla="*/ 1615121 h 4235290"/>
                <a:gd name="connsiteX4542" fmla="*/ 2312466 w 2792478"/>
                <a:gd name="connsiteY4542" fmla="*/ 1607226 h 4235290"/>
                <a:gd name="connsiteX4543" fmla="*/ 2347260 w 2792478"/>
                <a:gd name="connsiteY4543" fmla="*/ 1607226 h 4235290"/>
                <a:gd name="connsiteX4544" fmla="*/ 2357841 w 2792478"/>
                <a:gd name="connsiteY4544" fmla="*/ 1574521 h 4235290"/>
                <a:gd name="connsiteX4545" fmla="*/ 2365227 w 2792478"/>
                <a:gd name="connsiteY4545" fmla="*/ 1568996 h 4235290"/>
                <a:gd name="connsiteX4546" fmla="*/ 2012140 w 2792478"/>
                <a:gd name="connsiteY4546" fmla="*/ 1528527 h 4235290"/>
                <a:gd name="connsiteX4547" fmla="*/ 2025969 w 2792478"/>
                <a:gd name="connsiteY4547" fmla="*/ 1542391 h 4235290"/>
                <a:gd name="connsiteX4548" fmla="*/ 2019050 w 2792478"/>
                <a:gd name="connsiteY4548" fmla="*/ 1554298 h 4235290"/>
                <a:gd name="connsiteX4549" fmla="*/ 2019050 w 2792478"/>
                <a:gd name="connsiteY4549" fmla="*/ 1563145 h 4235290"/>
                <a:gd name="connsiteX4550" fmla="*/ 2012140 w 2792478"/>
                <a:gd name="connsiteY4550" fmla="*/ 1570057 h 4235290"/>
                <a:gd name="connsiteX4551" fmla="*/ 2005215 w 2792478"/>
                <a:gd name="connsiteY4551" fmla="*/ 1563145 h 4235290"/>
                <a:gd name="connsiteX4552" fmla="*/ 2005215 w 2792478"/>
                <a:gd name="connsiteY4552" fmla="*/ 1554298 h 4235290"/>
                <a:gd name="connsiteX4553" fmla="*/ 1998306 w 2792478"/>
                <a:gd name="connsiteY4553" fmla="*/ 1542391 h 4235290"/>
                <a:gd name="connsiteX4554" fmla="*/ 2012140 w 2792478"/>
                <a:gd name="connsiteY4554" fmla="*/ 1528527 h 4235290"/>
                <a:gd name="connsiteX4555" fmla="*/ 1783290 w 2792478"/>
                <a:gd name="connsiteY4555" fmla="*/ 1518012 h 4235290"/>
                <a:gd name="connsiteX4556" fmla="*/ 1780074 w 2792478"/>
                <a:gd name="connsiteY4556" fmla="*/ 1520477 h 4235290"/>
                <a:gd name="connsiteX4557" fmla="*/ 1780329 w 2792478"/>
                <a:gd name="connsiteY4557" fmla="*/ 1525489 h 4235290"/>
                <a:gd name="connsiteX4558" fmla="*/ 1798704 w 2792478"/>
                <a:gd name="connsiteY4558" fmla="*/ 1549958 h 4235290"/>
                <a:gd name="connsiteX4559" fmla="*/ 1819381 w 2792478"/>
                <a:gd name="connsiteY4559" fmla="*/ 1579942 h 4235290"/>
                <a:gd name="connsiteX4560" fmla="*/ 1798928 w 2792478"/>
                <a:gd name="connsiteY4560" fmla="*/ 1609963 h 4235290"/>
                <a:gd name="connsiteX4561" fmla="*/ 1780867 w 2792478"/>
                <a:gd name="connsiteY4561" fmla="*/ 1634414 h 4235290"/>
                <a:gd name="connsiteX4562" fmla="*/ 1780867 w 2792478"/>
                <a:gd name="connsiteY4562" fmla="*/ 1641101 h 4235290"/>
                <a:gd name="connsiteX4563" fmla="*/ 1788684 w 2792478"/>
                <a:gd name="connsiteY4563" fmla="*/ 1643686 h 4235290"/>
                <a:gd name="connsiteX4564" fmla="*/ 1819177 w 2792478"/>
                <a:gd name="connsiteY4564" fmla="*/ 1620649 h 4235290"/>
                <a:gd name="connsiteX4565" fmla="*/ 1829359 w 2792478"/>
                <a:gd name="connsiteY4565" fmla="*/ 1620649 h 4235290"/>
                <a:gd name="connsiteX4566" fmla="*/ 1859821 w 2792478"/>
                <a:gd name="connsiteY4566" fmla="*/ 1643686 h 4235290"/>
                <a:gd name="connsiteX4567" fmla="*/ 1867638 w 2792478"/>
                <a:gd name="connsiteY4567" fmla="*/ 1641101 h 4235290"/>
                <a:gd name="connsiteX4568" fmla="*/ 1867638 w 2792478"/>
                <a:gd name="connsiteY4568" fmla="*/ 1634414 h 4235290"/>
                <a:gd name="connsiteX4569" fmla="*/ 1849613 w 2792478"/>
                <a:gd name="connsiteY4569" fmla="*/ 1609963 h 4235290"/>
                <a:gd name="connsiteX4570" fmla="*/ 1829291 w 2792478"/>
                <a:gd name="connsiteY4570" fmla="*/ 1579942 h 4235290"/>
                <a:gd name="connsiteX4571" fmla="*/ 1849906 w 2792478"/>
                <a:gd name="connsiteY4571" fmla="*/ 1549958 h 4235290"/>
                <a:gd name="connsiteX4572" fmla="*/ 1868244 w 2792478"/>
                <a:gd name="connsiteY4572" fmla="*/ 1525489 h 4235290"/>
                <a:gd name="connsiteX4573" fmla="*/ 1868499 w 2792478"/>
                <a:gd name="connsiteY4573" fmla="*/ 1520477 h 4235290"/>
                <a:gd name="connsiteX4574" fmla="*/ 1865319 w 2792478"/>
                <a:gd name="connsiteY4574" fmla="*/ 1518012 h 4235290"/>
                <a:gd name="connsiteX4575" fmla="*/ 1860933 w 2792478"/>
                <a:gd name="connsiteY4575" fmla="*/ 1519119 h 4235290"/>
                <a:gd name="connsiteX4576" fmla="*/ 1824268 w 2792478"/>
                <a:gd name="connsiteY4576" fmla="*/ 1526280 h 4235290"/>
                <a:gd name="connsiteX4577" fmla="*/ 1787692 w 2792478"/>
                <a:gd name="connsiteY4577" fmla="*/ 1519119 h 4235290"/>
                <a:gd name="connsiteX4578" fmla="*/ 1783290 w 2792478"/>
                <a:gd name="connsiteY4578" fmla="*/ 1518012 h 4235290"/>
                <a:gd name="connsiteX4579" fmla="*/ 2494385 w 2792478"/>
                <a:gd name="connsiteY4579" fmla="*/ 1515920 h 4235290"/>
                <a:gd name="connsiteX4580" fmla="*/ 2474437 w 2792478"/>
                <a:gd name="connsiteY4580" fmla="*/ 1535871 h 4235290"/>
                <a:gd name="connsiteX4581" fmla="*/ 2494385 w 2792478"/>
                <a:gd name="connsiteY4581" fmla="*/ 1555817 h 4235290"/>
                <a:gd name="connsiteX4582" fmla="*/ 2514329 w 2792478"/>
                <a:gd name="connsiteY4582" fmla="*/ 1535871 h 4235290"/>
                <a:gd name="connsiteX4583" fmla="*/ 2494385 w 2792478"/>
                <a:gd name="connsiteY4583" fmla="*/ 1515920 h 4235290"/>
                <a:gd name="connsiteX4584" fmla="*/ 1970622 w 2792478"/>
                <a:gd name="connsiteY4584" fmla="*/ 1514702 h 4235290"/>
                <a:gd name="connsiteX4585" fmla="*/ 1970622 w 2792478"/>
                <a:gd name="connsiteY4585" fmla="*/ 1583890 h 4235290"/>
                <a:gd name="connsiteX4586" fmla="*/ 2053642 w 2792478"/>
                <a:gd name="connsiteY4586" fmla="*/ 1583890 h 4235290"/>
                <a:gd name="connsiteX4587" fmla="*/ 2053642 w 2792478"/>
                <a:gd name="connsiteY4587" fmla="*/ 1514702 h 4235290"/>
                <a:gd name="connsiteX4588" fmla="*/ 2494385 w 2792478"/>
                <a:gd name="connsiteY4588" fmla="*/ 1512775 h 4235290"/>
                <a:gd name="connsiteX4589" fmla="*/ 2517478 w 2792478"/>
                <a:gd name="connsiteY4589" fmla="*/ 1535871 h 4235290"/>
                <a:gd name="connsiteX4590" fmla="*/ 2494385 w 2792478"/>
                <a:gd name="connsiteY4590" fmla="*/ 1558962 h 4235290"/>
                <a:gd name="connsiteX4591" fmla="*/ 2471292 w 2792478"/>
                <a:gd name="connsiteY4591" fmla="*/ 1535871 h 4235290"/>
                <a:gd name="connsiteX4592" fmla="*/ 2494385 w 2792478"/>
                <a:gd name="connsiteY4592" fmla="*/ 1512775 h 4235290"/>
                <a:gd name="connsiteX4593" fmla="*/ 1824816 w 2792478"/>
                <a:gd name="connsiteY4593" fmla="*/ 1492027 h 4235290"/>
                <a:gd name="connsiteX4594" fmla="*/ 1783499 w 2792478"/>
                <a:gd name="connsiteY4594" fmla="*/ 1502890 h 4235290"/>
                <a:gd name="connsiteX4595" fmla="*/ 1780820 w 2792478"/>
                <a:gd name="connsiteY4595" fmla="*/ 1508479 h 4235290"/>
                <a:gd name="connsiteX4596" fmla="*/ 1824268 w 2792478"/>
                <a:gd name="connsiteY4596" fmla="*/ 1519249 h 4235290"/>
                <a:gd name="connsiteX4597" fmla="*/ 1868223 w 2792478"/>
                <a:gd name="connsiteY4597" fmla="*/ 1509009 h 4235290"/>
                <a:gd name="connsiteX4598" fmla="*/ 1865038 w 2792478"/>
                <a:gd name="connsiteY4598" fmla="*/ 1502890 h 4235290"/>
                <a:gd name="connsiteX4599" fmla="*/ 1824816 w 2792478"/>
                <a:gd name="connsiteY4599" fmla="*/ 1492027 h 4235290"/>
                <a:gd name="connsiteX4600" fmla="*/ 2487661 w 2792478"/>
                <a:gd name="connsiteY4600" fmla="*/ 1488620 h 4235290"/>
                <a:gd name="connsiteX4601" fmla="*/ 2487045 w 2792478"/>
                <a:gd name="connsiteY4601" fmla="*/ 1489240 h 4235290"/>
                <a:gd name="connsiteX4602" fmla="*/ 2487045 w 2792478"/>
                <a:gd name="connsiteY4602" fmla="*/ 1501689 h 4235290"/>
                <a:gd name="connsiteX4603" fmla="*/ 2485837 w 2792478"/>
                <a:gd name="connsiteY4603" fmla="*/ 1501983 h 4235290"/>
                <a:gd name="connsiteX4604" fmla="*/ 2476369 w 2792478"/>
                <a:gd name="connsiteY4604" fmla="*/ 1505809 h 4235290"/>
                <a:gd name="connsiteX4605" fmla="*/ 2475324 w 2792478"/>
                <a:gd name="connsiteY4605" fmla="*/ 1506425 h 4235290"/>
                <a:gd name="connsiteX4606" fmla="*/ 2466603 w 2792478"/>
                <a:gd name="connsiteY4606" fmla="*/ 1497709 h 4235290"/>
                <a:gd name="connsiteX4607" fmla="*/ 2466164 w 2792478"/>
                <a:gd name="connsiteY4607" fmla="*/ 1497536 h 4235290"/>
                <a:gd name="connsiteX4608" fmla="*/ 2465716 w 2792478"/>
                <a:gd name="connsiteY4608" fmla="*/ 1497718 h 4235290"/>
                <a:gd name="connsiteX4609" fmla="*/ 2456225 w 2792478"/>
                <a:gd name="connsiteY4609" fmla="*/ 1507218 h 4235290"/>
                <a:gd name="connsiteX4610" fmla="*/ 2456048 w 2792478"/>
                <a:gd name="connsiteY4610" fmla="*/ 1507652 h 4235290"/>
                <a:gd name="connsiteX4611" fmla="*/ 2456225 w 2792478"/>
                <a:gd name="connsiteY4611" fmla="*/ 1508081 h 4235290"/>
                <a:gd name="connsiteX4612" fmla="*/ 2464788 w 2792478"/>
                <a:gd name="connsiteY4612" fmla="*/ 1516643 h 4235290"/>
                <a:gd name="connsiteX4613" fmla="*/ 2464125 w 2792478"/>
                <a:gd name="connsiteY4613" fmla="*/ 1517711 h 4235290"/>
                <a:gd name="connsiteX4614" fmla="*/ 2459963 w 2792478"/>
                <a:gd name="connsiteY4614" fmla="*/ 1527351 h 4235290"/>
                <a:gd name="connsiteX4615" fmla="*/ 2459650 w 2792478"/>
                <a:gd name="connsiteY4615" fmla="*/ 1528531 h 4235290"/>
                <a:gd name="connsiteX4616" fmla="*/ 2447756 w 2792478"/>
                <a:gd name="connsiteY4616" fmla="*/ 1528531 h 4235290"/>
                <a:gd name="connsiteX4617" fmla="*/ 2447135 w 2792478"/>
                <a:gd name="connsiteY4617" fmla="*/ 1529157 h 4235290"/>
                <a:gd name="connsiteX4618" fmla="*/ 2447135 w 2792478"/>
                <a:gd name="connsiteY4618" fmla="*/ 1542594 h 4235290"/>
                <a:gd name="connsiteX4619" fmla="*/ 2447756 w 2792478"/>
                <a:gd name="connsiteY4619" fmla="*/ 1543210 h 4235290"/>
                <a:gd name="connsiteX4620" fmla="*/ 2459431 w 2792478"/>
                <a:gd name="connsiteY4620" fmla="*/ 1543210 h 4235290"/>
                <a:gd name="connsiteX4621" fmla="*/ 2459711 w 2792478"/>
                <a:gd name="connsiteY4621" fmla="*/ 1544433 h 4235290"/>
                <a:gd name="connsiteX4622" fmla="*/ 2463728 w 2792478"/>
                <a:gd name="connsiteY4622" fmla="*/ 1554469 h 4235290"/>
                <a:gd name="connsiteX4623" fmla="*/ 2464349 w 2792478"/>
                <a:gd name="connsiteY4623" fmla="*/ 1555519 h 4235290"/>
                <a:gd name="connsiteX4624" fmla="*/ 2456234 w 2792478"/>
                <a:gd name="connsiteY4624" fmla="*/ 1563647 h 4235290"/>
                <a:gd name="connsiteX4625" fmla="*/ 2456052 w 2792478"/>
                <a:gd name="connsiteY4625" fmla="*/ 1564080 h 4235290"/>
                <a:gd name="connsiteX4626" fmla="*/ 2456225 w 2792478"/>
                <a:gd name="connsiteY4626" fmla="*/ 1564524 h 4235290"/>
                <a:gd name="connsiteX4627" fmla="*/ 2465725 w 2792478"/>
                <a:gd name="connsiteY4627" fmla="*/ 1574023 h 4235290"/>
                <a:gd name="connsiteX4628" fmla="*/ 2466164 w 2792478"/>
                <a:gd name="connsiteY4628" fmla="*/ 1574205 h 4235290"/>
                <a:gd name="connsiteX4629" fmla="*/ 2466607 w 2792478"/>
                <a:gd name="connsiteY4629" fmla="*/ 1574023 h 4235290"/>
                <a:gd name="connsiteX4630" fmla="*/ 2474647 w 2792478"/>
                <a:gd name="connsiteY4630" fmla="*/ 1565989 h 4235290"/>
                <a:gd name="connsiteX4631" fmla="*/ 2475697 w 2792478"/>
                <a:gd name="connsiteY4631" fmla="*/ 1566633 h 4235290"/>
                <a:gd name="connsiteX4632" fmla="*/ 2485837 w 2792478"/>
                <a:gd name="connsiteY4632" fmla="*/ 1570855 h 4235290"/>
                <a:gd name="connsiteX4633" fmla="*/ 2487045 w 2792478"/>
                <a:gd name="connsiteY4633" fmla="*/ 1571140 h 4235290"/>
                <a:gd name="connsiteX4634" fmla="*/ 2487045 w 2792478"/>
                <a:gd name="connsiteY4634" fmla="*/ 1582496 h 4235290"/>
                <a:gd name="connsiteX4635" fmla="*/ 2487661 w 2792478"/>
                <a:gd name="connsiteY4635" fmla="*/ 1583112 h 4235290"/>
                <a:gd name="connsiteX4636" fmla="*/ 2501095 w 2792478"/>
                <a:gd name="connsiteY4636" fmla="*/ 1583112 h 4235290"/>
                <a:gd name="connsiteX4637" fmla="*/ 2501716 w 2792478"/>
                <a:gd name="connsiteY4637" fmla="*/ 1582496 h 4235290"/>
                <a:gd name="connsiteX4638" fmla="*/ 2501716 w 2792478"/>
                <a:gd name="connsiteY4638" fmla="*/ 1571093 h 4235290"/>
                <a:gd name="connsiteX4639" fmla="*/ 2502915 w 2792478"/>
                <a:gd name="connsiteY4639" fmla="*/ 1570799 h 4235290"/>
                <a:gd name="connsiteX4640" fmla="*/ 2512947 w 2792478"/>
                <a:gd name="connsiteY4640" fmla="*/ 1566535 h 4235290"/>
                <a:gd name="connsiteX4641" fmla="*/ 2514011 w 2792478"/>
                <a:gd name="connsiteY4641" fmla="*/ 1565872 h 4235290"/>
                <a:gd name="connsiteX4642" fmla="*/ 2522163 w 2792478"/>
                <a:gd name="connsiteY4642" fmla="*/ 1574023 h 4235290"/>
                <a:gd name="connsiteX4643" fmla="*/ 2522606 w 2792478"/>
                <a:gd name="connsiteY4643" fmla="*/ 1574205 h 4235290"/>
                <a:gd name="connsiteX4644" fmla="*/ 2523031 w 2792478"/>
                <a:gd name="connsiteY4644" fmla="*/ 1574028 h 4235290"/>
                <a:gd name="connsiteX4645" fmla="*/ 2532545 w 2792478"/>
                <a:gd name="connsiteY4645" fmla="*/ 1564524 h 4235290"/>
                <a:gd name="connsiteX4646" fmla="*/ 2532536 w 2792478"/>
                <a:gd name="connsiteY4646" fmla="*/ 1563647 h 4235290"/>
                <a:gd name="connsiteX4647" fmla="*/ 2524240 w 2792478"/>
                <a:gd name="connsiteY4647" fmla="*/ 1555346 h 4235290"/>
                <a:gd name="connsiteX4648" fmla="*/ 2524856 w 2792478"/>
                <a:gd name="connsiteY4648" fmla="*/ 1554292 h 4235290"/>
                <a:gd name="connsiteX4649" fmla="*/ 2528780 w 2792478"/>
                <a:gd name="connsiteY4649" fmla="*/ 1544433 h 4235290"/>
                <a:gd name="connsiteX4650" fmla="*/ 2529060 w 2792478"/>
                <a:gd name="connsiteY4650" fmla="*/ 1543210 h 4235290"/>
                <a:gd name="connsiteX4651" fmla="*/ 2540991 w 2792478"/>
                <a:gd name="connsiteY4651" fmla="*/ 1543210 h 4235290"/>
                <a:gd name="connsiteX4652" fmla="*/ 2541626 w 2792478"/>
                <a:gd name="connsiteY4652" fmla="*/ 1542594 h 4235290"/>
                <a:gd name="connsiteX4653" fmla="*/ 2541626 w 2792478"/>
                <a:gd name="connsiteY4653" fmla="*/ 1529157 h 4235290"/>
                <a:gd name="connsiteX4654" fmla="*/ 2540991 w 2792478"/>
                <a:gd name="connsiteY4654" fmla="*/ 1528531 h 4235290"/>
                <a:gd name="connsiteX4655" fmla="*/ 2528831 w 2792478"/>
                <a:gd name="connsiteY4655" fmla="*/ 1528531 h 4235290"/>
                <a:gd name="connsiteX4656" fmla="*/ 2528528 w 2792478"/>
                <a:gd name="connsiteY4656" fmla="*/ 1527360 h 4235290"/>
                <a:gd name="connsiteX4657" fmla="*/ 2524459 w 2792478"/>
                <a:gd name="connsiteY4657" fmla="*/ 1517879 h 4235290"/>
                <a:gd name="connsiteX4658" fmla="*/ 2523820 w 2792478"/>
                <a:gd name="connsiteY4658" fmla="*/ 1516811 h 4235290"/>
                <a:gd name="connsiteX4659" fmla="*/ 2532536 w 2792478"/>
                <a:gd name="connsiteY4659" fmla="*/ 1508086 h 4235290"/>
                <a:gd name="connsiteX4660" fmla="*/ 2532536 w 2792478"/>
                <a:gd name="connsiteY4660" fmla="*/ 1507218 h 4235290"/>
                <a:gd name="connsiteX4661" fmla="*/ 2523031 w 2792478"/>
                <a:gd name="connsiteY4661" fmla="*/ 1497709 h 4235290"/>
                <a:gd name="connsiteX4662" fmla="*/ 2522602 w 2792478"/>
                <a:gd name="connsiteY4662" fmla="*/ 1497536 h 4235290"/>
                <a:gd name="connsiteX4663" fmla="*/ 2522163 w 2792478"/>
                <a:gd name="connsiteY4663" fmla="*/ 1497718 h 4235290"/>
                <a:gd name="connsiteX4664" fmla="*/ 2513344 w 2792478"/>
                <a:gd name="connsiteY4664" fmla="*/ 1506532 h 4235290"/>
                <a:gd name="connsiteX4665" fmla="*/ 2512285 w 2792478"/>
                <a:gd name="connsiteY4665" fmla="*/ 1505907 h 4235290"/>
                <a:gd name="connsiteX4666" fmla="*/ 2502901 w 2792478"/>
                <a:gd name="connsiteY4666" fmla="*/ 1502034 h 4235290"/>
                <a:gd name="connsiteX4667" fmla="*/ 2501716 w 2792478"/>
                <a:gd name="connsiteY4667" fmla="*/ 1501740 h 4235290"/>
                <a:gd name="connsiteX4668" fmla="*/ 2501716 w 2792478"/>
                <a:gd name="connsiteY4668" fmla="*/ 1489240 h 4235290"/>
                <a:gd name="connsiteX4669" fmla="*/ 2501095 w 2792478"/>
                <a:gd name="connsiteY4669" fmla="*/ 1488620 h 4235290"/>
                <a:gd name="connsiteX4670" fmla="*/ 2487661 w 2792478"/>
                <a:gd name="connsiteY4670" fmla="*/ 1485475 h 4235290"/>
                <a:gd name="connsiteX4671" fmla="*/ 2501095 w 2792478"/>
                <a:gd name="connsiteY4671" fmla="*/ 1485475 h 4235290"/>
                <a:gd name="connsiteX4672" fmla="*/ 2504870 w 2792478"/>
                <a:gd name="connsiteY4672" fmla="*/ 1489240 h 4235290"/>
                <a:gd name="connsiteX4673" fmla="*/ 2504870 w 2792478"/>
                <a:gd name="connsiteY4673" fmla="*/ 1499305 h 4235290"/>
                <a:gd name="connsiteX4674" fmla="*/ 2512831 w 2792478"/>
                <a:gd name="connsiteY4674" fmla="*/ 1502594 h 4235290"/>
                <a:gd name="connsiteX4675" fmla="*/ 2519937 w 2792478"/>
                <a:gd name="connsiteY4675" fmla="*/ 1495483 h 4235290"/>
                <a:gd name="connsiteX4676" fmla="*/ 2525262 w 2792478"/>
                <a:gd name="connsiteY4676" fmla="*/ 1495483 h 4235290"/>
                <a:gd name="connsiteX4677" fmla="*/ 2534767 w 2792478"/>
                <a:gd name="connsiteY4677" fmla="*/ 1504992 h 4235290"/>
                <a:gd name="connsiteX4678" fmla="*/ 2534767 w 2792478"/>
                <a:gd name="connsiteY4678" fmla="*/ 1510316 h 4235290"/>
                <a:gd name="connsiteX4679" fmla="*/ 2527786 w 2792478"/>
                <a:gd name="connsiteY4679" fmla="*/ 1517296 h 4235290"/>
                <a:gd name="connsiteX4680" fmla="*/ 2531239 w 2792478"/>
                <a:gd name="connsiteY4680" fmla="*/ 1525382 h 4235290"/>
                <a:gd name="connsiteX4681" fmla="*/ 2540991 w 2792478"/>
                <a:gd name="connsiteY4681" fmla="*/ 1525382 h 4235290"/>
                <a:gd name="connsiteX4682" fmla="*/ 2544780 w 2792478"/>
                <a:gd name="connsiteY4682" fmla="*/ 1529157 h 4235290"/>
                <a:gd name="connsiteX4683" fmla="*/ 2544780 w 2792478"/>
                <a:gd name="connsiteY4683" fmla="*/ 1542594 h 4235290"/>
                <a:gd name="connsiteX4684" fmla="*/ 2540991 w 2792478"/>
                <a:gd name="connsiteY4684" fmla="*/ 1546355 h 4235290"/>
                <a:gd name="connsiteX4685" fmla="*/ 2531552 w 2792478"/>
                <a:gd name="connsiteY4685" fmla="*/ 1546355 h 4235290"/>
                <a:gd name="connsiteX4686" fmla="*/ 2528178 w 2792478"/>
                <a:gd name="connsiteY4686" fmla="*/ 1554819 h 4235290"/>
                <a:gd name="connsiteX4687" fmla="*/ 2534767 w 2792478"/>
                <a:gd name="connsiteY4687" fmla="*/ 1561416 h 4235290"/>
                <a:gd name="connsiteX4688" fmla="*/ 2534771 w 2792478"/>
                <a:gd name="connsiteY4688" fmla="*/ 1566745 h 4235290"/>
                <a:gd name="connsiteX4689" fmla="*/ 2525262 w 2792478"/>
                <a:gd name="connsiteY4689" fmla="*/ 1576244 h 4235290"/>
                <a:gd name="connsiteX4690" fmla="*/ 2519928 w 2792478"/>
                <a:gd name="connsiteY4690" fmla="*/ 1576244 h 4235290"/>
                <a:gd name="connsiteX4691" fmla="*/ 2513531 w 2792478"/>
                <a:gd name="connsiteY4691" fmla="*/ 1569847 h 4235290"/>
                <a:gd name="connsiteX4692" fmla="*/ 2504870 w 2792478"/>
                <a:gd name="connsiteY4692" fmla="*/ 1573529 h 4235290"/>
                <a:gd name="connsiteX4693" fmla="*/ 2504870 w 2792478"/>
                <a:gd name="connsiteY4693" fmla="*/ 1582482 h 4235290"/>
                <a:gd name="connsiteX4694" fmla="*/ 2501095 w 2792478"/>
                <a:gd name="connsiteY4694" fmla="*/ 1586257 h 4235290"/>
                <a:gd name="connsiteX4695" fmla="*/ 2487661 w 2792478"/>
                <a:gd name="connsiteY4695" fmla="*/ 1586257 h 4235290"/>
                <a:gd name="connsiteX4696" fmla="*/ 2483886 w 2792478"/>
                <a:gd name="connsiteY4696" fmla="*/ 1582482 h 4235290"/>
                <a:gd name="connsiteX4697" fmla="*/ 2483886 w 2792478"/>
                <a:gd name="connsiteY4697" fmla="*/ 1573599 h 4235290"/>
                <a:gd name="connsiteX4698" fmla="*/ 2475123 w 2792478"/>
                <a:gd name="connsiteY4698" fmla="*/ 1569950 h 4235290"/>
                <a:gd name="connsiteX4699" fmla="*/ 2468833 w 2792478"/>
                <a:gd name="connsiteY4699" fmla="*/ 1576244 h 4235290"/>
                <a:gd name="connsiteX4700" fmla="*/ 2463495 w 2792478"/>
                <a:gd name="connsiteY4700" fmla="*/ 1576244 h 4235290"/>
                <a:gd name="connsiteX4701" fmla="*/ 2453999 w 2792478"/>
                <a:gd name="connsiteY4701" fmla="*/ 1566754 h 4235290"/>
                <a:gd name="connsiteX4702" fmla="*/ 2452898 w 2792478"/>
                <a:gd name="connsiteY4702" fmla="*/ 1564080 h 4235290"/>
                <a:gd name="connsiteX4703" fmla="*/ 2453999 w 2792478"/>
                <a:gd name="connsiteY4703" fmla="*/ 1561416 h 4235290"/>
                <a:gd name="connsiteX4704" fmla="*/ 2460406 w 2792478"/>
                <a:gd name="connsiteY4704" fmla="*/ 1555005 h 4235290"/>
                <a:gd name="connsiteX4705" fmla="*/ 2456948 w 2792478"/>
                <a:gd name="connsiteY4705" fmla="*/ 1546355 h 4235290"/>
                <a:gd name="connsiteX4706" fmla="*/ 2447756 w 2792478"/>
                <a:gd name="connsiteY4706" fmla="*/ 1546355 h 4235290"/>
                <a:gd name="connsiteX4707" fmla="*/ 2443990 w 2792478"/>
                <a:gd name="connsiteY4707" fmla="*/ 1542594 h 4235290"/>
                <a:gd name="connsiteX4708" fmla="*/ 2443990 w 2792478"/>
                <a:gd name="connsiteY4708" fmla="*/ 1529157 h 4235290"/>
                <a:gd name="connsiteX4709" fmla="*/ 2447756 w 2792478"/>
                <a:gd name="connsiteY4709" fmla="*/ 1525382 h 4235290"/>
                <a:gd name="connsiteX4710" fmla="*/ 2457252 w 2792478"/>
                <a:gd name="connsiteY4710" fmla="*/ 1525382 h 4235290"/>
                <a:gd name="connsiteX4711" fmla="*/ 2460807 w 2792478"/>
                <a:gd name="connsiteY4711" fmla="*/ 1517123 h 4235290"/>
                <a:gd name="connsiteX4712" fmla="*/ 2453999 w 2792478"/>
                <a:gd name="connsiteY4712" fmla="*/ 1510316 h 4235290"/>
                <a:gd name="connsiteX4713" fmla="*/ 2452898 w 2792478"/>
                <a:gd name="connsiteY4713" fmla="*/ 1507670 h 4235290"/>
                <a:gd name="connsiteX4714" fmla="*/ 2453999 w 2792478"/>
                <a:gd name="connsiteY4714" fmla="*/ 1504992 h 4235290"/>
                <a:gd name="connsiteX4715" fmla="*/ 2463495 w 2792478"/>
                <a:gd name="connsiteY4715" fmla="*/ 1495483 h 4235290"/>
                <a:gd name="connsiteX4716" fmla="*/ 2468833 w 2792478"/>
                <a:gd name="connsiteY4716" fmla="*/ 1495479 h 4235290"/>
                <a:gd name="connsiteX4717" fmla="*/ 2475846 w 2792478"/>
                <a:gd name="connsiteY4717" fmla="*/ 1502496 h 4235290"/>
                <a:gd name="connsiteX4718" fmla="*/ 2483896 w 2792478"/>
                <a:gd name="connsiteY4718" fmla="*/ 1499235 h 4235290"/>
                <a:gd name="connsiteX4719" fmla="*/ 2483896 w 2792478"/>
                <a:gd name="connsiteY4719" fmla="*/ 1489240 h 4235290"/>
                <a:gd name="connsiteX4720" fmla="*/ 2487661 w 2792478"/>
                <a:gd name="connsiteY4720" fmla="*/ 1485475 h 4235290"/>
                <a:gd name="connsiteX4721" fmla="*/ 1824268 w 2792478"/>
                <a:gd name="connsiteY4721" fmla="*/ 1479509 h 4235290"/>
                <a:gd name="connsiteX4722" fmla="*/ 1880650 w 2792478"/>
                <a:gd name="connsiteY4722" fmla="*/ 1501895 h 4235290"/>
                <a:gd name="connsiteX4723" fmla="*/ 1880650 w 2792478"/>
                <a:gd name="connsiteY4723" fmla="*/ 1525489 h 4235290"/>
                <a:gd name="connsiteX4724" fmla="*/ 1841713 w 2792478"/>
                <a:gd name="connsiteY4724" fmla="*/ 1579942 h 4235290"/>
                <a:gd name="connsiteX4725" fmla="*/ 1880650 w 2792478"/>
                <a:gd name="connsiteY4725" fmla="*/ 1634414 h 4235290"/>
                <a:gd name="connsiteX4726" fmla="*/ 1880650 w 2792478"/>
                <a:gd name="connsiteY4726" fmla="*/ 1658018 h 4235290"/>
                <a:gd name="connsiteX4727" fmla="*/ 1824268 w 2792478"/>
                <a:gd name="connsiteY4727" fmla="*/ 1680394 h 4235290"/>
                <a:gd name="connsiteX4728" fmla="*/ 1767866 w 2792478"/>
                <a:gd name="connsiteY4728" fmla="*/ 1658018 h 4235290"/>
                <a:gd name="connsiteX4729" fmla="*/ 1767866 w 2792478"/>
                <a:gd name="connsiteY4729" fmla="*/ 1634414 h 4235290"/>
                <a:gd name="connsiteX4730" fmla="*/ 1806802 w 2792478"/>
                <a:gd name="connsiteY4730" fmla="*/ 1579942 h 4235290"/>
                <a:gd name="connsiteX4731" fmla="*/ 1767866 w 2792478"/>
                <a:gd name="connsiteY4731" fmla="*/ 1525489 h 4235290"/>
                <a:gd name="connsiteX4732" fmla="*/ 1767866 w 2792478"/>
                <a:gd name="connsiteY4732" fmla="*/ 1501895 h 4235290"/>
                <a:gd name="connsiteX4733" fmla="*/ 1824268 w 2792478"/>
                <a:gd name="connsiteY4733" fmla="*/ 1479509 h 4235290"/>
                <a:gd name="connsiteX4734" fmla="*/ 2613532 w 2792478"/>
                <a:gd name="connsiteY4734" fmla="*/ 1461591 h 4235290"/>
                <a:gd name="connsiteX4735" fmla="*/ 2616576 w 2792478"/>
                <a:gd name="connsiteY4735" fmla="*/ 1467805 h 4235290"/>
                <a:gd name="connsiteX4736" fmla="*/ 2606136 w 2792478"/>
                <a:gd name="connsiteY4736" fmla="*/ 1496830 h 4235290"/>
                <a:gd name="connsiteX4737" fmla="*/ 2613966 w 2792478"/>
                <a:gd name="connsiteY4737" fmla="*/ 1522678 h 4235290"/>
                <a:gd name="connsiteX4738" fmla="*/ 2625463 w 2792478"/>
                <a:gd name="connsiteY4738" fmla="*/ 1514666 h 4235290"/>
                <a:gd name="connsiteX4739" fmla="*/ 2627765 w 2792478"/>
                <a:gd name="connsiteY4739" fmla="*/ 1518886 h 4235290"/>
                <a:gd name="connsiteX4740" fmla="*/ 2617822 w 2792478"/>
                <a:gd name="connsiteY4740" fmla="*/ 1531439 h 4235290"/>
                <a:gd name="connsiteX4741" fmla="*/ 2613904 w 2792478"/>
                <a:gd name="connsiteY4741" fmla="*/ 1534364 h 4235290"/>
                <a:gd name="connsiteX4742" fmla="*/ 2599111 w 2792478"/>
                <a:gd name="connsiteY4742" fmla="*/ 1496830 h 4235290"/>
                <a:gd name="connsiteX4743" fmla="*/ 2613532 w 2792478"/>
                <a:gd name="connsiteY4743" fmla="*/ 1461591 h 4235290"/>
                <a:gd name="connsiteX4744" fmla="*/ 2615023 w 2792478"/>
                <a:gd name="connsiteY4744" fmla="*/ 1457616 h 4235290"/>
                <a:gd name="connsiteX4745" fmla="*/ 2617507 w 2792478"/>
                <a:gd name="connsiteY4745" fmla="*/ 1459296 h 4235290"/>
                <a:gd name="connsiteX4746" fmla="*/ 2622853 w 2792478"/>
                <a:gd name="connsiteY4746" fmla="*/ 1462899 h 4235290"/>
                <a:gd name="connsiteX4747" fmla="*/ 2655853 w 2792478"/>
                <a:gd name="connsiteY4747" fmla="*/ 1485081 h 4235290"/>
                <a:gd name="connsiteX4748" fmla="*/ 2661632 w 2792478"/>
                <a:gd name="connsiteY4748" fmla="*/ 1489000 h 4235290"/>
                <a:gd name="connsiteX4749" fmla="*/ 2665173 w 2792478"/>
                <a:gd name="connsiteY4749" fmla="*/ 1499559 h 4235290"/>
                <a:gd name="connsiteX4750" fmla="*/ 2660198 w 2792478"/>
                <a:gd name="connsiteY4750" fmla="*/ 1509502 h 4235290"/>
                <a:gd name="connsiteX4751" fmla="*/ 2650695 w 2792478"/>
                <a:gd name="connsiteY4751" fmla="*/ 1513050 h 4235290"/>
                <a:gd name="connsiteX4752" fmla="*/ 2639815 w 2792478"/>
                <a:gd name="connsiteY4752" fmla="*/ 1508075 h 4235290"/>
                <a:gd name="connsiteX4753" fmla="*/ 2636652 w 2792478"/>
                <a:gd name="connsiteY4753" fmla="*/ 1501735 h 4235290"/>
                <a:gd name="connsiteX4754" fmla="*/ 2619249 w 2792478"/>
                <a:gd name="connsiteY4754" fmla="*/ 1466252 h 4235290"/>
                <a:gd name="connsiteX4755" fmla="*/ 2618130 w 2792478"/>
                <a:gd name="connsiteY4755" fmla="*/ 1464013 h 4235290"/>
                <a:gd name="connsiteX4756" fmla="*/ 2652494 w 2792478"/>
                <a:gd name="connsiteY4756" fmla="*/ 1445686 h 4235290"/>
                <a:gd name="connsiteX4757" fmla="*/ 2706437 w 2792478"/>
                <a:gd name="connsiteY4757" fmla="*/ 1497761 h 4235290"/>
                <a:gd name="connsiteX4758" fmla="*/ 2692078 w 2792478"/>
                <a:gd name="connsiteY4758" fmla="*/ 1535295 h 4235290"/>
                <a:gd name="connsiteX4759" fmla="*/ 2688167 w 2792478"/>
                <a:gd name="connsiteY4759" fmla="*/ 1532062 h 4235290"/>
                <a:gd name="connsiteX4760" fmla="*/ 2677601 w 2792478"/>
                <a:gd name="connsiteY4760" fmla="*/ 1520257 h 4235290"/>
                <a:gd name="connsiteX4761" fmla="*/ 2678531 w 2792478"/>
                <a:gd name="connsiteY4761" fmla="*/ 1515905 h 4235290"/>
                <a:gd name="connsiteX4762" fmla="*/ 2690839 w 2792478"/>
                <a:gd name="connsiteY4762" fmla="*/ 1523427 h 4235290"/>
                <a:gd name="connsiteX4763" fmla="*/ 2698670 w 2792478"/>
                <a:gd name="connsiteY4763" fmla="*/ 1497761 h 4235290"/>
                <a:gd name="connsiteX4764" fmla="*/ 2676299 w 2792478"/>
                <a:gd name="connsiteY4764" fmla="*/ 1458296 h 4235290"/>
                <a:gd name="connsiteX4765" fmla="*/ 2652186 w 2792478"/>
                <a:gd name="connsiteY4765" fmla="*/ 1451648 h 4235290"/>
                <a:gd name="connsiteX4766" fmla="*/ 2626394 w 2792478"/>
                <a:gd name="connsiteY4766" fmla="*/ 1459667 h 4235290"/>
                <a:gd name="connsiteX4767" fmla="*/ 2620985 w 2792478"/>
                <a:gd name="connsiteY4767" fmla="*/ 1456063 h 4235290"/>
                <a:gd name="connsiteX4768" fmla="*/ 2652494 w 2792478"/>
                <a:gd name="connsiteY4768" fmla="*/ 1445686 h 4235290"/>
                <a:gd name="connsiteX4769" fmla="*/ 2013856 w 2792478"/>
                <a:gd name="connsiteY4769" fmla="*/ 1435195 h 4235290"/>
                <a:gd name="connsiteX4770" fmla="*/ 2039068 w 2792478"/>
                <a:gd name="connsiteY4770" fmla="*/ 1454533 h 4235290"/>
                <a:gd name="connsiteX4771" fmla="*/ 2052897 w 2792478"/>
                <a:gd name="connsiteY4771" fmla="*/ 1478503 h 4235290"/>
                <a:gd name="connsiteX4772" fmla="*/ 2050366 w 2792478"/>
                <a:gd name="connsiteY4772" fmla="*/ 1487964 h 4235290"/>
                <a:gd name="connsiteX4773" fmla="*/ 2040931 w 2792478"/>
                <a:gd name="connsiteY4773" fmla="*/ 1485432 h 4235290"/>
                <a:gd name="connsiteX4774" fmla="*/ 2027092 w 2792478"/>
                <a:gd name="connsiteY4774" fmla="*/ 1461462 h 4235290"/>
                <a:gd name="connsiteX4775" fmla="*/ 1989290 w 2792478"/>
                <a:gd name="connsiteY4775" fmla="*/ 1451325 h 4235290"/>
                <a:gd name="connsiteX4776" fmla="*/ 1979152 w 2792478"/>
                <a:gd name="connsiteY4776" fmla="*/ 1489120 h 4235290"/>
                <a:gd name="connsiteX4777" fmla="*/ 1985921 w 2792478"/>
                <a:gd name="connsiteY4777" fmla="*/ 1500869 h 4235290"/>
                <a:gd name="connsiteX4778" fmla="*/ 2053642 w 2792478"/>
                <a:gd name="connsiteY4778" fmla="*/ 1500869 h 4235290"/>
                <a:gd name="connsiteX4779" fmla="*/ 2067497 w 2792478"/>
                <a:gd name="connsiteY4779" fmla="*/ 1514702 h 4235290"/>
                <a:gd name="connsiteX4780" fmla="*/ 2067497 w 2792478"/>
                <a:gd name="connsiteY4780" fmla="*/ 1583890 h 4235290"/>
                <a:gd name="connsiteX4781" fmla="*/ 2053642 w 2792478"/>
                <a:gd name="connsiteY4781" fmla="*/ 1597739 h 4235290"/>
                <a:gd name="connsiteX4782" fmla="*/ 1970622 w 2792478"/>
                <a:gd name="connsiteY4782" fmla="*/ 1597739 h 4235290"/>
                <a:gd name="connsiteX4783" fmla="*/ 1956783 w 2792478"/>
                <a:gd name="connsiteY4783" fmla="*/ 1583890 h 4235290"/>
                <a:gd name="connsiteX4784" fmla="*/ 1956783 w 2792478"/>
                <a:gd name="connsiteY4784" fmla="*/ 1514702 h 4235290"/>
                <a:gd name="connsiteX4785" fmla="*/ 1969981 w 2792478"/>
                <a:gd name="connsiteY4785" fmla="*/ 1500932 h 4235290"/>
                <a:gd name="connsiteX4786" fmla="*/ 1967160 w 2792478"/>
                <a:gd name="connsiteY4786" fmla="*/ 1496048 h 4235290"/>
                <a:gd name="connsiteX4787" fmla="*/ 1982355 w 2792478"/>
                <a:gd name="connsiteY4787" fmla="*/ 1439348 h 4235290"/>
                <a:gd name="connsiteX4788" fmla="*/ 2013856 w 2792478"/>
                <a:gd name="connsiteY4788" fmla="*/ 1435195 h 4235290"/>
                <a:gd name="connsiteX4789" fmla="*/ 2476109 w 2792478"/>
                <a:gd name="connsiteY4789" fmla="*/ 1431835 h 4235290"/>
                <a:gd name="connsiteX4790" fmla="*/ 2475408 w 2792478"/>
                <a:gd name="connsiteY4790" fmla="*/ 1438847 h 4235290"/>
                <a:gd name="connsiteX4791" fmla="*/ 2565992 w 2792478"/>
                <a:gd name="connsiteY4791" fmla="*/ 1438847 h 4235290"/>
                <a:gd name="connsiteX4792" fmla="*/ 2565297 w 2792478"/>
                <a:gd name="connsiteY4792" fmla="*/ 1431835 h 4235290"/>
                <a:gd name="connsiteX4793" fmla="*/ 2653117 w 2792478"/>
                <a:gd name="connsiteY4793" fmla="*/ 1429774 h 4235290"/>
                <a:gd name="connsiteX4794" fmla="*/ 2721040 w 2792478"/>
                <a:gd name="connsiteY4794" fmla="*/ 1497698 h 4235290"/>
                <a:gd name="connsiteX4795" fmla="*/ 2653117 w 2792478"/>
                <a:gd name="connsiteY4795" fmla="*/ 1565621 h 4235290"/>
                <a:gd name="connsiteX4796" fmla="*/ 2585193 w 2792478"/>
                <a:gd name="connsiteY4796" fmla="*/ 1497698 h 4235290"/>
                <a:gd name="connsiteX4797" fmla="*/ 2607004 w 2792478"/>
                <a:gd name="connsiteY4797" fmla="*/ 1447981 h 4235290"/>
                <a:gd name="connsiteX4798" fmla="*/ 2610608 w 2792478"/>
                <a:gd name="connsiteY4798" fmla="*/ 1455378 h 4235290"/>
                <a:gd name="connsiteX4799" fmla="*/ 2592960 w 2792478"/>
                <a:gd name="connsiteY4799" fmla="*/ 1497698 h 4235290"/>
                <a:gd name="connsiteX4800" fmla="*/ 2653117 w 2792478"/>
                <a:gd name="connsiteY4800" fmla="*/ 1557539 h 4235290"/>
                <a:gd name="connsiteX4801" fmla="*/ 2713210 w 2792478"/>
                <a:gd name="connsiteY4801" fmla="*/ 1497698 h 4235290"/>
                <a:gd name="connsiteX4802" fmla="*/ 2653117 w 2792478"/>
                <a:gd name="connsiteY4802" fmla="*/ 1437856 h 4235290"/>
                <a:gd name="connsiteX4803" fmla="*/ 2614897 w 2792478"/>
                <a:gd name="connsiteY4803" fmla="*/ 1451522 h 4235290"/>
                <a:gd name="connsiteX4804" fmla="*/ 2608124 w 2792478"/>
                <a:gd name="connsiteY4804" fmla="*/ 1446925 h 4235290"/>
                <a:gd name="connsiteX4805" fmla="*/ 2653117 w 2792478"/>
                <a:gd name="connsiteY4805" fmla="*/ 1429774 h 4235290"/>
                <a:gd name="connsiteX4806" fmla="*/ 2740050 w 2792478"/>
                <a:gd name="connsiteY4806" fmla="*/ 1388757 h 4235290"/>
                <a:gd name="connsiteX4807" fmla="*/ 2745892 w 2792478"/>
                <a:gd name="connsiteY4807" fmla="*/ 1406161 h 4235290"/>
                <a:gd name="connsiteX4808" fmla="*/ 2751677 w 2792478"/>
                <a:gd name="connsiteY4808" fmla="*/ 1388757 h 4235290"/>
                <a:gd name="connsiteX4809" fmla="*/ 2745892 w 2792478"/>
                <a:gd name="connsiteY4809" fmla="*/ 1392302 h 4235290"/>
                <a:gd name="connsiteX4810" fmla="*/ 2740050 w 2792478"/>
                <a:gd name="connsiteY4810" fmla="*/ 1388757 h 4235290"/>
                <a:gd name="connsiteX4811" fmla="*/ 1956856 w 2792478"/>
                <a:gd name="connsiteY4811" fmla="*/ 1383799 h 4235290"/>
                <a:gd name="connsiteX4812" fmla="*/ 1942321 w 2792478"/>
                <a:gd name="connsiteY4812" fmla="*/ 1428973 h 4235290"/>
                <a:gd name="connsiteX4813" fmla="*/ 1978335 w 2792478"/>
                <a:gd name="connsiteY4813" fmla="*/ 1383799 h 4235290"/>
                <a:gd name="connsiteX4814" fmla="*/ 1909473 w 2792478"/>
                <a:gd name="connsiteY4814" fmla="*/ 1383799 h 4235290"/>
                <a:gd name="connsiteX4815" fmla="*/ 1926846 w 2792478"/>
                <a:gd name="connsiteY4815" fmla="*/ 1438128 h 4235290"/>
                <a:gd name="connsiteX4816" fmla="*/ 1944219 w 2792478"/>
                <a:gd name="connsiteY4816" fmla="*/ 1383799 h 4235290"/>
                <a:gd name="connsiteX4817" fmla="*/ 1875369 w 2792478"/>
                <a:gd name="connsiteY4817" fmla="*/ 1383799 h 4235290"/>
                <a:gd name="connsiteX4818" fmla="*/ 1911371 w 2792478"/>
                <a:gd name="connsiteY4818" fmla="*/ 1428973 h 4235290"/>
                <a:gd name="connsiteX4819" fmla="*/ 1896842 w 2792478"/>
                <a:gd name="connsiteY4819" fmla="*/ 1383799 h 4235290"/>
                <a:gd name="connsiteX4820" fmla="*/ 2277455 w 2792478"/>
                <a:gd name="connsiteY4820" fmla="*/ 1383793 h 4235290"/>
                <a:gd name="connsiteX4821" fmla="*/ 2234949 w 2792478"/>
                <a:gd name="connsiteY4821" fmla="*/ 1426298 h 4235290"/>
                <a:gd name="connsiteX4822" fmla="*/ 2277455 w 2792478"/>
                <a:gd name="connsiteY4822" fmla="*/ 1468866 h 4235290"/>
                <a:gd name="connsiteX4823" fmla="*/ 2319961 w 2792478"/>
                <a:gd name="connsiteY4823" fmla="*/ 1426298 h 4235290"/>
                <a:gd name="connsiteX4824" fmla="*/ 2277455 w 2792478"/>
                <a:gd name="connsiteY4824" fmla="*/ 1383793 h 4235290"/>
                <a:gd name="connsiteX4825" fmla="*/ 2740735 w 2792478"/>
                <a:gd name="connsiteY4825" fmla="*/ 1382110 h 4235290"/>
                <a:gd name="connsiteX4826" fmla="*/ 2745892 w 2792478"/>
                <a:gd name="connsiteY4826" fmla="*/ 1383664 h 4235290"/>
                <a:gd name="connsiteX4827" fmla="*/ 2745892 w 2792478"/>
                <a:gd name="connsiteY4827" fmla="*/ 1413682 h 4235290"/>
                <a:gd name="connsiteX4828" fmla="*/ 2740735 w 2792478"/>
                <a:gd name="connsiteY4828" fmla="*/ 1382110 h 4235290"/>
                <a:gd name="connsiteX4829" fmla="*/ 2699849 w 2792478"/>
                <a:gd name="connsiteY4829" fmla="*/ 1374094 h 4235290"/>
                <a:gd name="connsiteX4830" fmla="*/ 2703141 w 2792478"/>
                <a:gd name="connsiteY4830" fmla="*/ 1377447 h 4235290"/>
                <a:gd name="connsiteX4831" fmla="*/ 2709541 w 2792478"/>
                <a:gd name="connsiteY4831" fmla="*/ 1383850 h 4235290"/>
                <a:gd name="connsiteX4832" fmla="*/ 2715941 w 2792478"/>
                <a:gd name="connsiteY4832" fmla="*/ 1377447 h 4235290"/>
                <a:gd name="connsiteX4833" fmla="*/ 2719296 w 2792478"/>
                <a:gd name="connsiteY4833" fmla="*/ 1374094 h 4235290"/>
                <a:gd name="connsiteX4834" fmla="*/ 2722588 w 2792478"/>
                <a:gd name="connsiteY4834" fmla="*/ 1377447 h 4235290"/>
                <a:gd name="connsiteX4835" fmla="*/ 2709541 w 2792478"/>
                <a:gd name="connsiteY4835" fmla="*/ 1390439 h 4235290"/>
                <a:gd name="connsiteX4836" fmla="*/ 2696551 w 2792478"/>
                <a:gd name="connsiteY4836" fmla="*/ 1377447 h 4235290"/>
                <a:gd name="connsiteX4837" fmla="*/ 2699849 w 2792478"/>
                <a:gd name="connsiteY4837" fmla="*/ 1374094 h 4235290"/>
                <a:gd name="connsiteX4838" fmla="*/ 2277455 w 2792478"/>
                <a:gd name="connsiteY4838" fmla="*/ 1364155 h 4235290"/>
                <a:gd name="connsiteX4839" fmla="*/ 2339595 w 2792478"/>
                <a:gd name="connsiteY4839" fmla="*/ 1426298 h 4235290"/>
                <a:gd name="connsiteX4840" fmla="*/ 2277455 w 2792478"/>
                <a:gd name="connsiteY4840" fmla="*/ 1488440 h 4235290"/>
                <a:gd name="connsiteX4841" fmla="*/ 2215315 w 2792478"/>
                <a:gd name="connsiteY4841" fmla="*/ 1426298 h 4235290"/>
                <a:gd name="connsiteX4842" fmla="*/ 2277455 w 2792478"/>
                <a:gd name="connsiteY4842" fmla="*/ 1364155 h 4235290"/>
                <a:gd name="connsiteX4843" fmla="*/ 325043 w 2792478"/>
                <a:gd name="connsiteY4843" fmla="*/ 1362134 h 4235290"/>
                <a:gd name="connsiteX4844" fmla="*/ 312672 w 2792478"/>
                <a:gd name="connsiteY4844" fmla="*/ 1371454 h 4235290"/>
                <a:gd name="connsiteX4845" fmla="*/ 312672 w 2792478"/>
                <a:gd name="connsiteY4845" fmla="*/ 1379159 h 4235290"/>
                <a:gd name="connsiteX4846" fmla="*/ 318890 w 2792478"/>
                <a:gd name="connsiteY4846" fmla="*/ 1380707 h 4235290"/>
                <a:gd name="connsiteX4847" fmla="*/ 540169 w 2792478"/>
                <a:gd name="connsiteY4847" fmla="*/ 1380707 h 4235290"/>
                <a:gd name="connsiteX4848" fmla="*/ 546452 w 2792478"/>
                <a:gd name="connsiteY4848" fmla="*/ 1378658 h 4235290"/>
                <a:gd name="connsiteX4849" fmla="*/ 546387 w 2792478"/>
                <a:gd name="connsiteY4849" fmla="*/ 1371454 h 4235290"/>
                <a:gd name="connsiteX4850" fmla="*/ 534017 w 2792478"/>
                <a:gd name="connsiteY4850" fmla="*/ 1362134 h 4235290"/>
                <a:gd name="connsiteX4851" fmla="*/ 2483355 w 2792478"/>
                <a:gd name="connsiteY4851" fmla="*/ 1358390 h 4235290"/>
                <a:gd name="connsiteX4852" fmla="*/ 2476809 w 2792478"/>
                <a:gd name="connsiteY4852" fmla="*/ 1424651 h 4235290"/>
                <a:gd name="connsiteX4853" fmla="*/ 2564596 w 2792478"/>
                <a:gd name="connsiteY4853" fmla="*/ 1424651 h 4235290"/>
                <a:gd name="connsiteX4854" fmla="*/ 2558050 w 2792478"/>
                <a:gd name="connsiteY4854" fmla="*/ 1358390 h 4235290"/>
                <a:gd name="connsiteX4855" fmla="*/ 2545219 w 2792478"/>
                <a:gd name="connsiteY4855" fmla="*/ 1358390 h 4235290"/>
                <a:gd name="connsiteX4856" fmla="*/ 2545219 w 2792478"/>
                <a:gd name="connsiteY4856" fmla="*/ 1365668 h 4235290"/>
                <a:gd name="connsiteX4857" fmla="*/ 2541623 w 2792478"/>
                <a:gd name="connsiteY4857" fmla="*/ 1369261 h 4235290"/>
                <a:gd name="connsiteX4858" fmla="*/ 2538027 w 2792478"/>
                <a:gd name="connsiteY4858" fmla="*/ 1365668 h 4235290"/>
                <a:gd name="connsiteX4859" fmla="*/ 2538027 w 2792478"/>
                <a:gd name="connsiteY4859" fmla="*/ 1358390 h 4235290"/>
                <a:gd name="connsiteX4860" fmla="*/ 2503374 w 2792478"/>
                <a:gd name="connsiteY4860" fmla="*/ 1358390 h 4235290"/>
                <a:gd name="connsiteX4861" fmla="*/ 2503374 w 2792478"/>
                <a:gd name="connsiteY4861" fmla="*/ 1365668 h 4235290"/>
                <a:gd name="connsiteX4862" fmla="*/ 2499773 w 2792478"/>
                <a:gd name="connsiteY4862" fmla="*/ 1369261 h 4235290"/>
                <a:gd name="connsiteX4863" fmla="*/ 2496186 w 2792478"/>
                <a:gd name="connsiteY4863" fmla="*/ 1365668 h 4235290"/>
                <a:gd name="connsiteX4864" fmla="*/ 2496186 w 2792478"/>
                <a:gd name="connsiteY4864" fmla="*/ 1358390 h 4235290"/>
                <a:gd name="connsiteX4865" fmla="*/ 2722715 w 2792478"/>
                <a:gd name="connsiteY4865" fmla="*/ 1358185 h 4235290"/>
                <a:gd name="connsiteX4866" fmla="*/ 2722715 w 2792478"/>
                <a:gd name="connsiteY4866" fmla="*/ 1367010 h 4235290"/>
                <a:gd name="connsiteX4867" fmla="*/ 2722715 w 2792478"/>
                <a:gd name="connsiteY4867" fmla="*/ 1358185 h 4235290"/>
                <a:gd name="connsiteX4868" fmla="*/ 2694876 w 2792478"/>
                <a:gd name="connsiteY4868" fmla="*/ 1358185 h 4235290"/>
                <a:gd name="connsiteX4869" fmla="*/ 2694876 w 2792478"/>
                <a:gd name="connsiteY4869" fmla="*/ 1367010 h 4235290"/>
                <a:gd name="connsiteX4870" fmla="*/ 2694876 w 2792478"/>
                <a:gd name="connsiteY4870" fmla="*/ 1358185 h 4235290"/>
                <a:gd name="connsiteX4871" fmla="*/ 1971385 w 2792478"/>
                <a:gd name="connsiteY4871" fmla="*/ 1357579 h 4235290"/>
                <a:gd name="connsiteX4872" fmla="*/ 1962223 w 2792478"/>
                <a:gd name="connsiteY4872" fmla="*/ 1374010 h 4235290"/>
                <a:gd name="connsiteX4873" fmla="*/ 1980226 w 2792478"/>
                <a:gd name="connsiteY4873" fmla="*/ 1374010 h 4235290"/>
                <a:gd name="connsiteX4874" fmla="*/ 1887048 w 2792478"/>
                <a:gd name="connsiteY4874" fmla="*/ 1357579 h 4235290"/>
                <a:gd name="connsiteX4875" fmla="*/ 1875054 w 2792478"/>
                <a:gd name="connsiteY4875" fmla="*/ 1374010 h 4235290"/>
                <a:gd name="connsiteX4876" fmla="*/ 1893051 w 2792478"/>
                <a:gd name="connsiteY4876" fmla="*/ 1374010 h 4235290"/>
                <a:gd name="connsiteX4877" fmla="*/ 1926846 w 2792478"/>
                <a:gd name="connsiteY4877" fmla="*/ 1355050 h 4235290"/>
                <a:gd name="connsiteX4878" fmla="*/ 1912954 w 2792478"/>
                <a:gd name="connsiteY4878" fmla="*/ 1374010 h 4235290"/>
                <a:gd name="connsiteX4879" fmla="*/ 1940744 w 2792478"/>
                <a:gd name="connsiteY4879" fmla="*/ 1374010 h 4235290"/>
                <a:gd name="connsiteX4880" fmla="*/ 1926846 w 2792478"/>
                <a:gd name="connsiteY4880" fmla="*/ 1355050 h 4235290"/>
                <a:gd name="connsiteX4881" fmla="*/ 2277516 w 2792478"/>
                <a:gd name="connsiteY4881" fmla="*/ 1351965 h 4235290"/>
                <a:gd name="connsiteX4882" fmla="*/ 2203133 w 2792478"/>
                <a:gd name="connsiteY4882" fmla="*/ 1426361 h 4235290"/>
                <a:gd name="connsiteX4883" fmla="*/ 2277516 w 2792478"/>
                <a:gd name="connsiteY4883" fmla="*/ 1500808 h 4235290"/>
                <a:gd name="connsiteX4884" fmla="*/ 2351974 w 2792478"/>
                <a:gd name="connsiteY4884" fmla="*/ 1426361 h 4235290"/>
                <a:gd name="connsiteX4885" fmla="*/ 2277516 w 2792478"/>
                <a:gd name="connsiteY4885" fmla="*/ 1351965 h 4235290"/>
                <a:gd name="connsiteX4886" fmla="*/ 1938531 w 2792478"/>
                <a:gd name="connsiteY4886" fmla="*/ 1351265 h 4235290"/>
                <a:gd name="connsiteX4887" fmla="*/ 1951490 w 2792478"/>
                <a:gd name="connsiteY4887" fmla="*/ 1368952 h 4235290"/>
                <a:gd name="connsiteX4888" fmla="*/ 1961277 w 2792478"/>
                <a:gd name="connsiteY4888" fmla="*/ 1351265 h 4235290"/>
                <a:gd name="connsiteX4889" fmla="*/ 1938531 w 2792478"/>
                <a:gd name="connsiteY4889" fmla="*/ 1351265 h 4235290"/>
                <a:gd name="connsiteX4890" fmla="*/ 1897157 w 2792478"/>
                <a:gd name="connsiteY4890" fmla="*/ 1351265 h 4235290"/>
                <a:gd name="connsiteX4891" fmla="*/ 1903160 w 2792478"/>
                <a:gd name="connsiteY4891" fmla="*/ 1367690 h 4235290"/>
                <a:gd name="connsiteX4892" fmla="*/ 1915161 w 2792478"/>
                <a:gd name="connsiteY4892" fmla="*/ 1351265 h 4235290"/>
                <a:gd name="connsiteX4893" fmla="*/ 1897157 w 2792478"/>
                <a:gd name="connsiteY4893" fmla="*/ 1351265 h 4235290"/>
                <a:gd name="connsiteX4894" fmla="*/ 240322 w 2792478"/>
                <a:gd name="connsiteY4894" fmla="*/ 1348240 h 4235290"/>
                <a:gd name="connsiteX4895" fmla="*/ 239514 w 2792478"/>
                <a:gd name="connsiteY4895" fmla="*/ 1354269 h 4235290"/>
                <a:gd name="connsiteX4896" fmla="*/ 239328 w 2792478"/>
                <a:gd name="connsiteY4896" fmla="*/ 1360050 h 4235290"/>
                <a:gd name="connsiteX4897" fmla="*/ 239701 w 2792478"/>
                <a:gd name="connsiteY4897" fmla="*/ 1363092 h 4235290"/>
                <a:gd name="connsiteX4898" fmla="*/ 240011 w 2792478"/>
                <a:gd name="connsiteY4898" fmla="*/ 1364648 h 4235290"/>
                <a:gd name="connsiteX4899" fmla="*/ 240446 w 2792478"/>
                <a:gd name="connsiteY4899" fmla="*/ 1366078 h 4235290"/>
                <a:gd name="connsiteX4900" fmla="*/ 241005 w 2792478"/>
                <a:gd name="connsiteY4900" fmla="*/ 1367508 h 4235290"/>
                <a:gd name="connsiteX4901" fmla="*/ 241068 w 2792478"/>
                <a:gd name="connsiteY4901" fmla="*/ 1367695 h 4235290"/>
                <a:gd name="connsiteX4902" fmla="*/ 241130 w 2792478"/>
                <a:gd name="connsiteY4902" fmla="*/ 1367756 h 4235290"/>
                <a:gd name="connsiteX4903" fmla="*/ 241316 w 2792478"/>
                <a:gd name="connsiteY4903" fmla="*/ 1368191 h 4235290"/>
                <a:gd name="connsiteX4904" fmla="*/ 241751 w 2792478"/>
                <a:gd name="connsiteY4904" fmla="*/ 1368934 h 4235290"/>
                <a:gd name="connsiteX4905" fmla="*/ 243367 w 2792478"/>
                <a:gd name="connsiteY4905" fmla="*/ 1371546 h 4235290"/>
                <a:gd name="connsiteX4906" fmla="*/ 245169 w 2792478"/>
                <a:gd name="connsiteY4906" fmla="*/ 1373846 h 4235290"/>
                <a:gd name="connsiteX4907" fmla="*/ 247157 w 2792478"/>
                <a:gd name="connsiteY4907" fmla="*/ 1375649 h 4235290"/>
                <a:gd name="connsiteX4908" fmla="*/ 252193 w 2792478"/>
                <a:gd name="connsiteY4908" fmla="*/ 1378753 h 4235290"/>
                <a:gd name="connsiteX4909" fmla="*/ 250450 w 2792478"/>
                <a:gd name="connsiteY4909" fmla="*/ 1378940 h 4235290"/>
                <a:gd name="connsiteX4910" fmla="*/ 245790 w 2792478"/>
                <a:gd name="connsiteY4910" fmla="*/ 1378070 h 4235290"/>
                <a:gd name="connsiteX4911" fmla="*/ 242932 w 2792478"/>
                <a:gd name="connsiteY4911" fmla="*/ 1376705 h 4235290"/>
                <a:gd name="connsiteX4912" fmla="*/ 240073 w 2792478"/>
                <a:gd name="connsiteY4912" fmla="*/ 1374406 h 4235290"/>
                <a:gd name="connsiteX4913" fmla="*/ 237526 w 2792478"/>
                <a:gd name="connsiteY4913" fmla="*/ 1371359 h 4235290"/>
                <a:gd name="connsiteX4914" fmla="*/ 237091 w 2792478"/>
                <a:gd name="connsiteY4914" fmla="*/ 1370612 h 4235290"/>
                <a:gd name="connsiteX4915" fmla="*/ 236842 w 2792478"/>
                <a:gd name="connsiteY4915" fmla="*/ 1370242 h 4235290"/>
                <a:gd name="connsiteX4916" fmla="*/ 236780 w 2792478"/>
                <a:gd name="connsiteY4916" fmla="*/ 1370116 h 4235290"/>
                <a:gd name="connsiteX4917" fmla="*/ 236656 w 2792478"/>
                <a:gd name="connsiteY4917" fmla="*/ 1369929 h 4235290"/>
                <a:gd name="connsiteX4918" fmla="*/ 236532 w 2792478"/>
                <a:gd name="connsiteY4918" fmla="*/ 1369743 h 4235290"/>
                <a:gd name="connsiteX4919" fmla="*/ 235724 w 2792478"/>
                <a:gd name="connsiteY4919" fmla="*/ 1367817 h 4235290"/>
                <a:gd name="connsiteX4920" fmla="*/ 234730 w 2792478"/>
                <a:gd name="connsiteY4920" fmla="*/ 1363779 h 4235290"/>
                <a:gd name="connsiteX4921" fmla="*/ 234668 w 2792478"/>
                <a:gd name="connsiteY4921" fmla="*/ 1361788 h 4235290"/>
                <a:gd name="connsiteX4922" fmla="*/ 234792 w 2792478"/>
                <a:gd name="connsiteY4922" fmla="*/ 1359863 h 4235290"/>
                <a:gd name="connsiteX4923" fmla="*/ 235040 w 2792478"/>
                <a:gd name="connsiteY4923" fmla="*/ 1358059 h 4235290"/>
                <a:gd name="connsiteX4924" fmla="*/ 235538 w 2792478"/>
                <a:gd name="connsiteY4924" fmla="*/ 1356381 h 4235290"/>
                <a:gd name="connsiteX4925" fmla="*/ 236656 w 2792478"/>
                <a:gd name="connsiteY4925" fmla="*/ 1353460 h 4235290"/>
                <a:gd name="connsiteX4926" fmla="*/ 240322 w 2792478"/>
                <a:gd name="connsiteY4926" fmla="*/ 1348240 h 4235290"/>
                <a:gd name="connsiteX4927" fmla="*/ 1884841 w 2792478"/>
                <a:gd name="connsiteY4927" fmla="*/ 1338319 h 4235290"/>
                <a:gd name="connsiteX4928" fmla="*/ 1972016 w 2792478"/>
                <a:gd name="connsiteY4928" fmla="*/ 1338319 h 4235290"/>
                <a:gd name="connsiteX4929" fmla="*/ 1975490 w 2792478"/>
                <a:gd name="connsiteY4929" fmla="*/ 1341471 h 4235290"/>
                <a:gd name="connsiteX4930" fmla="*/ 1995708 w 2792478"/>
                <a:gd name="connsiteY4930" fmla="*/ 1374638 h 4235290"/>
                <a:gd name="connsiteX4931" fmla="*/ 1996338 w 2792478"/>
                <a:gd name="connsiteY4931" fmla="*/ 1375900 h 4235290"/>
                <a:gd name="connsiteX4932" fmla="*/ 1996338 w 2792478"/>
                <a:gd name="connsiteY4932" fmla="*/ 1377484 h 4235290"/>
                <a:gd name="connsiteX4933" fmla="*/ 1996023 w 2792478"/>
                <a:gd name="connsiteY4933" fmla="*/ 1378740 h 4235290"/>
                <a:gd name="connsiteX4934" fmla="*/ 1995392 w 2792478"/>
                <a:gd name="connsiteY4934" fmla="*/ 1380008 h 4235290"/>
                <a:gd name="connsiteX4935" fmla="*/ 1931588 w 2792478"/>
                <a:gd name="connsiteY4935" fmla="*/ 1460557 h 4235290"/>
                <a:gd name="connsiteX4936" fmla="*/ 1930642 w 2792478"/>
                <a:gd name="connsiteY4936" fmla="*/ 1461818 h 4235290"/>
                <a:gd name="connsiteX4937" fmla="*/ 1930320 w 2792478"/>
                <a:gd name="connsiteY4937" fmla="*/ 1461818 h 4235290"/>
                <a:gd name="connsiteX4938" fmla="*/ 1929059 w 2792478"/>
                <a:gd name="connsiteY4938" fmla="*/ 1462446 h 4235290"/>
                <a:gd name="connsiteX4939" fmla="*/ 1928744 w 2792478"/>
                <a:gd name="connsiteY4939" fmla="*/ 1462763 h 4235290"/>
                <a:gd name="connsiteX4940" fmla="*/ 1925276 w 2792478"/>
                <a:gd name="connsiteY4940" fmla="*/ 1462763 h 4235290"/>
                <a:gd name="connsiteX4941" fmla="*/ 1924954 w 2792478"/>
                <a:gd name="connsiteY4941" fmla="*/ 1462446 h 4235290"/>
                <a:gd name="connsiteX4942" fmla="*/ 1923371 w 2792478"/>
                <a:gd name="connsiteY4942" fmla="*/ 1461818 h 4235290"/>
                <a:gd name="connsiteX4943" fmla="*/ 1923056 w 2792478"/>
                <a:gd name="connsiteY4943" fmla="*/ 1461818 h 4235290"/>
                <a:gd name="connsiteX4944" fmla="*/ 1921795 w 2792478"/>
                <a:gd name="connsiteY4944" fmla="*/ 1460557 h 4235290"/>
                <a:gd name="connsiteX4945" fmla="*/ 1921795 w 2792478"/>
                <a:gd name="connsiteY4945" fmla="*/ 1460240 h 4235290"/>
                <a:gd name="connsiteX4946" fmla="*/ 1858305 w 2792478"/>
                <a:gd name="connsiteY4946" fmla="*/ 1380008 h 4235290"/>
                <a:gd name="connsiteX4947" fmla="*/ 1857681 w 2792478"/>
                <a:gd name="connsiteY4947" fmla="*/ 1378740 h 4235290"/>
                <a:gd name="connsiteX4948" fmla="*/ 1857681 w 2792478"/>
                <a:gd name="connsiteY4948" fmla="*/ 1378435 h 4235290"/>
                <a:gd name="connsiteX4949" fmla="*/ 1857353 w 2792478"/>
                <a:gd name="connsiteY4949" fmla="*/ 1377168 h 4235290"/>
                <a:gd name="connsiteX4950" fmla="*/ 1857681 w 2792478"/>
                <a:gd name="connsiteY4950" fmla="*/ 1375266 h 4235290"/>
                <a:gd name="connsiteX4951" fmla="*/ 1857681 w 2792478"/>
                <a:gd name="connsiteY4951" fmla="*/ 1374955 h 4235290"/>
                <a:gd name="connsiteX4952" fmla="*/ 1858305 w 2792478"/>
                <a:gd name="connsiteY4952" fmla="*/ 1374010 h 4235290"/>
                <a:gd name="connsiteX4953" fmla="*/ 1858305 w 2792478"/>
                <a:gd name="connsiteY4953" fmla="*/ 1373693 h 4235290"/>
                <a:gd name="connsiteX4954" fmla="*/ 1858620 w 2792478"/>
                <a:gd name="connsiteY4954" fmla="*/ 1373382 h 4235290"/>
                <a:gd name="connsiteX4955" fmla="*/ 2277516 w 2792478"/>
                <a:gd name="connsiteY4955" fmla="*/ 1332327 h 4235290"/>
                <a:gd name="connsiteX4956" fmla="*/ 2371547 w 2792478"/>
                <a:gd name="connsiteY4956" fmla="*/ 1426361 h 4235290"/>
                <a:gd name="connsiteX4957" fmla="*/ 2277516 w 2792478"/>
                <a:gd name="connsiteY4957" fmla="*/ 1520446 h 4235290"/>
                <a:gd name="connsiteX4958" fmla="*/ 2183500 w 2792478"/>
                <a:gd name="connsiteY4958" fmla="*/ 1426361 h 4235290"/>
                <a:gd name="connsiteX4959" fmla="*/ 2277516 w 2792478"/>
                <a:gd name="connsiteY4959" fmla="*/ 1332327 h 4235290"/>
                <a:gd name="connsiteX4960" fmla="*/ 356358 w 2792478"/>
                <a:gd name="connsiteY4960" fmla="*/ 1332238 h 4235290"/>
                <a:gd name="connsiteX4961" fmla="*/ 356358 w 2792478"/>
                <a:gd name="connsiteY4961" fmla="*/ 1349764 h 4235290"/>
                <a:gd name="connsiteX4962" fmla="*/ 498848 w 2792478"/>
                <a:gd name="connsiteY4962" fmla="*/ 1349764 h 4235290"/>
                <a:gd name="connsiteX4963" fmla="*/ 498848 w 2792478"/>
                <a:gd name="connsiteY4963" fmla="*/ 1332238 h 4235290"/>
                <a:gd name="connsiteX4964" fmla="*/ 249767 w 2792478"/>
                <a:gd name="connsiteY4964" fmla="*/ 1321022 h 4235290"/>
                <a:gd name="connsiteX4965" fmla="*/ 230315 w 2792478"/>
                <a:gd name="connsiteY4965" fmla="*/ 1363031 h 4235290"/>
                <a:gd name="connsiteX4966" fmla="*/ 251879 w 2792478"/>
                <a:gd name="connsiteY4966" fmla="*/ 1384595 h 4235290"/>
                <a:gd name="connsiteX4967" fmla="*/ 273446 w 2792478"/>
                <a:gd name="connsiteY4967" fmla="*/ 1363031 h 4235290"/>
                <a:gd name="connsiteX4968" fmla="*/ 262818 w 2792478"/>
                <a:gd name="connsiteY4968" fmla="*/ 1343020 h 4235290"/>
                <a:gd name="connsiteX4969" fmla="*/ 249767 w 2792478"/>
                <a:gd name="connsiteY4969" fmla="*/ 1321022 h 4235290"/>
                <a:gd name="connsiteX4970" fmla="*/ 2520703 w 2792478"/>
                <a:gd name="connsiteY4970" fmla="*/ 1319658 h 4235290"/>
                <a:gd name="connsiteX4971" fmla="*/ 2503374 w 2792478"/>
                <a:gd name="connsiteY4971" fmla="*/ 1336984 h 4235290"/>
                <a:gd name="connsiteX4972" fmla="*/ 2503374 w 2792478"/>
                <a:gd name="connsiteY4972" fmla="*/ 1351199 h 4235290"/>
                <a:gd name="connsiteX4973" fmla="*/ 2538027 w 2792478"/>
                <a:gd name="connsiteY4973" fmla="*/ 1351199 h 4235290"/>
                <a:gd name="connsiteX4974" fmla="*/ 2538027 w 2792478"/>
                <a:gd name="connsiteY4974" fmla="*/ 1336984 h 4235290"/>
                <a:gd name="connsiteX4975" fmla="*/ 2520703 w 2792478"/>
                <a:gd name="connsiteY4975" fmla="*/ 1319658 h 4235290"/>
                <a:gd name="connsiteX4976" fmla="*/ 2520703 w 2792478"/>
                <a:gd name="connsiteY4976" fmla="*/ 1312467 h 4235290"/>
                <a:gd name="connsiteX4977" fmla="*/ 2545219 w 2792478"/>
                <a:gd name="connsiteY4977" fmla="*/ 1336984 h 4235290"/>
                <a:gd name="connsiteX4978" fmla="*/ 2545219 w 2792478"/>
                <a:gd name="connsiteY4978" fmla="*/ 1351199 h 4235290"/>
                <a:gd name="connsiteX4979" fmla="*/ 2561309 w 2792478"/>
                <a:gd name="connsiteY4979" fmla="*/ 1351199 h 4235290"/>
                <a:gd name="connsiteX4980" fmla="*/ 2564885 w 2792478"/>
                <a:gd name="connsiteY4980" fmla="*/ 1354439 h 4235290"/>
                <a:gd name="connsiteX4981" fmla="*/ 2573488 w 2792478"/>
                <a:gd name="connsiteY4981" fmla="*/ 1441574 h 4235290"/>
                <a:gd name="connsiteX4982" fmla="*/ 2573591 w 2792478"/>
                <a:gd name="connsiteY4982" fmla="*/ 1442440 h 4235290"/>
                <a:gd name="connsiteX4983" fmla="*/ 2569990 w 2792478"/>
                <a:gd name="connsiteY4983" fmla="*/ 1446026 h 4235290"/>
                <a:gd name="connsiteX4984" fmla="*/ 2471449 w 2792478"/>
                <a:gd name="connsiteY4984" fmla="*/ 1446026 h 4235290"/>
                <a:gd name="connsiteX4985" fmla="*/ 2468779 w 2792478"/>
                <a:gd name="connsiteY4985" fmla="*/ 1444845 h 4235290"/>
                <a:gd name="connsiteX4986" fmla="*/ 2467868 w 2792478"/>
                <a:gd name="connsiteY4986" fmla="*/ 1442081 h 4235290"/>
                <a:gd name="connsiteX4987" fmla="*/ 2476515 w 2792478"/>
                <a:gd name="connsiteY4987" fmla="*/ 1354439 h 4235290"/>
                <a:gd name="connsiteX4988" fmla="*/ 2480092 w 2792478"/>
                <a:gd name="connsiteY4988" fmla="*/ 1351199 h 4235290"/>
                <a:gd name="connsiteX4989" fmla="*/ 2496186 w 2792478"/>
                <a:gd name="connsiteY4989" fmla="*/ 1351199 h 4235290"/>
                <a:gd name="connsiteX4990" fmla="*/ 2496186 w 2792478"/>
                <a:gd name="connsiteY4990" fmla="*/ 1336984 h 4235290"/>
                <a:gd name="connsiteX4991" fmla="*/ 2520703 w 2792478"/>
                <a:gd name="connsiteY4991" fmla="*/ 1312467 h 4235290"/>
                <a:gd name="connsiteX4992" fmla="*/ 2709294 w 2792478"/>
                <a:gd name="connsiteY4992" fmla="*/ 1308469 h 4235290"/>
                <a:gd name="connsiteX4993" fmla="*/ 2716442 w 2792478"/>
                <a:gd name="connsiteY4993" fmla="*/ 1309028 h 4235290"/>
                <a:gd name="connsiteX4994" fmla="*/ 2717184 w 2792478"/>
                <a:gd name="connsiteY4994" fmla="*/ 1309028 h 4235290"/>
                <a:gd name="connsiteX4995" fmla="*/ 2718244 w 2792478"/>
                <a:gd name="connsiteY4995" fmla="*/ 1309278 h 4235290"/>
                <a:gd name="connsiteX4996" fmla="*/ 2760189 w 2792478"/>
                <a:gd name="connsiteY4996" fmla="*/ 1343767 h 4235290"/>
                <a:gd name="connsiteX4997" fmla="*/ 2777714 w 2792478"/>
                <a:gd name="connsiteY4997" fmla="*/ 1361416 h 4235290"/>
                <a:gd name="connsiteX4998" fmla="*/ 2763354 w 2792478"/>
                <a:gd name="connsiteY4998" fmla="*/ 1378815 h 4235290"/>
                <a:gd name="connsiteX4999" fmla="*/ 2756834 w 2792478"/>
                <a:gd name="connsiteY4999" fmla="*/ 1377138 h 4235290"/>
                <a:gd name="connsiteX5000" fmla="*/ 2753726 w 2792478"/>
                <a:gd name="connsiteY5000" fmla="*/ 1377511 h 4235290"/>
                <a:gd name="connsiteX5001" fmla="*/ 2754721 w 2792478"/>
                <a:gd name="connsiteY5001" fmla="*/ 1374717 h 4235290"/>
                <a:gd name="connsiteX5002" fmla="*/ 2755527 w 2792478"/>
                <a:gd name="connsiteY5002" fmla="*/ 1371981 h 4235290"/>
                <a:gd name="connsiteX5003" fmla="*/ 2758388 w 2792478"/>
                <a:gd name="connsiteY5003" fmla="*/ 1372354 h 4235290"/>
                <a:gd name="connsiteX5004" fmla="*/ 2759999 w 2792478"/>
                <a:gd name="connsiteY5004" fmla="*/ 1372476 h 4235290"/>
                <a:gd name="connsiteX5005" fmla="*/ 2771061 w 2792478"/>
                <a:gd name="connsiteY5005" fmla="*/ 1361416 h 4235290"/>
                <a:gd name="connsiteX5006" fmla="*/ 2759999 w 2792478"/>
                <a:gd name="connsiteY5006" fmla="*/ 1350356 h 4235290"/>
                <a:gd name="connsiteX5007" fmla="*/ 2758324 w 2792478"/>
                <a:gd name="connsiteY5007" fmla="*/ 1350479 h 4235290"/>
                <a:gd name="connsiteX5008" fmla="*/ 2755527 w 2792478"/>
                <a:gd name="connsiteY5008" fmla="*/ 1350915 h 4235290"/>
                <a:gd name="connsiteX5009" fmla="*/ 2754721 w 2792478"/>
                <a:gd name="connsiteY5009" fmla="*/ 1348179 h 4235290"/>
                <a:gd name="connsiteX5010" fmla="*/ 2716004 w 2792478"/>
                <a:gd name="connsiteY5010" fmla="*/ 1315617 h 4235290"/>
                <a:gd name="connsiteX5011" fmla="*/ 2702704 w 2792478"/>
                <a:gd name="connsiteY5011" fmla="*/ 1317230 h 4235290"/>
                <a:gd name="connsiteX5012" fmla="*/ 2697426 w 2792478"/>
                <a:gd name="connsiteY5012" fmla="*/ 1327922 h 4235290"/>
                <a:gd name="connsiteX5013" fmla="*/ 2713518 w 2792478"/>
                <a:gd name="connsiteY5013" fmla="*/ 1331153 h 4235290"/>
                <a:gd name="connsiteX5014" fmla="*/ 2715821 w 2792478"/>
                <a:gd name="connsiteY5014" fmla="*/ 1325932 h 4235290"/>
                <a:gd name="connsiteX5015" fmla="*/ 2707549 w 2792478"/>
                <a:gd name="connsiteY5015" fmla="*/ 1325623 h 4235290"/>
                <a:gd name="connsiteX5016" fmla="*/ 2705812 w 2792478"/>
                <a:gd name="connsiteY5016" fmla="*/ 1319220 h 4235290"/>
                <a:gd name="connsiteX5017" fmla="*/ 2720667 w 2792478"/>
                <a:gd name="connsiteY5017" fmla="*/ 1321270 h 4235290"/>
                <a:gd name="connsiteX5018" fmla="*/ 2723337 w 2792478"/>
                <a:gd name="connsiteY5018" fmla="*/ 1331898 h 4235290"/>
                <a:gd name="connsiteX5019" fmla="*/ 2697483 w 2792478"/>
                <a:gd name="connsiteY5019" fmla="*/ 1335752 h 4235290"/>
                <a:gd name="connsiteX5020" fmla="*/ 2690214 w 2792478"/>
                <a:gd name="connsiteY5020" fmla="*/ 1319098 h 4235290"/>
                <a:gd name="connsiteX5021" fmla="*/ 2663866 w 2792478"/>
                <a:gd name="connsiteY5021" fmla="*/ 1348179 h 4235290"/>
                <a:gd name="connsiteX5022" fmla="*/ 2662997 w 2792478"/>
                <a:gd name="connsiteY5022" fmla="*/ 1350915 h 4235290"/>
                <a:gd name="connsiteX5023" fmla="*/ 2660200 w 2792478"/>
                <a:gd name="connsiteY5023" fmla="*/ 1350479 h 4235290"/>
                <a:gd name="connsiteX5024" fmla="*/ 2658583 w 2792478"/>
                <a:gd name="connsiteY5024" fmla="*/ 1350356 h 4235290"/>
                <a:gd name="connsiteX5025" fmla="*/ 2647463 w 2792478"/>
                <a:gd name="connsiteY5025" fmla="*/ 1361416 h 4235290"/>
                <a:gd name="connsiteX5026" fmla="*/ 2658583 w 2792478"/>
                <a:gd name="connsiteY5026" fmla="*/ 1372476 h 4235290"/>
                <a:gd name="connsiteX5027" fmla="*/ 2660200 w 2792478"/>
                <a:gd name="connsiteY5027" fmla="*/ 1372354 h 4235290"/>
                <a:gd name="connsiteX5028" fmla="*/ 2662997 w 2792478"/>
                <a:gd name="connsiteY5028" fmla="*/ 1371917 h 4235290"/>
                <a:gd name="connsiteX5029" fmla="*/ 2663866 w 2792478"/>
                <a:gd name="connsiteY5029" fmla="*/ 1374717 h 4235290"/>
                <a:gd name="connsiteX5030" fmla="*/ 2709294 w 2792478"/>
                <a:gd name="connsiteY5030" fmla="*/ 1407774 h 4235290"/>
                <a:gd name="connsiteX5031" fmla="*/ 2729305 w 2792478"/>
                <a:gd name="connsiteY5031" fmla="*/ 1403303 h 4235290"/>
                <a:gd name="connsiteX5032" fmla="*/ 2734215 w 2792478"/>
                <a:gd name="connsiteY5032" fmla="*/ 1408274 h 4235290"/>
                <a:gd name="connsiteX5033" fmla="*/ 2709294 w 2792478"/>
                <a:gd name="connsiteY5033" fmla="*/ 1414363 h 4235290"/>
                <a:gd name="connsiteX5034" fmla="*/ 2658335 w 2792478"/>
                <a:gd name="connsiteY5034" fmla="*/ 1379129 h 4235290"/>
                <a:gd name="connsiteX5035" fmla="*/ 2640873 w 2792478"/>
                <a:gd name="connsiteY5035" fmla="*/ 1361416 h 4235290"/>
                <a:gd name="connsiteX5036" fmla="*/ 2658335 w 2792478"/>
                <a:gd name="connsiteY5036" fmla="*/ 1343767 h 4235290"/>
                <a:gd name="connsiteX5037" fmla="*/ 2709294 w 2792478"/>
                <a:gd name="connsiteY5037" fmla="*/ 1308469 h 4235290"/>
                <a:gd name="connsiteX5038" fmla="*/ 2378877 w 2792478"/>
                <a:gd name="connsiteY5038" fmla="*/ 1308469 h 4235290"/>
                <a:gd name="connsiteX5039" fmla="*/ 2394785 w 2792478"/>
                <a:gd name="connsiteY5039" fmla="*/ 1308469 h 4235290"/>
                <a:gd name="connsiteX5040" fmla="*/ 2426478 w 2792478"/>
                <a:gd name="connsiteY5040" fmla="*/ 1340157 h 4235290"/>
                <a:gd name="connsiteX5041" fmla="*/ 2426478 w 2792478"/>
                <a:gd name="connsiteY5041" fmla="*/ 1511612 h 4235290"/>
                <a:gd name="connsiteX5042" fmla="*/ 2394785 w 2792478"/>
                <a:gd name="connsiteY5042" fmla="*/ 1543249 h 4235290"/>
                <a:gd name="connsiteX5043" fmla="*/ 2324569 w 2792478"/>
                <a:gd name="connsiteY5043" fmla="*/ 1543249 h 4235290"/>
                <a:gd name="connsiteX5044" fmla="*/ 2314745 w 2792478"/>
                <a:gd name="connsiteY5044" fmla="*/ 1533436 h 4235290"/>
                <a:gd name="connsiteX5045" fmla="*/ 2324569 w 2792478"/>
                <a:gd name="connsiteY5045" fmla="*/ 1523611 h 4235290"/>
                <a:gd name="connsiteX5046" fmla="*/ 2394785 w 2792478"/>
                <a:gd name="connsiteY5046" fmla="*/ 1523611 h 4235290"/>
                <a:gd name="connsiteX5047" fmla="*/ 2406845 w 2792478"/>
                <a:gd name="connsiteY5047" fmla="*/ 1511612 h 4235290"/>
                <a:gd name="connsiteX5048" fmla="*/ 2406845 w 2792478"/>
                <a:gd name="connsiteY5048" fmla="*/ 1340157 h 4235290"/>
                <a:gd name="connsiteX5049" fmla="*/ 2394785 w 2792478"/>
                <a:gd name="connsiteY5049" fmla="*/ 1328107 h 4235290"/>
                <a:gd name="connsiteX5050" fmla="*/ 2378877 w 2792478"/>
                <a:gd name="connsiteY5050" fmla="*/ 1328107 h 4235290"/>
                <a:gd name="connsiteX5051" fmla="*/ 2369053 w 2792478"/>
                <a:gd name="connsiteY5051" fmla="*/ 1318345 h 4235290"/>
                <a:gd name="connsiteX5052" fmla="*/ 2378877 w 2792478"/>
                <a:gd name="connsiteY5052" fmla="*/ 1308469 h 4235290"/>
                <a:gd name="connsiteX5053" fmla="*/ 2129618 w 2792478"/>
                <a:gd name="connsiteY5053" fmla="*/ 1308469 h 4235290"/>
                <a:gd name="connsiteX5054" fmla="*/ 2204806 w 2792478"/>
                <a:gd name="connsiteY5054" fmla="*/ 1308469 h 4235290"/>
                <a:gd name="connsiteX5055" fmla="*/ 2214570 w 2792478"/>
                <a:gd name="connsiteY5055" fmla="*/ 1318282 h 4235290"/>
                <a:gd name="connsiteX5056" fmla="*/ 2204806 w 2792478"/>
                <a:gd name="connsiteY5056" fmla="*/ 1328107 h 4235290"/>
                <a:gd name="connsiteX5057" fmla="*/ 2129618 w 2792478"/>
                <a:gd name="connsiteY5057" fmla="*/ 1328107 h 4235290"/>
                <a:gd name="connsiteX5058" fmla="*/ 2117619 w 2792478"/>
                <a:gd name="connsiteY5058" fmla="*/ 1340106 h 4235290"/>
                <a:gd name="connsiteX5059" fmla="*/ 2117619 w 2792478"/>
                <a:gd name="connsiteY5059" fmla="*/ 1511561 h 4235290"/>
                <a:gd name="connsiteX5060" fmla="*/ 2129618 w 2792478"/>
                <a:gd name="connsiteY5060" fmla="*/ 1523611 h 4235290"/>
                <a:gd name="connsiteX5061" fmla="*/ 2145586 w 2792478"/>
                <a:gd name="connsiteY5061" fmla="*/ 1523611 h 4235290"/>
                <a:gd name="connsiteX5062" fmla="*/ 2155411 w 2792478"/>
                <a:gd name="connsiteY5062" fmla="*/ 1533436 h 4235290"/>
                <a:gd name="connsiteX5063" fmla="*/ 2145586 w 2792478"/>
                <a:gd name="connsiteY5063" fmla="*/ 1543249 h 4235290"/>
                <a:gd name="connsiteX5064" fmla="*/ 2129618 w 2792478"/>
                <a:gd name="connsiteY5064" fmla="*/ 1543249 h 4235290"/>
                <a:gd name="connsiteX5065" fmla="*/ 2097985 w 2792478"/>
                <a:gd name="connsiteY5065" fmla="*/ 1511561 h 4235290"/>
                <a:gd name="connsiteX5066" fmla="*/ 2097985 w 2792478"/>
                <a:gd name="connsiteY5066" fmla="*/ 1340157 h 4235290"/>
                <a:gd name="connsiteX5067" fmla="*/ 2129618 w 2792478"/>
                <a:gd name="connsiteY5067" fmla="*/ 1308469 h 4235290"/>
                <a:gd name="connsiteX5068" fmla="*/ 255113 w 2792478"/>
                <a:gd name="connsiteY5068" fmla="*/ 1304492 h 4235290"/>
                <a:gd name="connsiteX5069" fmla="*/ 255672 w 2792478"/>
                <a:gd name="connsiteY5069" fmla="*/ 1312694 h 4235290"/>
                <a:gd name="connsiteX5070" fmla="*/ 268969 w 2792478"/>
                <a:gd name="connsiteY5070" fmla="*/ 1338547 h 4235290"/>
                <a:gd name="connsiteX5071" fmla="*/ 281089 w 2792478"/>
                <a:gd name="connsiteY5071" fmla="*/ 1363031 h 4235290"/>
                <a:gd name="connsiteX5072" fmla="*/ 251879 w 2792478"/>
                <a:gd name="connsiteY5072" fmla="*/ 1392240 h 4235290"/>
                <a:gd name="connsiteX5073" fmla="*/ 222735 w 2792478"/>
                <a:gd name="connsiteY5073" fmla="*/ 1363031 h 4235290"/>
                <a:gd name="connsiteX5074" fmla="*/ 249270 w 2792478"/>
                <a:gd name="connsiteY5074" fmla="*/ 1310208 h 4235290"/>
                <a:gd name="connsiteX5075" fmla="*/ 1967053 w 2792478"/>
                <a:gd name="connsiteY5075" fmla="*/ 1291895 h 4235290"/>
                <a:gd name="connsiteX5076" fmla="*/ 2004827 w 2792478"/>
                <a:gd name="connsiteY5076" fmla="*/ 1291895 h 4235290"/>
                <a:gd name="connsiteX5077" fmla="*/ 2011123 w 2792478"/>
                <a:gd name="connsiteY5077" fmla="*/ 1298192 h 4235290"/>
                <a:gd name="connsiteX5078" fmla="*/ 2004827 w 2792478"/>
                <a:gd name="connsiteY5078" fmla="*/ 1304488 h 4235290"/>
                <a:gd name="connsiteX5079" fmla="*/ 1992233 w 2792478"/>
                <a:gd name="connsiteY5079" fmla="*/ 1317081 h 4235290"/>
                <a:gd name="connsiteX5080" fmla="*/ 1979646 w 2792478"/>
                <a:gd name="connsiteY5080" fmla="*/ 1317081 h 4235290"/>
                <a:gd name="connsiteX5081" fmla="*/ 1967053 w 2792478"/>
                <a:gd name="connsiteY5081" fmla="*/ 1304488 h 4235290"/>
                <a:gd name="connsiteX5082" fmla="*/ 1960751 w 2792478"/>
                <a:gd name="connsiteY5082" fmla="*/ 1298192 h 4235290"/>
                <a:gd name="connsiteX5083" fmla="*/ 1967053 w 2792478"/>
                <a:gd name="connsiteY5083" fmla="*/ 1291895 h 4235290"/>
                <a:gd name="connsiteX5084" fmla="*/ 1967053 w 2792478"/>
                <a:gd name="connsiteY5084" fmla="*/ 1273006 h 4235290"/>
                <a:gd name="connsiteX5085" fmla="*/ 2004827 w 2792478"/>
                <a:gd name="connsiteY5085" fmla="*/ 1273006 h 4235290"/>
                <a:gd name="connsiteX5086" fmla="*/ 2011123 w 2792478"/>
                <a:gd name="connsiteY5086" fmla="*/ 1279293 h 4235290"/>
                <a:gd name="connsiteX5087" fmla="*/ 2004827 w 2792478"/>
                <a:gd name="connsiteY5087" fmla="*/ 1285599 h 4235290"/>
                <a:gd name="connsiteX5088" fmla="*/ 1967053 w 2792478"/>
                <a:gd name="connsiteY5088" fmla="*/ 1285599 h 4235290"/>
                <a:gd name="connsiteX5089" fmla="*/ 1960751 w 2792478"/>
                <a:gd name="connsiteY5089" fmla="*/ 1279293 h 4235290"/>
                <a:gd name="connsiteX5090" fmla="*/ 1967053 w 2792478"/>
                <a:gd name="connsiteY5090" fmla="*/ 1273006 h 4235290"/>
                <a:gd name="connsiteX5091" fmla="*/ 2151487 w 2792478"/>
                <a:gd name="connsiteY5091" fmla="*/ 1268697 h 4235290"/>
                <a:gd name="connsiteX5092" fmla="*/ 2167334 w 2792478"/>
                <a:gd name="connsiteY5092" fmla="*/ 1268697 h 4235290"/>
                <a:gd name="connsiteX5093" fmla="*/ 2188960 w 2792478"/>
                <a:gd name="connsiteY5093" fmla="*/ 1290382 h 4235290"/>
                <a:gd name="connsiteX5094" fmla="*/ 2188960 w 2792478"/>
                <a:gd name="connsiteY5094" fmla="*/ 1292504 h 4235290"/>
                <a:gd name="connsiteX5095" fmla="*/ 2179150 w 2792478"/>
                <a:gd name="connsiteY5095" fmla="*/ 1302253 h 4235290"/>
                <a:gd name="connsiteX5096" fmla="*/ 2169326 w 2792478"/>
                <a:gd name="connsiteY5096" fmla="*/ 1292504 h 4235290"/>
                <a:gd name="connsiteX5097" fmla="*/ 2169326 w 2792478"/>
                <a:gd name="connsiteY5097" fmla="*/ 1290382 h 4235290"/>
                <a:gd name="connsiteX5098" fmla="*/ 2167273 w 2792478"/>
                <a:gd name="connsiteY5098" fmla="*/ 1288335 h 4235290"/>
                <a:gd name="connsiteX5099" fmla="*/ 2151487 w 2792478"/>
                <a:gd name="connsiteY5099" fmla="*/ 1288335 h 4235290"/>
                <a:gd name="connsiteX5100" fmla="*/ 2149434 w 2792478"/>
                <a:gd name="connsiteY5100" fmla="*/ 1290382 h 4235290"/>
                <a:gd name="connsiteX5101" fmla="*/ 2149434 w 2792478"/>
                <a:gd name="connsiteY5101" fmla="*/ 1292504 h 4235290"/>
                <a:gd name="connsiteX5102" fmla="*/ 2139625 w 2792478"/>
                <a:gd name="connsiteY5102" fmla="*/ 1302253 h 4235290"/>
                <a:gd name="connsiteX5103" fmla="*/ 2129800 w 2792478"/>
                <a:gd name="connsiteY5103" fmla="*/ 1292504 h 4235290"/>
                <a:gd name="connsiteX5104" fmla="*/ 2129800 w 2792478"/>
                <a:gd name="connsiteY5104" fmla="*/ 1290382 h 4235290"/>
                <a:gd name="connsiteX5105" fmla="*/ 2151487 w 2792478"/>
                <a:gd name="connsiteY5105" fmla="*/ 1268697 h 4235290"/>
                <a:gd name="connsiteX5106" fmla="*/ 598921 w 2792478"/>
                <a:gd name="connsiteY5106" fmla="*/ 1264695 h 4235290"/>
                <a:gd name="connsiteX5107" fmla="*/ 603010 w 2792478"/>
                <a:gd name="connsiteY5107" fmla="*/ 1283656 h 4235290"/>
                <a:gd name="connsiteX5108" fmla="*/ 603010 w 2792478"/>
                <a:gd name="connsiteY5108" fmla="*/ 1283976 h 4235290"/>
                <a:gd name="connsiteX5109" fmla="*/ 606050 w 2792478"/>
                <a:gd name="connsiteY5109" fmla="*/ 1287021 h 4235290"/>
                <a:gd name="connsiteX5110" fmla="*/ 651053 w 2792478"/>
                <a:gd name="connsiteY5110" fmla="*/ 1287021 h 4235290"/>
                <a:gd name="connsiteX5111" fmla="*/ 654094 w 2792478"/>
                <a:gd name="connsiteY5111" fmla="*/ 1283976 h 4235290"/>
                <a:gd name="connsiteX5112" fmla="*/ 654094 w 2792478"/>
                <a:gd name="connsiteY5112" fmla="*/ 1283539 h 4235290"/>
                <a:gd name="connsiteX5113" fmla="*/ 659663 w 2792478"/>
                <a:gd name="connsiteY5113" fmla="*/ 1264695 h 4235290"/>
                <a:gd name="connsiteX5114" fmla="*/ 2697718 w 2792478"/>
                <a:gd name="connsiteY5114" fmla="*/ 1260657 h 4235290"/>
                <a:gd name="connsiteX5115" fmla="*/ 2735622 w 2792478"/>
                <a:gd name="connsiteY5115" fmla="*/ 1260657 h 4235290"/>
                <a:gd name="connsiteX5116" fmla="*/ 2741947 w 2792478"/>
                <a:gd name="connsiteY5116" fmla="*/ 1266983 h 4235290"/>
                <a:gd name="connsiteX5117" fmla="*/ 2735622 w 2792478"/>
                <a:gd name="connsiteY5117" fmla="*/ 1273291 h 4235290"/>
                <a:gd name="connsiteX5118" fmla="*/ 2734464 w 2792478"/>
                <a:gd name="connsiteY5118" fmla="*/ 1273291 h 4235290"/>
                <a:gd name="connsiteX5119" fmla="*/ 2716677 w 2792478"/>
                <a:gd name="connsiteY5119" fmla="*/ 1285925 h 4235290"/>
                <a:gd name="connsiteX5120" fmla="*/ 2698883 w 2792478"/>
                <a:gd name="connsiteY5120" fmla="*/ 1273291 h 4235290"/>
                <a:gd name="connsiteX5121" fmla="*/ 2697718 w 2792478"/>
                <a:gd name="connsiteY5121" fmla="*/ 1273291 h 4235290"/>
                <a:gd name="connsiteX5122" fmla="*/ 2691408 w 2792478"/>
                <a:gd name="connsiteY5122" fmla="*/ 1266983 h 4235290"/>
                <a:gd name="connsiteX5123" fmla="*/ 2697718 w 2792478"/>
                <a:gd name="connsiteY5123" fmla="*/ 1260657 h 4235290"/>
                <a:gd name="connsiteX5124" fmla="*/ 2617325 w 2792478"/>
                <a:gd name="connsiteY5124" fmla="*/ 1260250 h 4235290"/>
                <a:gd name="connsiteX5125" fmla="*/ 2601713 w 2792478"/>
                <a:gd name="connsiteY5125" fmla="*/ 1315580 h 4235290"/>
                <a:gd name="connsiteX5126" fmla="*/ 2642745 w 2792478"/>
                <a:gd name="connsiteY5126" fmla="*/ 1260250 h 4235290"/>
                <a:gd name="connsiteX5127" fmla="*/ 2580927 w 2792478"/>
                <a:gd name="connsiteY5127" fmla="*/ 1260250 h 4235290"/>
                <a:gd name="connsiteX5128" fmla="*/ 2595317 w 2792478"/>
                <a:gd name="connsiteY5128" fmla="*/ 1320687 h 4235290"/>
                <a:gd name="connsiteX5129" fmla="*/ 2612392 w 2792478"/>
                <a:gd name="connsiteY5129" fmla="*/ 1260250 h 4235290"/>
                <a:gd name="connsiteX5130" fmla="*/ 2547493 w 2792478"/>
                <a:gd name="connsiteY5130" fmla="*/ 1260250 h 4235290"/>
                <a:gd name="connsiteX5131" fmla="*/ 2589540 w 2792478"/>
                <a:gd name="connsiteY5131" fmla="*/ 1316894 h 4235290"/>
                <a:gd name="connsiteX5132" fmla="*/ 2576053 w 2792478"/>
                <a:gd name="connsiteY5132" fmla="*/ 1260250 h 4235290"/>
                <a:gd name="connsiteX5133" fmla="*/ 592287 w 2792478"/>
                <a:gd name="connsiteY5133" fmla="*/ 1256704 h 4235290"/>
                <a:gd name="connsiteX5134" fmla="*/ 590738 w 2792478"/>
                <a:gd name="connsiteY5134" fmla="*/ 1257648 h 4235290"/>
                <a:gd name="connsiteX5135" fmla="*/ 592287 w 2792478"/>
                <a:gd name="connsiteY5135" fmla="*/ 1258596 h 4235290"/>
                <a:gd name="connsiteX5136" fmla="*/ 664821 w 2792478"/>
                <a:gd name="connsiteY5136" fmla="*/ 1258596 h 4235290"/>
                <a:gd name="connsiteX5137" fmla="*/ 666366 w 2792478"/>
                <a:gd name="connsiteY5137" fmla="*/ 1257648 h 4235290"/>
                <a:gd name="connsiteX5138" fmla="*/ 664821 w 2792478"/>
                <a:gd name="connsiteY5138" fmla="*/ 1256704 h 4235290"/>
                <a:gd name="connsiteX5139" fmla="*/ 2697718 w 2792478"/>
                <a:gd name="connsiteY5139" fmla="*/ 1241705 h 4235290"/>
                <a:gd name="connsiteX5140" fmla="*/ 2735622 w 2792478"/>
                <a:gd name="connsiteY5140" fmla="*/ 1241705 h 4235290"/>
                <a:gd name="connsiteX5141" fmla="*/ 2741947 w 2792478"/>
                <a:gd name="connsiteY5141" fmla="*/ 1248023 h 4235290"/>
                <a:gd name="connsiteX5142" fmla="*/ 2735622 w 2792478"/>
                <a:gd name="connsiteY5142" fmla="*/ 1254340 h 4235290"/>
                <a:gd name="connsiteX5143" fmla="*/ 2697718 w 2792478"/>
                <a:gd name="connsiteY5143" fmla="*/ 1254340 h 4235290"/>
                <a:gd name="connsiteX5144" fmla="*/ 2691408 w 2792478"/>
                <a:gd name="connsiteY5144" fmla="*/ 1248023 h 4235290"/>
                <a:gd name="connsiteX5145" fmla="*/ 2697718 w 2792478"/>
                <a:gd name="connsiteY5145" fmla="*/ 1241705 h 4235290"/>
                <a:gd name="connsiteX5146" fmla="*/ 604819 w 2792478"/>
                <a:gd name="connsiteY5146" fmla="*/ 1236900 h 4235290"/>
                <a:gd name="connsiteX5147" fmla="*/ 613542 w 2792478"/>
                <a:gd name="connsiteY5147" fmla="*/ 1236900 h 4235290"/>
                <a:gd name="connsiteX5148" fmla="*/ 621278 w 2792478"/>
                <a:gd name="connsiteY5148" fmla="*/ 1246042 h 4235290"/>
                <a:gd name="connsiteX5149" fmla="*/ 618229 w 2792478"/>
                <a:gd name="connsiteY5149" fmla="*/ 1249089 h 4235290"/>
                <a:gd name="connsiteX5150" fmla="*/ 615184 w 2792478"/>
                <a:gd name="connsiteY5150" fmla="*/ 1246042 h 4235290"/>
                <a:gd name="connsiteX5151" fmla="*/ 613542 w 2792478"/>
                <a:gd name="connsiteY5151" fmla="*/ 1242997 h 4235290"/>
                <a:gd name="connsiteX5152" fmla="*/ 604819 w 2792478"/>
                <a:gd name="connsiteY5152" fmla="*/ 1242997 h 4235290"/>
                <a:gd name="connsiteX5153" fmla="*/ 603181 w 2792478"/>
                <a:gd name="connsiteY5153" fmla="*/ 1246042 h 4235290"/>
                <a:gd name="connsiteX5154" fmla="*/ 603181 w 2792478"/>
                <a:gd name="connsiteY5154" fmla="*/ 1250612 h 4235290"/>
                <a:gd name="connsiteX5155" fmla="*/ 664821 w 2792478"/>
                <a:gd name="connsiteY5155" fmla="*/ 1250612 h 4235290"/>
                <a:gd name="connsiteX5156" fmla="*/ 672451 w 2792478"/>
                <a:gd name="connsiteY5156" fmla="*/ 1257648 h 4235290"/>
                <a:gd name="connsiteX5157" fmla="*/ 666309 w 2792478"/>
                <a:gd name="connsiteY5157" fmla="*/ 1264555 h 4235290"/>
                <a:gd name="connsiteX5158" fmla="*/ 666024 w 2792478"/>
                <a:gd name="connsiteY5158" fmla="*/ 1264680 h 4235290"/>
                <a:gd name="connsiteX5159" fmla="*/ 660175 w 2792478"/>
                <a:gd name="connsiteY5159" fmla="*/ 1284460 h 4235290"/>
                <a:gd name="connsiteX5160" fmla="*/ 651053 w 2792478"/>
                <a:gd name="connsiteY5160" fmla="*/ 1293110 h 4235290"/>
                <a:gd name="connsiteX5161" fmla="*/ 606050 w 2792478"/>
                <a:gd name="connsiteY5161" fmla="*/ 1293110 h 4235290"/>
                <a:gd name="connsiteX5162" fmla="*/ 596925 w 2792478"/>
                <a:gd name="connsiteY5162" fmla="*/ 1284333 h 4235290"/>
                <a:gd name="connsiteX5163" fmla="*/ 592779 w 2792478"/>
                <a:gd name="connsiteY5163" fmla="*/ 1265094 h 4235290"/>
                <a:gd name="connsiteX5164" fmla="*/ 590758 w 2792478"/>
                <a:gd name="connsiteY5164" fmla="*/ 1264555 h 4235290"/>
                <a:gd name="connsiteX5165" fmla="*/ 584649 w 2792478"/>
                <a:gd name="connsiteY5165" fmla="*/ 1257648 h 4235290"/>
                <a:gd name="connsiteX5166" fmla="*/ 592287 w 2792478"/>
                <a:gd name="connsiteY5166" fmla="*/ 1250612 h 4235290"/>
                <a:gd name="connsiteX5167" fmla="*/ 597087 w 2792478"/>
                <a:gd name="connsiteY5167" fmla="*/ 1250612 h 4235290"/>
                <a:gd name="connsiteX5168" fmla="*/ 597087 w 2792478"/>
                <a:gd name="connsiteY5168" fmla="*/ 1246042 h 4235290"/>
                <a:gd name="connsiteX5169" fmla="*/ 604819 w 2792478"/>
                <a:gd name="connsiteY5169" fmla="*/ 1236900 h 4235290"/>
                <a:gd name="connsiteX5170" fmla="*/ 429060 w 2792478"/>
                <a:gd name="connsiteY5170" fmla="*/ 1234981 h 4235290"/>
                <a:gd name="connsiteX5171" fmla="*/ 435958 w 2792478"/>
                <a:gd name="connsiteY5171" fmla="*/ 1240455 h 4235290"/>
                <a:gd name="connsiteX5172" fmla="*/ 430485 w 2792478"/>
                <a:gd name="connsiteY5172" fmla="*/ 1247295 h 4235290"/>
                <a:gd name="connsiteX5173" fmla="*/ 356164 w 2792478"/>
                <a:gd name="connsiteY5173" fmla="*/ 1304458 h 4235290"/>
                <a:gd name="connsiteX5174" fmla="*/ 350205 w 2792478"/>
                <a:gd name="connsiteY5174" fmla="*/ 1308817 h 4235290"/>
                <a:gd name="connsiteX5175" fmla="*/ 348408 w 2792478"/>
                <a:gd name="connsiteY5175" fmla="*/ 1308567 h 4235290"/>
                <a:gd name="connsiteX5176" fmla="*/ 344295 w 2792478"/>
                <a:gd name="connsiteY5176" fmla="*/ 1300794 h 4235290"/>
                <a:gd name="connsiteX5177" fmla="*/ 429060 w 2792478"/>
                <a:gd name="connsiteY5177" fmla="*/ 1234981 h 4235290"/>
                <a:gd name="connsiteX5178" fmla="*/ 2628207 w 2792478"/>
                <a:gd name="connsiteY5178" fmla="*/ 1234361 h 4235290"/>
                <a:gd name="connsiteX5179" fmla="*/ 2619226 w 2792478"/>
                <a:gd name="connsiteY5179" fmla="*/ 1255487 h 4235290"/>
                <a:gd name="connsiteX5180" fmla="*/ 2642772 w 2792478"/>
                <a:gd name="connsiteY5180" fmla="*/ 1255487 h 4235290"/>
                <a:gd name="connsiteX5181" fmla="*/ 2628207 w 2792478"/>
                <a:gd name="connsiteY5181" fmla="*/ 1234361 h 4235290"/>
                <a:gd name="connsiteX5182" fmla="*/ 2562272 w 2792478"/>
                <a:gd name="connsiteY5182" fmla="*/ 1234022 h 4235290"/>
                <a:gd name="connsiteX5183" fmla="*/ 2547493 w 2792478"/>
                <a:gd name="connsiteY5183" fmla="*/ 1255487 h 4235290"/>
                <a:gd name="connsiteX5184" fmla="*/ 2573922 w 2792478"/>
                <a:gd name="connsiteY5184" fmla="*/ 1255487 h 4235290"/>
                <a:gd name="connsiteX5185" fmla="*/ 2465705 w 2792478"/>
                <a:gd name="connsiteY5185" fmla="*/ 1232930 h 4235290"/>
                <a:gd name="connsiteX5186" fmla="*/ 2468943 w 2792478"/>
                <a:gd name="connsiteY5186" fmla="*/ 1234984 h 4235290"/>
                <a:gd name="connsiteX5187" fmla="*/ 2479444 w 2792478"/>
                <a:gd name="connsiteY5187" fmla="*/ 1263627 h 4235290"/>
                <a:gd name="connsiteX5188" fmla="*/ 2465705 w 2792478"/>
                <a:gd name="connsiteY5188" fmla="*/ 1277365 h 4235290"/>
                <a:gd name="connsiteX5189" fmla="*/ 2451975 w 2792478"/>
                <a:gd name="connsiteY5189" fmla="*/ 1263627 h 4235290"/>
                <a:gd name="connsiteX5190" fmla="*/ 2462476 w 2792478"/>
                <a:gd name="connsiteY5190" fmla="*/ 1234984 h 4235290"/>
                <a:gd name="connsiteX5191" fmla="*/ 2465705 w 2792478"/>
                <a:gd name="connsiteY5191" fmla="*/ 1232930 h 4235290"/>
                <a:gd name="connsiteX5192" fmla="*/ 2595247 w 2792478"/>
                <a:gd name="connsiteY5192" fmla="*/ 1232836 h 4235290"/>
                <a:gd name="connsiteX5193" fmla="*/ 2582038 w 2792478"/>
                <a:gd name="connsiteY5193" fmla="*/ 1255487 h 4235290"/>
                <a:gd name="connsiteX5194" fmla="*/ 2610438 w 2792478"/>
                <a:gd name="connsiteY5194" fmla="*/ 1255487 h 4235290"/>
                <a:gd name="connsiteX5195" fmla="*/ 2595247 w 2792478"/>
                <a:gd name="connsiteY5195" fmla="*/ 1232836 h 4235290"/>
                <a:gd name="connsiteX5196" fmla="*/ 2600256 w 2792478"/>
                <a:gd name="connsiteY5196" fmla="*/ 1231718 h 4235290"/>
                <a:gd name="connsiteX5197" fmla="*/ 2614864 w 2792478"/>
                <a:gd name="connsiteY5197" fmla="*/ 1253593 h 4235290"/>
                <a:gd name="connsiteX5198" fmla="*/ 2624154 w 2792478"/>
                <a:gd name="connsiteY5198" fmla="*/ 1231718 h 4235290"/>
                <a:gd name="connsiteX5199" fmla="*/ 2600256 w 2792478"/>
                <a:gd name="connsiteY5199" fmla="*/ 1231718 h 4235290"/>
                <a:gd name="connsiteX5200" fmla="*/ 2566431 w 2792478"/>
                <a:gd name="connsiteY5200" fmla="*/ 1231718 h 4235290"/>
                <a:gd name="connsiteX5201" fmla="*/ 2577991 w 2792478"/>
                <a:gd name="connsiteY5201" fmla="*/ 1253018 h 4235290"/>
                <a:gd name="connsiteX5202" fmla="*/ 2590389 w 2792478"/>
                <a:gd name="connsiteY5202" fmla="*/ 1231718 h 4235290"/>
                <a:gd name="connsiteX5203" fmla="*/ 2566431 w 2792478"/>
                <a:gd name="connsiteY5203" fmla="*/ 1231718 h 4235290"/>
                <a:gd name="connsiteX5204" fmla="*/ 2560270 w 2792478"/>
                <a:gd name="connsiteY5204" fmla="*/ 1224968 h 4235290"/>
                <a:gd name="connsiteX5205" fmla="*/ 2629969 w 2792478"/>
                <a:gd name="connsiteY5205" fmla="*/ 1224968 h 4235290"/>
                <a:gd name="connsiteX5206" fmla="*/ 2652783 w 2792478"/>
                <a:gd name="connsiteY5206" fmla="*/ 1258089 h 4235290"/>
                <a:gd name="connsiteX5207" fmla="*/ 2595119 w 2792478"/>
                <a:gd name="connsiteY5207" fmla="*/ 1335833 h 4235290"/>
                <a:gd name="connsiteX5208" fmla="*/ 2537455 w 2792478"/>
                <a:gd name="connsiteY5208" fmla="*/ 1258089 h 4235290"/>
                <a:gd name="connsiteX5209" fmla="*/ 429627 w 2792478"/>
                <a:gd name="connsiteY5209" fmla="*/ 1221132 h 4235290"/>
                <a:gd name="connsiteX5210" fmla="*/ 319376 w 2792478"/>
                <a:gd name="connsiteY5210" fmla="*/ 1305210 h 4235290"/>
                <a:gd name="connsiteX5211" fmla="*/ 319942 w 2792478"/>
                <a:gd name="connsiteY5211" fmla="*/ 1313722 h 4235290"/>
                <a:gd name="connsiteX5212" fmla="*/ 327213 w 2792478"/>
                <a:gd name="connsiteY5212" fmla="*/ 1319811 h 4235290"/>
                <a:gd name="connsiteX5213" fmla="*/ 532154 w 2792478"/>
                <a:gd name="connsiteY5213" fmla="*/ 1319811 h 4235290"/>
                <a:gd name="connsiteX5214" fmla="*/ 539554 w 2792478"/>
                <a:gd name="connsiteY5214" fmla="*/ 1313779 h 4235290"/>
                <a:gd name="connsiteX5215" fmla="*/ 540169 w 2792478"/>
                <a:gd name="connsiteY5215" fmla="*/ 1305210 h 4235290"/>
                <a:gd name="connsiteX5216" fmla="*/ 429627 w 2792478"/>
                <a:gd name="connsiteY5216" fmla="*/ 1221132 h 4235290"/>
                <a:gd name="connsiteX5217" fmla="*/ 192427 w 2792478"/>
                <a:gd name="connsiteY5217" fmla="*/ 1220939 h 4235290"/>
                <a:gd name="connsiteX5218" fmla="*/ 180057 w 2792478"/>
                <a:gd name="connsiteY5218" fmla="*/ 1226038 h 4235290"/>
                <a:gd name="connsiteX5219" fmla="*/ 180057 w 2792478"/>
                <a:gd name="connsiteY5219" fmla="*/ 1250705 h 4235290"/>
                <a:gd name="connsiteX5220" fmla="*/ 204797 w 2792478"/>
                <a:gd name="connsiteY5220" fmla="*/ 1250705 h 4235290"/>
                <a:gd name="connsiteX5221" fmla="*/ 209888 w 2792478"/>
                <a:gd name="connsiteY5221" fmla="*/ 1238406 h 4235290"/>
                <a:gd name="connsiteX5222" fmla="*/ 204797 w 2792478"/>
                <a:gd name="connsiteY5222" fmla="*/ 1226038 h 4235290"/>
                <a:gd name="connsiteX5223" fmla="*/ 192427 w 2792478"/>
                <a:gd name="connsiteY5223" fmla="*/ 1220939 h 4235290"/>
                <a:gd name="connsiteX5224" fmla="*/ 192427 w 2792478"/>
                <a:gd name="connsiteY5224" fmla="*/ 1209068 h 4235290"/>
                <a:gd name="connsiteX5225" fmla="*/ 213125 w 2792478"/>
                <a:gd name="connsiteY5225" fmla="*/ 1217648 h 4235290"/>
                <a:gd name="connsiteX5226" fmla="*/ 217905 w 2792478"/>
                <a:gd name="connsiteY5226" fmla="*/ 1252822 h 4235290"/>
                <a:gd name="connsiteX5227" fmla="*/ 250781 w 2792478"/>
                <a:gd name="connsiteY5227" fmla="*/ 1285630 h 4235290"/>
                <a:gd name="connsiteX5228" fmla="*/ 239719 w 2792478"/>
                <a:gd name="connsiteY5228" fmla="*/ 1296755 h 4235290"/>
                <a:gd name="connsiteX5229" fmla="*/ 206843 w 2792478"/>
                <a:gd name="connsiteY5229" fmla="*/ 1263947 h 4235290"/>
                <a:gd name="connsiteX5230" fmla="*/ 192368 w 2792478"/>
                <a:gd name="connsiteY5230" fmla="*/ 1267735 h 4235290"/>
                <a:gd name="connsiteX5231" fmla="*/ 171670 w 2792478"/>
                <a:gd name="connsiteY5231" fmla="*/ 1259155 h 4235290"/>
                <a:gd name="connsiteX5232" fmla="*/ 163099 w 2792478"/>
                <a:gd name="connsiteY5232" fmla="*/ 1238406 h 4235290"/>
                <a:gd name="connsiteX5233" fmla="*/ 171670 w 2792478"/>
                <a:gd name="connsiteY5233" fmla="*/ 1217648 h 4235290"/>
                <a:gd name="connsiteX5234" fmla="*/ 192427 w 2792478"/>
                <a:gd name="connsiteY5234" fmla="*/ 1209068 h 4235290"/>
                <a:gd name="connsiteX5235" fmla="*/ 2225083 w 2792478"/>
                <a:gd name="connsiteY5235" fmla="*/ 1201110 h 4235290"/>
                <a:gd name="connsiteX5236" fmla="*/ 2272998 w 2792478"/>
                <a:gd name="connsiteY5236" fmla="*/ 1249025 h 4235290"/>
                <a:gd name="connsiteX5237" fmla="*/ 2272998 w 2792478"/>
                <a:gd name="connsiteY5237" fmla="*/ 1276680 h 4235290"/>
                <a:gd name="connsiteX5238" fmla="*/ 2245284 w 2792478"/>
                <a:gd name="connsiteY5238" fmla="*/ 1276680 h 4235290"/>
                <a:gd name="connsiteX5239" fmla="*/ 2197438 w 2792478"/>
                <a:gd name="connsiteY5239" fmla="*/ 1228766 h 4235290"/>
                <a:gd name="connsiteX5240" fmla="*/ 2225083 w 2792478"/>
                <a:gd name="connsiteY5240" fmla="*/ 1201110 h 4235290"/>
                <a:gd name="connsiteX5241" fmla="*/ 263821 w 2792478"/>
                <a:gd name="connsiteY5241" fmla="*/ 1195219 h 4235290"/>
                <a:gd name="connsiteX5242" fmla="*/ 268419 w 2792478"/>
                <a:gd name="connsiteY5242" fmla="*/ 1196391 h 4235290"/>
                <a:gd name="connsiteX5243" fmla="*/ 310745 w 2792478"/>
                <a:gd name="connsiteY5243" fmla="*/ 1228028 h 4235290"/>
                <a:gd name="connsiteX5244" fmla="*/ 311927 w 2792478"/>
                <a:gd name="connsiteY5244" fmla="*/ 1236666 h 4235290"/>
                <a:gd name="connsiteX5245" fmla="*/ 307021 w 2792478"/>
                <a:gd name="connsiteY5245" fmla="*/ 1239147 h 4235290"/>
                <a:gd name="connsiteX5246" fmla="*/ 303281 w 2792478"/>
                <a:gd name="connsiteY5246" fmla="*/ 1237906 h 4235290"/>
                <a:gd name="connsiteX5247" fmla="*/ 260971 w 2792478"/>
                <a:gd name="connsiteY5247" fmla="*/ 1206337 h 4235290"/>
                <a:gd name="connsiteX5248" fmla="*/ 259724 w 2792478"/>
                <a:gd name="connsiteY5248" fmla="*/ 1197643 h 4235290"/>
                <a:gd name="connsiteX5249" fmla="*/ 263821 w 2792478"/>
                <a:gd name="connsiteY5249" fmla="*/ 1195219 h 4235290"/>
                <a:gd name="connsiteX5250" fmla="*/ 601197 w 2792478"/>
                <a:gd name="connsiteY5250" fmla="*/ 1193227 h 4235290"/>
                <a:gd name="connsiteX5251" fmla="*/ 605310 w 2792478"/>
                <a:gd name="connsiteY5251" fmla="*/ 1195458 h 4235290"/>
                <a:gd name="connsiteX5252" fmla="*/ 604306 w 2792478"/>
                <a:gd name="connsiteY5252" fmla="*/ 1204220 h 4235290"/>
                <a:gd name="connsiteX5253" fmla="*/ 562854 w 2792478"/>
                <a:gd name="connsiteY5253" fmla="*/ 1236916 h 4235290"/>
                <a:gd name="connsiteX5254" fmla="*/ 559001 w 2792478"/>
                <a:gd name="connsiteY5254" fmla="*/ 1238282 h 4235290"/>
                <a:gd name="connsiteX5255" fmla="*/ 554159 w 2792478"/>
                <a:gd name="connsiteY5255" fmla="*/ 1235915 h 4235290"/>
                <a:gd name="connsiteX5256" fmla="*/ 555147 w 2792478"/>
                <a:gd name="connsiteY5256" fmla="*/ 1227220 h 4235290"/>
                <a:gd name="connsiteX5257" fmla="*/ 596599 w 2792478"/>
                <a:gd name="connsiteY5257" fmla="*/ 1194536 h 4235290"/>
                <a:gd name="connsiteX5258" fmla="*/ 601197 w 2792478"/>
                <a:gd name="connsiteY5258" fmla="*/ 1193227 h 4235290"/>
                <a:gd name="connsiteX5259" fmla="*/ 95487 w 2792478"/>
                <a:gd name="connsiteY5259" fmla="*/ 1191173 h 4235290"/>
                <a:gd name="connsiteX5260" fmla="*/ 178379 w 2792478"/>
                <a:gd name="connsiteY5260" fmla="*/ 1191173 h 4235290"/>
                <a:gd name="connsiteX5261" fmla="*/ 178379 w 2792478"/>
                <a:gd name="connsiteY5261" fmla="*/ 1204594 h 4235290"/>
                <a:gd name="connsiteX5262" fmla="*/ 95487 w 2792478"/>
                <a:gd name="connsiteY5262" fmla="*/ 1204594 h 4235290"/>
                <a:gd name="connsiteX5263" fmla="*/ 95487 w 2792478"/>
                <a:gd name="connsiteY5263" fmla="*/ 1191173 h 4235290"/>
                <a:gd name="connsiteX5264" fmla="*/ 417013 w 2792478"/>
                <a:gd name="connsiteY5264" fmla="*/ 1186820 h 4235290"/>
                <a:gd name="connsiteX5265" fmla="*/ 425773 w 2792478"/>
                <a:gd name="connsiteY5265" fmla="*/ 1208943 h 4235290"/>
                <a:gd name="connsiteX5266" fmla="*/ 429627 w 2792478"/>
                <a:gd name="connsiteY5266" fmla="*/ 1208761 h 4235290"/>
                <a:gd name="connsiteX5267" fmla="*/ 433157 w 2792478"/>
                <a:gd name="connsiteY5267" fmla="*/ 1208886 h 4235290"/>
                <a:gd name="connsiteX5268" fmla="*/ 441933 w 2792478"/>
                <a:gd name="connsiteY5268" fmla="*/ 1186820 h 4235290"/>
                <a:gd name="connsiteX5269" fmla="*/ 2659288 w 2792478"/>
                <a:gd name="connsiteY5269" fmla="*/ 1185423 h 4235290"/>
                <a:gd name="connsiteX5270" fmla="*/ 2664433 w 2792478"/>
                <a:gd name="connsiteY5270" fmla="*/ 1197046 h 4235290"/>
                <a:gd name="connsiteX5271" fmla="*/ 2654178 w 2792478"/>
                <a:gd name="connsiteY5271" fmla="*/ 1202951 h 4235290"/>
                <a:gd name="connsiteX5272" fmla="*/ 2647860 w 2792478"/>
                <a:gd name="connsiteY5272" fmla="*/ 1192011 h 4235290"/>
                <a:gd name="connsiteX5273" fmla="*/ 2659288 w 2792478"/>
                <a:gd name="connsiteY5273" fmla="*/ 1185423 h 4235290"/>
                <a:gd name="connsiteX5274" fmla="*/ 2774004 w 2792478"/>
                <a:gd name="connsiteY5274" fmla="*/ 1185394 h 4235290"/>
                <a:gd name="connsiteX5275" fmla="*/ 2785487 w 2792478"/>
                <a:gd name="connsiteY5275" fmla="*/ 1192011 h 4235290"/>
                <a:gd name="connsiteX5276" fmla="*/ 2779170 w 2792478"/>
                <a:gd name="connsiteY5276" fmla="*/ 1202951 h 4235290"/>
                <a:gd name="connsiteX5277" fmla="*/ 2768830 w 2792478"/>
                <a:gd name="connsiteY5277" fmla="*/ 1196980 h 4235290"/>
                <a:gd name="connsiteX5278" fmla="*/ 2774004 w 2792478"/>
                <a:gd name="connsiteY5278" fmla="*/ 1185394 h 4235290"/>
                <a:gd name="connsiteX5279" fmla="*/ 2357617 w 2792478"/>
                <a:gd name="connsiteY5279" fmla="*/ 1170409 h 4235290"/>
                <a:gd name="connsiteX5280" fmla="*/ 2357617 w 2792478"/>
                <a:gd name="connsiteY5280" fmla="*/ 1210872 h 4235290"/>
                <a:gd name="connsiteX5281" fmla="*/ 2398082 w 2792478"/>
                <a:gd name="connsiteY5281" fmla="*/ 1210872 h 4235290"/>
                <a:gd name="connsiteX5282" fmla="*/ 2398082 w 2792478"/>
                <a:gd name="connsiteY5282" fmla="*/ 1170409 h 4235290"/>
                <a:gd name="connsiteX5283" fmla="*/ 2317146 w 2792478"/>
                <a:gd name="connsiteY5283" fmla="*/ 1170409 h 4235290"/>
                <a:gd name="connsiteX5284" fmla="*/ 2317146 w 2792478"/>
                <a:gd name="connsiteY5284" fmla="*/ 1210872 h 4235290"/>
                <a:gd name="connsiteX5285" fmla="*/ 2333334 w 2792478"/>
                <a:gd name="connsiteY5285" fmla="*/ 1210872 h 4235290"/>
                <a:gd name="connsiteX5286" fmla="*/ 2333334 w 2792478"/>
                <a:gd name="connsiteY5286" fmla="*/ 1170409 h 4235290"/>
                <a:gd name="connsiteX5287" fmla="*/ 2357617 w 2792478"/>
                <a:gd name="connsiteY5287" fmla="*/ 1162303 h 4235290"/>
                <a:gd name="connsiteX5288" fmla="*/ 2398082 w 2792478"/>
                <a:gd name="connsiteY5288" fmla="*/ 1162303 h 4235290"/>
                <a:gd name="connsiteX5289" fmla="*/ 2406159 w 2792478"/>
                <a:gd name="connsiteY5289" fmla="*/ 1170409 h 4235290"/>
                <a:gd name="connsiteX5290" fmla="*/ 2406159 w 2792478"/>
                <a:gd name="connsiteY5290" fmla="*/ 1210872 h 4235290"/>
                <a:gd name="connsiteX5291" fmla="*/ 2398082 w 2792478"/>
                <a:gd name="connsiteY5291" fmla="*/ 1218954 h 4235290"/>
                <a:gd name="connsiteX5292" fmla="*/ 2357617 w 2792478"/>
                <a:gd name="connsiteY5292" fmla="*/ 1218954 h 4235290"/>
                <a:gd name="connsiteX5293" fmla="*/ 2349505 w 2792478"/>
                <a:gd name="connsiteY5293" fmla="*/ 1210872 h 4235290"/>
                <a:gd name="connsiteX5294" fmla="*/ 2349505 w 2792478"/>
                <a:gd name="connsiteY5294" fmla="*/ 1170409 h 4235290"/>
                <a:gd name="connsiteX5295" fmla="*/ 2357617 w 2792478"/>
                <a:gd name="connsiteY5295" fmla="*/ 1162303 h 4235290"/>
                <a:gd name="connsiteX5296" fmla="*/ 2317146 w 2792478"/>
                <a:gd name="connsiteY5296" fmla="*/ 1162303 h 4235290"/>
                <a:gd name="connsiteX5297" fmla="*/ 2333334 w 2792478"/>
                <a:gd name="connsiteY5297" fmla="*/ 1162303 h 4235290"/>
                <a:gd name="connsiteX5298" fmla="*/ 2341429 w 2792478"/>
                <a:gd name="connsiteY5298" fmla="*/ 1170409 h 4235290"/>
                <a:gd name="connsiteX5299" fmla="*/ 2341429 w 2792478"/>
                <a:gd name="connsiteY5299" fmla="*/ 1210872 h 4235290"/>
                <a:gd name="connsiteX5300" fmla="*/ 2333334 w 2792478"/>
                <a:gd name="connsiteY5300" fmla="*/ 1218954 h 4235290"/>
                <a:gd name="connsiteX5301" fmla="*/ 2317146 w 2792478"/>
                <a:gd name="connsiteY5301" fmla="*/ 1218954 h 4235290"/>
                <a:gd name="connsiteX5302" fmla="*/ 2309040 w 2792478"/>
                <a:gd name="connsiteY5302" fmla="*/ 1210872 h 4235290"/>
                <a:gd name="connsiteX5303" fmla="*/ 2309040 w 2792478"/>
                <a:gd name="connsiteY5303" fmla="*/ 1170409 h 4235290"/>
                <a:gd name="connsiteX5304" fmla="*/ 2317146 w 2792478"/>
                <a:gd name="connsiteY5304" fmla="*/ 1162303 h 4235290"/>
                <a:gd name="connsiteX5305" fmla="*/ 413904 w 2792478"/>
                <a:gd name="connsiteY5305" fmla="*/ 1159792 h 4235290"/>
                <a:gd name="connsiteX5306" fmla="*/ 403898 w 2792478"/>
                <a:gd name="connsiteY5306" fmla="*/ 1167120 h 4235290"/>
                <a:gd name="connsiteX5307" fmla="*/ 413904 w 2792478"/>
                <a:gd name="connsiteY5307" fmla="*/ 1174393 h 4235290"/>
                <a:gd name="connsiteX5308" fmla="*/ 445349 w 2792478"/>
                <a:gd name="connsiteY5308" fmla="*/ 1174393 h 4235290"/>
                <a:gd name="connsiteX5309" fmla="*/ 455356 w 2792478"/>
                <a:gd name="connsiteY5309" fmla="*/ 1167120 h 4235290"/>
                <a:gd name="connsiteX5310" fmla="*/ 445349 w 2792478"/>
                <a:gd name="connsiteY5310" fmla="*/ 1159792 h 4235290"/>
                <a:gd name="connsiteX5311" fmla="*/ 95487 w 2792478"/>
                <a:gd name="connsiteY5311" fmla="*/ 1153393 h 4235290"/>
                <a:gd name="connsiteX5312" fmla="*/ 178379 w 2792478"/>
                <a:gd name="connsiteY5312" fmla="*/ 1153393 h 4235290"/>
                <a:gd name="connsiteX5313" fmla="*/ 178379 w 2792478"/>
                <a:gd name="connsiteY5313" fmla="*/ 1166815 h 4235290"/>
                <a:gd name="connsiteX5314" fmla="*/ 95487 w 2792478"/>
                <a:gd name="connsiteY5314" fmla="*/ 1166815 h 4235290"/>
                <a:gd name="connsiteX5315" fmla="*/ 95487 w 2792478"/>
                <a:gd name="connsiteY5315" fmla="*/ 1153393 h 4235290"/>
                <a:gd name="connsiteX5316" fmla="*/ 2779205 w 2792478"/>
                <a:gd name="connsiteY5316" fmla="*/ 1153266 h 4235290"/>
                <a:gd name="connsiteX5317" fmla="*/ 2792478 w 2792478"/>
                <a:gd name="connsiteY5317" fmla="*/ 1153266 h 4235290"/>
                <a:gd name="connsiteX5318" fmla="*/ 2792478 w 2792478"/>
                <a:gd name="connsiteY5318" fmla="*/ 1165900 h 4235290"/>
                <a:gd name="connsiteX5319" fmla="*/ 2779177 w 2792478"/>
                <a:gd name="connsiteY5319" fmla="*/ 1165900 h 4235290"/>
                <a:gd name="connsiteX5320" fmla="*/ 2779851 w 2792478"/>
                <a:gd name="connsiteY5320" fmla="*/ 1159583 h 4235290"/>
                <a:gd name="connsiteX5321" fmla="*/ 2779205 w 2792478"/>
                <a:gd name="connsiteY5321" fmla="*/ 1153266 h 4235290"/>
                <a:gd name="connsiteX5322" fmla="*/ 2640862 w 2792478"/>
                <a:gd name="connsiteY5322" fmla="*/ 1153266 h 4235290"/>
                <a:gd name="connsiteX5323" fmla="*/ 2654143 w 2792478"/>
                <a:gd name="connsiteY5323" fmla="*/ 1153266 h 4235290"/>
                <a:gd name="connsiteX5324" fmla="*/ 2653504 w 2792478"/>
                <a:gd name="connsiteY5324" fmla="*/ 1159583 h 4235290"/>
                <a:gd name="connsiteX5325" fmla="*/ 2654164 w 2792478"/>
                <a:gd name="connsiteY5325" fmla="*/ 1165900 h 4235290"/>
                <a:gd name="connsiteX5326" fmla="*/ 2640862 w 2792478"/>
                <a:gd name="connsiteY5326" fmla="*/ 1165900 h 4235290"/>
                <a:gd name="connsiteX5327" fmla="*/ 551990 w 2792478"/>
                <a:gd name="connsiteY5327" fmla="*/ 1147489 h 4235290"/>
                <a:gd name="connsiteX5328" fmla="*/ 556588 w 2792478"/>
                <a:gd name="connsiteY5328" fmla="*/ 1148673 h 4235290"/>
                <a:gd name="connsiteX5329" fmla="*/ 557819 w 2792478"/>
                <a:gd name="connsiteY5329" fmla="*/ 1157311 h 4235290"/>
                <a:gd name="connsiteX5330" fmla="*/ 526196 w 2792478"/>
                <a:gd name="connsiteY5330" fmla="*/ 1199623 h 4235290"/>
                <a:gd name="connsiteX5331" fmla="*/ 521225 w 2792478"/>
                <a:gd name="connsiteY5331" fmla="*/ 1202115 h 4235290"/>
                <a:gd name="connsiteX5332" fmla="*/ 517501 w 2792478"/>
                <a:gd name="connsiteY5332" fmla="*/ 1200875 h 4235290"/>
                <a:gd name="connsiteX5333" fmla="*/ 516254 w 2792478"/>
                <a:gd name="connsiteY5333" fmla="*/ 1192237 h 4235290"/>
                <a:gd name="connsiteX5334" fmla="*/ 547877 w 2792478"/>
                <a:gd name="connsiteY5334" fmla="*/ 1149913 h 4235290"/>
                <a:gd name="connsiteX5335" fmla="*/ 551990 w 2792478"/>
                <a:gd name="connsiteY5335" fmla="*/ 1147489 h 4235290"/>
                <a:gd name="connsiteX5336" fmla="*/ 311182 w 2792478"/>
                <a:gd name="connsiteY5336" fmla="*/ 1147489 h 4235290"/>
                <a:gd name="connsiteX5337" fmla="*/ 315279 w 2792478"/>
                <a:gd name="connsiteY5337" fmla="*/ 1149788 h 4235290"/>
                <a:gd name="connsiteX5338" fmla="*/ 348035 w 2792478"/>
                <a:gd name="connsiteY5338" fmla="*/ 1191235 h 4235290"/>
                <a:gd name="connsiteX5339" fmla="*/ 347032 w 2792478"/>
                <a:gd name="connsiteY5339" fmla="*/ 1199941 h 4235290"/>
                <a:gd name="connsiteX5340" fmla="*/ 343178 w 2792478"/>
                <a:gd name="connsiteY5340" fmla="*/ 1201239 h 4235290"/>
                <a:gd name="connsiteX5341" fmla="*/ 338336 w 2792478"/>
                <a:gd name="connsiteY5341" fmla="*/ 1198883 h 4235290"/>
                <a:gd name="connsiteX5342" fmla="*/ 305580 w 2792478"/>
                <a:gd name="connsiteY5342" fmla="*/ 1157436 h 4235290"/>
                <a:gd name="connsiteX5343" fmla="*/ 306584 w 2792478"/>
                <a:gd name="connsiteY5343" fmla="*/ 1148730 h 4235290"/>
                <a:gd name="connsiteX5344" fmla="*/ 311182 w 2792478"/>
                <a:gd name="connsiteY5344" fmla="*/ 1147489 h 4235290"/>
                <a:gd name="connsiteX5345" fmla="*/ 413904 w 2792478"/>
                <a:gd name="connsiteY5345" fmla="*/ 1147433 h 4235290"/>
                <a:gd name="connsiteX5346" fmla="*/ 445349 w 2792478"/>
                <a:gd name="connsiteY5346" fmla="*/ 1147433 h 4235290"/>
                <a:gd name="connsiteX5347" fmla="*/ 467710 w 2792478"/>
                <a:gd name="connsiteY5347" fmla="*/ 1167120 h 4235290"/>
                <a:gd name="connsiteX5348" fmla="*/ 456214 w 2792478"/>
                <a:gd name="connsiteY5348" fmla="*/ 1184214 h 4235290"/>
                <a:gd name="connsiteX5349" fmla="*/ 446159 w 2792478"/>
                <a:gd name="connsiteY5349" fmla="*/ 1209694 h 4235290"/>
                <a:gd name="connsiteX5350" fmla="*/ 552540 w 2792478"/>
                <a:gd name="connsiteY5350" fmla="*/ 1305210 h 4235290"/>
                <a:gd name="connsiteX5351" fmla="*/ 548946 w 2792478"/>
                <a:gd name="connsiteY5351" fmla="*/ 1327891 h 4235290"/>
                <a:gd name="connsiteX5352" fmla="*/ 543035 w 2792478"/>
                <a:gd name="connsiteY5352" fmla="*/ 1332238 h 4235290"/>
                <a:gd name="connsiteX5353" fmla="*/ 511283 w 2792478"/>
                <a:gd name="connsiteY5353" fmla="*/ 1332238 h 4235290"/>
                <a:gd name="connsiteX5354" fmla="*/ 511283 w 2792478"/>
                <a:gd name="connsiteY5354" fmla="*/ 1349764 h 4235290"/>
                <a:gd name="connsiteX5355" fmla="*/ 534017 w 2792478"/>
                <a:gd name="connsiteY5355" fmla="*/ 1349764 h 4235290"/>
                <a:gd name="connsiteX5356" fmla="*/ 558758 w 2792478"/>
                <a:gd name="connsiteY5356" fmla="*/ 1371454 h 4235290"/>
                <a:gd name="connsiteX5357" fmla="*/ 558758 w 2792478"/>
                <a:gd name="connsiteY5357" fmla="*/ 1379159 h 4235290"/>
                <a:gd name="connsiteX5358" fmla="*/ 540169 w 2792478"/>
                <a:gd name="connsiteY5358" fmla="*/ 1393077 h 4235290"/>
                <a:gd name="connsiteX5359" fmla="*/ 318890 w 2792478"/>
                <a:gd name="connsiteY5359" fmla="*/ 1393077 h 4235290"/>
                <a:gd name="connsiteX5360" fmla="*/ 300301 w 2792478"/>
                <a:gd name="connsiteY5360" fmla="*/ 1379159 h 4235290"/>
                <a:gd name="connsiteX5361" fmla="*/ 300301 w 2792478"/>
                <a:gd name="connsiteY5361" fmla="*/ 1371454 h 4235290"/>
                <a:gd name="connsiteX5362" fmla="*/ 325043 w 2792478"/>
                <a:gd name="connsiteY5362" fmla="*/ 1349764 h 4235290"/>
                <a:gd name="connsiteX5363" fmla="*/ 343987 w 2792478"/>
                <a:gd name="connsiteY5363" fmla="*/ 1349764 h 4235290"/>
                <a:gd name="connsiteX5364" fmla="*/ 343987 w 2792478"/>
                <a:gd name="connsiteY5364" fmla="*/ 1332238 h 4235290"/>
                <a:gd name="connsiteX5365" fmla="*/ 316267 w 2792478"/>
                <a:gd name="connsiteY5365" fmla="*/ 1332238 h 4235290"/>
                <a:gd name="connsiteX5366" fmla="*/ 310308 w 2792478"/>
                <a:gd name="connsiteY5366" fmla="*/ 1327822 h 4235290"/>
                <a:gd name="connsiteX5367" fmla="*/ 306956 w 2792478"/>
                <a:gd name="connsiteY5367" fmla="*/ 1305210 h 4235290"/>
                <a:gd name="connsiteX5368" fmla="*/ 412787 w 2792478"/>
                <a:gd name="connsiteY5368" fmla="*/ 1209876 h 4235290"/>
                <a:gd name="connsiteX5369" fmla="*/ 402521 w 2792478"/>
                <a:gd name="connsiteY5369" fmla="*/ 1184032 h 4235290"/>
                <a:gd name="connsiteX5370" fmla="*/ 391462 w 2792478"/>
                <a:gd name="connsiteY5370" fmla="*/ 1167120 h 4235290"/>
                <a:gd name="connsiteX5371" fmla="*/ 413904 w 2792478"/>
                <a:gd name="connsiteY5371" fmla="*/ 1147433 h 4235290"/>
                <a:gd name="connsiteX5372" fmla="*/ 696479 w 2792478"/>
                <a:gd name="connsiteY5372" fmla="*/ 1138662 h 4235290"/>
                <a:gd name="connsiteX5373" fmla="*/ 695229 w 2792478"/>
                <a:gd name="connsiteY5373" fmla="*/ 1139904 h 4235290"/>
                <a:gd name="connsiteX5374" fmla="*/ 695229 w 2792478"/>
                <a:gd name="connsiteY5374" fmla="*/ 1143574 h 4235290"/>
                <a:gd name="connsiteX5375" fmla="*/ 696479 w 2792478"/>
                <a:gd name="connsiteY5375" fmla="*/ 1144750 h 4235290"/>
                <a:gd name="connsiteX5376" fmla="*/ 700078 w 2792478"/>
                <a:gd name="connsiteY5376" fmla="*/ 1144750 h 4235290"/>
                <a:gd name="connsiteX5377" fmla="*/ 701320 w 2792478"/>
                <a:gd name="connsiteY5377" fmla="*/ 1143574 h 4235290"/>
                <a:gd name="connsiteX5378" fmla="*/ 701320 w 2792478"/>
                <a:gd name="connsiteY5378" fmla="*/ 1139904 h 4235290"/>
                <a:gd name="connsiteX5379" fmla="*/ 700078 w 2792478"/>
                <a:gd name="connsiteY5379" fmla="*/ 1138662 h 4235290"/>
                <a:gd name="connsiteX5380" fmla="*/ 670563 w 2792478"/>
                <a:gd name="connsiteY5380" fmla="*/ 1138662 h 4235290"/>
                <a:gd name="connsiteX5381" fmla="*/ 669381 w 2792478"/>
                <a:gd name="connsiteY5381" fmla="*/ 1139904 h 4235290"/>
                <a:gd name="connsiteX5382" fmla="*/ 669381 w 2792478"/>
                <a:gd name="connsiteY5382" fmla="*/ 1143574 h 4235290"/>
                <a:gd name="connsiteX5383" fmla="*/ 670563 w 2792478"/>
                <a:gd name="connsiteY5383" fmla="*/ 1144750 h 4235290"/>
                <a:gd name="connsiteX5384" fmla="*/ 674290 w 2792478"/>
                <a:gd name="connsiteY5384" fmla="*/ 1144750 h 4235290"/>
                <a:gd name="connsiteX5385" fmla="*/ 675472 w 2792478"/>
                <a:gd name="connsiteY5385" fmla="*/ 1143574 h 4235290"/>
                <a:gd name="connsiteX5386" fmla="*/ 675472 w 2792478"/>
                <a:gd name="connsiteY5386" fmla="*/ 1139904 h 4235290"/>
                <a:gd name="connsiteX5387" fmla="*/ 674290 w 2792478"/>
                <a:gd name="connsiteY5387" fmla="*/ 1138662 h 4235290"/>
                <a:gd name="connsiteX5388" fmla="*/ 644769 w 2792478"/>
                <a:gd name="connsiteY5388" fmla="*/ 1138662 h 4235290"/>
                <a:gd name="connsiteX5389" fmla="*/ 643526 w 2792478"/>
                <a:gd name="connsiteY5389" fmla="*/ 1139904 h 4235290"/>
                <a:gd name="connsiteX5390" fmla="*/ 643526 w 2792478"/>
                <a:gd name="connsiteY5390" fmla="*/ 1143574 h 4235290"/>
                <a:gd name="connsiteX5391" fmla="*/ 644769 w 2792478"/>
                <a:gd name="connsiteY5391" fmla="*/ 1144750 h 4235290"/>
                <a:gd name="connsiteX5392" fmla="*/ 648375 w 2792478"/>
                <a:gd name="connsiteY5392" fmla="*/ 1144750 h 4235290"/>
                <a:gd name="connsiteX5393" fmla="*/ 649617 w 2792478"/>
                <a:gd name="connsiteY5393" fmla="*/ 1143574 h 4235290"/>
                <a:gd name="connsiteX5394" fmla="*/ 649617 w 2792478"/>
                <a:gd name="connsiteY5394" fmla="*/ 1139904 h 4235290"/>
                <a:gd name="connsiteX5395" fmla="*/ 648375 w 2792478"/>
                <a:gd name="connsiteY5395" fmla="*/ 1138662 h 4235290"/>
                <a:gd name="connsiteX5396" fmla="*/ 696479 w 2792478"/>
                <a:gd name="connsiteY5396" fmla="*/ 1131515 h 4235290"/>
                <a:gd name="connsiteX5397" fmla="*/ 700145 w 2792478"/>
                <a:gd name="connsiteY5397" fmla="*/ 1131515 h 4235290"/>
                <a:gd name="connsiteX5398" fmla="*/ 708532 w 2792478"/>
                <a:gd name="connsiteY5398" fmla="*/ 1139904 h 4235290"/>
                <a:gd name="connsiteX5399" fmla="*/ 708532 w 2792478"/>
                <a:gd name="connsiteY5399" fmla="*/ 1143574 h 4235290"/>
                <a:gd name="connsiteX5400" fmla="*/ 700145 w 2792478"/>
                <a:gd name="connsiteY5400" fmla="*/ 1151963 h 4235290"/>
                <a:gd name="connsiteX5401" fmla="*/ 696479 w 2792478"/>
                <a:gd name="connsiteY5401" fmla="*/ 1151963 h 4235290"/>
                <a:gd name="connsiteX5402" fmla="*/ 688085 w 2792478"/>
                <a:gd name="connsiteY5402" fmla="*/ 1143574 h 4235290"/>
                <a:gd name="connsiteX5403" fmla="*/ 688085 w 2792478"/>
                <a:gd name="connsiteY5403" fmla="*/ 1139904 h 4235290"/>
                <a:gd name="connsiteX5404" fmla="*/ 696479 w 2792478"/>
                <a:gd name="connsiteY5404" fmla="*/ 1131515 h 4235290"/>
                <a:gd name="connsiteX5405" fmla="*/ 670624 w 2792478"/>
                <a:gd name="connsiteY5405" fmla="*/ 1131515 h 4235290"/>
                <a:gd name="connsiteX5406" fmla="*/ 674290 w 2792478"/>
                <a:gd name="connsiteY5406" fmla="*/ 1131515 h 4235290"/>
                <a:gd name="connsiteX5407" fmla="*/ 682677 w 2792478"/>
                <a:gd name="connsiteY5407" fmla="*/ 1139904 h 4235290"/>
                <a:gd name="connsiteX5408" fmla="*/ 682677 w 2792478"/>
                <a:gd name="connsiteY5408" fmla="*/ 1143574 h 4235290"/>
                <a:gd name="connsiteX5409" fmla="*/ 674290 w 2792478"/>
                <a:gd name="connsiteY5409" fmla="*/ 1151963 h 4235290"/>
                <a:gd name="connsiteX5410" fmla="*/ 670624 w 2792478"/>
                <a:gd name="connsiteY5410" fmla="*/ 1151963 h 4235290"/>
                <a:gd name="connsiteX5411" fmla="*/ 662237 w 2792478"/>
                <a:gd name="connsiteY5411" fmla="*/ 1143574 h 4235290"/>
                <a:gd name="connsiteX5412" fmla="*/ 662237 w 2792478"/>
                <a:gd name="connsiteY5412" fmla="*/ 1139904 h 4235290"/>
                <a:gd name="connsiteX5413" fmla="*/ 670624 w 2792478"/>
                <a:gd name="connsiteY5413" fmla="*/ 1131515 h 4235290"/>
                <a:gd name="connsiteX5414" fmla="*/ 644769 w 2792478"/>
                <a:gd name="connsiteY5414" fmla="*/ 1131515 h 4235290"/>
                <a:gd name="connsiteX5415" fmla="*/ 648375 w 2792478"/>
                <a:gd name="connsiteY5415" fmla="*/ 1131515 h 4235290"/>
                <a:gd name="connsiteX5416" fmla="*/ 656829 w 2792478"/>
                <a:gd name="connsiteY5416" fmla="*/ 1139904 h 4235290"/>
                <a:gd name="connsiteX5417" fmla="*/ 656829 w 2792478"/>
                <a:gd name="connsiteY5417" fmla="*/ 1143574 h 4235290"/>
                <a:gd name="connsiteX5418" fmla="*/ 648375 w 2792478"/>
                <a:gd name="connsiteY5418" fmla="*/ 1151963 h 4235290"/>
                <a:gd name="connsiteX5419" fmla="*/ 644769 w 2792478"/>
                <a:gd name="connsiteY5419" fmla="*/ 1151963 h 4235290"/>
                <a:gd name="connsiteX5420" fmla="*/ 636382 w 2792478"/>
                <a:gd name="connsiteY5420" fmla="*/ 1143574 h 4235290"/>
                <a:gd name="connsiteX5421" fmla="*/ 636382 w 2792478"/>
                <a:gd name="connsiteY5421" fmla="*/ 1139904 h 4235290"/>
                <a:gd name="connsiteX5422" fmla="*/ 644769 w 2792478"/>
                <a:gd name="connsiteY5422" fmla="*/ 1131515 h 4235290"/>
                <a:gd name="connsiteX5423" fmla="*/ 2317146 w 2792478"/>
                <a:gd name="connsiteY5423" fmla="*/ 1129934 h 4235290"/>
                <a:gd name="connsiteX5424" fmla="*/ 2317146 w 2792478"/>
                <a:gd name="connsiteY5424" fmla="*/ 1146121 h 4235290"/>
                <a:gd name="connsiteX5425" fmla="*/ 2398082 w 2792478"/>
                <a:gd name="connsiteY5425" fmla="*/ 1146121 h 4235290"/>
                <a:gd name="connsiteX5426" fmla="*/ 2398082 w 2792478"/>
                <a:gd name="connsiteY5426" fmla="*/ 1129934 h 4235290"/>
                <a:gd name="connsiteX5427" fmla="*/ 1985943 w 2792478"/>
                <a:gd name="connsiteY5427" fmla="*/ 1128188 h 4235290"/>
                <a:gd name="connsiteX5428" fmla="*/ 1935570 w 2792478"/>
                <a:gd name="connsiteY5428" fmla="*/ 1178550 h 4235290"/>
                <a:gd name="connsiteX5429" fmla="*/ 1960797 w 2792478"/>
                <a:gd name="connsiteY5429" fmla="*/ 1221907 h 4235290"/>
                <a:gd name="connsiteX5430" fmla="*/ 1967053 w 2792478"/>
                <a:gd name="connsiteY5430" fmla="*/ 1225554 h 4235290"/>
                <a:gd name="connsiteX5431" fmla="*/ 1967053 w 2792478"/>
                <a:gd name="connsiteY5431" fmla="*/ 1254117 h 4235290"/>
                <a:gd name="connsiteX5432" fmla="*/ 2004827 w 2792478"/>
                <a:gd name="connsiteY5432" fmla="*/ 1254117 h 4235290"/>
                <a:gd name="connsiteX5433" fmla="*/ 2004827 w 2792478"/>
                <a:gd name="connsiteY5433" fmla="*/ 1225554 h 4235290"/>
                <a:gd name="connsiteX5434" fmla="*/ 2011088 w 2792478"/>
                <a:gd name="connsiteY5434" fmla="*/ 1221907 h 4235290"/>
                <a:gd name="connsiteX5435" fmla="*/ 2036315 w 2792478"/>
                <a:gd name="connsiteY5435" fmla="*/ 1178550 h 4235290"/>
                <a:gd name="connsiteX5436" fmla="*/ 1985943 w 2792478"/>
                <a:gd name="connsiteY5436" fmla="*/ 1128188 h 4235290"/>
                <a:gd name="connsiteX5437" fmla="*/ 2317146 w 2792478"/>
                <a:gd name="connsiteY5437" fmla="*/ 1121840 h 4235290"/>
                <a:gd name="connsiteX5438" fmla="*/ 2398082 w 2792478"/>
                <a:gd name="connsiteY5438" fmla="*/ 1121840 h 4235290"/>
                <a:gd name="connsiteX5439" fmla="*/ 2406159 w 2792478"/>
                <a:gd name="connsiteY5439" fmla="*/ 1129934 h 4235290"/>
                <a:gd name="connsiteX5440" fmla="*/ 2406159 w 2792478"/>
                <a:gd name="connsiteY5440" fmla="*/ 1146121 h 4235290"/>
                <a:gd name="connsiteX5441" fmla="*/ 2398082 w 2792478"/>
                <a:gd name="connsiteY5441" fmla="*/ 1154215 h 4235290"/>
                <a:gd name="connsiteX5442" fmla="*/ 2317146 w 2792478"/>
                <a:gd name="connsiteY5442" fmla="*/ 1154215 h 4235290"/>
                <a:gd name="connsiteX5443" fmla="*/ 2309040 w 2792478"/>
                <a:gd name="connsiteY5443" fmla="*/ 1146121 h 4235290"/>
                <a:gd name="connsiteX5444" fmla="*/ 2309040 w 2792478"/>
                <a:gd name="connsiteY5444" fmla="*/ 1129934 h 4235290"/>
                <a:gd name="connsiteX5445" fmla="*/ 2317146 w 2792478"/>
                <a:gd name="connsiteY5445" fmla="*/ 1121840 h 4235290"/>
                <a:gd name="connsiteX5446" fmla="*/ 2716677 w 2792478"/>
                <a:gd name="connsiteY5446" fmla="*/ 1121681 h 4235290"/>
                <a:gd name="connsiteX5447" fmla="*/ 2678773 w 2792478"/>
                <a:gd name="connsiteY5447" fmla="*/ 1159583 h 4235290"/>
                <a:gd name="connsiteX5448" fmla="*/ 2690144 w 2792478"/>
                <a:gd name="connsiteY5448" fmla="*/ 1192161 h 4235290"/>
                <a:gd name="connsiteX5449" fmla="*/ 2702533 w 2792478"/>
                <a:gd name="connsiteY5449" fmla="*/ 1222754 h 4235290"/>
                <a:gd name="connsiteX5450" fmla="*/ 2730751 w 2792478"/>
                <a:gd name="connsiteY5450" fmla="*/ 1222754 h 4235290"/>
                <a:gd name="connsiteX5451" fmla="*/ 2743364 w 2792478"/>
                <a:gd name="connsiteY5451" fmla="*/ 1191524 h 4235290"/>
                <a:gd name="connsiteX5452" fmla="*/ 2754581 w 2792478"/>
                <a:gd name="connsiteY5452" fmla="*/ 1159583 h 4235290"/>
                <a:gd name="connsiteX5453" fmla="*/ 2716677 w 2792478"/>
                <a:gd name="connsiteY5453" fmla="*/ 1121681 h 4235290"/>
                <a:gd name="connsiteX5454" fmla="*/ 2779170 w 2792478"/>
                <a:gd name="connsiteY5454" fmla="*/ 1116197 h 4235290"/>
                <a:gd name="connsiteX5455" fmla="*/ 2785487 w 2792478"/>
                <a:gd name="connsiteY5455" fmla="*/ 1127156 h 4235290"/>
                <a:gd name="connsiteX5456" fmla="*/ 2774158 w 2792478"/>
                <a:gd name="connsiteY5456" fmla="*/ 1133697 h 4235290"/>
                <a:gd name="connsiteX5457" fmla="*/ 2767799 w 2792478"/>
                <a:gd name="connsiteY5457" fmla="*/ 1122776 h 4235290"/>
                <a:gd name="connsiteX5458" fmla="*/ 2654178 w 2792478"/>
                <a:gd name="connsiteY5458" fmla="*/ 1116197 h 4235290"/>
                <a:gd name="connsiteX5459" fmla="*/ 2665563 w 2792478"/>
                <a:gd name="connsiteY5459" fmla="*/ 1122776 h 4235290"/>
                <a:gd name="connsiteX5460" fmla="*/ 2659204 w 2792478"/>
                <a:gd name="connsiteY5460" fmla="*/ 1133697 h 4235290"/>
                <a:gd name="connsiteX5461" fmla="*/ 2647860 w 2792478"/>
                <a:gd name="connsiteY5461" fmla="*/ 1127156 h 4235290"/>
                <a:gd name="connsiteX5462" fmla="*/ 2654178 w 2792478"/>
                <a:gd name="connsiteY5462" fmla="*/ 1116197 h 4235290"/>
                <a:gd name="connsiteX5463" fmla="*/ 724501 w 2792478"/>
                <a:gd name="connsiteY5463" fmla="*/ 1115853 h 4235290"/>
                <a:gd name="connsiteX5464" fmla="*/ 723758 w 2792478"/>
                <a:gd name="connsiteY5464" fmla="*/ 1116601 h 4235290"/>
                <a:gd name="connsiteX5465" fmla="*/ 723758 w 2792478"/>
                <a:gd name="connsiteY5465" fmla="*/ 1165013 h 4235290"/>
                <a:gd name="connsiteX5466" fmla="*/ 760856 w 2792478"/>
                <a:gd name="connsiteY5466" fmla="*/ 1115853 h 4235290"/>
                <a:gd name="connsiteX5467" fmla="*/ 1985943 w 2792478"/>
                <a:gd name="connsiteY5467" fmla="*/ 1115595 h 4235290"/>
                <a:gd name="connsiteX5468" fmla="*/ 2048908 w 2792478"/>
                <a:gd name="connsiteY5468" fmla="*/ 1178550 h 4235290"/>
                <a:gd name="connsiteX5469" fmla="*/ 2017425 w 2792478"/>
                <a:gd name="connsiteY5469" fmla="*/ 1232793 h 4235290"/>
                <a:gd name="connsiteX5470" fmla="*/ 2017425 w 2792478"/>
                <a:gd name="connsiteY5470" fmla="*/ 1254117 h 4235290"/>
                <a:gd name="connsiteX5471" fmla="*/ 2004827 w 2792478"/>
                <a:gd name="connsiteY5471" fmla="*/ 1266710 h 4235290"/>
                <a:gd name="connsiteX5472" fmla="*/ 1967053 w 2792478"/>
                <a:gd name="connsiteY5472" fmla="*/ 1266710 h 4235290"/>
                <a:gd name="connsiteX5473" fmla="*/ 1954454 w 2792478"/>
                <a:gd name="connsiteY5473" fmla="*/ 1254117 h 4235290"/>
                <a:gd name="connsiteX5474" fmla="*/ 1954454 w 2792478"/>
                <a:gd name="connsiteY5474" fmla="*/ 1232793 h 4235290"/>
                <a:gd name="connsiteX5475" fmla="*/ 1922977 w 2792478"/>
                <a:gd name="connsiteY5475" fmla="*/ 1178550 h 4235290"/>
                <a:gd name="connsiteX5476" fmla="*/ 1985943 w 2792478"/>
                <a:gd name="connsiteY5476" fmla="*/ 1115595 h 4235290"/>
                <a:gd name="connsiteX5477" fmla="*/ 696479 w 2792478"/>
                <a:gd name="connsiteY5477" fmla="*/ 1114796 h 4235290"/>
                <a:gd name="connsiteX5478" fmla="*/ 695229 w 2792478"/>
                <a:gd name="connsiteY5478" fmla="*/ 1116038 h 4235290"/>
                <a:gd name="connsiteX5479" fmla="*/ 695229 w 2792478"/>
                <a:gd name="connsiteY5479" fmla="*/ 1119708 h 4235290"/>
                <a:gd name="connsiteX5480" fmla="*/ 696479 w 2792478"/>
                <a:gd name="connsiteY5480" fmla="*/ 1120884 h 4235290"/>
                <a:gd name="connsiteX5481" fmla="*/ 700078 w 2792478"/>
                <a:gd name="connsiteY5481" fmla="*/ 1120884 h 4235290"/>
                <a:gd name="connsiteX5482" fmla="*/ 701320 w 2792478"/>
                <a:gd name="connsiteY5482" fmla="*/ 1119708 h 4235290"/>
                <a:gd name="connsiteX5483" fmla="*/ 701320 w 2792478"/>
                <a:gd name="connsiteY5483" fmla="*/ 1116038 h 4235290"/>
                <a:gd name="connsiteX5484" fmla="*/ 700078 w 2792478"/>
                <a:gd name="connsiteY5484" fmla="*/ 1114796 h 4235290"/>
                <a:gd name="connsiteX5485" fmla="*/ 670563 w 2792478"/>
                <a:gd name="connsiteY5485" fmla="*/ 1114796 h 4235290"/>
                <a:gd name="connsiteX5486" fmla="*/ 669381 w 2792478"/>
                <a:gd name="connsiteY5486" fmla="*/ 1116038 h 4235290"/>
                <a:gd name="connsiteX5487" fmla="*/ 669381 w 2792478"/>
                <a:gd name="connsiteY5487" fmla="*/ 1119708 h 4235290"/>
                <a:gd name="connsiteX5488" fmla="*/ 670563 w 2792478"/>
                <a:gd name="connsiteY5488" fmla="*/ 1120884 h 4235290"/>
                <a:gd name="connsiteX5489" fmla="*/ 674290 w 2792478"/>
                <a:gd name="connsiteY5489" fmla="*/ 1120884 h 4235290"/>
                <a:gd name="connsiteX5490" fmla="*/ 675472 w 2792478"/>
                <a:gd name="connsiteY5490" fmla="*/ 1119708 h 4235290"/>
                <a:gd name="connsiteX5491" fmla="*/ 675472 w 2792478"/>
                <a:gd name="connsiteY5491" fmla="*/ 1116038 h 4235290"/>
                <a:gd name="connsiteX5492" fmla="*/ 674290 w 2792478"/>
                <a:gd name="connsiteY5492" fmla="*/ 1114796 h 4235290"/>
                <a:gd name="connsiteX5493" fmla="*/ 644769 w 2792478"/>
                <a:gd name="connsiteY5493" fmla="*/ 1114796 h 4235290"/>
                <a:gd name="connsiteX5494" fmla="*/ 643526 w 2792478"/>
                <a:gd name="connsiteY5494" fmla="*/ 1116038 h 4235290"/>
                <a:gd name="connsiteX5495" fmla="*/ 643526 w 2792478"/>
                <a:gd name="connsiteY5495" fmla="*/ 1119708 h 4235290"/>
                <a:gd name="connsiteX5496" fmla="*/ 644769 w 2792478"/>
                <a:gd name="connsiteY5496" fmla="*/ 1120884 h 4235290"/>
                <a:gd name="connsiteX5497" fmla="*/ 648375 w 2792478"/>
                <a:gd name="connsiteY5497" fmla="*/ 1120884 h 4235290"/>
                <a:gd name="connsiteX5498" fmla="*/ 649617 w 2792478"/>
                <a:gd name="connsiteY5498" fmla="*/ 1119708 h 4235290"/>
                <a:gd name="connsiteX5499" fmla="*/ 649617 w 2792478"/>
                <a:gd name="connsiteY5499" fmla="*/ 1116038 h 4235290"/>
                <a:gd name="connsiteX5500" fmla="*/ 648375 w 2792478"/>
                <a:gd name="connsiteY5500" fmla="*/ 1114796 h 4235290"/>
                <a:gd name="connsiteX5501" fmla="*/ 2304993 w 2792478"/>
                <a:gd name="connsiteY5501" fmla="*/ 1113752 h 4235290"/>
                <a:gd name="connsiteX5502" fmla="*/ 2300963 w 2792478"/>
                <a:gd name="connsiteY5502" fmla="*/ 1117787 h 4235290"/>
                <a:gd name="connsiteX5503" fmla="*/ 2300963 w 2792478"/>
                <a:gd name="connsiteY5503" fmla="*/ 1223006 h 4235290"/>
                <a:gd name="connsiteX5504" fmla="*/ 2304993 w 2792478"/>
                <a:gd name="connsiteY5504" fmla="*/ 1227059 h 4235290"/>
                <a:gd name="connsiteX5505" fmla="*/ 2410212 w 2792478"/>
                <a:gd name="connsiteY5505" fmla="*/ 1227059 h 4235290"/>
                <a:gd name="connsiteX5506" fmla="*/ 2414265 w 2792478"/>
                <a:gd name="connsiteY5506" fmla="*/ 1223006 h 4235290"/>
                <a:gd name="connsiteX5507" fmla="*/ 2414265 w 2792478"/>
                <a:gd name="connsiteY5507" fmla="*/ 1117787 h 4235290"/>
                <a:gd name="connsiteX5508" fmla="*/ 2410212 w 2792478"/>
                <a:gd name="connsiteY5508" fmla="*/ 1113752 h 4235290"/>
                <a:gd name="connsiteX5509" fmla="*/ 86102 w 2792478"/>
                <a:gd name="connsiteY5509" fmla="*/ 1111628 h 4235290"/>
                <a:gd name="connsiteX5510" fmla="*/ 201753 w 2792478"/>
                <a:gd name="connsiteY5510" fmla="*/ 1111628 h 4235290"/>
                <a:gd name="connsiteX5511" fmla="*/ 218216 w 2792478"/>
                <a:gd name="connsiteY5511" fmla="*/ 1128092 h 4235290"/>
                <a:gd name="connsiteX5512" fmla="*/ 218216 w 2792478"/>
                <a:gd name="connsiteY5512" fmla="*/ 1207766 h 4235290"/>
                <a:gd name="connsiteX5513" fmla="*/ 205040 w 2792478"/>
                <a:gd name="connsiteY5513" fmla="*/ 1201800 h 4235290"/>
                <a:gd name="connsiteX5514" fmla="*/ 205040 w 2792478"/>
                <a:gd name="connsiteY5514" fmla="*/ 1128092 h 4235290"/>
                <a:gd name="connsiteX5515" fmla="*/ 201753 w 2792478"/>
                <a:gd name="connsiteY5515" fmla="*/ 1124801 h 4235290"/>
                <a:gd name="connsiteX5516" fmla="*/ 86102 w 2792478"/>
                <a:gd name="connsiteY5516" fmla="*/ 1124801 h 4235290"/>
                <a:gd name="connsiteX5517" fmla="*/ 82806 w 2792478"/>
                <a:gd name="connsiteY5517" fmla="*/ 1128092 h 4235290"/>
                <a:gd name="connsiteX5518" fmla="*/ 82806 w 2792478"/>
                <a:gd name="connsiteY5518" fmla="*/ 1272517 h 4235290"/>
                <a:gd name="connsiteX5519" fmla="*/ 86102 w 2792478"/>
                <a:gd name="connsiteY5519" fmla="*/ 1275808 h 4235290"/>
                <a:gd name="connsiteX5520" fmla="*/ 201753 w 2792478"/>
                <a:gd name="connsiteY5520" fmla="*/ 1275808 h 4235290"/>
                <a:gd name="connsiteX5521" fmla="*/ 208395 w 2792478"/>
                <a:gd name="connsiteY5521" fmla="*/ 1275380 h 4235290"/>
                <a:gd name="connsiteX5522" fmla="*/ 214299 w 2792478"/>
                <a:gd name="connsiteY5522" fmla="*/ 1281405 h 4235290"/>
                <a:gd name="connsiteX5523" fmla="*/ 201753 w 2792478"/>
                <a:gd name="connsiteY5523" fmla="*/ 1288990 h 4235290"/>
                <a:gd name="connsiteX5524" fmla="*/ 86102 w 2792478"/>
                <a:gd name="connsiteY5524" fmla="*/ 1288990 h 4235290"/>
                <a:gd name="connsiteX5525" fmla="*/ 69631 w 2792478"/>
                <a:gd name="connsiteY5525" fmla="*/ 1272517 h 4235290"/>
                <a:gd name="connsiteX5526" fmla="*/ 69631 w 2792478"/>
                <a:gd name="connsiteY5526" fmla="*/ 1128092 h 4235290"/>
                <a:gd name="connsiteX5527" fmla="*/ 86102 w 2792478"/>
                <a:gd name="connsiteY5527" fmla="*/ 1111628 h 4235290"/>
                <a:gd name="connsiteX5528" fmla="*/ 2571476 w 2792478"/>
                <a:gd name="connsiteY5528" fmla="*/ 1109828 h 4235290"/>
                <a:gd name="connsiteX5529" fmla="*/ 2487954 w 2792478"/>
                <a:gd name="connsiteY5529" fmla="*/ 1176754 h 4235290"/>
                <a:gd name="connsiteX5530" fmla="*/ 2482612 w 2792478"/>
                <a:gd name="connsiteY5530" fmla="*/ 1184085 h 4235290"/>
                <a:gd name="connsiteX5531" fmla="*/ 2471797 w 2792478"/>
                <a:gd name="connsiteY5531" fmla="*/ 1212304 h 4235290"/>
                <a:gd name="connsiteX5532" fmla="*/ 2501500 w 2792478"/>
                <a:gd name="connsiteY5532" fmla="*/ 1207640 h 4235290"/>
                <a:gd name="connsiteX5533" fmla="*/ 2509644 w 2792478"/>
                <a:gd name="connsiteY5533" fmla="*/ 1204032 h 4235290"/>
                <a:gd name="connsiteX5534" fmla="*/ 2518285 w 2792478"/>
                <a:gd name="connsiteY5534" fmla="*/ 1197135 h 4235290"/>
                <a:gd name="connsiteX5535" fmla="*/ 2513310 w 2792478"/>
                <a:gd name="connsiteY5535" fmla="*/ 1190925 h 4235290"/>
                <a:gd name="connsiteX5536" fmla="*/ 2514305 w 2792478"/>
                <a:gd name="connsiteY5536" fmla="*/ 1181663 h 4235290"/>
                <a:gd name="connsiteX5537" fmla="*/ 2523627 w 2792478"/>
                <a:gd name="connsiteY5537" fmla="*/ 1182662 h 4235290"/>
                <a:gd name="connsiteX5538" fmla="*/ 2528602 w 2792478"/>
                <a:gd name="connsiteY5538" fmla="*/ 1188871 h 4235290"/>
                <a:gd name="connsiteX5539" fmla="*/ 2538727 w 2792478"/>
                <a:gd name="connsiteY5539" fmla="*/ 1180730 h 4235290"/>
                <a:gd name="connsiteX5540" fmla="*/ 2533760 w 2792478"/>
                <a:gd name="connsiteY5540" fmla="*/ 1174521 h 4235290"/>
                <a:gd name="connsiteX5541" fmla="*/ 2534817 w 2792478"/>
                <a:gd name="connsiteY5541" fmla="*/ 1165259 h 4235290"/>
                <a:gd name="connsiteX5542" fmla="*/ 2544069 w 2792478"/>
                <a:gd name="connsiteY5542" fmla="*/ 1166248 h 4235290"/>
                <a:gd name="connsiteX5543" fmla="*/ 2549044 w 2792478"/>
                <a:gd name="connsiteY5543" fmla="*/ 1172467 h 4235290"/>
                <a:gd name="connsiteX5544" fmla="*/ 2559239 w 2792478"/>
                <a:gd name="connsiteY5544" fmla="*/ 1164326 h 4235290"/>
                <a:gd name="connsiteX5545" fmla="*/ 2554264 w 2792478"/>
                <a:gd name="connsiteY5545" fmla="*/ 1158107 h 4235290"/>
                <a:gd name="connsiteX5546" fmla="*/ 2555259 w 2792478"/>
                <a:gd name="connsiteY5546" fmla="*/ 1148855 h 4235290"/>
                <a:gd name="connsiteX5547" fmla="*/ 2564581 w 2792478"/>
                <a:gd name="connsiteY5547" fmla="*/ 1149844 h 4235290"/>
                <a:gd name="connsiteX5548" fmla="*/ 2569556 w 2792478"/>
                <a:gd name="connsiteY5548" fmla="*/ 1156063 h 4235290"/>
                <a:gd name="connsiteX5549" fmla="*/ 2593288 w 2792478"/>
                <a:gd name="connsiteY5549" fmla="*/ 1137049 h 4235290"/>
                <a:gd name="connsiteX5550" fmla="*/ 2716677 w 2792478"/>
                <a:gd name="connsiteY5550" fmla="*/ 1109047 h 4235290"/>
                <a:gd name="connsiteX5551" fmla="*/ 2767216 w 2792478"/>
                <a:gd name="connsiteY5551" fmla="*/ 1159583 h 4235290"/>
                <a:gd name="connsiteX5552" fmla="*/ 2741947 w 2792478"/>
                <a:gd name="connsiteY5552" fmla="*/ 1235388 h 4235290"/>
                <a:gd name="connsiteX5553" fmla="*/ 2691408 w 2792478"/>
                <a:gd name="connsiteY5553" fmla="*/ 1235388 h 4235290"/>
                <a:gd name="connsiteX5554" fmla="*/ 2666132 w 2792478"/>
                <a:gd name="connsiteY5554" fmla="*/ 1159583 h 4235290"/>
                <a:gd name="connsiteX5555" fmla="*/ 2716677 w 2792478"/>
                <a:gd name="connsiteY5555" fmla="*/ 1109047 h 4235290"/>
                <a:gd name="connsiteX5556" fmla="*/ 696479 w 2792478"/>
                <a:gd name="connsiteY5556" fmla="*/ 1107649 h 4235290"/>
                <a:gd name="connsiteX5557" fmla="*/ 700145 w 2792478"/>
                <a:gd name="connsiteY5557" fmla="*/ 1107649 h 4235290"/>
                <a:gd name="connsiteX5558" fmla="*/ 708532 w 2792478"/>
                <a:gd name="connsiteY5558" fmla="*/ 1116038 h 4235290"/>
                <a:gd name="connsiteX5559" fmla="*/ 708532 w 2792478"/>
                <a:gd name="connsiteY5559" fmla="*/ 1119708 h 4235290"/>
                <a:gd name="connsiteX5560" fmla="*/ 700145 w 2792478"/>
                <a:gd name="connsiteY5560" fmla="*/ 1128097 h 4235290"/>
                <a:gd name="connsiteX5561" fmla="*/ 696479 w 2792478"/>
                <a:gd name="connsiteY5561" fmla="*/ 1128097 h 4235290"/>
                <a:gd name="connsiteX5562" fmla="*/ 688085 w 2792478"/>
                <a:gd name="connsiteY5562" fmla="*/ 1119708 h 4235290"/>
                <a:gd name="connsiteX5563" fmla="*/ 688085 w 2792478"/>
                <a:gd name="connsiteY5563" fmla="*/ 1116038 h 4235290"/>
                <a:gd name="connsiteX5564" fmla="*/ 696479 w 2792478"/>
                <a:gd name="connsiteY5564" fmla="*/ 1107649 h 4235290"/>
                <a:gd name="connsiteX5565" fmla="*/ 670624 w 2792478"/>
                <a:gd name="connsiteY5565" fmla="*/ 1107649 h 4235290"/>
                <a:gd name="connsiteX5566" fmla="*/ 674290 w 2792478"/>
                <a:gd name="connsiteY5566" fmla="*/ 1107649 h 4235290"/>
                <a:gd name="connsiteX5567" fmla="*/ 682677 w 2792478"/>
                <a:gd name="connsiteY5567" fmla="*/ 1116038 h 4235290"/>
                <a:gd name="connsiteX5568" fmla="*/ 682677 w 2792478"/>
                <a:gd name="connsiteY5568" fmla="*/ 1119708 h 4235290"/>
                <a:gd name="connsiteX5569" fmla="*/ 674290 w 2792478"/>
                <a:gd name="connsiteY5569" fmla="*/ 1128097 h 4235290"/>
                <a:gd name="connsiteX5570" fmla="*/ 670624 w 2792478"/>
                <a:gd name="connsiteY5570" fmla="*/ 1128097 h 4235290"/>
                <a:gd name="connsiteX5571" fmla="*/ 662237 w 2792478"/>
                <a:gd name="connsiteY5571" fmla="*/ 1119708 h 4235290"/>
                <a:gd name="connsiteX5572" fmla="*/ 662237 w 2792478"/>
                <a:gd name="connsiteY5572" fmla="*/ 1116038 h 4235290"/>
                <a:gd name="connsiteX5573" fmla="*/ 670624 w 2792478"/>
                <a:gd name="connsiteY5573" fmla="*/ 1107649 h 4235290"/>
                <a:gd name="connsiteX5574" fmla="*/ 644769 w 2792478"/>
                <a:gd name="connsiteY5574" fmla="*/ 1107649 h 4235290"/>
                <a:gd name="connsiteX5575" fmla="*/ 648375 w 2792478"/>
                <a:gd name="connsiteY5575" fmla="*/ 1107649 h 4235290"/>
                <a:gd name="connsiteX5576" fmla="*/ 656829 w 2792478"/>
                <a:gd name="connsiteY5576" fmla="*/ 1116038 h 4235290"/>
                <a:gd name="connsiteX5577" fmla="*/ 656829 w 2792478"/>
                <a:gd name="connsiteY5577" fmla="*/ 1119708 h 4235290"/>
                <a:gd name="connsiteX5578" fmla="*/ 648375 w 2792478"/>
                <a:gd name="connsiteY5578" fmla="*/ 1128097 h 4235290"/>
                <a:gd name="connsiteX5579" fmla="*/ 644769 w 2792478"/>
                <a:gd name="connsiteY5579" fmla="*/ 1128097 h 4235290"/>
                <a:gd name="connsiteX5580" fmla="*/ 636382 w 2792478"/>
                <a:gd name="connsiteY5580" fmla="*/ 1119708 h 4235290"/>
                <a:gd name="connsiteX5581" fmla="*/ 636382 w 2792478"/>
                <a:gd name="connsiteY5581" fmla="*/ 1116038 h 4235290"/>
                <a:gd name="connsiteX5582" fmla="*/ 644769 w 2792478"/>
                <a:gd name="connsiteY5582" fmla="*/ 1107649 h 4235290"/>
                <a:gd name="connsiteX5583" fmla="*/ 2149582 w 2792478"/>
                <a:gd name="connsiteY5583" fmla="*/ 1105661 h 4235290"/>
                <a:gd name="connsiteX5584" fmla="*/ 2149582 w 2792478"/>
                <a:gd name="connsiteY5584" fmla="*/ 1118709 h 4235290"/>
                <a:gd name="connsiteX5585" fmla="*/ 2116957 w 2792478"/>
                <a:gd name="connsiteY5585" fmla="*/ 1151334 h 4235290"/>
                <a:gd name="connsiteX5586" fmla="*/ 2103967 w 2792478"/>
                <a:gd name="connsiteY5586" fmla="*/ 1151334 h 4235290"/>
                <a:gd name="connsiteX5587" fmla="*/ 2149582 w 2792478"/>
                <a:gd name="connsiteY5587" fmla="*/ 1105661 h 4235290"/>
                <a:gd name="connsiteX5588" fmla="*/ 2304993 w 2792478"/>
                <a:gd name="connsiteY5588" fmla="*/ 1105652 h 4235290"/>
                <a:gd name="connsiteX5589" fmla="*/ 2410212 w 2792478"/>
                <a:gd name="connsiteY5589" fmla="*/ 1105652 h 4235290"/>
                <a:gd name="connsiteX5590" fmla="*/ 2422365 w 2792478"/>
                <a:gd name="connsiteY5590" fmla="*/ 1117787 h 4235290"/>
                <a:gd name="connsiteX5591" fmla="*/ 2422365 w 2792478"/>
                <a:gd name="connsiteY5591" fmla="*/ 1223006 h 4235290"/>
                <a:gd name="connsiteX5592" fmla="*/ 2410212 w 2792478"/>
                <a:gd name="connsiteY5592" fmla="*/ 1235153 h 4235290"/>
                <a:gd name="connsiteX5593" fmla="*/ 2304993 w 2792478"/>
                <a:gd name="connsiteY5593" fmla="*/ 1235153 h 4235290"/>
                <a:gd name="connsiteX5594" fmla="*/ 2292857 w 2792478"/>
                <a:gd name="connsiteY5594" fmla="*/ 1223006 h 4235290"/>
                <a:gd name="connsiteX5595" fmla="*/ 2292857 w 2792478"/>
                <a:gd name="connsiteY5595" fmla="*/ 1117787 h 4235290"/>
                <a:gd name="connsiteX5596" fmla="*/ 2304993 w 2792478"/>
                <a:gd name="connsiteY5596" fmla="*/ 1105652 h 4235290"/>
                <a:gd name="connsiteX5597" fmla="*/ 530419 w 2792478"/>
                <a:gd name="connsiteY5597" fmla="*/ 1096853 h 4235290"/>
                <a:gd name="connsiteX5598" fmla="*/ 555244 w 2792478"/>
                <a:gd name="connsiteY5598" fmla="*/ 1096853 h 4235290"/>
                <a:gd name="connsiteX5599" fmla="*/ 555244 w 2792478"/>
                <a:gd name="connsiteY5599" fmla="*/ 1103051 h 4235290"/>
                <a:gd name="connsiteX5600" fmla="*/ 542834 w 2792478"/>
                <a:gd name="connsiteY5600" fmla="*/ 1115479 h 4235290"/>
                <a:gd name="connsiteX5601" fmla="*/ 530419 w 2792478"/>
                <a:gd name="connsiteY5601" fmla="*/ 1103051 h 4235290"/>
                <a:gd name="connsiteX5602" fmla="*/ 530419 w 2792478"/>
                <a:gd name="connsiteY5602" fmla="*/ 1096853 h 4235290"/>
                <a:gd name="connsiteX5603" fmla="*/ 2148403 w 2792478"/>
                <a:gd name="connsiteY5603" fmla="*/ 1093421 h 4235290"/>
                <a:gd name="connsiteX5604" fmla="*/ 2089740 w 2792478"/>
                <a:gd name="connsiteY5604" fmla="*/ 1152143 h 4235290"/>
                <a:gd name="connsiteX5605" fmla="*/ 2148403 w 2792478"/>
                <a:gd name="connsiteY5605" fmla="*/ 1210806 h 4235290"/>
                <a:gd name="connsiteX5606" fmla="*/ 2207124 w 2792478"/>
                <a:gd name="connsiteY5606" fmla="*/ 1152143 h 4235290"/>
                <a:gd name="connsiteX5607" fmla="*/ 2148403 w 2792478"/>
                <a:gd name="connsiteY5607" fmla="*/ 1093421 h 4235290"/>
                <a:gd name="connsiteX5608" fmla="*/ 746129 w 2792478"/>
                <a:gd name="connsiteY5608" fmla="*/ 1090937 h 4235290"/>
                <a:gd name="connsiteX5609" fmla="*/ 744947 w 2792478"/>
                <a:gd name="connsiteY5609" fmla="*/ 1092180 h 4235290"/>
                <a:gd name="connsiteX5610" fmla="*/ 744947 w 2792478"/>
                <a:gd name="connsiteY5610" fmla="*/ 1095842 h 4235290"/>
                <a:gd name="connsiteX5611" fmla="*/ 746129 w 2792478"/>
                <a:gd name="connsiteY5611" fmla="*/ 1097026 h 4235290"/>
                <a:gd name="connsiteX5612" fmla="*/ 749796 w 2792478"/>
                <a:gd name="connsiteY5612" fmla="*/ 1097026 h 4235290"/>
                <a:gd name="connsiteX5613" fmla="*/ 751038 w 2792478"/>
                <a:gd name="connsiteY5613" fmla="*/ 1095842 h 4235290"/>
                <a:gd name="connsiteX5614" fmla="*/ 751038 w 2792478"/>
                <a:gd name="connsiteY5614" fmla="*/ 1092180 h 4235290"/>
                <a:gd name="connsiteX5615" fmla="*/ 749796 w 2792478"/>
                <a:gd name="connsiteY5615" fmla="*/ 1090937 h 4235290"/>
                <a:gd name="connsiteX5616" fmla="*/ 720342 w 2792478"/>
                <a:gd name="connsiteY5616" fmla="*/ 1090937 h 4235290"/>
                <a:gd name="connsiteX5617" fmla="*/ 719099 w 2792478"/>
                <a:gd name="connsiteY5617" fmla="*/ 1092180 h 4235290"/>
                <a:gd name="connsiteX5618" fmla="*/ 719099 w 2792478"/>
                <a:gd name="connsiteY5618" fmla="*/ 1095842 h 4235290"/>
                <a:gd name="connsiteX5619" fmla="*/ 720342 w 2792478"/>
                <a:gd name="connsiteY5619" fmla="*/ 1097026 h 4235290"/>
                <a:gd name="connsiteX5620" fmla="*/ 723941 w 2792478"/>
                <a:gd name="connsiteY5620" fmla="*/ 1097026 h 4235290"/>
                <a:gd name="connsiteX5621" fmla="*/ 725183 w 2792478"/>
                <a:gd name="connsiteY5621" fmla="*/ 1095842 h 4235290"/>
                <a:gd name="connsiteX5622" fmla="*/ 725183 w 2792478"/>
                <a:gd name="connsiteY5622" fmla="*/ 1092180 h 4235290"/>
                <a:gd name="connsiteX5623" fmla="*/ 723941 w 2792478"/>
                <a:gd name="connsiteY5623" fmla="*/ 1090937 h 4235290"/>
                <a:gd name="connsiteX5624" fmla="*/ 696479 w 2792478"/>
                <a:gd name="connsiteY5624" fmla="*/ 1090937 h 4235290"/>
                <a:gd name="connsiteX5625" fmla="*/ 695229 w 2792478"/>
                <a:gd name="connsiteY5625" fmla="*/ 1092180 h 4235290"/>
                <a:gd name="connsiteX5626" fmla="*/ 695229 w 2792478"/>
                <a:gd name="connsiteY5626" fmla="*/ 1095842 h 4235290"/>
                <a:gd name="connsiteX5627" fmla="*/ 696479 w 2792478"/>
                <a:gd name="connsiteY5627" fmla="*/ 1097026 h 4235290"/>
                <a:gd name="connsiteX5628" fmla="*/ 700078 w 2792478"/>
                <a:gd name="connsiteY5628" fmla="*/ 1097026 h 4235290"/>
                <a:gd name="connsiteX5629" fmla="*/ 701320 w 2792478"/>
                <a:gd name="connsiteY5629" fmla="*/ 1095842 h 4235290"/>
                <a:gd name="connsiteX5630" fmla="*/ 701320 w 2792478"/>
                <a:gd name="connsiteY5630" fmla="*/ 1092180 h 4235290"/>
                <a:gd name="connsiteX5631" fmla="*/ 700078 w 2792478"/>
                <a:gd name="connsiteY5631" fmla="*/ 1090937 h 4235290"/>
                <a:gd name="connsiteX5632" fmla="*/ 670563 w 2792478"/>
                <a:gd name="connsiteY5632" fmla="*/ 1090937 h 4235290"/>
                <a:gd name="connsiteX5633" fmla="*/ 669381 w 2792478"/>
                <a:gd name="connsiteY5633" fmla="*/ 1092180 h 4235290"/>
                <a:gd name="connsiteX5634" fmla="*/ 669381 w 2792478"/>
                <a:gd name="connsiteY5634" fmla="*/ 1095842 h 4235290"/>
                <a:gd name="connsiteX5635" fmla="*/ 670563 w 2792478"/>
                <a:gd name="connsiteY5635" fmla="*/ 1097026 h 4235290"/>
                <a:gd name="connsiteX5636" fmla="*/ 674290 w 2792478"/>
                <a:gd name="connsiteY5636" fmla="*/ 1097026 h 4235290"/>
                <a:gd name="connsiteX5637" fmla="*/ 675472 w 2792478"/>
                <a:gd name="connsiteY5637" fmla="*/ 1095842 h 4235290"/>
                <a:gd name="connsiteX5638" fmla="*/ 675472 w 2792478"/>
                <a:gd name="connsiteY5638" fmla="*/ 1092180 h 4235290"/>
                <a:gd name="connsiteX5639" fmla="*/ 674290 w 2792478"/>
                <a:gd name="connsiteY5639" fmla="*/ 1090937 h 4235290"/>
                <a:gd name="connsiteX5640" fmla="*/ 644769 w 2792478"/>
                <a:gd name="connsiteY5640" fmla="*/ 1090937 h 4235290"/>
                <a:gd name="connsiteX5641" fmla="*/ 643526 w 2792478"/>
                <a:gd name="connsiteY5641" fmla="*/ 1092180 h 4235290"/>
                <a:gd name="connsiteX5642" fmla="*/ 643526 w 2792478"/>
                <a:gd name="connsiteY5642" fmla="*/ 1095842 h 4235290"/>
                <a:gd name="connsiteX5643" fmla="*/ 644769 w 2792478"/>
                <a:gd name="connsiteY5643" fmla="*/ 1097026 h 4235290"/>
                <a:gd name="connsiteX5644" fmla="*/ 648375 w 2792478"/>
                <a:gd name="connsiteY5644" fmla="*/ 1097026 h 4235290"/>
                <a:gd name="connsiteX5645" fmla="*/ 649617 w 2792478"/>
                <a:gd name="connsiteY5645" fmla="*/ 1095842 h 4235290"/>
                <a:gd name="connsiteX5646" fmla="*/ 649617 w 2792478"/>
                <a:gd name="connsiteY5646" fmla="*/ 1092180 h 4235290"/>
                <a:gd name="connsiteX5647" fmla="*/ 648375 w 2792478"/>
                <a:gd name="connsiteY5647" fmla="*/ 1090937 h 4235290"/>
                <a:gd name="connsiteX5648" fmla="*/ 2749106 w 2792478"/>
                <a:gd name="connsiteY5648" fmla="*/ 1090769 h 4235290"/>
                <a:gd name="connsiteX5649" fmla="*/ 2760049 w 2792478"/>
                <a:gd name="connsiteY5649" fmla="*/ 1097086 h 4235290"/>
                <a:gd name="connsiteX5650" fmla="*/ 2753486 w 2792478"/>
                <a:gd name="connsiteY5650" fmla="*/ 1108457 h 4235290"/>
                <a:gd name="connsiteX5651" fmla="*/ 2742571 w 2792478"/>
                <a:gd name="connsiteY5651" fmla="*/ 1102112 h 4235290"/>
                <a:gd name="connsiteX5652" fmla="*/ 2684248 w 2792478"/>
                <a:gd name="connsiteY5652" fmla="*/ 1090769 h 4235290"/>
                <a:gd name="connsiteX5653" fmla="*/ 2690790 w 2792478"/>
                <a:gd name="connsiteY5653" fmla="*/ 1102112 h 4235290"/>
                <a:gd name="connsiteX5654" fmla="*/ 2679868 w 2792478"/>
                <a:gd name="connsiteY5654" fmla="*/ 1108466 h 4235290"/>
                <a:gd name="connsiteX5655" fmla="*/ 2673284 w 2792478"/>
                <a:gd name="connsiteY5655" fmla="*/ 1097086 h 4235290"/>
                <a:gd name="connsiteX5656" fmla="*/ 746129 w 2792478"/>
                <a:gd name="connsiteY5656" fmla="*/ 1083790 h 4235290"/>
                <a:gd name="connsiteX5657" fmla="*/ 749796 w 2792478"/>
                <a:gd name="connsiteY5657" fmla="*/ 1083790 h 4235290"/>
                <a:gd name="connsiteX5658" fmla="*/ 758250 w 2792478"/>
                <a:gd name="connsiteY5658" fmla="*/ 1092180 h 4235290"/>
                <a:gd name="connsiteX5659" fmla="*/ 758250 w 2792478"/>
                <a:gd name="connsiteY5659" fmla="*/ 1095842 h 4235290"/>
                <a:gd name="connsiteX5660" fmla="*/ 749796 w 2792478"/>
                <a:gd name="connsiteY5660" fmla="*/ 1104231 h 4235290"/>
                <a:gd name="connsiteX5661" fmla="*/ 746129 w 2792478"/>
                <a:gd name="connsiteY5661" fmla="*/ 1104231 h 4235290"/>
                <a:gd name="connsiteX5662" fmla="*/ 737803 w 2792478"/>
                <a:gd name="connsiteY5662" fmla="*/ 1095842 h 4235290"/>
                <a:gd name="connsiteX5663" fmla="*/ 737803 w 2792478"/>
                <a:gd name="connsiteY5663" fmla="*/ 1092180 h 4235290"/>
                <a:gd name="connsiteX5664" fmla="*/ 746129 w 2792478"/>
                <a:gd name="connsiteY5664" fmla="*/ 1083790 h 4235290"/>
                <a:gd name="connsiteX5665" fmla="*/ 720342 w 2792478"/>
                <a:gd name="connsiteY5665" fmla="*/ 1083790 h 4235290"/>
                <a:gd name="connsiteX5666" fmla="*/ 723941 w 2792478"/>
                <a:gd name="connsiteY5666" fmla="*/ 1083790 h 4235290"/>
                <a:gd name="connsiteX5667" fmla="*/ 732334 w 2792478"/>
                <a:gd name="connsiteY5667" fmla="*/ 1092180 h 4235290"/>
                <a:gd name="connsiteX5668" fmla="*/ 732334 w 2792478"/>
                <a:gd name="connsiteY5668" fmla="*/ 1095842 h 4235290"/>
                <a:gd name="connsiteX5669" fmla="*/ 723941 w 2792478"/>
                <a:gd name="connsiteY5669" fmla="*/ 1104231 h 4235290"/>
                <a:gd name="connsiteX5670" fmla="*/ 720342 w 2792478"/>
                <a:gd name="connsiteY5670" fmla="*/ 1104231 h 4235290"/>
                <a:gd name="connsiteX5671" fmla="*/ 711948 w 2792478"/>
                <a:gd name="connsiteY5671" fmla="*/ 1095842 h 4235290"/>
                <a:gd name="connsiteX5672" fmla="*/ 711948 w 2792478"/>
                <a:gd name="connsiteY5672" fmla="*/ 1092180 h 4235290"/>
                <a:gd name="connsiteX5673" fmla="*/ 720342 w 2792478"/>
                <a:gd name="connsiteY5673" fmla="*/ 1083790 h 4235290"/>
                <a:gd name="connsiteX5674" fmla="*/ 696479 w 2792478"/>
                <a:gd name="connsiteY5674" fmla="*/ 1083790 h 4235290"/>
                <a:gd name="connsiteX5675" fmla="*/ 700145 w 2792478"/>
                <a:gd name="connsiteY5675" fmla="*/ 1083790 h 4235290"/>
                <a:gd name="connsiteX5676" fmla="*/ 708532 w 2792478"/>
                <a:gd name="connsiteY5676" fmla="*/ 1092180 h 4235290"/>
                <a:gd name="connsiteX5677" fmla="*/ 708532 w 2792478"/>
                <a:gd name="connsiteY5677" fmla="*/ 1095842 h 4235290"/>
                <a:gd name="connsiteX5678" fmla="*/ 700145 w 2792478"/>
                <a:gd name="connsiteY5678" fmla="*/ 1104231 h 4235290"/>
                <a:gd name="connsiteX5679" fmla="*/ 696479 w 2792478"/>
                <a:gd name="connsiteY5679" fmla="*/ 1104231 h 4235290"/>
                <a:gd name="connsiteX5680" fmla="*/ 688085 w 2792478"/>
                <a:gd name="connsiteY5680" fmla="*/ 1095842 h 4235290"/>
                <a:gd name="connsiteX5681" fmla="*/ 688085 w 2792478"/>
                <a:gd name="connsiteY5681" fmla="*/ 1092180 h 4235290"/>
                <a:gd name="connsiteX5682" fmla="*/ 696479 w 2792478"/>
                <a:gd name="connsiteY5682" fmla="*/ 1083790 h 4235290"/>
                <a:gd name="connsiteX5683" fmla="*/ 670624 w 2792478"/>
                <a:gd name="connsiteY5683" fmla="*/ 1083790 h 4235290"/>
                <a:gd name="connsiteX5684" fmla="*/ 674290 w 2792478"/>
                <a:gd name="connsiteY5684" fmla="*/ 1083790 h 4235290"/>
                <a:gd name="connsiteX5685" fmla="*/ 682677 w 2792478"/>
                <a:gd name="connsiteY5685" fmla="*/ 1092180 h 4235290"/>
                <a:gd name="connsiteX5686" fmla="*/ 682677 w 2792478"/>
                <a:gd name="connsiteY5686" fmla="*/ 1095842 h 4235290"/>
                <a:gd name="connsiteX5687" fmla="*/ 674290 w 2792478"/>
                <a:gd name="connsiteY5687" fmla="*/ 1104231 h 4235290"/>
                <a:gd name="connsiteX5688" fmla="*/ 670624 w 2792478"/>
                <a:gd name="connsiteY5688" fmla="*/ 1104231 h 4235290"/>
                <a:gd name="connsiteX5689" fmla="*/ 662237 w 2792478"/>
                <a:gd name="connsiteY5689" fmla="*/ 1095842 h 4235290"/>
                <a:gd name="connsiteX5690" fmla="*/ 662237 w 2792478"/>
                <a:gd name="connsiteY5690" fmla="*/ 1092180 h 4235290"/>
                <a:gd name="connsiteX5691" fmla="*/ 670624 w 2792478"/>
                <a:gd name="connsiteY5691" fmla="*/ 1083790 h 4235290"/>
                <a:gd name="connsiteX5692" fmla="*/ 644769 w 2792478"/>
                <a:gd name="connsiteY5692" fmla="*/ 1083790 h 4235290"/>
                <a:gd name="connsiteX5693" fmla="*/ 648375 w 2792478"/>
                <a:gd name="connsiteY5693" fmla="*/ 1083790 h 4235290"/>
                <a:gd name="connsiteX5694" fmla="*/ 656829 w 2792478"/>
                <a:gd name="connsiteY5694" fmla="*/ 1092180 h 4235290"/>
                <a:gd name="connsiteX5695" fmla="*/ 656829 w 2792478"/>
                <a:gd name="connsiteY5695" fmla="*/ 1095842 h 4235290"/>
                <a:gd name="connsiteX5696" fmla="*/ 648375 w 2792478"/>
                <a:gd name="connsiteY5696" fmla="*/ 1104231 h 4235290"/>
                <a:gd name="connsiteX5697" fmla="*/ 644769 w 2792478"/>
                <a:gd name="connsiteY5697" fmla="*/ 1104231 h 4235290"/>
                <a:gd name="connsiteX5698" fmla="*/ 636382 w 2792478"/>
                <a:gd name="connsiteY5698" fmla="*/ 1095842 h 4235290"/>
                <a:gd name="connsiteX5699" fmla="*/ 636382 w 2792478"/>
                <a:gd name="connsiteY5699" fmla="*/ 1092180 h 4235290"/>
                <a:gd name="connsiteX5700" fmla="*/ 644769 w 2792478"/>
                <a:gd name="connsiteY5700" fmla="*/ 1083790 h 4235290"/>
                <a:gd name="connsiteX5701" fmla="*/ 2710353 w 2792478"/>
                <a:gd name="connsiteY5701" fmla="*/ 1083778 h 4235290"/>
                <a:gd name="connsiteX5702" fmla="*/ 2722988 w 2792478"/>
                <a:gd name="connsiteY5702" fmla="*/ 1083778 h 4235290"/>
                <a:gd name="connsiteX5703" fmla="*/ 2722988 w 2792478"/>
                <a:gd name="connsiteY5703" fmla="*/ 1097049 h 4235290"/>
                <a:gd name="connsiteX5704" fmla="*/ 2716677 w 2792478"/>
                <a:gd name="connsiteY5704" fmla="*/ 1096412 h 4235290"/>
                <a:gd name="connsiteX5705" fmla="*/ 2710353 w 2792478"/>
                <a:gd name="connsiteY5705" fmla="*/ 1097049 h 4235290"/>
                <a:gd name="connsiteX5706" fmla="*/ 366433 w 2792478"/>
                <a:gd name="connsiteY5706" fmla="*/ 1083477 h 4235290"/>
                <a:gd name="connsiteX5707" fmla="*/ 364443 w 2792478"/>
                <a:gd name="connsiteY5707" fmla="*/ 1094665 h 4235290"/>
                <a:gd name="connsiteX5708" fmla="*/ 373017 w 2792478"/>
                <a:gd name="connsiteY5708" fmla="*/ 1103298 h 4235290"/>
                <a:gd name="connsiteX5709" fmla="*/ 384203 w 2792478"/>
                <a:gd name="connsiteY5709" fmla="*/ 1101311 h 4235290"/>
                <a:gd name="connsiteX5710" fmla="*/ 2606032 w 2792478"/>
                <a:gd name="connsiteY5710" fmla="*/ 1073844 h 4235290"/>
                <a:gd name="connsiteX5711" fmla="*/ 2629956 w 2792478"/>
                <a:gd name="connsiteY5711" fmla="*/ 1085339 h 4235290"/>
                <a:gd name="connsiteX5712" fmla="*/ 2625234 w 2792478"/>
                <a:gd name="connsiteY5712" fmla="*/ 1128408 h 4235290"/>
                <a:gd name="connsiteX5713" fmla="*/ 2615293 w 2792478"/>
                <a:gd name="connsiteY5713" fmla="*/ 1136295 h 4235290"/>
                <a:gd name="connsiteX5714" fmla="*/ 2618025 w 2792478"/>
                <a:gd name="connsiteY5714" fmla="*/ 1139715 h 4235290"/>
                <a:gd name="connsiteX5715" fmla="*/ 2616654 w 2792478"/>
                <a:gd name="connsiteY5715" fmla="*/ 1152087 h 4235290"/>
                <a:gd name="connsiteX5716" fmla="*/ 2611129 w 2792478"/>
                <a:gd name="connsiteY5716" fmla="*/ 1154009 h 4235290"/>
                <a:gd name="connsiteX5717" fmla="*/ 2604295 w 2792478"/>
                <a:gd name="connsiteY5717" fmla="*/ 1150720 h 4235290"/>
                <a:gd name="connsiteX5718" fmla="*/ 2601554 w 2792478"/>
                <a:gd name="connsiteY5718" fmla="*/ 1147300 h 4235290"/>
                <a:gd name="connsiteX5719" fmla="*/ 2517910 w 2792478"/>
                <a:gd name="connsiteY5719" fmla="*/ 1214349 h 4235290"/>
                <a:gd name="connsiteX5720" fmla="*/ 2503490 w 2792478"/>
                <a:gd name="connsiteY5720" fmla="*/ 1220690 h 4235290"/>
                <a:gd name="connsiteX5721" fmla="*/ 2471797 w 2792478"/>
                <a:gd name="connsiteY5721" fmla="*/ 1225722 h 4235290"/>
                <a:gd name="connsiteX5722" fmla="*/ 2469938 w 2792478"/>
                <a:gd name="connsiteY5722" fmla="*/ 1225844 h 4235290"/>
                <a:gd name="connsiteX5723" fmla="*/ 2460616 w 2792478"/>
                <a:gd name="connsiteY5723" fmla="*/ 1221378 h 4235290"/>
                <a:gd name="connsiteX5724" fmla="*/ 2458687 w 2792478"/>
                <a:gd name="connsiteY5724" fmla="*/ 1209562 h 4235290"/>
                <a:gd name="connsiteX5725" fmla="*/ 2470244 w 2792478"/>
                <a:gd name="connsiteY5725" fmla="*/ 1179430 h 4235290"/>
                <a:gd name="connsiteX5726" fmla="*/ 2479688 w 2792478"/>
                <a:gd name="connsiteY5726" fmla="*/ 1166437 h 4235290"/>
                <a:gd name="connsiteX5727" fmla="*/ 2563271 w 2792478"/>
                <a:gd name="connsiteY5727" fmla="*/ 1099510 h 4235290"/>
                <a:gd name="connsiteX5728" fmla="*/ 2560539 w 2792478"/>
                <a:gd name="connsiteY5728" fmla="*/ 1096156 h 4235290"/>
                <a:gd name="connsiteX5729" fmla="*/ 2561910 w 2792478"/>
                <a:gd name="connsiteY5729" fmla="*/ 1083785 h 4235290"/>
                <a:gd name="connsiteX5730" fmla="*/ 2574278 w 2792478"/>
                <a:gd name="connsiteY5730" fmla="*/ 1085151 h 4235290"/>
                <a:gd name="connsiteX5731" fmla="*/ 2577010 w 2792478"/>
                <a:gd name="connsiteY5731" fmla="*/ 1088515 h 4235290"/>
                <a:gd name="connsiteX5732" fmla="*/ 2586890 w 2792478"/>
                <a:gd name="connsiteY5732" fmla="*/ 1080553 h 4235290"/>
                <a:gd name="connsiteX5733" fmla="*/ 2606032 w 2792478"/>
                <a:gd name="connsiteY5733" fmla="*/ 1073844 h 4235290"/>
                <a:gd name="connsiteX5734" fmla="*/ 2148403 w 2792478"/>
                <a:gd name="connsiteY5734" fmla="*/ 1073844 h 4235290"/>
                <a:gd name="connsiteX5735" fmla="*/ 2226701 w 2792478"/>
                <a:gd name="connsiteY5735" fmla="*/ 1152143 h 4235290"/>
                <a:gd name="connsiteX5736" fmla="*/ 2148403 w 2792478"/>
                <a:gd name="connsiteY5736" fmla="*/ 1230383 h 4235290"/>
                <a:gd name="connsiteX5737" fmla="*/ 2070163 w 2792478"/>
                <a:gd name="connsiteY5737" fmla="*/ 1152143 h 4235290"/>
                <a:gd name="connsiteX5738" fmla="*/ 2148403 w 2792478"/>
                <a:gd name="connsiteY5738" fmla="*/ 1073844 h 4235290"/>
                <a:gd name="connsiteX5739" fmla="*/ 630663 w 2792478"/>
                <a:gd name="connsiteY5739" fmla="*/ 1071917 h 4235290"/>
                <a:gd name="connsiteX5740" fmla="*/ 630663 w 2792478"/>
                <a:gd name="connsiteY5740" fmla="*/ 1170480 h 4235290"/>
                <a:gd name="connsiteX5741" fmla="*/ 631412 w 2792478"/>
                <a:gd name="connsiteY5741" fmla="*/ 1171228 h 4235290"/>
                <a:gd name="connsiteX5742" fmla="*/ 716736 w 2792478"/>
                <a:gd name="connsiteY5742" fmla="*/ 1171228 h 4235290"/>
                <a:gd name="connsiteX5743" fmla="*/ 717479 w 2792478"/>
                <a:gd name="connsiteY5743" fmla="*/ 1171102 h 4235290"/>
                <a:gd name="connsiteX5744" fmla="*/ 717479 w 2792478"/>
                <a:gd name="connsiteY5744" fmla="*/ 1170480 h 4235290"/>
                <a:gd name="connsiteX5745" fmla="*/ 717479 w 2792478"/>
                <a:gd name="connsiteY5745" fmla="*/ 1116601 h 4235290"/>
                <a:gd name="connsiteX5746" fmla="*/ 724501 w 2792478"/>
                <a:gd name="connsiteY5746" fmla="*/ 1109580 h 4235290"/>
                <a:gd name="connsiteX5747" fmla="*/ 763280 w 2792478"/>
                <a:gd name="connsiteY5747" fmla="*/ 1109580 h 4235290"/>
                <a:gd name="connsiteX5748" fmla="*/ 763962 w 2792478"/>
                <a:gd name="connsiteY5748" fmla="*/ 1109639 h 4235290"/>
                <a:gd name="connsiteX5749" fmla="*/ 764023 w 2792478"/>
                <a:gd name="connsiteY5749" fmla="*/ 1108833 h 4235290"/>
                <a:gd name="connsiteX5750" fmla="*/ 764023 w 2792478"/>
                <a:gd name="connsiteY5750" fmla="*/ 1071917 h 4235290"/>
                <a:gd name="connsiteX5751" fmla="*/ 2702247 w 2792478"/>
                <a:gd name="connsiteY5751" fmla="*/ 1046687 h 4235290"/>
                <a:gd name="connsiteX5752" fmla="*/ 2702247 w 2792478"/>
                <a:gd name="connsiteY5752" fmla="*/ 1050974 h 4235290"/>
                <a:gd name="connsiteX5753" fmla="*/ 2736542 w 2792478"/>
                <a:gd name="connsiteY5753" fmla="*/ 1050974 h 4235290"/>
                <a:gd name="connsiteX5754" fmla="*/ 2736542 w 2792478"/>
                <a:gd name="connsiteY5754" fmla="*/ 1046687 h 4235290"/>
                <a:gd name="connsiteX5755" fmla="*/ 2770831 w 2792478"/>
                <a:gd name="connsiteY5755" fmla="*/ 1044544 h 4235290"/>
                <a:gd name="connsiteX5756" fmla="*/ 2766544 w 2792478"/>
                <a:gd name="connsiteY5756" fmla="*/ 1048831 h 4235290"/>
                <a:gd name="connsiteX5757" fmla="*/ 2770831 w 2792478"/>
                <a:gd name="connsiteY5757" fmla="*/ 1053117 h 4235290"/>
                <a:gd name="connsiteX5758" fmla="*/ 2775117 w 2792478"/>
                <a:gd name="connsiteY5758" fmla="*/ 1048831 h 4235290"/>
                <a:gd name="connsiteX5759" fmla="*/ 2770831 w 2792478"/>
                <a:gd name="connsiteY5759" fmla="*/ 1044544 h 4235290"/>
                <a:gd name="connsiteX5760" fmla="*/ 2753683 w 2792478"/>
                <a:gd name="connsiteY5760" fmla="*/ 1044544 h 4235290"/>
                <a:gd name="connsiteX5761" fmla="*/ 2749396 w 2792478"/>
                <a:gd name="connsiteY5761" fmla="*/ 1048831 h 4235290"/>
                <a:gd name="connsiteX5762" fmla="*/ 2753683 w 2792478"/>
                <a:gd name="connsiteY5762" fmla="*/ 1053117 h 4235290"/>
                <a:gd name="connsiteX5763" fmla="*/ 2757970 w 2792478"/>
                <a:gd name="connsiteY5763" fmla="*/ 1048831 h 4235290"/>
                <a:gd name="connsiteX5764" fmla="*/ 2753683 w 2792478"/>
                <a:gd name="connsiteY5764" fmla="*/ 1044544 h 4235290"/>
                <a:gd name="connsiteX5765" fmla="*/ 430689 w 2792478"/>
                <a:gd name="connsiteY5765" fmla="*/ 1044266 h 4235290"/>
                <a:gd name="connsiteX5766" fmla="*/ 386128 w 2792478"/>
                <a:gd name="connsiteY5766" fmla="*/ 1088820 h 4235290"/>
                <a:gd name="connsiteX5767" fmla="*/ 394709 w 2792478"/>
                <a:gd name="connsiteY5767" fmla="*/ 1097394 h 4235290"/>
                <a:gd name="connsiteX5768" fmla="*/ 439322 w 2792478"/>
                <a:gd name="connsiteY5768" fmla="*/ 1052840 h 4235290"/>
                <a:gd name="connsiteX5769" fmla="*/ 631412 w 2792478"/>
                <a:gd name="connsiteY5769" fmla="*/ 1044011 h 4235290"/>
                <a:gd name="connsiteX5770" fmla="*/ 630663 w 2792478"/>
                <a:gd name="connsiteY5770" fmla="*/ 1044699 h 4235290"/>
                <a:gd name="connsiteX5771" fmla="*/ 630663 w 2792478"/>
                <a:gd name="connsiteY5771" fmla="*/ 1064711 h 4235290"/>
                <a:gd name="connsiteX5772" fmla="*/ 764023 w 2792478"/>
                <a:gd name="connsiteY5772" fmla="*/ 1064711 h 4235290"/>
                <a:gd name="connsiteX5773" fmla="*/ 764023 w 2792478"/>
                <a:gd name="connsiteY5773" fmla="*/ 1044699 h 4235290"/>
                <a:gd name="connsiteX5774" fmla="*/ 763280 w 2792478"/>
                <a:gd name="connsiteY5774" fmla="*/ 1044011 h 4235290"/>
                <a:gd name="connsiteX5775" fmla="*/ 741092 w 2792478"/>
                <a:gd name="connsiteY5775" fmla="*/ 1044011 h 4235290"/>
                <a:gd name="connsiteX5776" fmla="*/ 740849 w 2792478"/>
                <a:gd name="connsiteY5776" fmla="*/ 1049109 h 4235290"/>
                <a:gd name="connsiteX5777" fmla="*/ 744947 w 2792478"/>
                <a:gd name="connsiteY5777" fmla="*/ 1055700 h 4235290"/>
                <a:gd name="connsiteX5778" fmla="*/ 737493 w 2792478"/>
                <a:gd name="connsiteY5778" fmla="*/ 1063157 h 4235290"/>
                <a:gd name="connsiteX5779" fmla="*/ 730092 w 2792478"/>
                <a:gd name="connsiteY5779" fmla="*/ 1055700 h 4235290"/>
                <a:gd name="connsiteX5780" fmla="*/ 733576 w 2792478"/>
                <a:gd name="connsiteY5780" fmla="*/ 1049486 h 4235290"/>
                <a:gd name="connsiteX5781" fmla="*/ 733887 w 2792478"/>
                <a:gd name="connsiteY5781" fmla="*/ 1044011 h 4235290"/>
                <a:gd name="connsiteX5782" fmla="*/ 671123 w 2792478"/>
                <a:gd name="connsiteY5782" fmla="*/ 1044011 h 4235290"/>
                <a:gd name="connsiteX5783" fmla="*/ 670745 w 2792478"/>
                <a:gd name="connsiteY5783" fmla="*/ 1050041 h 4235290"/>
                <a:gd name="connsiteX5784" fmla="*/ 673608 w 2792478"/>
                <a:gd name="connsiteY5784" fmla="*/ 1055700 h 4235290"/>
                <a:gd name="connsiteX5785" fmla="*/ 666147 w 2792478"/>
                <a:gd name="connsiteY5785" fmla="*/ 1063157 h 4235290"/>
                <a:gd name="connsiteX5786" fmla="*/ 658753 w 2792478"/>
                <a:gd name="connsiteY5786" fmla="*/ 1055700 h 4235290"/>
                <a:gd name="connsiteX5787" fmla="*/ 663601 w 2792478"/>
                <a:gd name="connsiteY5787" fmla="*/ 1048864 h 4235290"/>
                <a:gd name="connsiteX5788" fmla="*/ 663912 w 2792478"/>
                <a:gd name="connsiteY5788" fmla="*/ 1044011 h 4235290"/>
                <a:gd name="connsiteX5789" fmla="*/ 40040 w 2792478"/>
                <a:gd name="connsiteY5789" fmla="*/ 1032698 h 4235290"/>
                <a:gd name="connsiteX5790" fmla="*/ 42929 w 2792478"/>
                <a:gd name="connsiteY5790" fmla="*/ 1043448 h 4235290"/>
                <a:gd name="connsiteX5791" fmla="*/ 42929 w 2792478"/>
                <a:gd name="connsiteY5791" fmla="*/ 1091780 h 4235290"/>
                <a:gd name="connsiteX5792" fmla="*/ 64429 w 2792478"/>
                <a:gd name="connsiteY5792" fmla="*/ 1091780 h 4235290"/>
                <a:gd name="connsiteX5793" fmla="*/ 64429 w 2792478"/>
                <a:gd name="connsiteY5793" fmla="*/ 1087213 h 4235290"/>
                <a:gd name="connsiteX5794" fmla="*/ 63673 w 2792478"/>
                <a:gd name="connsiteY5794" fmla="*/ 1086321 h 4235290"/>
                <a:gd name="connsiteX5795" fmla="*/ 59058 w 2792478"/>
                <a:gd name="connsiteY5795" fmla="*/ 1075675 h 4235290"/>
                <a:gd name="connsiteX5796" fmla="*/ 59058 w 2792478"/>
                <a:gd name="connsiteY5796" fmla="*/ 1038061 h 4235290"/>
                <a:gd name="connsiteX5797" fmla="*/ 59949 w 2792478"/>
                <a:gd name="connsiteY5797" fmla="*/ 1032770 h 4235290"/>
                <a:gd name="connsiteX5798" fmla="*/ 43796 w 2792478"/>
                <a:gd name="connsiteY5798" fmla="*/ 1032770 h 4235290"/>
                <a:gd name="connsiteX5799" fmla="*/ 43796 w 2792478"/>
                <a:gd name="connsiteY5799" fmla="*/ 1032698 h 4235290"/>
                <a:gd name="connsiteX5800" fmla="*/ 542834 w 2792478"/>
                <a:gd name="connsiteY5800" fmla="*/ 1028570 h 4235290"/>
                <a:gd name="connsiteX5801" fmla="*/ 517999 w 2792478"/>
                <a:gd name="connsiteY5801" fmla="*/ 1053408 h 4235290"/>
                <a:gd name="connsiteX5802" fmla="*/ 517999 w 2792478"/>
                <a:gd name="connsiteY5802" fmla="*/ 1078232 h 4235290"/>
                <a:gd name="connsiteX5803" fmla="*/ 567655 w 2792478"/>
                <a:gd name="connsiteY5803" fmla="*/ 1078232 h 4235290"/>
                <a:gd name="connsiteX5804" fmla="*/ 567655 w 2792478"/>
                <a:gd name="connsiteY5804" fmla="*/ 1053408 h 4235290"/>
                <a:gd name="connsiteX5805" fmla="*/ 542834 w 2792478"/>
                <a:gd name="connsiteY5805" fmla="*/ 1028570 h 4235290"/>
                <a:gd name="connsiteX5806" fmla="*/ 414901 w 2792478"/>
                <a:gd name="connsiteY5806" fmla="*/ 1028419 h 4235290"/>
                <a:gd name="connsiteX5807" fmla="*/ 370281 w 2792478"/>
                <a:gd name="connsiteY5807" fmla="*/ 1072974 h 4235290"/>
                <a:gd name="connsiteX5808" fmla="*/ 378921 w 2792478"/>
                <a:gd name="connsiteY5808" fmla="*/ 1081614 h 4235290"/>
                <a:gd name="connsiteX5809" fmla="*/ 423475 w 2792478"/>
                <a:gd name="connsiteY5809" fmla="*/ 1037052 h 4235290"/>
                <a:gd name="connsiteX5810" fmla="*/ 657389 w 2792478"/>
                <a:gd name="connsiteY5810" fmla="*/ 1025561 h 4235290"/>
                <a:gd name="connsiteX5811" fmla="*/ 652723 w 2792478"/>
                <a:gd name="connsiteY5811" fmla="*/ 1037738 h 4235290"/>
                <a:gd name="connsiteX5812" fmla="*/ 663790 w 2792478"/>
                <a:gd name="connsiteY5812" fmla="*/ 1037738 h 4235290"/>
                <a:gd name="connsiteX5813" fmla="*/ 660617 w 2792478"/>
                <a:gd name="connsiteY5813" fmla="*/ 1026426 h 4235290"/>
                <a:gd name="connsiteX5814" fmla="*/ 657389 w 2792478"/>
                <a:gd name="connsiteY5814" fmla="*/ 1025561 h 4235290"/>
                <a:gd name="connsiteX5815" fmla="*/ 727364 w 2792478"/>
                <a:gd name="connsiteY5815" fmla="*/ 1025435 h 4235290"/>
                <a:gd name="connsiteX5816" fmla="*/ 722766 w 2792478"/>
                <a:gd name="connsiteY5816" fmla="*/ 1037738 h 4235290"/>
                <a:gd name="connsiteX5817" fmla="*/ 733826 w 2792478"/>
                <a:gd name="connsiteY5817" fmla="*/ 1037738 h 4235290"/>
                <a:gd name="connsiteX5818" fmla="*/ 730592 w 2792478"/>
                <a:gd name="connsiteY5818" fmla="*/ 1026301 h 4235290"/>
                <a:gd name="connsiteX5819" fmla="*/ 727364 w 2792478"/>
                <a:gd name="connsiteY5819" fmla="*/ 1025435 h 4235290"/>
                <a:gd name="connsiteX5820" fmla="*/ 2483882 w 2792478"/>
                <a:gd name="connsiteY5820" fmla="*/ 1023372 h 4235290"/>
                <a:gd name="connsiteX5821" fmla="*/ 2483882 w 2792478"/>
                <a:gd name="connsiteY5821" fmla="*/ 1090693 h 4235290"/>
                <a:gd name="connsiteX5822" fmla="*/ 2524874 w 2792478"/>
                <a:gd name="connsiteY5822" fmla="*/ 1067929 h 4235290"/>
                <a:gd name="connsiteX5823" fmla="*/ 2524874 w 2792478"/>
                <a:gd name="connsiteY5823" fmla="*/ 1027962 h 4235290"/>
                <a:gd name="connsiteX5824" fmla="*/ 2497059 w 2792478"/>
                <a:gd name="connsiteY5824" fmla="*/ 1041311 h 4235290"/>
                <a:gd name="connsiteX5825" fmla="*/ 2495217 w 2792478"/>
                <a:gd name="connsiteY5825" fmla="*/ 1041720 h 4235290"/>
                <a:gd name="connsiteX5826" fmla="*/ 2493812 w 2792478"/>
                <a:gd name="connsiteY5826" fmla="*/ 1041478 h 4235290"/>
                <a:gd name="connsiteX5827" fmla="*/ 2491376 w 2792478"/>
                <a:gd name="connsiteY5827" fmla="*/ 1039285 h 4235290"/>
                <a:gd name="connsiteX5828" fmla="*/ 2475373 w 2792478"/>
                <a:gd name="connsiteY5828" fmla="*/ 1018391 h 4235290"/>
                <a:gd name="connsiteX5829" fmla="*/ 2460173 w 2792478"/>
                <a:gd name="connsiteY5829" fmla="*/ 1041187 h 4235290"/>
                <a:gd name="connsiteX5830" fmla="*/ 2456637 w 2792478"/>
                <a:gd name="connsiteY5830" fmla="*/ 1043083 h 4235290"/>
                <a:gd name="connsiteX5831" fmla="*/ 2455567 w 2792478"/>
                <a:gd name="connsiteY5831" fmla="*/ 1042946 h 4235290"/>
                <a:gd name="connsiteX5832" fmla="*/ 2414879 w 2792478"/>
                <a:gd name="connsiteY5832" fmla="*/ 1032440 h 4235290"/>
                <a:gd name="connsiteX5833" fmla="*/ 2414879 w 2792478"/>
                <a:gd name="connsiteY5833" fmla="*/ 1073683 h 4235290"/>
                <a:gd name="connsiteX5834" fmla="*/ 2475373 w 2792478"/>
                <a:gd name="connsiteY5834" fmla="*/ 1092161 h 4235290"/>
                <a:gd name="connsiteX5835" fmla="*/ 726243 w 2792478"/>
                <a:gd name="connsiteY5835" fmla="*/ 1018288 h 4235290"/>
                <a:gd name="connsiteX5836" fmla="*/ 735690 w 2792478"/>
                <a:gd name="connsiteY5836" fmla="*/ 1021270 h 4235290"/>
                <a:gd name="connsiteX5837" fmla="*/ 741031 w 2792478"/>
                <a:gd name="connsiteY5837" fmla="*/ 1037738 h 4235290"/>
                <a:gd name="connsiteX5838" fmla="*/ 763280 w 2792478"/>
                <a:gd name="connsiteY5838" fmla="*/ 1037738 h 4235290"/>
                <a:gd name="connsiteX5839" fmla="*/ 770303 w 2792478"/>
                <a:gd name="connsiteY5839" fmla="*/ 1044699 h 4235290"/>
                <a:gd name="connsiteX5840" fmla="*/ 770303 w 2792478"/>
                <a:gd name="connsiteY5840" fmla="*/ 1108833 h 4235290"/>
                <a:gd name="connsiteX5841" fmla="*/ 767318 w 2792478"/>
                <a:gd name="connsiteY5841" fmla="*/ 1117718 h 4235290"/>
                <a:gd name="connsiteX5842" fmla="*/ 725433 w 2792478"/>
                <a:gd name="connsiteY5842" fmla="*/ 1173151 h 4235290"/>
                <a:gd name="connsiteX5843" fmla="*/ 724130 w 2792478"/>
                <a:gd name="connsiteY5843" fmla="*/ 1174520 h 4235290"/>
                <a:gd name="connsiteX5844" fmla="*/ 716736 w 2792478"/>
                <a:gd name="connsiteY5844" fmla="*/ 1177501 h 4235290"/>
                <a:gd name="connsiteX5845" fmla="*/ 631412 w 2792478"/>
                <a:gd name="connsiteY5845" fmla="*/ 1177501 h 4235290"/>
                <a:gd name="connsiteX5846" fmla="*/ 624451 w 2792478"/>
                <a:gd name="connsiteY5846" fmla="*/ 1170480 h 4235290"/>
                <a:gd name="connsiteX5847" fmla="*/ 624451 w 2792478"/>
                <a:gd name="connsiteY5847" fmla="*/ 1044699 h 4235290"/>
                <a:gd name="connsiteX5848" fmla="*/ 631412 w 2792478"/>
                <a:gd name="connsiteY5848" fmla="*/ 1037738 h 4235290"/>
                <a:gd name="connsiteX5849" fmla="*/ 645579 w 2792478"/>
                <a:gd name="connsiteY5849" fmla="*/ 1037738 h 4235290"/>
                <a:gd name="connsiteX5850" fmla="*/ 656268 w 2792478"/>
                <a:gd name="connsiteY5850" fmla="*/ 1018414 h 4235290"/>
                <a:gd name="connsiteX5851" fmla="*/ 665715 w 2792478"/>
                <a:gd name="connsiteY5851" fmla="*/ 1021396 h 4235290"/>
                <a:gd name="connsiteX5852" fmla="*/ 670995 w 2792478"/>
                <a:gd name="connsiteY5852" fmla="*/ 1037738 h 4235290"/>
                <a:gd name="connsiteX5853" fmla="*/ 715554 w 2792478"/>
                <a:gd name="connsiteY5853" fmla="*/ 1037738 h 4235290"/>
                <a:gd name="connsiteX5854" fmla="*/ 726243 w 2792478"/>
                <a:gd name="connsiteY5854" fmla="*/ 1018288 h 4235290"/>
                <a:gd name="connsiteX5855" fmla="*/ 414901 w 2792478"/>
                <a:gd name="connsiteY5855" fmla="*/ 1016176 h 4235290"/>
                <a:gd name="connsiteX5856" fmla="*/ 418508 w 2792478"/>
                <a:gd name="connsiteY5856" fmla="*/ 1017668 h 4235290"/>
                <a:gd name="connsiteX5857" fmla="*/ 450076 w 2792478"/>
                <a:gd name="connsiteY5857" fmla="*/ 1049295 h 4235290"/>
                <a:gd name="connsiteX5858" fmla="*/ 451569 w 2792478"/>
                <a:gd name="connsiteY5858" fmla="*/ 1052840 h 4235290"/>
                <a:gd name="connsiteX5859" fmla="*/ 450076 w 2792478"/>
                <a:gd name="connsiteY5859" fmla="*/ 1056443 h 4235290"/>
                <a:gd name="connsiteX5860" fmla="*/ 398872 w 2792478"/>
                <a:gd name="connsiteY5860" fmla="*/ 1106843 h 4235290"/>
                <a:gd name="connsiteX5861" fmla="*/ 393217 w 2792478"/>
                <a:gd name="connsiteY5861" fmla="*/ 1109761 h 4235290"/>
                <a:gd name="connsiteX5862" fmla="*/ 361956 w 2792478"/>
                <a:gd name="connsiteY5862" fmla="*/ 1115606 h 4235290"/>
                <a:gd name="connsiteX5863" fmla="*/ 360463 w 2792478"/>
                <a:gd name="connsiteY5863" fmla="*/ 1115730 h 4235290"/>
                <a:gd name="connsiteX5864" fmla="*/ 354435 w 2792478"/>
                <a:gd name="connsiteY5864" fmla="*/ 1113241 h 4235290"/>
                <a:gd name="connsiteX5865" fmla="*/ 352138 w 2792478"/>
                <a:gd name="connsiteY5865" fmla="*/ 1105722 h 4235290"/>
                <a:gd name="connsiteX5866" fmla="*/ 357917 w 2792478"/>
                <a:gd name="connsiteY5866" fmla="*/ 1073723 h 4235290"/>
                <a:gd name="connsiteX5867" fmla="*/ 360961 w 2792478"/>
                <a:gd name="connsiteY5867" fmla="*/ 1068002 h 4235290"/>
                <a:gd name="connsiteX5868" fmla="*/ 411294 w 2792478"/>
                <a:gd name="connsiteY5868" fmla="*/ 1017668 h 4235290"/>
                <a:gd name="connsiteX5869" fmla="*/ 414901 w 2792478"/>
                <a:gd name="connsiteY5869" fmla="*/ 1016176 h 4235290"/>
                <a:gd name="connsiteX5870" fmla="*/ 542834 w 2792478"/>
                <a:gd name="connsiteY5870" fmla="*/ 1016165 h 4235290"/>
                <a:gd name="connsiteX5871" fmla="*/ 580066 w 2792478"/>
                <a:gd name="connsiteY5871" fmla="*/ 1053408 h 4235290"/>
                <a:gd name="connsiteX5872" fmla="*/ 580066 w 2792478"/>
                <a:gd name="connsiteY5872" fmla="*/ 1078232 h 4235290"/>
                <a:gd name="connsiteX5873" fmla="*/ 586283 w 2792478"/>
                <a:gd name="connsiteY5873" fmla="*/ 1078232 h 4235290"/>
                <a:gd name="connsiteX5874" fmla="*/ 592495 w 2792478"/>
                <a:gd name="connsiteY5874" fmla="*/ 1084448 h 4235290"/>
                <a:gd name="connsiteX5875" fmla="*/ 586283 w 2792478"/>
                <a:gd name="connsiteY5875" fmla="*/ 1090646 h 4235290"/>
                <a:gd name="connsiteX5876" fmla="*/ 499385 w 2792478"/>
                <a:gd name="connsiteY5876" fmla="*/ 1090646 h 4235290"/>
                <a:gd name="connsiteX5877" fmla="*/ 493173 w 2792478"/>
                <a:gd name="connsiteY5877" fmla="*/ 1084448 h 4235290"/>
                <a:gd name="connsiteX5878" fmla="*/ 499385 w 2792478"/>
                <a:gd name="connsiteY5878" fmla="*/ 1078232 h 4235290"/>
                <a:gd name="connsiteX5879" fmla="*/ 505588 w 2792478"/>
                <a:gd name="connsiteY5879" fmla="*/ 1078232 h 4235290"/>
                <a:gd name="connsiteX5880" fmla="*/ 505588 w 2792478"/>
                <a:gd name="connsiteY5880" fmla="*/ 1053408 h 4235290"/>
                <a:gd name="connsiteX5881" fmla="*/ 542834 w 2792478"/>
                <a:gd name="connsiteY5881" fmla="*/ 1016165 h 4235290"/>
                <a:gd name="connsiteX5882" fmla="*/ 435905 w 2792478"/>
                <a:gd name="connsiteY5882" fmla="*/ 1008220 h 4235290"/>
                <a:gd name="connsiteX5883" fmla="*/ 438890 w 2792478"/>
                <a:gd name="connsiteY5883" fmla="*/ 1009465 h 4235290"/>
                <a:gd name="connsiteX5884" fmla="*/ 440756 w 2792478"/>
                <a:gd name="connsiteY5884" fmla="*/ 1011387 h 4235290"/>
                <a:gd name="connsiteX5885" fmla="*/ 459024 w 2792478"/>
                <a:gd name="connsiteY5885" fmla="*/ 1029598 h 4235290"/>
                <a:gd name="connsiteX5886" fmla="*/ 459894 w 2792478"/>
                <a:gd name="connsiteY5886" fmla="*/ 1030465 h 4235290"/>
                <a:gd name="connsiteX5887" fmla="*/ 461072 w 2792478"/>
                <a:gd name="connsiteY5887" fmla="*/ 1033391 h 4235290"/>
                <a:gd name="connsiteX5888" fmla="*/ 459894 w 2792478"/>
                <a:gd name="connsiteY5888" fmla="*/ 1036375 h 4235290"/>
                <a:gd name="connsiteX5889" fmla="*/ 455666 w 2792478"/>
                <a:gd name="connsiteY5889" fmla="*/ 1040539 h 4235290"/>
                <a:gd name="connsiteX5890" fmla="*/ 449762 w 2792478"/>
                <a:gd name="connsiteY5890" fmla="*/ 1040539 h 4235290"/>
                <a:gd name="connsiteX5891" fmla="*/ 428758 w 2792478"/>
                <a:gd name="connsiteY5891" fmla="*/ 1019532 h 4235290"/>
                <a:gd name="connsiteX5892" fmla="*/ 428758 w 2792478"/>
                <a:gd name="connsiteY5892" fmla="*/ 1013629 h 4235290"/>
                <a:gd name="connsiteX5893" fmla="*/ 432928 w 2792478"/>
                <a:gd name="connsiteY5893" fmla="*/ 1009465 h 4235290"/>
                <a:gd name="connsiteX5894" fmla="*/ 435905 w 2792478"/>
                <a:gd name="connsiteY5894" fmla="*/ 1008220 h 4235290"/>
                <a:gd name="connsiteX5895" fmla="*/ 2194144 w 2792478"/>
                <a:gd name="connsiteY5895" fmla="*/ 1006226 h 4235290"/>
                <a:gd name="connsiteX5896" fmla="*/ 2197442 w 2792478"/>
                <a:gd name="connsiteY5896" fmla="*/ 1007607 h 4235290"/>
                <a:gd name="connsiteX5897" fmla="*/ 2199606 w 2792478"/>
                <a:gd name="connsiteY5897" fmla="*/ 1009779 h 4235290"/>
                <a:gd name="connsiteX5898" fmla="*/ 2199679 w 2792478"/>
                <a:gd name="connsiteY5898" fmla="*/ 1016426 h 4235290"/>
                <a:gd name="connsiteX5899" fmla="*/ 2196323 w 2792478"/>
                <a:gd name="connsiteY5899" fmla="*/ 1017792 h 4235290"/>
                <a:gd name="connsiteX5900" fmla="*/ 2193025 w 2792478"/>
                <a:gd name="connsiteY5900" fmla="*/ 1016426 h 4235290"/>
                <a:gd name="connsiteX5901" fmla="*/ 2190846 w 2792478"/>
                <a:gd name="connsiteY5901" fmla="*/ 1014253 h 4235290"/>
                <a:gd name="connsiteX5902" fmla="*/ 2190846 w 2792478"/>
                <a:gd name="connsiteY5902" fmla="*/ 1007607 h 4235290"/>
                <a:gd name="connsiteX5903" fmla="*/ 2194144 w 2792478"/>
                <a:gd name="connsiteY5903" fmla="*/ 1006226 h 4235290"/>
                <a:gd name="connsiteX5904" fmla="*/ 2041211 w 2792478"/>
                <a:gd name="connsiteY5904" fmla="*/ 1002296 h 4235290"/>
                <a:gd name="connsiteX5905" fmla="*/ 1992355 w 2792478"/>
                <a:gd name="connsiteY5905" fmla="*/ 1028349 h 4235290"/>
                <a:gd name="connsiteX5906" fmla="*/ 1992355 w 2792478"/>
                <a:gd name="connsiteY5906" fmla="*/ 1083536 h 4235290"/>
                <a:gd name="connsiteX5907" fmla="*/ 2041211 w 2792478"/>
                <a:gd name="connsiteY5907" fmla="*/ 1054562 h 4235290"/>
                <a:gd name="connsiteX5908" fmla="*/ 2041211 w 2792478"/>
                <a:gd name="connsiteY5908" fmla="*/ 1002296 h 4235290"/>
                <a:gd name="connsiteX5909" fmla="*/ 1932246 w 2792478"/>
                <a:gd name="connsiteY5909" fmla="*/ 1002296 h 4235290"/>
                <a:gd name="connsiteX5910" fmla="*/ 1932246 w 2792478"/>
                <a:gd name="connsiteY5910" fmla="*/ 1053386 h 4235290"/>
                <a:gd name="connsiteX5911" fmla="*/ 1981097 w 2792478"/>
                <a:gd name="connsiteY5911" fmla="*/ 1082618 h 4235290"/>
                <a:gd name="connsiteX5912" fmla="*/ 1981097 w 2792478"/>
                <a:gd name="connsiteY5912" fmla="*/ 1028349 h 4235290"/>
                <a:gd name="connsiteX5913" fmla="*/ 2412163 w 2792478"/>
                <a:gd name="connsiteY5913" fmla="*/ 996221 h 4235290"/>
                <a:gd name="connsiteX5914" fmla="*/ 2395753 w 2792478"/>
                <a:gd name="connsiteY5914" fmla="*/ 1018707 h 4235290"/>
                <a:gd name="connsiteX5915" fmla="*/ 2454763 w 2792478"/>
                <a:gd name="connsiteY5915" fmla="*/ 1033946 h 4235290"/>
                <a:gd name="connsiteX5916" fmla="*/ 2472500 w 2792478"/>
                <a:gd name="connsiteY5916" fmla="*/ 1007353 h 4235290"/>
                <a:gd name="connsiteX5917" fmla="*/ 108305 w 2792478"/>
                <a:gd name="connsiteY5917" fmla="*/ 989745 h 4235290"/>
                <a:gd name="connsiteX5918" fmla="*/ 107414 w 2792478"/>
                <a:gd name="connsiteY5918" fmla="*/ 1005842 h 4235290"/>
                <a:gd name="connsiteX5919" fmla="*/ 108305 w 2792478"/>
                <a:gd name="connsiteY5919" fmla="*/ 1021964 h 4235290"/>
                <a:gd name="connsiteX5920" fmla="*/ 123511 w 2792478"/>
                <a:gd name="connsiteY5920" fmla="*/ 1021964 h 4235290"/>
                <a:gd name="connsiteX5921" fmla="*/ 134269 w 2792478"/>
                <a:gd name="connsiteY5921" fmla="*/ 1005842 h 4235290"/>
                <a:gd name="connsiteX5922" fmla="*/ 123511 w 2792478"/>
                <a:gd name="connsiteY5922" fmla="*/ 989745 h 4235290"/>
                <a:gd name="connsiteX5923" fmla="*/ 21476 w 2792478"/>
                <a:gd name="connsiteY5923" fmla="*/ 989745 h 4235290"/>
                <a:gd name="connsiteX5924" fmla="*/ 10750 w 2792478"/>
                <a:gd name="connsiteY5924" fmla="*/ 1005842 h 4235290"/>
                <a:gd name="connsiteX5925" fmla="*/ 21476 w 2792478"/>
                <a:gd name="connsiteY5925" fmla="*/ 1021964 h 4235290"/>
                <a:gd name="connsiteX5926" fmla="*/ 59161 w 2792478"/>
                <a:gd name="connsiteY5926" fmla="*/ 1021964 h 4235290"/>
                <a:gd name="connsiteX5927" fmla="*/ 53711 w 2792478"/>
                <a:gd name="connsiteY5927" fmla="*/ 1005842 h 4235290"/>
                <a:gd name="connsiteX5928" fmla="*/ 59161 w 2792478"/>
                <a:gd name="connsiteY5928" fmla="*/ 989745 h 4235290"/>
                <a:gd name="connsiteX5929" fmla="*/ 2525928 w 2792478"/>
                <a:gd name="connsiteY5929" fmla="*/ 987500 h 4235290"/>
                <a:gd name="connsiteX5930" fmla="*/ 2485303 w 2792478"/>
                <a:gd name="connsiteY5930" fmla="*/ 1006387 h 4235290"/>
                <a:gd name="connsiteX5931" fmla="*/ 2497262 w 2792478"/>
                <a:gd name="connsiteY5931" fmla="*/ 1031765 h 4235290"/>
                <a:gd name="connsiteX5932" fmla="*/ 2541931 w 2792478"/>
                <a:gd name="connsiteY5932" fmla="*/ 1010332 h 4235290"/>
                <a:gd name="connsiteX5933" fmla="*/ 296707 w 2792478"/>
                <a:gd name="connsiteY5933" fmla="*/ 984354 h 4235290"/>
                <a:gd name="connsiteX5934" fmla="*/ 309565 w 2792478"/>
                <a:gd name="connsiteY5934" fmla="*/ 997220 h 4235290"/>
                <a:gd name="connsiteX5935" fmla="*/ 232571 w 2792478"/>
                <a:gd name="connsiteY5935" fmla="*/ 1080681 h 4235290"/>
                <a:gd name="connsiteX5936" fmla="*/ 214799 w 2792478"/>
                <a:gd name="connsiteY5936" fmla="*/ 1061418 h 4235290"/>
                <a:gd name="connsiteX5937" fmla="*/ 296707 w 2792478"/>
                <a:gd name="connsiteY5937" fmla="*/ 984354 h 4235290"/>
                <a:gd name="connsiteX5938" fmla="*/ 1961606 w 2792478"/>
                <a:gd name="connsiteY5938" fmla="*/ 983474 h 4235290"/>
                <a:gd name="connsiteX5939" fmla="*/ 1939425 w 2792478"/>
                <a:gd name="connsiteY5939" fmla="*/ 993370 h 4235290"/>
                <a:gd name="connsiteX5940" fmla="*/ 1986723 w 2792478"/>
                <a:gd name="connsiteY5940" fmla="*/ 1018601 h 4235290"/>
                <a:gd name="connsiteX5941" fmla="*/ 2006280 w 2792478"/>
                <a:gd name="connsiteY5941" fmla="*/ 1008178 h 4235290"/>
                <a:gd name="connsiteX5942" fmla="*/ 98995 w 2792478"/>
                <a:gd name="connsiteY5942" fmla="*/ 978907 h 4235290"/>
                <a:gd name="connsiteX5943" fmla="*/ 71041 w 2792478"/>
                <a:gd name="connsiteY5943" fmla="*/ 989745 h 4235290"/>
                <a:gd name="connsiteX5944" fmla="*/ 69808 w 2792478"/>
                <a:gd name="connsiteY5944" fmla="*/ 989745 h 4235290"/>
                <a:gd name="connsiteX5945" fmla="*/ 59082 w 2792478"/>
                <a:gd name="connsiteY5945" fmla="*/ 1005842 h 4235290"/>
                <a:gd name="connsiteX5946" fmla="*/ 69808 w 2792478"/>
                <a:gd name="connsiteY5946" fmla="*/ 1021964 h 4235290"/>
                <a:gd name="connsiteX5947" fmla="*/ 69808 w 2792478"/>
                <a:gd name="connsiteY5947" fmla="*/ 1022019 h 4235290"/>
                <a:gd name="connsiteX5948" fmla="*/ 71041 w 2792478"/>
                <a:gd name="connsiteY5948" fmla="*/ 1022019 h 4235290"/>
                <a:gd name="connsiteX5949" fmla="*/ 98995 w 2792478"/>
                <a:gd name="connsiteY5949" fmla="*/ 1032881 h 4235290"/>
                <a:gd name="connsiteX5950" fmla="*/ 96664 w 2792478"/>
                <a:gd name="connsiteY5950" fmla="*/ 1005842 h 4235290"/>
                <a:gd name="connsiteX5951" fmla="*/ 98995 w 2792478"/>
                <a:gd name="connsiteY5951" fmla="*/ 978907 h 4235290"/>
                <a:gd name="connsiteX5952" fmla="*/ 2462195 w 2792478"/>
                <a:gd name="connsiteY5952" fmla="*/ 977074 h 4235290"/>
                <a:gd name="connsiteX5953" fmla="*/ 2426418 w 2792478"/>
                <a:gd name="connsiteY5953" fmla="*/ 990182 h 4235290"/>
                <a:gd name="connsiteX5954" fmla="*/ 2479057 w 2792478"/>
                <a:gd name="connsiteY5954" fmla="*/ 999876 h 4235290"/>
                <a:gd name="connsiteX5955" fmla="*/ 2512306 w 2792478"/>
                <a:gd name="connsiteY5955" fmla="*/ 984427 h 4235290"/>
                <a:gd name="connsiteX5956" fmla="*/ 1986723 w 2792478"/>
                <a:gd name="connsiteY5956" fmla="*/ 972282 h 4235290"/>
                <a:gd name="connsiteX5957" fmla="*/ 1972804 w 2792478"/>
                <a:gd name="connsiteY5957" fmla="*/ 978504 h 4235290"/>
                <a:gd name="connsiteX5958" fmla="*/ 2016582 w 2792478"/>
                <a:gd name="connsiteY5958" fmla="*/ 1002681 h 4235290"/>
                <a:gd name="connsiteX5959" fmla="*/ 2034026 w 2792478"/>
                <a:gd name="connsiteY5959" fmla="*/ 993370 h 4235290"/>
                <a:gd name="connsiteX5960" fmla="*/ 2462359 w 2792478"/>
                <a:gd name="connsiteY5960" fmla="*/ 968482 h 4235290"/>
                <a:gd name="connsiteX5961" fmla="*/ 2526568 w 2792478"/>
                <a:gd name="connsiteY5961" fmla="*/ 977904 h 4235290"/>
                <a:gd name="connsiteX5962" fmla="*/ 2526740 w 2792478"/>
                <a:gd name="connsiteY5962" fmla="*/ 977954 h 4235290"/>
                <a:gd name="connsiteX5963" fmla="*/ 2530862 w 2792478"/>
                <a:gd name="connsiteY5963" fmla="*/ 979688 h 4235290"/>
                <a:gd name="connsiteX5964" fmla="*/ 2551791 w 2792478"/>
                <a:gd name="connsiteY5964" fmla="*/ 1009552 h 4235290"/>
                <a:gd name="connsiteX5965" fmla="*/ 2552424 w 2792478"/>
                <a:gd name="connsiteY5965" fmla="*/ 1013070 h 4235290"/>
                <a:gd name="connsiteX5966" fmla="*/ 2550144 w 2792478"/>
                <a:gd name="connsiteY5966" fmla="*/ 1015833 h 4235290"/>
                <a:gd name="connsiteX5967" fmla="*/ 2533407 w 2792478"/>
                <a:gd name="connsiteY5967" fmla="*/ 1023880 h 4235290"/>
                <a:gd name="connsiteX5968" fmla="*/ 2533407 w 2792478"/>
                <a:gd name="connsiteY5968" fmla="*/ 1070450 h 4235290"/>
                <a:gd name="connsiteX5969" fmla="*/ 2531213 w 2792478"/>
                <a:gd name="connsiteY5969" fmla="*/ 1074185 h 4235290"/>
                <a:gd name="connsiteX5970" fmla="*/ 2481696 w 2792478"/>
                <a:gd name="connsiteY5970" fmla="*/ 1101639 h 4235290"/>
                <a:gd name="connsiteX5971" fmla="*/ 2481196 w 2792478"/>
                <a:gd name="connsiteY5971" fmla="*/ 1101837 h 4235290"/>
                <a:gd name="connsiteX5972" fmla="*/ 2480829 w 2792478"/>
                <a:gd name="connsiteY5972" fmla="*/ 1101998 h 4235290"/>
                <a:gd name="connsiteX5973" fmla="*/ 2479627 w 2792478"/>
                <a:gd name="connsiteY5973" fmla="*/ 1102184 h 4235290"/>
                <a:gd name="connsiteX5974" fmla="*/ 2479596 w 2792478"/>
                <a:gd name="connsiteY5974" fmla="*/ 1102172 h 4235290"/>
                <a:gd name="connsiteX5975" fmla="*/ 2478441 w 2792478"/>
                <a:gd name="connsiteY5975" fmla="*/ 1102004 h 4235290"/>
                <a:gd name="connsiteX5976" fmla="*/ 2478378 w 2792478"/>
                <a:gd name="connsiteY5976" fmla="*/ 1101998 h 4235290"/>
                <a:gd name="connsiteX5977" fmla="*/ 2409391 w 2792478"/>
                <a:gd name="connsiteY5977" fmla="*/ 1080906 h 4235290"/>
                <a:gd name="connsiteX5978" fmla="*/ 2406370 w 2792478"/>
                <a:gd name="connsiteY5978" fmla="*/ 1076830 h 4235290"/>
                <a:gd name="connsiteX5979" fmla="*/ 2406370 w 2792478"/>
                <a:gd name="connsiteY5979" fmla="*/ 1030241 h 4235290"/>
                <a:gd name="connsiteX5980" fmla="*/ 2387517 w 2792478"/>
                <a:gd name="connsiteY5980" fmla="*/ 1025391 h 4235290"/>
                <a:gd name="connsiteX5981" fmla="*/ 2384582 w 2792478"/>
                <a:gd name="connsiteY5981" fmla="*/ 1022697 h 4235290"/>
                <a:gd name="connsiteX5982" fmla="*/ 2385144 w 2792478"/>
                <a:gd name="connsiteY5982" fmla="*/ 1018751 h 4235290"/>
                <a:gd name="connsiteX5983" fmla="*/ 2406878 w 2792478"/>
                <a:gd name="connsiteY5983" fmla="*/ 989030 h 4235290"/>
                <a:gd name="connsiteX5984" fmla="*/ 2406909 w 2792478"/>
                <a:gd name="connsiteY5984" fmla="*/ 988999 h 4235290"/>
                <a:gd name="connsiteX5985" fmla="*/ 2407611 w 2792478"/>
                <a:gd name="connsiteY5985" fmla="*/ 988274 h 4235290"/>
                <a:gd name="connsiteX5986" fmla="*/ 2407838 w 2792478"/>
                <a:gd name="connsiteY5986" fmla="*/ 988113 h 4235290"/>
                <a:gd name="connsiteX5987" fmla="*/ 2408611 w 2792478"/>
                <a:gd name="connsiteY5987" fmla="*/ 987661 h 4235290"/>
                <a:gd name="connsiteX5988" fmla="*/ 2408782 w 2792478"/>
                <a:gd name="connsiteY5988" fmla="*/ 987580 h 4235290"/>
                <a:gd name="connsiteX5989" fmla="*/ 2408837 w 2792478"/>
                <a:gd name="connsiteY5989" fmla="*/ 987549 h 4235290"/>
                <a:gd name="connsiteX5990" fmla="*/ 2460275 w 2792478"/>
                <a:gd name="connsiteY5990" fmla="*/ 968699 h 4235290"/>
                <a:gd name="connsiteX5991" fmla="*/ 2462359 w 2792478"/>
                <a:gd name="connsiteY5991" fmla="*/ 968482 h 4235290"/>
                <a:gd name="connsiteX5992" fmla="*/ 2667946 w 2792478"/>
                <a:gd name="connsiteY5992" fmla="*/ 963097 h 4235290"/>
                <a:gd name="connsiteX5993" fmla="*/ 2667946 w 2792478"/>
                <a:gd name="connsiteY5993" fmla="*/ 1031679 h 4235290"/>
                <a:gd name="connsiteX5994" fmla="*/ 2770831 w 2792478"/>
                <a:gd name="connsiteY5994" fmla="*/ 1031679 h 4235290"/>
                <a:gd name="connsiteX5995" fmla="*/ 2770831 w 2792478"/>
                <a:gd name="connsiteY5995" fmla="*/ 963097 h 4235290"/>
                <a:gd name="connsiteX5996" fmla="*/ 1984427 w 2792478"/>
                <a:gd name="connsiteY5996" fmla="*/ 960980 h 4235290"/>
                <a:gd name="connsiteX5997" fmla="*/ 1989018 w 2792478"/>
                <a:gd name="connsiteY5997" fmla="*/ 960980 h 4235290"/>
                <a:gd name="connsiteX5998" fmla="*/ 2049132 w 2792478"/>
                <a:gd name="connsiteY5998" fmla="*/ 987777 h 4235290"/>
                <a:gd name="connsiteX5999" fmla="*/ 2052463 w 2792478"/>
                <a:gd name="connsiteY5999" fmla="*/ 992728 h 4235290"/>
                <a:gd name="connsiteX6000" fmla="*/ 2052463 w 2792478"/>
                <a:gd name="connsiteY6000" fmla="*/ 1057766 h 4235290"/>
                <a:gd name="connsiteX6001" fmla="*/ 2049705 w 2792478"/>
                <a:gd name="connsiteY6001" fmla="*/ 1062614 h 4235290"/>
                <a:gd name="connsiteX6002" fmla="*/ 1989596 w 2792478"/>
                <a:gd name="connsiteY6002" fmla="*/ 1098248 h 4235290"/>
                <a:gd name="connsiteX6003" fmla="*/ 1989408 w 2792478"/>
                <a:gd name="connsiteY6003" fmla="*/ 1098350 h 4235290"/>
                <a:gd name="connsiteX6004" fmla="*/ 1988415 w 2792478"/>
                <a:gd name="connsiteY6004" fmla="*/ 1098749 h 4235290"/>
                <a:gd name="connsiteX6005" fmla="*/ 1988068 w 2792478"/>
                <a:gd name="connsiteY6005" fmla="*/ 1098871 h 4235290"/>
                <a:gd name="connsiteX6006" fmla="*/ 1986723 w 2792478"/>
                <a:gd name="connsiteY6006" fmla="*/ 1099031 h 4235290"/>
                <a:gd name="connsiteX6007" fmla="*/ 1985225 w 2792478"/>
                <a:gd name="connsiteY6007" fmla="*/ 1098806 h 4235290"/>
                <a:gd name="connsiteX6008" fmla="*/ 1984896 w 2792478"/>
                <a:gd name="connsiteY6008" fmla="*/ 1098710 h 4235290"/>
                <a:gd name="connsiteX6009" fmla="*/ 1983538 w 2792478"/>
                <a:gd name="connsiteY6009" fmla="*/ 1098042 h 4235290"/>
                <a:gd name="connsiteX6010" fmla="*/ 1983508 w 2792478"/>
                <a:gd name="connsiteY6010" fmla="*/ 1098023 h 4235290"/>
                <a:gd name="connsiteX6011" fmla="*/ 1923387 w 2792478"/>
                <a:gd name="connsiteY6011" fmla="*/ 1060945 h 4235290"/>
                <a:gd name="connsiteX6012" fmla="*/ 1920988 w 2792478"/>
                <a:gd name="connsiteY6012" fmla="*/ 1056334 h 4235290"/>
                <a:gd name="connsiteX6013" fmla="*/ 1920988 w 2792478"/>
                <a:gd name="connsiteY6013" fmla="*/ 993055 h 4235290"/>
                <a:gd name="connsiteX6014" fmla="*/ 1921220 w 2792478"/>
                <a:gd name="connsiteY6014" fmla="*/ 991354 h 4235290"/>
                <a:gd name="connsiteX6015" fmla="*/ 1921469 w 2792478"/>
                <a:gd name="connsiteY6015" fmla="*/ 990667 h 4235290"/>
                <a:gd name="connsiteX6016" fmla="*/ 1924142 w 2792478"/>
                <a:gd name="connsiteY6016" fmla="*/ 987867 h 4235290"/>
                <a:gd name="connsiteX6017" fmla="*/ 1924361 w 2792478"/>
                <a:gd name="connsiteY6017" fmla="*/ 987771 h 4235290"/>
                <a:gd name="connsiteX6018" fmla="*/ 468220 w 2792478"/>
                <a:gd name="connsiteY6018" fmla="*/ 958505 h 4235290"/>
                <a:gd name="connsiteX6019" fmla="*/ 488975 w 2792478"/>
                <a:gd name="connsiteY6019" fmla="*/ 979199 h 4235290"/>
                <a:gd name="connsiteX6020" fmla="*/ 509672 w 2792478"/>
                <a:gd name="connsiteY6020" fmla="*/ 999959 h 4235290"/>
                <a:gd name="connsiteX6021" fmla="*/ 488916 w 2792478"/>
                <a:gd name="connsiteY6021" fmla="*/ 1020711 h 4235290"/>
                <a:gd name="connsiteX6022" fmla="*/ 464679 w 2792478"/>
                <a:gd name="connsiteY6022" fmla="*/ 1020653 h 4235290"/>
                <a:gd name="connsiteX6023" fmla="*/ 447530 w 2792478"/>
                <a:gd name="connsiteY6023" fmla="*/ 1003496 h 4235290"/>
                <a:gd name="connsiteX6024" fmla="*/ 447464 w 2792478"/>
                <a:gd name="connsiteY6024" fmla="*/ 979265 h 4235290"/>
                <a:gd name="connsiteX6025" fmla="*/ 468220 w 2792478"/>
                <a:gd name="connsiteY6025" fmla="*/ 958505 h 4235290"/>
                <a:gd name="connsiteX6026" fmla="*/ 2667946 w 2792478"/>
                <a:gd name="connsiteY6026" fmla="*/ 954519 h 4235290"/>
                <a:gd name="connsiteX6027" fmla="*/ 2770831 w 2792478"/>
                <a:gd name="connsiteY6027" fmla="*/ 954519 h 4235290"/>
                <a:gd name="connsiteX6028" fmla="*/ 2779411 w 2792478"/>
                <a:gd name="connsiteY6028" fmla="*/ 963097 h 4235290"/>
                <a:gd name="connsiteX6029" fmla="*/ 2779411 w 2792478"/>
                <a:gd name="connsiteY6029" fmla="*/ 1031679 h 4235290"/>
                <a:gd name="connsiteX6030" fmla="*/ 2770831 w 2792478"/>
                <a:gd name="connsiteY6030" fmla="*/ 1040257 h 4235290"/>
                <a:gd name="connsiteX6031" fmla="*/ 2787984 w 2792478"/>
                <a:gd name="connsiteY6031" fmla="*/ 1040257 h 4235290"/>
                <a:gd name="connsiteX6032" fmla="*/ 2787984 w 2792478"/>
                <a:gd name="connsiteY6032" fmla="*/ 1048831 h 4235290"/>
                <a:gd name="connsiteX6033" fmla="*/ 2779411 w 2792478"/>
                <a:gd name="connsiteY6033" fmla="*/ 1057399 h 4235290"/>
                <a:gd name="connsiteX6034" fmla="*/ 2659373 w 2792478"/>
                <a:gd name="connsiteY6034" fmla="*/ 1057399 h 4235290"/>
                <a:gd name="connsiteX6035" fmla="*/ 2650805 w 2792478"/>
                <a:gd name="connsiteY6035" fmla="*/ 1048831 h 4235290"/>
                <a:gd name="connsiteX6036" fmla="*/ 2650805 w 2792478"/>
                <a:gd name="connsiteY6036" fmla="*/ 1040257 h 4235290"/>
                <a:gd name="connsiteX6037" fmla="*/ 2667946 w 2792478"/>
                <a:gd name="connsiteY6037" fmla="*/ 1040257 h 4235290"/>
                <a:gd name="connsiteX6038" fmla="*/ 2659373 w 2792478"/>
                <a:gd name="connsiteY6038" fmla="*/ 1031679 h 4235290"/>
                <a:gd name="connsiteX6039" fmla="*/ 2659373 w 2792478"/>
                <a:gd name="connsiteY6039" fmla="*/ 963097 h 4235290"/>
                <a:gd name="connsiteX6040" fmla="*/ 2667946 w 2792478"/>
                <a:gd name="connsiteY6040" fmla="*/ 954519 h 4235290"/>
                <a:gd name="connsiteX6041" fmla="*/ 134269 w 2792478"/>
                <a:gd name="connsiteY6041" fmla="*/ 941413 h 4235290"/>
                <a:gd name="connsiteX6042" fmla="*/ 109880 w 2792478"/>
                <a:gd name="connsiteY6042" fmla="*/ 978987 h 4235290"/>
                <a:gd name="connsiteX6043" fmla="*/ 123511 w 2792478"/>
                <a:gd name="connsiteY6043" fmla="*/ 978987 h 4235290"/>
                <a:gd name="connsiteX6044" fmla="*/ 145019 w 2792478"/>
                <a:gd name="connsiteY6044" fmla="*/ 1005842 h 4235290"/>
                <a:gd name="connsiteX6045" fmla="*/ 123511 w 2792478"/>
                <a:gd name="connsiteY6045" fmla="*/ 1032698 h 4235290"/>
                <a:gd name="connsiteX6046" fmla="*/ 109880 w 2792478"/>
                <a:gd name="connsiteY6046" fmla="*/ 1032698 h 4235290"/>
                <a:gd name="connsiteX6047" fmla="*/ 134269 w 2792478"/>
                <a:gd name="connsiteY6047" fmla="*/ 1070304 h 4235290"/>
                <a:gd name="connsiteX6048" fmla="*/ 161117 w 2792478"/>
                <a:gd name="connsiteY6048" fmla="*/ 1005842 h 4235290"/>
                <a:gd name="connsiteX6049" fmla="*/ 134269 w 2792478"/>
                <a:gd name="connsiteY6049" fmla="*/ 941413 h 4235290"/>
                <a:gd name="connsiteX6050" fmla="*/ 778100 w 2792478"/>
                <a:gd name="connsiteY6050" fmla="*/ 939395 h 4235290"/>
                <a:gd name="connsiteX6051" fmla="*/ 808422 w 2792478"/>
                <a:gd name="connsiteY6051" fmla="*/ 949654 h 4235290"/>
                <a:gd name="connsiteX6052" fmla="*/ 838715 w 2792478"/>
                <a:gd name="connsiteY6052" fmla="*/ 939395 h 4235290"/>
                <a:gd name="connsiteX6053" fmla="*/ 656799 w 2792478"/>
                <a:gd name="connsiteY6053" fmla="*/ 939395 h 4235290"/>
                <a:gd name="connsiteX6054" fmla="*/ 687083 w 2792478"/>
                <a:gd name="connsiteY6054" fmla="*/ 949654 h 4235290"/>
                <a:gd name="connsiteX6055" fmla="*/ 717415 w 2792478"/>
                <a:gd name="connsiteY6055" fmla="*/ 939395 h 4235290"/>
                <a:gd name="connsiteX6056" fmla="*/ 1953141 w 2792478"/>
                <a:gd name="connsiteY6056" fmla="*/ 934210 h 4235290"/>
                <a:gd name="connsiteX6057" fmla="*/ 1934567 w 2792478"/>
                <a:gd name="connsiteY6057" fmla="*/ 940049 h 4235290"/>
                <a:gd name="connsiteX6058" fmla="*/ 1916300 w 2792478"/>
                <a:gd name="connsiteY6058" fmla="*/ 934211 h 4235290"/>
                <a:gd name="connsiteX6059" fmla="*/ 1934567 w 2792478"/>
                <a:gd name="connsiteY6059" fmla="*/ 936320 h 4235290"/>
                <a:gd name="connsiteX6060" fmla="*/ 1958755 w 2792478"/>
                <a:gd name="connsiteY6060" fmla="*/ 932445 h 4235290"/>
                <a:gd name="connsiteX6061" fmla="*/ 1956050 w 2792478"/>
                <a:gd name="connsiteY6061" fmla="*/ 933879 h 4235290"/>
                <a:gd name="connsiteX6062" fmla="*/ 1953141 w 2792478"/>
                <a:gd name="connsiteY6062" fmla="*/ 934210 h 4235290"/>
                <a:gd name="connsiteX6063" fmla="*/ 1909399 w 2792478"/>
                <a:gd name="connsiteY6063" fmla="*/ 932005 h 4235290"/>
                <a:gd name="connsiteX6064" fmla="*/ 1916300 w 2792478"/>
                <a:gd name="connsiteY6064" fmla="*/ 934211 h 4235290"/>
                <a:gd name="connsiteX6065" fmla="*/ 1912768 w 2792478"/>
                <a:gd name="connsiteY6065" fmla="*/ 933803 h 4235290"/>
                <a:gd name="connsiteX6066" fmla="*/ 134269 w 2792478"/>
                <a:gd name="connsiteY6066" fmla="*/ 930655 h 4235290"/>
                <a:gd name="connsiteX6067" fmla="*/ 171875 w 2792478"/>
                <a:gd name="connsiteY6067" fmla="*/ 1005842 h 4235290"/>
                <a:gd name="connsiteX6068" fmla="*/ 134269 w 2792478"/>
                <a:gd name="connsiteY6068" fmla="*/ 1081030 h 4235290"/>
                <a:gd name="connsiteX6069" fmla="*/ 108384 w 2792478"/>
                <a:gd name="connsiteY6069" fmla="*/ 1061829 h 4235290"/>
                <a:gd name="connsiteX6070" fmla="*/ 108249 w 2792478"/>
                <a:gd name="connsiteY6070" fmla="*/ 1061909 h 4235290"/>
                <a:gd name="connsiteX6071" fmla="*/ 74009 w 2792478"/>
                <a:gd name="connsiteY6071" fmla="*/ 1033040 h 4235290"/>
                <a:gd name="connsiteX6072" fmla="*/ 72561 w 2792478"/>
                <a:gd name="connsiteY6072" fmla="*/ 1033478 h 4235290"/>
                <a:gd name="connsiteX6073" fmla="*/ 72506 w 2792478"/>
                <a:gd name="connsiteY6073" fmla="*/ 1033510 h 4235290"/>
                <a:gd name="connsiteX6074" fmla="*/ 72434 w 2792478"/>
                <a:gd name="connsiteY6074" fmla="*/ 1033565 h 4235290"/>
                <a:gd name="connsiteX6075" fmla="*/ 70803 w 2792478"/>
                <a:gd name="connsiteY6075" fmla="*/ 1035133 h 4235290"/>
                <a:gd name="connsiteX6076" fmla="*/ 70492 w 2792478"/>
                <a:gd name="connsiteY6076" fmla="*/ 1035602 h 4235290"/>
                <a:gd name="connsiteX6077" fmla="*/ 69880 w 2792478"/>
                <a:gd name="connsiteY6077" fmla="*/ 1037727 h 4235290"/>
                <a:gd name="connsiteX6078" fmla="*/ 69776 w 2792478"/>
                <a:gd name="connsiteY6078" fmla="*/ 1038061 h 4235290"/>
                <a:gd name="connsiteX6079" fmla="*/ 69776 w 2792478"/>
                <a:gd name="connsiteY6079" fmla="*/ 1075675 h 4235290"/>
                <a:gd name="connsiteX6080" fmla="*/ 75155 w 2792478"/>
                <a:gd name="connsiteY6080" fmla="*/ 1086401 h 4235290"/>
                <a:gd name="connsiteX6081" fmla="*/ 75155 w 2792478"/>
                <a:gd name="connsiteY6081" fmla="*/ 1091780 h 4235290"/>
                <a:gd name="connsiteX6082" fmla="*/ 64429 w 2792478"/>
                <a:gd name="connsiteY6082" fmla="*/ 1102530 h 4235290"/>
                <a:gd name="connsiteX6083" fmla="*/ 42929 w 2792478"/>
                <a:gd name="connsiteY6083" fmla="*/ 1102530 h 4235290"/>
                <a:gd name="connsiteX6084" fmla="*/ 32202 w 2792478"/>
                <a:gd name="connsiteY6084" fmla="*/ 1091780 h 4235290"/>
                <a:gd name="connsiteX6085" fmla="*/ 32202 w 2792478"/>
                <a:gd name="connsiteY6085" fmla="*/ 1043448 h 4235290"/>
                <a:gd name="connsiteX6086" fmla="*/ 21476 w 2792478"/>
                <a:gd name="connsiteY6086" fmla="*/ 1032698 h 4235290"/>
                <a:gd name="connsiteX6087" fmla="*/ 0 w 2792478"/>
                <a:gd name="connsiteY6087" fmla="*/ 1005842 h 4235290"/>
                <a:gd name="connsiteX6088" fmla="*/ 21476 w 2792478"/>
                <a:gd name="connsiteY6088" fmla="*/ 978987 h 4235290"/>
                <a:gd name="connsiteX6089" fmla="*/ 71041 w 2792478"/>
                <a:gd name="connsiteY6089" fmla="*/ 978987 h 4235290"/>
                <a:gd name="connsiteX6090" fmla="*/ 108249 w 2792478"/>
                <a:gd name="connsiteY6090" fmla="*/ 949848 h 4235290"/>
                <a:gd name="connsiteX6091" fmla="*/ 108353 w 2792478"/>
                <a:gd name="connsiteY6091" fmla="*/ 949904 h 4235290"/>
                <a:gd name="connsiteX6092" fmla="*/ 134269 w 2792478"/>
                <a:gd name="connsiteY6092" fmla="*/ 930655 h 4235290"/>
                <a:gd name="connsiteX6093" fmla="*/ 1916149 w 2792478"/>
                <a:gd name="connsiteY6093" fmla="*/ 916793 h 4235290"/>
                <a:gd name="connsiteX6094" fmla="*/ 1934567 w 2792478"/>
                <a:gd name="connsiteY6094" fmla="*/ 918920 h 4235290"/>
                <a:gd name="connsiteX6095" fmla="*/ 1953133 w 2792478"/>
                <a:gd name="connsiteY6095" fmla="*/ 916812 h 4235290"/>
                <a:gd name="connsiteX6096" fmla="*/ 1934567 w 2792478"/>
                <a:gd name="connsiteY6096" fmla="*/ 922649 h 4235290"/>
                <a:gd name="connsiteX6097" fmla="*/ 1958767 w 2792478"/>
                <a:gd name="connsiteY6097" fmla="*/ 915041 h 4235290"/>
                <a:gd name="connsiteX6098" fmla="*/ 1956050 w 2792478"/>
                <a:gd name="connsiteY6098" fmla="*/ 916481 h 4235290"/>
                <a:gd name="connsiteX6099" fmla="*/ 1953133 w 2792478"/>
                <a:gd name="connsiteY6099" fmla="*/ 916812 h 4235290"/>
                <a:gd name="connsiteX6100" fmla="*/ 2078802 w 2792478"/>
                <a:gd name="connsiteY6100" fmla="*/ 914757 h 4235290"/>
                <a:gd name="connsiteX6101" fmla="*/ 2083464 w 2792478"/>
                <a:gd name="connsiteY6101" fmla="*/ 919415 h 4235290"/>
                <a:gd name="connsiteX6102" fmla="*/ 2083464 w 2792478"/>
                <a:gd name="connsiteY6102" fmla="*/ 954714 h 4235290"/>
                <a:gd name="connsiteX6103" fmla="*/ 2090858 w 2792478"/>
                <a:gd name="connsiteY6103" fmla="*/ 962298 h 4235290"/>
                <a:gd name="connsiteX6104" fmla="*/ 2098376 w 2792478"/>
                <a:gd name="connsiteY6104" fmla="*/ 954837 h 4235290"/>
                <a:gd name="connsiteX6105" fmla="*/ 2102977 w 2792478"/>
                <a:gd name="connsiteY6105" fmla="*/ 950179 h 4235290"/>
                <a:gd name="connsiteX6106" fmla="*/ 2107634 w 2792478"/>
                <a:gd name="connsiteY6106" fmla="*/ 954837 h 4235290"/>
                <a:gd name="connsiteX6107" fmla="*/ 2090858 w 2792478"/>
                <a:gd name="connsiteY6107" fmla="*/ 971618 h 4235290"/>
                <a:gd name="connsiteX6108" fmla="*/ 2074139 w 2792478"/>
                <a:gd name="connsiteY6108" fmla="*/ 954837 h 4235290"/>
                <a:gd name="connsiteX6109" fmla="*/ 2074139 w 2792478"/>
                <a:gd name="connsiteY6109" fmla="*/ 919415 h 4235290"/>
                <a:gd name="connsiteX6110" fmla="*/ 2078802 w 2792478"/>
                <a:gd name="connsiteY6110" fmla="*/ 914757 h 4235290"/>
                <a:gd name="connsiteX6111" fmla="*/ 1909596 w 2792478"/>
                <a:gd name="connsiteY6111" fmla="*/ 914709 h 4235290"/>
                <a:gd name="connsiteX6112" fmla="*/ 1916149 w 2792478"/>
                <a:gd name="connsiteY6112" fmla="*/ 916793 h 4235290"/>
                <a:gd name="connsiteX6113" fmla="*/ 1912768 w 2792478"/>
                <a:gd name="connsiteY6113" fmla="*/ 916402 h 4235290"/>
                <a:gd name="connsiteX6114" fmla="*/ 2214338 w 2792478"/>
                <a:gd name="connsiteY6114" fmla="*/ 906800 h 4235290"/>
                <a:gd name="connsiteX6115" fmla="*/ 2217636 w 2792478"/>
                <a:gd name="connsiteY6115" fmla="*/ 908167 h 4235290"/>
                <a:gd name="connsiteX6116" fmla="*/ 2217636 w 2792478"/>
                <a:gd name="connsiteY6116" fmla="*/ 914814 h 4235290"/>
                <a:gd name="connsiteX6117" fmla="*/ 2202846 w 2792478"/>
                <a:gd name="connsiteY6117" fmla="*/ 929545 h 4235290"/>
                <a:gd name="connsiteX6118" fmla="*/ 2189669 w 2792478"/>
                <a:gd name="connsiteY6118" fmla="*/ 996730 h 4235290"/>
                <a:gd name="connsiteX6119" fmla="*/ 2188492 w 2792478"/>
                <a:gd name="connsiteY6119" fmla="*/ 1003248 h 4235290"/>
                <a:gd name="connsiteX6120" fmla="*/ 2185877 w 2792478"/>
                <a:gd name="connsiteY6120" fmla="*/ 1004125 h 4235290"/>
                <a:gd name="connsiteX6121" fmla="*/ 2181969 w 2792478"/>
                <a:gd name="connsiteY6121" fmla="*/ 1002068 h 4235290"/>
                <a:gd name="connsiteX6122" fmla="*/ 2196250 w 2792478"/>
                <a:gd name="connsiteY6122" fmla="*/ 922899 h 4235290"/>
                <a:gd name="connsiteX6123" fmla="*/ 2210982 w 2792478"/>
                <a:gd name="connsiteY6123" fmla="*/ 908167 h 4235290"/>
                <a:gd name="connsiteX6124" fmla="*/ 2214338 w 2792478"/>
                <a:gd name="connsiteY6124" fmla="*/ 906800 h 4235290"/>
                <a:gd name="connsiteX6125" fmla="*/ 1916412 w 2792478"/>
                <a:gd name="connsiteY6125" fmla="*/ 899476 h 4235290"/>
                <a:gd name="connsiteX6126" fmla="*/ 1934567 w 2792478"/>
                <a:gd name="connsiteY6126" fmla="*/ 901582 h 4235290"/>
                <a:gd name="connsiteX6127" fmla="*/ 1952873 w 2792478"/>
                <a:gd name="connsiteY6127" fmla="*/ 899494 h 4235290"/>
                <a:gd name="connsiteX6128" fmla="*/ 1934567 w 2792478"/>
                <a:gd name="connsiteY6128" fmla="*/ 905248 h 4235290"/>
                <a:gd name="connsiteX6129" fmla="*/ 1958971 w 2792478"/>
                <a:gd name="connsiteY6129" fmla="*/ 897576 h 4235290"/>
                <a:gd name="connsiteX6130" fmla="*/ 1956050 w 2792478"/>
                <a:gd name="connsiteY6130" fmla="*/ 899131 h 4235290"/>
                <a:gd name="connsiteX6131" fmla="*/ 1952873 w 2792478"/>
                <a:gd name="connsiteY6131" fmla="*/ 899494 h 4235290"/>
                <a:gd name="connsiteX6132" fmla="*/ 1909389 w 2792478"/>
                <a:gd name="connsiteY6132" fmla="*/ 897243 h 4235290"/>
                <a:gd name="connsiteX6133" fmla="*/ 1916412 w 2792478"/>
                <a:gd name="connsiteY6133" fmla="*/ 899476 h 4235290"/>
                <a:gd name="connsiteX6134" fmla="*/ 1912768 w 2792478"/>
                <a:gd name="connsiteY6134" fmla="*/ 899053 h 4235290"/>
                <a:gd name="connsiteX6135" fmla="*/ 2318115 w 2792478"/>
                <a:gd name="connsiteY6135" fmla="*/ 884933 h 4235290"/>
                <a:gd name="connsiteX6136" fmla="*/ 2321413 w 2792478"/>
                <a:gd name="connsiteY6136" fmla="*/ 886299 h 4235290"/>
                <a:gd name="connsiteX6137" fmla="*/ 2321413 w 2792478"/>
                <a:gd name="connsiteY6137" fmla="*/ 892946 h 4235290"/>
                <a:gd name="connsiteX6138" fmla="*/ 2304821 w 2792478"/>
                <a:gd name="connsiteY6138" fmla="*/ 909476 h 4235290"/>
                <a:gd name="connsiteX6139" fmla="*/ 2301523 w 2792478"/>
                <a:gd name="connsiteY6139" fmla="*/ 910900 h 4235290"/>
                <a:gd name="connsiteX6140" fmla="*/ 2298240 w 2792478"/>
                <a:gd name="connsiteY6140" fmla="*/ 909476 h 4235290"/>
                <a:gd name="connsiteX6141" fmla="*/ 2298240 w 2792478"/>
                <a:gd name="connsiteY6141" fmla="*/ 902887 h 4235290"/>
                <a:gd name="connsiteX6142" fmla="*/ 2314831 w 2792478"/>
                <a:gd name="connsiteY6142" fmla="*/ 886299 h 4235290"/>
                <a:gd name="connsiteX6143" fmla="*/ 2318115 w 2792478"/>
                <a:gd name="connsiteY6143" fmla="*/ 884933 h 4235290"/>
                <a:gd name="connsiteX6144" fmla="*/ 363195 w 2792478"/>
                <a:gd name="connsiteY6144" fmla="*/ 878709 h 4235290"/>
                <a:gd name="connsiteX6145" fmla="*/ 325664 w 2792478"/>
                <a:gd name="connsiteY6145" fmla="*/ 894118 h 4235290"/>
                <a:gd name="connsiteX6146" fmla="*/ 325414 w 2792478"/>
                <a:gd name="connsiteY6146" fmla="*/ 969067 h 4235290"/>
                <a:gd name="connsiteX6147" fmla="*/ 400359 w 2792478"/>
                <a:gd name="connsiteY6147" fmla="*/ 969321 h 4235290"/>
                <a:gd name="connsiteX6148" fmla="*/ 400610 w 2792478"/>
                <a:gd name="connsiteY6148" fmla="*/ 894372 h 4235290"/>
                <a:gd name="connsiteX6149" fmla="*/ 363195 w 2792478"/>
                <a:gd name="connsiteY6149" fmla="*/ 878709 h 4235290"/>
                <a:gd name="connsiteX6150" fmla="*/ 2492227 w 2792478"/>
                <a:gd name="connsiteY6150" fmla="*/ 878663 h 4235290"/>
                <a:gd name="connsiteX6151" fmla="*/ 2605434 w 2792478"/>
                <a:gd name="connsiteY6151" fmla="*/ 935261 h 4235290"/>
                <a:gd name="connsiteX6152" fmla="*/ 2718628 w 2792478"/>
                <a:gd name="connsiteY6152" fmla="*/ 878663 h 4235290"/>
                <a:gd name="connsiteX6153" fmla="*/ 2746992 w 2792478"/>
                <a:gd name="connsiteY6153" fmla="*/ 892838 h 4235290"/>
                <a:gd name="connsiteX6154" fmla="*/ 2605434 w 2792478"/>
                <a:gd name="connsiteY6154" fmla="*/ 963612 h 4235290"/>
                <a:gd name="connsiteX6155" fmla="*/ 2463876 w 2792478"/>
                <a:gd name="connsiteY6155" fmla="*/ 892838 h 4235290"/>
                <a:gd name="connsiteX6156" fmla="*/ 96908 w 2792478"/>
                <a:gd name="connsiteY6156" fmla="*/ 877926 h 4235290"/>
                <a:gd name="connsiteX6157" fmla="*/ 116621 w 2792478"/>
                <a:gd name="connsiteY6157" fmla="*/ 900002 h 4235290"/>
                <a:gd name="connsiteX6158" fmla="*/ 85828 w 2792478"/>
                <a:gd name="connsiteY6158" fmla="*/ 923692 h 4235290"/>
                <a:gd name="connsiteX6159" fmla="*/ 76349 w 2792478"/>
                <a:gd name="connsiteY6159" fmla="*/ 922524 h 4235290"/>
                <a:gd name="connsiteX6160" fmla="*/ 71884 w 2792478"/>
                <a:gd name="connsiteY6160" fmla="*/ 929228 h 4235290"/>
                <a:gd name="connsiteX6161" fmla="*/ 69248 w 2792478"/>
                <a:gd name="connsiteY6161" fmla="*/ 928431 h 4235290"/>
                <a:gd name="connsiteX6162" fmla="*/ 69248 w 2792478"/>
                <a:gd name="connsiteY6162" fmla="*/ 919938 h 4235290"/>
                <a:gd name="connsiteX6163" fmla="*/ 55703 w 2792478"/>
                <a:gd name="connsiteY6163" fmla="*/ 904668 h 4235290"/>
                <a:gd name="connsiteX6164" fmla="*/ 57405 w 2792478"/>
                <a:gd name="connsiteY6164" fmla="*/ 904737 h 4235290"/>
                <a:gd name="connsiteX6165" fmla="*/ 65410 w 2792478"/>
                <a:gd name="connsiteY6165" fmla="*/ 904079 h 4235290"/>
                <a:gd name="connsiteX6166" fmla="*/ 85828 w 2792478"/>
                <a:gd name="connsiteY6166" fmla="*/ 914215 h 4235290"/>
                <a:gd name="connsiteX6167" fmla="*/ 107146 w 2792478"/>
                <a:gd name="connsiteY6167" fmla="*/ 900002 h 4235290"/>
                <a:gd name="connsiteX6168" fmla="*/ 93224 w 2792478"/>
                <a:gd name="connsiteY6168" fmla="*/ 886689 h 4235290"/>
                <a:gd name="connsiteX6169" fmla="*/ 96908 w 2792478"/>
                <a:gd name="connsiteY6169" fmla="*/ 877926 h 4235290"/>
                <a:gd name="connsiteX6170" fmla="*/ 1896844 w 2792478"/>
                <a:gd name="connsiteY6170" fmla="*/ 874674 h 4235290"/>
                <a:gd name="connsiteX6171" fmla="*/ 1896844 w 2792478"/>
                <a:gd name="connsiteY6171" fmla="*/ 880142 h 4235290"/>
                <a:gd name="connsiteX6172" fmla="*/ 1901568 w 2792478"/>
                <a:gd name="connsiteY6172" fmla="*/ 893053 h 4235290"/>
                <a:gd name="connsiteX6173" fmla="*/ 1909389 w 2792478"/>
                <a:gd name="connsiteY6173" fmla="*/ 897243 h 4235290"/>
                <a:gd name="connsiteX6174" fmla="*/ 1896844 w 2792478"/>
                <a:gd name="connsiteY6174" fmla="*/ 893255 h 4235290"/>
                <a:gd name="connsiteX6175" fmla="*/ 1896844 w 2792478"/>
                <a:gd name="connsiteY6175" fmla="*/ 897543 h 4235290"/>
                <a:gd name="connsiteX6176" fmla="*/ 1901568 w 2792478"/>
                <a:gd name="connsiteY6176" fmla="*/ 910424 h 4235290"/>
                <a:gd name="connsiteX6177" fmla="*/ 1909596 w 2792478"/>
                <a:gd name="connsiteY6177" fmla="*/ 914709 h 4235290"/>
                <a:gd name="connsiteX6178" fmla="*/ 1896844 w 2792478"/>
                <a:gd name="connsiteY6178" fmla="*/ 910655 h 4235290"/>
                <a:gd name="connsiteX6179" fmla="*/ 1896844 w 2792478"/>
                <a:gd name="connsiteY6179" fmla="*/ 914943 h 4235290"/>
                <a:gd name="connsiteX6180" fmla="*/ 1901568 w 2792478"/>
                <a:gd name="connsiteY6180" fmla="*/ 927827 h 4235290"/>
                <a:gd name="connsiteX6181" fmla="*/ 1909399 w 2792478"/>
                <a:gd name="connsiteY6181" fmla="*/ 932005 h 4235290"/>
                <a:gd name="connsiteX6182" fmla="*/ 1896844 w 2792478"/>
                <a:gd name="connsiteY6182" fmla="*/ 927993 h 4235290"/>
                <a:gd name="connsiteX6183" fmla="*/ 1896844 w 2792478"/>
                <a:gd name="connsiteY6183" fmla="*/ 933648 h 4235290"/>
                <a:gd name="connsiteX6184" fmla="*/ 1934567 w 2792478"/>
                <a:gd name="connsiteY6184" fmla="*/ 955771 h 4235290"/>
                <a:gd name="connsiteX6185" fmla="*/ 1971730 w 2792478"/>
                <a:gd name="connsiteY6185" fmla="*/ 933648 h 4235290"/>
                <a:gd name="connsiteX6186" fmla="*/ 1971730 w 2792478"/>
                <a:gd name="connsiteY6186" fmla="*/ 928366 h 4235290"/>
                <a:gd name="connsiteX6187" fmla="*/ 1958755 w 2792478"/>
                <a:gd name="connsiteY6187" fmla="*/ 932445 h 4235290"/>
                <a:gd name="connsiteX6188" fmla="*/ 1967082 w 2792478"/>
                <a:gd name="connsiteY6188" fmla="*/ 928030 h 4235290"/>
                <a:gd name="connsiteX6189" fmla="*/ 1971730 w 2792478"/>
                <a:gd name="connsiteY6189" fmla="*/ 914943 h 4235290"/>
                <a:gd name="connsiteX6190" fmla="*/ 1971730 w 2792478"/>
                <a:gd name="connsiteY6190" fmla="*/ 910966 h 4235290"/>
                <a:gd name="connsiteX6191" fmla="*/ 1958767 w 2792478"/>
                <a:gd name="connsiteY6191" fmla="*/ 915041 h 4235290"/>
                <a:gd name="connsiteX6192" fmla="*/ 1967082 w 2792478"/>
                <a:gd name="connsiteY6192" fmla="*/ 910634 h 4235290"/>
                <a:gd name="connsiteX6193" fmla="*/ 1971730 w 2792478"/>
                <a:gd name="connsiteY6193" fmla="*/ 897543 h 4235290"/>
                <a:gd name="connsiteX6194" fmla="*/ 1971730 w 2792478"/>
                <a:gd name="connsiteY6194" fmla="*/ 893565 h 4235290"/>
                <a:gd name="connsiteX6195" fmla="*/ 1958971 w 2792478"/>
                <a:gd name="connsiteY6195" fmla="*/ 897576 h 4235290"/>
                <a:gd name="connsiteX6196" fmla="*/ 1967082 w 2792478"/>
                <a:gd name="connsiteY6196" fmla="*/ 893260 h 4235290"/>
                <a:gd name="connsiteX6197" fmla="*/ 1971730 w 2792478"/>
                <a:gd name="connsiteY6197" fmla="*/ 880142 h 4235290"/>
                <a:gd name="connsiteX6198" fmla="*/ 1971730 w 2792478"/>
                <a:gd name="connsiteY6198" fmla="*/ 874674 h 4235290"/>
                <a:gd name="connsiteX6199" fmla="*/ 1934320 w 2792478"/>
                <a:gd name="connsiteY6199" fmla="*/ 886667 h 4235290"/>
                <a:gd name="connsiteX6200" fmla="*/ 1896844 w 2792478"/>
                <a:gd name="connsiteY6200" fmla="*/ 874674 h 4235290"/>
                <a:gd name="connsiteX6201" fmla="*/ 2079855 w 2792478"/>
                <a:gd name="connsiteY6201" fmla="*/ 874362 h 4235290"/>
                <a:gd name="connsiteX6202" fmla="*/ 2040025 w 2792478"/>
                <a:gd name="connsiteY6202" fmla="*/ 899284 h 4235290"/>
                <a:gd name="connsiteX6203" fmla="*/ 2047481 w 2792478"/>
                <a:gd name="connsiteY6203" fmla="*/ 898100 h 4235290"/>
                <a:gd name="connsiteX6204" fmla="*/ 2062269 w 2792478"/>
                <a:gd name="connsiteY6204" fmla="*/ 903942 h 4235290"/>
                <a:gd name="connsiteX6205" fmla="*/ 2079607 w 2792478"/>
                <a:gd name="connsiteY6205" fmla="*/ 898100 h 4235290"/>
                <a:gd name="connsiteX6206" fmla="*/ 2097008 w 2792478"/>
                <a:gd name="connsiteY6206" fmla="*/ 903942 h 4235290"/>
                <a:gd name="connsiteX6207" fmla="*/ 2111801 w 2792478"/>
                <a:gd name="connsiteY6207" fmla="*/ 898100 h 4235290"/>
                <a:gd name="connsiteX6208" fmla="*/ 2119691 w 2792478"/>
                <a:gd name="connsiteY6208" fmla="*/ 899531 h 4235290"/>
                <a:gd name="connsiteX6209" fmla="*/ 2079855 w 2792478"/>
                <a:gd name="connsiteY6209" fmla="*/ 874362 h 4235290"/>
                <a:gd name="connsiteX6210" fmla="*/ 808422 w 2792478"/>
                <a:gd name="connsiteY6210" fmla="*/ 872040 h 4235290"/>
                <a:gd name="connsiteX6211" fmla="*/ 773592 w 2792478"/>
                <a:gd name="connsiteY6211" fmla="*/ 931951 h 4235290"/>
                <a:gd name="connsiteX6212" fmla="*/ 843223 w 2792478"/>
                <a:gd name="connsiteY6212" fmla="*/ 931951 h 4235290"/>
                <a:gd name="connsiteX6213" fmla="*/ 808422 w 2792478"/>
                <a:gd name="connsiteY6213" fmla="*/ 872040 h 4235290"/>
                <a:gd name="connsiteX6214" fmla="*/ 687083 w 2792478"/>
                <a:gd name="connsiteY6214" fmla="*/ 872040 h 4235290"/>
                <a:gd name="connsiteX6215" fmla="*/ 652253 w 2792478"/>
                <a:gd name="connsiteY6215" fmla="*/ 931951 h 4235290"/>
                <a:gd name="connsiteX6216" fmla="*/ 721913 w 2792478"/>
                <a:gd name="connsiteY6216" fmla="*/ 931951 h 4235290"/>
                <a:gd name="connsiteX6217" fmla="*/ 2232731 w 2792478"/>
                <a:gd name="connsiteY6217" fmla="*/ 869884 h 4235290"/>
                <a:gd name="connsiteX6218" fmla="*/ 2182463 w 2792478"/>
                <a:gd name="connsiteY6218" fmla="*/ 920165 h 4235290"/>
                <a:gd name="connsiteX6219" fmla="*/ 2182463 w 2792478"/>
                <a:gd name="connsiteY6219" fmla="*/ 1026496 h 4235290"/>
                <a:gd name="connsiteX6220" fmla="*/ 2185572 w 2792478"/>
                <a:gd name="connsiteY6220" fmla="*/ 1029532 h 4235290"/>
                <a:gd name="connsiteX6221" fmla="*/ 2238702 w 2792478"/>
                <a:gd name="connsiteY6221" fmla="*/ 1051601 h 4235290"/>
                <a:gd name="connsiteX6222" fmla="*/ 2291833 w 2792478"/>
                <a:gd name="connsiteY6222" fmla="*/ 1029532 h 4235290"/>
                <a:gd name="connsiteX6223" fmla="*/ 2342290 w 2792478"/>
                <a:gd name="connsiteY6223" fmla="*/ 979078 h 4235290"/>
                <a:gd name="connsiteX6224" fmla="*/ 2232731 w 2792478"/>
                <a:gd name="connsiteY6224" fmla="*/ 869884 h 4235290"/>
                <a:gd name="connsiteX6225" fmla="*/ 2079855 w 2792478"/>
                <a:gd name="connsiteY6225" fmla="*/ 865041 h 4235290"/>
                <a:gd name="connsiteX6226" fmla="*/ 2131375 w 2792478"/>
                <a:gd name="connsiteY6226" fmla="*/ 911402 h 4235290"/>
                <a:gd name="connsiteX6227" fmla="*/ 2126713 w 2792478"/>
                <a:gd name="connsiteY6227" fmla="*/ 916060 h 4235290"/>
                <a:gd name="connsiteX6228" fmla="*/ 2126217 w 2792478"/>
                <a:gd name="connsiteY6228" fmla="*/ 916060 h 4235290"/>
                <a:gd name="connsiteX6229" fmla="*/ 2121931 w 2792478"/>
                <a:gd name="connsiteY6229" fmla="*/ 913016 h 4235290"/>
                <a:gd name="connsiteX6230" fmla="*/ 2111925 w 2792478"/>
                <a:gd name="connsiteY6230" fmla="*/ 907297 h 4235290"/>
                <a:gd name="connsiteX6231" fmla="*/ 2101856 w 2792478"/>
                <a:gd name="connsiteY6231" fmla="*/ 912892 h 4235290"/>
                <a:gd name="connsiteX6232" fmla="*/ 2101422 w 2792478"/>
                <a:gd name="connsiteY6232" fmla="*/ 913948 h 4235290"/>
                <a:gd name="connsiteX6233" fmla="*/ 2097447 w 2792478"/>
                <a:gd name="connsiteY6233" fmla="*/ 916060 h 4235290"/>
                <a:gd name="connsiteX6234" fmla="*/ 2093590 w 2792478"/>
                <a:gd name="connsiteY6234" fmla="*/ 914071 h 4235290"/>
                <a:gd name="connsiteX6235" fmla="*/ 2093156 w 2792478"/>
                <a:gd name="connsiteY6235" fmla="*/ 913267 h 4235290"/>
                <a:gd name="connsiteX6236" fmla="*/ 2079731 w 2792478"/>
                <a:gd name="connsiteY6236" fmla="*/ 907297 h 4235290"/>
                <a:gd name="connsiteX6237" fmla="*/ 2066436 w 2792478"/>
                <a:gd name="connsiteY6237" fmla="*/ 913139 h 4235290"/>
                <a:gd name="connsiteX6238" fmla="*/ 2066002 w 2792478"/>
                <a:gd name="connsiteY6238" fmla="*/ 914071 h 4235290"/>
                <a:gd name="connsiteX6239" fmla="*/ 2062145 w 2792478"/>
                <a:gd name="connsiteY6239" fmla="*/ 916060 h 4235290"/>
                <a:gd name="connsiteX6240" fmla="*/ 2058231 w 2792478"/>
                <a:gd name="connsiteY6240" fmla="*/ 913948 h 4235290"/>
                <a:gd name="connsiteX6241" fmla="*/ 2057611 w 2792478"/>
                <a:gd name="connsiteY6241" fmla="*/ 912769 h 4235290"/>
                <a:gd name="connsiteX6242" fmla="*/ 2047605 w 2792478"/>
                <a:gd name="connsiteY6242" fmla="*/ 907297 h 4235290"/>
                <a:gd name="connsiteX6243" fmla="*/ 2037474 w 2792478"/>
                <a:gd name="connsiteY6243" fmla="*/ 913139 h 4235290"/>
                <a:gd name="connsiteX6244" fmla="*/ 2033127 w 2792478"/>
                <a:gd name="connsiteY6244" fmla="*/ 916183 h 4235290"/>
                <a:gd name="connsiteX6245" fmla="*/ 2028402 w 2792478"/>
                <a:gd name="connsiteY6245" fmla="*/ 911525 h 4235290"/>
                <a:gd name="connsiteX6246" fmla="*/ 2079855 w 2792478"/>
                <a:gd name="connsiteY6246" fmla="*/ 865041 h 4235290"/>
                <a:gd name="connsiteX6247" fmla="*/ 363195 w 2792478"/>
                <a:gd name="connsiteY6247" fmla="*/ 861063 h 4235290"/>
                <a:gd name="connsiteX6248" fmla="*/ 413102 w 2792478"/>
                <a:gd name="connsiteY6248" fmla="*/ 881944 h 4235290"/>
                <a:gd name="connsiteX6249" fmla="*/ 412789 w 2792478"/>
                <a:gd name="connsiteY6249" fmla="*/ 981811 h 4235290"/>
                <a:gd name="connsiteX6250" fmla="*/ 319141 w 2792478"/>
                <a:gd name="connsiteY6250" fmla="*/ 987089 h 4235290"/>
                <a:gd name="connsiteX6251" fmla="*/ 308760 w 2792478"/>
                <a:gd name="connsiteY6251" fmla="*/ 976959 h 4235290"/>
                <a:gd name="connsiteX6252" fmla="*/ 308509 w 2792478"/>
                <a:gd name="connsiteY6252" fmla="*/ 976654 h 4235290"/>
                <a:gd name="connsiteX6253" fmla="*/ 313172 w 2792478"/>
                <a:gd name="connsiteY6253" fmla="*/ 881567 h 4235290"/>
                <a:gd name="connsiteX6254" fmla="*/ 363195 w 2792478"/>
                <a:gd name="connsiteY6254" fmla="*/ 861063 h 4235290"/>
                <a:gd name="connsiteX6255" fmla="*/ 1951223 w 2792478"/>
                <a:gd name="connsiteY6255" fmla="*/ 857087 h 4235290"/>
                <a:gd name="connsiteX6256" fmla="*/ 1955259 w 2792478"/>
                <a:gd name="connsiteY6256" fmla="*/ 858454 h 4235290"/>
                <a:gd name="connsiteX6257" fmla="*/ 1950662 w 2792478"/>
                <a:gd name="connsiteY6257" fmla="*/ 860008 h 4235290"/>
                <a:gd name="connsiteX6258" fmla="*/ 1954329 w 2792478"/>
                <a:gd name="connsiteY6258" fmla="*/ 862431 h 4235290"/>
                <a:gd name="connsiteX6259" fmla="*/ 1954766 w 2792478"/>
                <a:gd name="connsiteY6259" fmla="*/ 862866 h 4235290"/>
                <a:gd name="connsiteX6260" fmla="*/ 1949608 w 2792478"/>
                <a:gd name="connsiteY6260" fmla="*/ 863674 h 4235290"/>
                <a:gd name="connsiteX6261" fmla="*/ 1949479 w 2792478"/>
                <a:gd name="connsiteY6261" fmla="*/ 863488 h 4235290"/>
                <a:gd name="connsiteX6262" fmla="*/ 1945381 w 2792478"/>
                <a:gd name="connsiteY6262" fmla="*/ 861064 h 4235290"/>
                <a:gd name="connsiteX6263" fmla="*/ 1940655 w 2792478"/>
                <a:gd name="connsiteY6263" fmla="*/ 860256 h 4235290"/>
                <a:gd name="connsiteX6264" fmla="*/ 1936742 w 2792478"/>
                <a:gd name="connsiteY6264" fmla="*/ 860878 h 4235290"/>
                <a:gd name="connsiteX6265" fmla="*/ 1935313 w 2792478"/>
                <a:gd name="connsiteY6265" fmla="*/ 861748 h 4235290"/>
                <a:gd name="connsiteX6266" fmla="*/ 1937051 w 2792478"/>
                <a:gd name="connsiteY6266" fmla="*/ 863923 h 4235290"/>
                <a:gd name="connsiteX6267" fmla="*/ 1939226 w 2792478"/>
                <a:gd name="connsiteY6267" fmla="*/ 867278 h 4235290"/>
                <a:gd name="connsiteX6268" fmla="*/ 1935683 w 2792478"/>
                <a:gd name="connsiteY6268" fmla="*/ 869889 h 4235290"/>
                <a:gd name="connsiteX6269" fmla="*/ 1920087 w 2792478"/>
                <a:gd name="connsiteY6269" fmla="*/ 870137 h 4235290"/>
                <a:gd name="connsiteX6270" fmla="*/ 1915114 w 2792478"/>
                <a:gd name="connsiteY6270" fmla="*/ 871753 h 4235290"/>
                <a:gd name="connsiteX6271" fmla="*/ 1911078 w 2792478"/>
                <a:gd name="connsiteY6271" fmla="*/ 870386 h 4235290"/>
                <a:gd name="connsiteX6272" fmla="*/ 1915798 w 2792478"/>
                <a:gd name="connsiteY6272" fmla="*/ 868770 h 4235290"/>
                <a:gd name="connsiteX6273" fmla="*/ 1911448 w 2792478"/>
                <a:gd name="connsiteY6273" fmla="*/ 865849 h 4235290"/>
                <a:gd name="connsiteX6274" fmla="*/ 1911263 w 2792478"/>
                <a:gd name="connsiteY6274" fmla="*/ 865414 h 4235290"/>
                <a:gd name="connsiteX6275" fmla="*/ 1916235 w 2792478"/>
                <a:gd name="connsiteY6275" fmla="*/ 864606 h 4235290"/>
                <a:gd name="connsiteX6276" fmla="*/ 1916358 w 2792478"/>
                <a:gd name="connsiteY6276" fmla="*/ 864855 h 4235290"/>
                <a:gd name="connsiteX6277" fmla="*/ 1920955 w 2792478"/>
                <a:gd name="connsiteY6277" fmla="*/ 867651 h 4235290"/>
                <a:gd name="connsiteX6278" fmla="*/ 1926304 w 2792478"/>
                <a:gd name="connsiteY6278" fmla="*/ 868459 h 4235290"/>
                <a:gd name="connsiteX6279" fmla="*/ 1930654 w 2792478"/>
                <a:gd name="connsiteY6279" fmla="*/ 867838 h 4235290"/>
                <a:gd name="connsiteX6280" fmla="*/ 1932454 w 2792478"/>
                <a:gd name="connsiteY6280" fmla="*/ 866657 h 4235290"/>
                <a:gd name="connsiteX6281" fmla="*/ 1931147 w 2792478"/>
                <a:gd name="connsiteY6281" fmla="*/ 864917 h 4235290"/>
                <a:gd name="connsiteX6282" fmla="*/ 1928602 w 2792478"/>
                <a:gd name="connsiteY6282" fmla="*/ 861250 h 4235290"/>
                <a:gd name="connsiteX6283" fmla="*/ 1931646 w 2792478"/>
                <a:gd name="connsiteY6283" fmla="*/ 858889 h 4235290"/>
                <a:gd name="connsiteX6284" fmla="*/ 1939102 w 2792478"/>
                <a:gd name="connsiteY6284" fmla="*/ 857833 h 4235290"/>
                <a:gd name="connsiteX6285" fmla="*/ 1946435 w 2792478"/>
                <a:gd name="connsiteY6285" fmla="*/ 858703 h 4235290"/>
                <a:gd name="connsiteX6286" fmla="*/ 57405 w 2792478"/>
                <a:gd name="connsiteY6286" fmla="*/ 852627 h 4235290"/>
                <a:gd name="connsiteX6287" fmla="*/ 31349 w 2792478"/>
                <a:gd name="connsiteY6287" fmla="*/ 871582 h 4235290"/>
                <a:gd name="connsiteX6288" fmla="*/ 57405 w 2792478"/>
                <a:gd name="connsiteY6288" fmla="*/ 890529 h 4235290"/>
                <a:gd name="connsiteX6289" fmla="*/ 83464 w 2792478"/>
                <a:gd name="connsiteY6289" fmla="*/ 871582 h 4235290"/>
                <a:gd name="connsiteX6290" fmla="*/ 57405 w 2792478"/>
                <a:gd name="connsiteY6290" fmla="*/ 852627 h 4235290"/>
                <a:gd name="connsiteX6291" fmla="*/ 1934320 w 2792478"/>
                <a:gd name="connsiteY6291" fmla="*/ 848884 h 4235290"/>
                <a:gd name="connsiteX6292" fmla="*/ 1896844 w 2792478"/>
                <a:gd name="connsiteY6292" fmla="*/ 865911 h 4235290"/>
                <a:gd name="connsiteX6293" fmla="*/ 1934320 w 2792478"/>
                <a:gd name="connsiteY6293" fmla="*/ 882939 h 4235290"/>
                <a:gd name="connsiteX6294" fmla="*/ 1971730 w 2792478"/>
                <a:gd name="connsiteY6294" fmla="*/ 865911 h 4235290"/>
                <a:gd name="connsiteX6295" fmla="*/ 1934320 w 2792478"/>
                <a:gd name="connsiteY6295" fmla="*/ 848884 h 4235290"/>
                <a:gd name="connsiteX6296" fmla="*/ 1934320 w 2792478"/>
                <a:gd name="connsiteY6296" fmla="*/ 845155 h 4235290"/>
                <a:gd name="connsiteX6297" fmla="*/ 1975458 w 2792478"/>
                <a:gd name="connsiteY6297" fmla="*/ 865911 h 4235290"/>
                <a:gd name="connsiteX6298" fmla="*/ 1975458 w 2792478"/>
                <a:gd name="connsiteY6298" fmla="*/ 880142 h 4235290"/>
                <a:gd name="connsiteX6299" fmla="*/ 1975396 w 2792478"/>
                <a:gd name="connsiteY6299" fmla="*/ 882939 h 4235290"/>
                <a:gd name="connsiteX6300" fmla="*/ 1975458 w 2792478"/>
                <a:gd name="connsiteY6300" fmla="*/ 882939 h 4235290"/>
                <a:gd name="connsiteX6301" fmla="*/ 1975458 w 2792478"/>
                <a:gd name="connsiteY6301" fmla="*/ 897543 h 4235290"/>
                <a:gd name="connsiteX6302" fmla="*/ 1975396 w 2792478"/>
                <a:gd name="connsiteY6302" fmla="*/ 900339 h 4235290"/>
                <a:gd name="connsiteX6303" fmla="*/ 1975458 w 2792478"/>
                <a:gd name="connsiteY6303" fmla="*/ 900339 h 4235290"/>
                <a:gd name="connsiteX6304" fmla="*/ 1975458 w 2792478"/>
                <a:gd name="connsiteY6304" fmla="*/ 914943 h 4235290"/>
                <a:gd name="connsiteX6305" fmla="*/ 1975273 w 2792478"/>
                <a:gd name="connsiteY6305" fmla="*/ 919044 h 4235290"/>
                <a:gd name="connsiteX6306" fmla="*/ 1975458 w 2792478"/>
                <a:gd name="connsiteY6306" fmla="*/ 919044 h 4235290"/>
                <a:gd name="connsiteX6307" fmla="*/ 1975458 w 2792478"/>
                <a:gd name="connsiteY6307" fmla="*/ 933648 h 4235290"/>
                <a:gd name="connsiteX6308" fmla="*/ 1934567 w 2792478"/>
                <a:gd name="connsiteY6308" fmla="*/ 959500 h 4235290"/>
                <a:gd name="connsiteX6309" fmla="*/ 1893177 w 2792478"/>
                <a:gd name="connsiteY6309" fmla="*/ 933648 h 4235290"/>
                <a:gd name="connsiteX6310" fmla="*/ 1893177 w 2792478"/>
                <a:gd name="connsiteY6310" fmla="*/ 919044 h 4235290"/>
                <a:gd name="connsiteX6311" fmla="*/ 1893368 w 2792478"/>
                <a:gd name="connsiteY6311" fmla="*/ 919044 h 4235290"/>
                <a:gd name="connsiteX6312" fmla="*/ 1893177 w 2792478"/>
                <a:gd name="connsiteY6312" fmla="*/ 914943 h 4235290"/>
                <a:gd name="connsiteX6313" fmla="*/ 1893177 w 2792478"/>
                <a:gd name="connsiteY6313" fmla="*/ 900339 h 4235290"/>
                <a:gd name="connsiteX6314" fmla="*/ 1893239 w 2792478"/>
                <a:gd name="connsiteY6314" fmla="*/ 900339 h 4235290"/>
                <a:gd name="connsiteX6315" fmla="*/ 1893177 w 2792478"/>
                <a:gd name="connsiteY6315" fmla="*/ 897543 h 4235290"/>
                <a:gd name="connsiteX6316" fmla="*/ 1893177 w 2792478"/>
                <a:gd name="connsiteY6316" fmla="*/ 882939 h 4235290"/>
                <a:gd name="connsiteX6317" fmla="*/ 1893239 w 2792478"/>
                <a:gd name="connsiteY6317" fmla="*/ 882939 h 4235290"/>
                <a:gd name="connsiteX6318" fmla="*/ 1893177 w 2792478"/>
                <a:gd name="connsiteY6318" fmla="*/ 880142 h 4235290"/>
                <a:gd name="connsiteX6319" fmla="*/ 1893177 w 2792478"/>
                <a:gd name="connsiteY6319" fmla="*/ 865911 h 4235290"/>
                <a:gd name="connsiteX6320" fmla="*/ 1934320 w 2792478"/>
                <a:gd name="connsiteY6320" fmla="*/ 845155 h 4235290"/>
                <a:gd name="connsiteX6321" fmla="*/ 57405 w 2792478"/>
                <a:gd name="connsiteY6321" fmla="*/ 843157 h 4235290"/>
                <a:gd name="connsiteX6322" fmla="*/ 92930 w 2792478"/>
                <a:gd name="connsiteY6322" fmla="*/ 871582 h 4235290"/>
                <a:gd name="connsiteX6323" fmla="*/ 57405 w 2792478"/>
                <a:gd name="connsiteY6323" fmla="*/ 900002 h 4235290"/>
                <a:gd name="connsiteX6324" fmla="*/ 51803 w 2792478"/>
                <a:gd name="connsiteY6324" fmla="*/ 899618 h 4235290"/>
                <a:gd name="connsiteX6325" fmla="*/ 43666 w 2792478"/>
                <a:gd name="connsiteY6325" fmla="*/ 910440 h 4235290"/>
                <a:gd name="connsiteX6326" fmla="*/ 40820 w 2792478"/>
                <a:gd name="connsiteY6326" fmla="*/ 909468 h 4235290"/>
                <a:gd name="connsiteX6327" fmla="*/ 40820 w 2792478"/>
                <a:gd name="connsiteY6327" fmla="*/ 896714 h 4235290"/>
                <a:gd name="connsiteX6328" fmla="*/ 21875 w 2792478"/>
                <a:gd name="connsiteY6328" fmla="*/ 871582 h 4235290"/>
                <a:gd name="connsiteX6329" fmla="*/ 57405 w 2792478"/>
                <a:gd name="connsiteY6329" fmla="*/ 843157 h 4235290"/>
                <a:gd name="connsiteX6330" fmla="*/ 1960108 w 2792478"/>
                <a:gd name="connsiteY6330" fmla="*/ 839189 h 4235290"/>
                <a:gd name="connsiteX6331" fmla="*/ 1964767 w 2792478"/>
                <a:gd name="connsiteY6331" fmla="*/ 840122 h 4235290"/>
                <a:gd name="connsiteX6332" fmla="*/ 1964021 w 2792478"/>
                <a:gd name="connsiteY6332" fmla="*/ 840557 h 4235290"/>
                <a:gd name="connsiteX6333" fmla="*/ 1962530 w 2792478"/>
                <a:gd name="connsiteY6333" fmla="*/ 843104 h 4235290"/>
                <a:gd name="connsiteX6334" fmla="*/ 1967940 w 2792478"/>
                <a:gd name="connsiteY6334" fmla="*/ 845528 h 4235290"/>
                <a:gd name="connsiteX6335" fmla="*/ 1973406 w 2792478"/>
                <a:gd name="connsiteY6335" fmla="*/ 843788 h 4235290"/>
                <a:gd name="connsiteX6336" fmla="*/ 1980862 w 2792478"/>
                <a:gd name="connsiteY6336" fmla="*/ 840681 h 4235290"/>
                <a:gd name="connsiteX6337" fmla="*/ 1982168 w 2792478"/>
                <a:gd name="connsiteY6337" fmla="*/ 840681 h 4235290"/>
                <a:gd name="connsiteX6338" fmla="*/ 1991553 w 2792478"/>
                <a:gd name="connsiteY6338" fmla="*/ 844409 h 4235290"/>
                <a:gd name="connsiteX6339" fmla="*/ 1996896 w 2792478"/>
                <a:gd name="connsiteY6339" fmla="*/ 844720 h 4235290"/>
                <a:gd name="connsiteX6340" fmla="*/ 1997395 w 2792478"/>
                <a:gd name="connsiteY6340" fmla="*/ 846771 h 4235290"/>
                <a:gd name="connsiteX6341" fmla="*/ 1992175 w 2792478"/>
                <a:gd name="connsiteY6341" fmla="*/ 846460 h 4235290"/>
                <a:gd name="connsiteX6342" fmla="*/ 1990746 w 2792478"/>
                <a:gd name="connsiteY6342" fmla="*/ 849008 h 4235290"/>
                <a:gd name="connsiteX6343" fmla="*/ 1990622 w 2792478"/>
                <a:gd name="connsiteY6343" fmla="*/ 849132 h 4235290"/>
                <a:gd name="connsiteX6344" fmla="*/ 1986081 w 2792478"/>
                <a:gd name="connsiteY6344" fmla="*/ 848200 h 4235290"/>
                <a:gd name="connsiteX6345" fmla="*/ 1986704 w 2792478"/>
                <a:gd name="connsiteY6345" fmla="*/ 847703 h 4235290"/>
                <a:gd name="connsiteX6346" fmla="*/ 1987825 w 2792478"/>
                <a:gd name="connsiteY6346" fmla="*/ 845528 h 4235290"/>
                <a:gd name="connsiteX6347" fmla="*/ 1983099 w 2792478"/>
                <a:gd name="connsiteY6347" fmla="*/ 843415 h 4235290"/>
                <a:gd name="connsiteX6348" fmla="*/ 1977941 w 2792478"/>
                <a:gd name="connsiteY6348" fmla="*/ 845404 h 4235290"/>
                <a:gd name="connsiteX6349" fmla="*/ 1970300 w 2792478"/>
                <a:gd name="connsiteY6349" fmla="*/ 848262 h 4235290"/>
                <a:gd name="connsiteX6350" fmla="*/ 1968747 w 2792478"/>
                <a:gd name="connsiteY6350" fmla="*/ 848262 h 4235290"/>
                <a:gd name="connsiteX6351" fmla="*/ 1958802 w 2792478"/>
                <a:gd name="connsiteY6351" fmla="*/ 844347 h 4235290"/>
                <a:gd name="connsiteX6352" fmla="*/ 1953207 w 2792478"/>
                <a:gd name="connsiteY6352" fmla="*/ 843974 h 4235290"/>
                <a:gd name="connsiteX6353" fmla="*/ 1952837 w 2792478"/>
                <a:gd name="connsiteY6353" fmla="*/ 841924 h 4235290"/>
                <a:gd name="connsiteX6354" fmla="*/ 1958118 w 2792478"/>
                <a:gd name="connsiteY6354" fmla="*/ 842234 h 4235290"/>
                <a:gd name="connsiteX6355" fmla="*/ 1959985 w 2792478"/>
                <a:gd name="connsiteY6355" fmla="*/ 839252 h 4235290"/>
                <a:gd name="connsiteX6356" fmla="*/ 739055 w 2792478"/>
                <a:gd name="connsiteY6356" fmla="*/ 838285 h 4235290"/>
                <a:gd name="connsiteX6357" fmla="*/ 747738 w 2792478"/>
                <a:gd name="connsiteY6357" fmla="*/ 844334 h 4235290"/>
                <a:gd name="connsiteX6358" fmla="*/ 756421 w 2792478"/>
                <a:gd name="connsiteY6358" fmla="*/ 838285 h 4235290"/>
                <a:gd name="connsiteX6359" fmla="*/ 613486 w 2792478"/>
                <a:gd name="connsiteY6359" fmla="*/ 836076 h 4235290"/>
                <a:gd name="connsiteX6360" fmla="*/ 513086 w 2792478"/>
                <a:gd name="connsiteY6360" fmla="*/ 890461 h 4235290"/>
                <a:gd name="connsiteX6361" fmla="*/ 536516 w 2792478"/>
                <a:gd name="connsiteY6361" fmla="*/ 897478 h 4235290"/>
                <a:gd name="connsiteX6362" fmla="*/ 600934 w 2792478"/>
                <a:gd name="connsiteY6362" fmla="*/ 851477 h 4235290"/>
                <a:gd name="connsiteX6363" fmla="*/ 559611 w 2792478"/>
                <a:gd name="connsiteY6363" fmla="*/ 908899 h 4235290"/>
                <a:gd name="connsiteX6364" fmla="*/ 588158 w 2792478"/>
                <a:gd name="connsiteY6364" fmla="*/ 937440 h 4235290"/>
                <a:gd name="connsiteX6365" fmla="*/ 613486 w 2792478"/>
                <a:gd name="connsiteY6365" fmla="*/ 836076 h 4235290"/>
                <a:gd name="connsiteX6366" fmla="*/ 2301654 w 2792478"/>
                <a:gd name="connsiteY6366" fmla="*/ 832105 h 4235290"/>
                <a:gd name="connsiteX6367" fmla="*/ 2248524 w 2792478"/>
                <a:gd name="connsiteY6367" fmla="*/ 854102 h 4235290"/>
                <a:gd name="connsiteX6368" fmla="*/ 2239763 w 2792478"/>
                <a:gd name="connsiteY6368" fmla="*/ 862864 h 4235290"/>
                <a:gd name="connsiteX6369" fmla="*/ 2349191 w 2792478"/>
                <a:gd name="connsiteY6369" fmla="*/ 972173 h 4235290"/>
                <a:gd name="connsiteX6370" fmla="*/ 2357894 w 2792478"/>
                <a:gd name="connsiteY6370" fmla="*/ 963483 h 4235290"/>
                <a:gd name="connsiteX6371" fmla="*/ 2357894 w 2792478"/>
                <a:gd name="connsiteY6371" fmla="*/ 857210 h 4235290"/>
                <a:gd name="connsiteX6372" fmla="*/ 2354843 w 2792478"/>
                <a:gd name="connsiteY6372" fmla="*/ 854102 h 4235290"/>
                <a:gd name="connsiteX6373" fmla="*/ 2301654 w 2792478"/>
                <a:gd name="connsiteY6373" fmla="*/ 832105 h 4235290"/>
                <a:gd name="connsiteX6374" fmla="*/ 2492227 w 2792478"/>
                <a:gd name="connsiteY6374" fmla="*/ 825574 h 4235290"/>
                <a:gd name="connsiteX6375" fmla="*/ 2605434 w 2792478"/>
                <a:gd name="connsiteY6375" fmla="*/ 882173 h 4235290"/>
                <a:gd name="connsiteX6376" fmla="*/ 2718628 w 2792478"/>
                <a:gd name="connsiteY6376" fmla="*/ 825574 h 4235290"/>
                <a:gd name="connsiteX6377" fmla="*/ 2746992 w 2792478"/>
                <a:gd name="connsiteY6377" fmla="*/ 839750 h 4235290"/>
                <a:gd name="connsiteX6378" fmla="*/ 2605434 w 2792478"/>
                <a:gd name="connsiteY6378" fmla="*/ 910523 h 4235290"/>
                <a:gd name="connsiteX6379" fmla="*/ 2463876 w 2792478"/>
                <a:gd name="connsiteY6379" fmla="*/ 839750 h 4235290"/>
                <a:gd name="connsiteX6380" fmla="*/ 1973036 w 2792478"/>
                <a:gd name="connsiteY6380" fmla="*/ 825269 h 4235290"/>
                <a:gd name="connsiteX6381" fmla="*/ 2014235 w 2792478"/>
                <a:gd name="connsiteY6381" fmla="*/ 846025 h 4235290"/>
                <a:gd name="connsiteX6382" fmla="*/ 2014235 w 2792478"/>
                <a:gd name="connsiteY6382" fmla="*/ 860256 h 4235290"/>
                <a:gd name="connsiteX6383" fmla="*/ 2014112 w 2792478"/>
                <a:gd name="connsiteY6383" fmla="*/ 863115 h 4235290"/>
                <a:gd name="connsiteX6384" fmla="*/ 2014235 w 2792478"/>
                <a:gd name="connsiteY6384" fmla="*/ 863426 h 4235290"/>
                <a:gd name="connsiteX6385" fmla="*/ 2014235 w 2792478"/>
                <a:gd name="connsiteY6385" fmla="*/ 877657 h 4235290"/>
                <a:gd name="connsiteX6386" fmla="*/ 2014112 w 2792478"/>
                <a:gd name="connsiteY6386" fmla="*/ 880453 h 4235290"/>
                <a:gd name="connsiteX6387" fmla="*/ 2014235 w 2792478"/>
                <a:gd name="connsiteY6387" fmla="*/ 880453 h 4235290"/>
                <a:gd name="connsiteX6388" fmla="*/ 2014235 w 2792478"/>
                <a:gd name="connsiteY6388" fmla="*/ 895057 h 4235290"/>
                <a:gd name="connsiteX6389" fmla="*/ 2013989 w 2792478"/>
                <a:gd name="connsiteY6389" fmla="*/ 899220 h 4235290"/>
                <a:gd name="connsiteX6390" fmla="*/ 2014235 w 2792478"/>
                <a:gd name="connsiteY6390" fmla="*/ 899220 h 4235290"/>
                <a:gd name="connsiteX6391" fmla="*/ 2014235 w 2792478"/>
                <a:gd name="connsiteY6391" fmla="*/ 913762 h 4235290"/>
                <a:gd name="connsiteX6392" fmla="*/ 1977196 w 2792478"/>
                <a:gd name="connsiteY6392" fmla="*/ 938806 h 4235290"/>
                <a:gd name="connsiteX6393" fmla="*/ 1976641 w 2792478"/>
                <a:gd name="connsiteY6393" fmla="*/ 938868 h 4235290"/>
                <a:gd name="connsiteX6394" fmla="*/ 1976826 w 2792478"/>
                <a:gd name="connsiteY6394" fmla="*/ 938309 h 4235290"/>
                <a:gd name="connsiteX6395" fmla="*/ 1977756 w 2792478"/>
                <a:gd name="connsiteY6395" fmla="*/ 935326 h 4235290"/>
                <a:gd name="connsiteX6396" fmla="*/ 1977818 w 2792478"/>
                <a:gd name="connsiteY6396" fmla="*/ 935078 h 4235290"/>
                <a:gd name="connsiteX6397" fmla="*/ 1978132 w 2792478"/>
                <a:gd name="connsiteY6397" fmla="*/ 935078 h 4235290"/>
                <a:gd name="connsiteX6398" fmla="*/ 2010507 w 2792478"/>
                <a:gd name="connsiteY6398" fmla="*/ 913762 h 4235290"/>
                <a:gd name="connsiteX6399" fmla="*/ 2010507 w 2792478"/>
                <a:gd name="connsiteY6399" fmla="*/ 908480 h 4235290"/>
                <a:gd name="connsiteX6400" fmla="*/ 1978687 w 2792478"/>
                <a:gd name="connsiteY6400" fmla="*/ 920039 h 4235290"/>
                <a:gd name="connsiteX6401" fmla="*/ 1978317 w 2792478"/>
                <a:gd name="connsiteY6401" fmla="*/ 920039 h 4235290"/>
                <a:gd name="connsiteX6402" fmla="*/ 1978317 w 2792478"/>
                <a:gd name="connsiteY6402" fmla="*/ 916310 h 4235290"/>
                <a:gd name="connsiteX6403" fmla="*/ 1978687 w 2792478"/>
                <a:gd name="connsiteY6403" fmla="*/ 916310 h 4235290"/>
                <a:gd name="connsiteX6404" fmla="*/ 2010507 w 2792478"/>
                <a:gd name="connsiteY6404" fmla="*/ 895057 h 4235290"/>
                <a:gd name="connsiteX6405" fmla="*/ 2010507 w 2792478"/>
                <a:gd name="connsiteY6405" fmla="*/ 891080 h 4235290"/>
                <a:gd name="connsiteX6406" fmla="*/ 1978687 w 2792478"/>
                <a:gd name="connsiteY6406" fmla="*/ 902638 h 4235290"/>
                <a:gd name="connsiteX6407" fmla="*/ 1978317 w 2792478"/>
                <a:gd name="connsiteY6407" fmla="*/ 902638 h 4235290"/>
                <a:gd name="connsiteX6408" fmla="*/ 1978317 w 2792478"/>
                <a:gd name="connsiteY6408" fmla="*/ 898910 h 4235290"/>
                <a:gd name="connsiteX6409" fmla="*/ 1978687 w 2792478"/>
                <a:gd name="connsiteY6409" fmla="*/ 898910 h 4235290"/>
                <a:gd name="connsiteX6410" fmla="*/ 2010507 w 2792478"/>
                <a:gd name="connsiteY6410" fmla="*/ 877657 h 4235290"/>
                <a:gd name="connsiteX6411" fmla="*/ 2010507 w 2792478"/>
                <a:gd name="connsiteY6411" fmla="*/ 873679 h 4235290"/>
                <a:gd name="connsiteX6412" fmla="*/ 1978687 w 2792478"/>
                <a:gd name="connsiteY6412" fmla="*/ 885238 h 4235290"/>
                <a:gd name="connsiteX6413" fmla="*/ 1978317 w 2792478"/>
                <a:gd name="connsiteY6413" fmla="*/ 885238 h 4235290"/>
                <a:gd name="connsiteX6414" fmla="*/ 1978317 w 2792478"/>
                <a:gd name="connsiteY6414" fmla="*/ 881572 h 4235290"/>
                <a:gd name="connsiteX6415" fmla="*/ 1978687 w 2792478"/>
                <a:gd name="connsiteY6415" fmla="*/ 881509 h 4235290"/>
                <a:gd name="connsiteX6416" fmla="*/ 2010507 w 2792478"/>
                <a:gd name="connsiteY6416" fmla="*/ 860256 h 4235290"/>
                <a:gd name="connsiteX6417" fmla="*/ 2010507 w 2792478"/>
                <a:gd name="connsiteY6417" fmla="*/ 854788 h 4235290"/>
                <a:gd name="connsiteX6418" fmla="*/ 1978749 w 2792478"/>
                <a:gd name="connsiteY6418" fmla="*/ 866595 h 4235290"/>
                <a:gd name="connsiteX6419" fmla="*/ 1978317 w 2792478"/>
                <a:gd name="connsiteY6419" fmla="*/ 866657 h 4235290"/>
                <a:gd name="connsiteX6420" fmla="*/ 1978317 w 2792478"/>
                <a:gd name="connsiteY6420" fmla="*/ 862928 h 4235290"/>
                <a:gd name="connsiteX6421" fmla="*/ 1978687 w 2792478"/>
                <a:gd name="connsiteY6421" fmla="*/ 862866 h 4235290"/>
                <a:gd name="connsiteX6422" fmla="*/ 2010507 w 2792478"/>
                <a:gd name="connsiteY6422" fmla="*/ 846025 h 4235290"/>
                <a:gd name="connsiteX6423" fmla="*/ 1973036 w 2792478"/>
                <a:gd name="connsiteY6423" fmla="*/ 828936 h 4235290"/>
                <a:gd name="connsiteX6424" fmla="*/ 1937364 w 2792478"/>
                <a:gd name="connsiteY6424" fmla="*/ 840992 h 4235290"/>
                <a:gd name="connsiteX6425" fmla="*/ 1937303 w 2792478"/>
                <a:gd name="connsiteY6425" fmla="*/ 841116 h 4235290"/>
                <a:gd name="connsiteX6426" fmla="*/ 1937112 w 2792478"/>
                <a:gd name="connsiteY6426" fmla="*/ 841116 h 4235290"/>
                <a:gd name="connsiteX6427" fmla="*/ 1933507 w 2792478"/>
                <a:gd name="connsiteY6427" fmla="*/ 841240 h 4235290"/>
                <a:gd name="connsiteX6428" fmla="*/ 1932952 w 2792478"/>
                <a:gd name="connsiteY6428" fmla="*/ 841302 h 4235290"/>
                <a:gd name="connsiteX6429" fmla="*/ 1933199 w 2792478"/>
                <a:gd name="connsiteY6429" fmla="*/ 840743 h 4235290"/>
                <a:gd name="connsiteX6430" fmla="*/ 1973036 w 2792478"/>
                <a:gd name="connsiteY6430" fmla="*/ 825269 h 4235290"/>
                <a:gd name="connsiteX6431" fmla="*/ 747738 w 2792478"/>
                <a:gd name="connsiteY6431" fmla="*/ 824766 h 4235290"/>
                <a:gd name="connsiteX6432" fmla="*/ 739055 w 2792478"/>
                <a:gd name="connsiteY6432" fmla="*/ 830841 h 4235290"/>
                <a:gd name="connsiteX6433" fmla="*/ 756421 w 2792478"/>
                <a:gd name="connsiteY6433" fmla="*/ 830841 h 4235290"/>
                <a:gd name="connsiteX6434" fmla="*/ 747738 w 2792478"/>
                <a:gd name="connsiteY6434" fmla="*/ 824766 h 4235290"/>
                <a:gd name="connsiteX6435" fmla="*/ 618706 w 2792478"/>
                <a:gd name="connsiteY6435" fmla="*/ 821872 h 4235290"/>
                <a:gd name="connsiteX6436" fmla="*/ 624133 w 2792478"/>
                <a:gd name="connsiteY6436" fmla="*/ 822340 h 4235290"/>
                <a:gd name="connsiteX6437" fmla="*/ 625910 w 2792478"/>
                <a:gd name="connsiteY6437" fmla="*/ 827492 h 4235290"/>
                <a:gd name="connsiteX6438" fmla="*/ 595690 w 2792478"/>
                <a:gd name="connsiteY6438" fmla="*/ 948406 h 4235290"/>
                <a:gd name="connsiteX6439" fmla="*/ 592191 w 2792478"/>
                <a:gd name="connsiteY6439" fmla="*/ 952002 h 4235290"/>
                <a:gd name="connsiteX6440" fmla="*/ 590853 w 2792478"/>
                <a:gd name="connsiteY6440" fmla="*/ 952172 h 4235290"/>
                <a:gd name="connsiteX6441" fmla="*/ 587330 w 2792478"/>
                <a:gd name="connsiteY6441" fmla="*/ 950744 h 4235290"/>
                <a:gd name="connsiteX6442" fmla="*/ 558631 w 2792478"/>
                <a:gd name="connsiteY6442" fmla="*/ 922033 h 4235290"/>
                <a:gd name="connsiteX6443" fmla="*/ 543026 w 2792478"/>
                <a:gd name="connsiteY6443" fmla="*/ 944031 h 4235290"/>
                <a:gd name="connsiteX6444" fmla="*/ 535566 w 2792478"/>
                <a:gd name="connsiteY6444" fmla="*/ 942798 h 4235290"/>
                <a:gd name="connsiteX6445" fmla="*/ 530930 w 2792478"/>
                <a:gd name="connsiteY6445" fmla="*/ 906226 h 4235290"/>
                <a:gd name="connsiteX6446" fmla="*/ 498709 w 2792478"/>
                <a:gd name="connsiteY6446" fmla="*/ 896554 h 4235290"/>
                <a:gd name="connsiteX6447" fmla="*/ 495186 w 2792478"/>
                <a:gd name="connsiteY6447" fmla="*/ 892289 h 4235290"/>
                <a:gd name="connsiteX6448" fmla="*/ 497784 w 2792478"/>
                <a:gd name="connsiteY6448" fmla="*/ 887405 h 4235290"/>
                <a:gd name="connsiteX6449" fmla="*/ 747738 w 2792478"/>
                <a:gd name="connsiteY6449" fmla="*/ 817305 h 4235290"/>
                <a:gd name="connsiteX6450" fmla="*/ 764302 w 2792478"/>
                <a:gd name="connsiteY6450" fmla="*/ 834546 h 4235290"/>
                <a:gd name="connsiteX6451" fmla="*/ 751297 w 2792478"/>
                <a:gd name="connsiteY6451" fmla="*/ 851376 h 4235290"/>
                <a:gd name="connsiteX6452" fmla="*/ 751297 w 2792478"/>
                <a:gd name="connsiteY6452" fmla="*/ 861130 h 4235290"/>
                <a:gd name="connsiteX6453" fmla="*/ 808363 w 2792478"/>
                <a:gd name="connsiteY6453" fmla="*/ 861130 h 4235290"/>
                <a:gd name="connsiteX6454" fmla="*/ 810075 w 2792478"/>
                <a:gd name="connsiteY6454" fmla="*/ 861644 h 4235290"/>
                <a:gd name="connsiteX6455" fmla="*/ 810202 w 2792478"/>
                <a:gd name="connsiteY6455" fmla="*/ 861738 h 4235290"/>
                <a:gd name="connsiteX6456" fmla="*/ 811180 w 2792478"/>
                <a:gd name="connsiteY6456" fmla="*/ 862653 h 4235290"/>
                <a:gd name="connsiteX6457" fmla="*/ 811473 w 2792478"/>
                <a:gd name="connsiteY6457" fmla="*/ 862919 h 4235290"/>
                <a:gd name="connsiteX6458" fmla="*/ 852650 w 2792478"/>
                <a:gd name="connsiteY6458" fmla="*/ 933773 h 4235290"/>
                <a:gd name="connsiteX6459" fmla="*/ 852747 w 2792478"/>
                <a:gd name="connsiteY6459" fmla="*/ 934004 h 4235290"/>
                <a:gd name="connsiteX6460" fmla="*/ 852943 w 2792478"/>
                <a:gd name="connsiteY6460" fmla="*/ 934544 h 4235290"/>
                <a:gd name="connsiteX6461" fmla="*/ 853070 w 2792478"/>
                <a:gd name="connsiteY6461" fmla="*/ 935391 h 4235290"/>
                <a:gd name="connsiteX6462" fmla="*/ 853168 w 2792478"/>
                <a:gd name="connsiteY6462" fmla="*/ 935690 h 4235290"/>
                <a:gd name="connsiteX6463" fmla="*/ 853099 w 2792478"/>
                <a:gd name="connsiteY6463" fmla="*/ 935895 h 4235290"/>
                <a:gd name="connsiteX6464" fmla="*/ 852943 w 2792478"/>
                <a:gd name="connsiteY6464" fmla="*/ 936768 h 4235290"/>
                <a:gd name="connsiteX6465" fmla="*/ 852777 w 2792478"/>
                <a:gd name="connsiteY6465" fmla="*/ 937239 h 4235290"/>
                <a:gd name="connsiteX6466" fmla="*/ 852327 w 2792478"/>
                <a:gd name="connsiteY6466" fmla="*/ 937992 h 4235290"/>
                <a:gd name="connsiteX6467" fmla="*/ 852033 w 2792478"/>
                <a:gd name="connsiteY6467" fmla="*/ 938351 h 4235290"/>
                <a:gd name="connsiteX6468" fmla="*/ 852004 w 2792478"/>
                <a:gd name="connsiteY6468" fmla="*/ 938420 h 4235290"/>
                <a:gd name="connsiteX6469" fmla="*/ 808393 w 2792478"/>
                <a:gd name="connsiteY6469" fmla="*/ 957115 h 4235290"/>
                <a:gd name="connsiteX6470" fmla="*/ 764781 w 2792478"/>
                <a:gd name="connsiteY6470" fmla="*/ 938420 h 4235290"/>
                <a:gd name="connsiteX6471" fmla="*/ 764742 w 2792478"/>
                <a:gd name="connsiteY6471" fmla="*/ 938351 h 4235290"/>
                <a:gd name="connsiteX6472" fmla="*/ 764459 w 2792478"/>
                <a:gd name="connsiteY6472" fmla="*/ 937992 h 4235290"/>
                <a:gd name="connsiteX6473" fmla="*/ 764009 w 2792478"/>
                <a:gd name="connsiteY6473" fmla="*/ 937239 h 4235290"/>
                <a:gd name="connsiteX6474" fmla="*/ 763843 w 2792478"/>
                <a:gd name="connsiteY6474" fmla="*/ 936768 h 4235290"/>
                <a:gd name="connsiteX6475" fmla="*/ 763677 w 2792478"/>
                <a:gd name="connsiteY6475" fmla="*/ 935921 h 4235290"/>
                <a:gd name="connsiteX6476" fmla="*/ 763647 w 2792478"/>
                <a:gd name="connsiteY6476" fmla="*/ 935690 h 4235290"/>
                <a:gd name="connsiteX6477" fmla="*/ 763706 w 2792478"/>
                <a:gd name="connsiteY6477" fmla="*/ 935391 h 4235290"/>
                <a:gd name="connsiteX6478" fmla="*/ 763872 w 2792478"/>
                <a:gd name="connsiteY6478" fmla="*/ 934544 h 4235290"/>
                <a:gd name="connsiteX6479" fmla="*/ 764068 w 2792478"/>
                <a:gd name="connsiteY6479" fmla="*/ 934039 h 4235290"/>
                <a:gd name="connsiteX6480" fmla="*/ 764165 w 2792478"/>
                <a:gd name="connsiteY6480" fmla="*/ 933773 h 4235290"/>
                <a:gd name="connsiteX6481" fmla="*/ 802047 w 2792478"/>
                <a:gd name="connsiteY6481" fmla="*/ 868583 h 4235290"/>
                <a:gd name="connsiteX6482" fmla="*/ 751297 w 2792478"/>
                <a:gd name="connsiteY6482" fmla="*/ 868583 h 4235290"/>
                <a:gd name="connsiteX6483" fmla="*/ 751297 w 2792478"/>
                <a:gd name="connsiteY6483" fmla="*/ 964841 h 4235290"/>
                <a:gd name="connsiteX6484" fmla="*/ 761604 w 2792478"/>
                <a:gd name="connsiteY6484" fmla="*/ 964841 h 4235290"/>
                <a:gd name="connsiteX6485" fmla="*/ 765202 w 2792478"/>
                <a:gd name="connsiteY6485" fmla="*/ 968546 h 4235290"/>
                <a:gd name="connsiteX6486" fmla="*/ 761604 w 2792478"/>
                <a:gd name="connsiteY6486" fmla="*/ 972294 h 4235290"/>
                <a:gd name="connsiteX6487" fmla="*/ 751297 w 2792478"/>
                <a:gd name="connsiteY6487" fmla="*/ 972294 h 4235290"/>
                <a:gd name="connsiteX6488" fmla="*/ 751297 w 2792478"/>
                <a:gd name="connsiteY6488" fmla="*/ 979755 h 4235290"/>
                <a:gd name="connsiteX6489" fmla="*/ 775049 w 2792478"/>
                <a:gd name="connsiteY6489" fmla="*/ 979755 h 4235290"/>
                <a:gd name="connsiteX6490" fmla="*/ 778618 w 2792478"/>
                <a:gd name="connsiteY6490" fmla="*/ 983460 h 4235290"/>
                <a:gd name="connsiteX6491" fmla="*/ 775049 w 2792478"/>
                <a:gd name="connsiteY6491" fmla="*/ 987208 h 4235290"/>
                <a:gd name="connsiteX6492" fmla="*/ 751297 w 2792478"/>
                <a:gd name="connsiteY6492" fmla="*/ 987208 h 4235290"/>
                <a:gd name="connsiteX6493" fmla="*/ 751297 w 2792478"/>
                <a:gd name="connsiteY6493" fmla="*/ 994660 h 4235290"/>
                <a:gd name="connsiteX6494" fmla="*/ 787555 w 2792478"/>
                <a:gd name="connsiteY6494" fmla="*/ 994660 h 4235290"/>
                <a:gd name="connsiteX6495" fmla="*/ 791154 w 2792478"/>
                <a:gd name="connsiteY6495" fmla="*/ 998399 h 4235290"/>
                <a:gd name="connsiteX6496" fmla="*/ 787555 w 2792478"/>
                <a:gd name="connsiteY6496" fmla="*/ 1002121 h 4235290"/>
                <a:gd name="connsiteX6497" fmla="*/ 707881 w 2792478"/>
                <a:gd name="connsiteY6497" fmla="*/ 1002121 h 4235290"/>
                <a:gd name="connsiteX6498" fmla="*/ 704322 w 2792478"/>
                <a:gd name="connsiteY6498" fmla="*/ 998399 h 4235290"/>
                <a:gd name="connsiteX6499" fmla="*/ 707881 w 2792478"/>
                <a:gd name="connsiteY6499" fmla="*/ 994660 h 4235290"/>
                <a:gd name="connsiteX6500" fmla="*/ 744139 w 2792478"/>
                <a:gd name="connsiteY6500" fmla="*/ 994660 h 4235290"/>
                <a:gd name="connsiteX6501" fmla="*/ 744139 w 2792478"/>
                <a:gd name="connsiteY6501" fmla="*/ 987208 h 4235290"/>
                <a:gd name="connsiteX6502" fmla="*/ 720427 w 2792478"/>
                <a:gd name="connsiteY6502" fmla="*/ 987208 h 4235290"/>
                <a:gd name="connsiteX6503" fmla="*/ 716858 w 2792478"/>
                <a:gd name="connsiteY6503" fmla="*/ 983460 h 4235290"/>
                <a:gd name="connsiteX6504" fmla="*/ 720427 w 2792478"/>
                <a:gd name="connsiteY6504" fmla="*/ 979755 h 4235290"/>
                <a:gd name="connsiteX6505" fmla="*/ 744139 w 2792478"/>
                <a:gd name="connsiteY6505" fmla="*/ 979755 h 4235290"/>
                <a:gd name="connsiteX6506" fmla="*/ 744139 w 2792478"/>
                <a:gd name="connsiteY6506" fmla="*/ 972294 h 4235290"/>
                <a:gd name="connsiteX6507" fmla="*/ 732053 w 2792478"/>
                <a:gd name="connsiteY6507" fmla="*/ 972294 h 4235290"/>
                <a:gd name="connsiteX6508" fmla="*/ 728484 w 2792478"/>
                <a:gd name="connsiteY6508" fmla="*/ 968546 h 4235290"/>
                <a:gd name="connsiteX6509" fmla="*/ 732053 w 2792478"/>
                <a:gd name="connsiteY6509" fmla="*/ 964841 h 4235290"/>
                <a:gd name="connsiteX6510" fmla="*/ 744139 w 2792478"/>
                <a:gd name="connsiteY6510" fmla="*/ 964841 h 4235290"/>
                <a:gd name="connsiteX6511" fmla="*/ 744139 w 2792478"/>
                <a:gd name="connsiteY6511" fmla="*/ 868583 h 4235290"/>
                <a:gd name="connsiteX6512" fmla="*/ 693439 w 2792478"/>
                <a:gd name="connsiteY6512" fmla="*/ 868583 h 4235290"/>
                <a:gd name="connsiteX6513" fmla="*/ 730440 w 2792478"/>
                <a:gd name="connsiteY6513" fmla="*/ 932216 h 4235290"/>
                <a:gd name="connsiteX6514" fmla="*/ 732738 w 2792478"/>
                <a:gd name="connsiteY6514" fmla="*/ 935690 h 4235290"/>
                <a:gd name="connsiteX6515" fmla="*/ 729726 w 2792478"/>
                <a:gd name="connsiteY6515" fmla="*/ 939301 h 4235290"/>
                <a:gd name="connsiteX6516" fmla="*/ 687054 w 2792478"/>
                <a:gd name="connsiteY6516" fmla="*/ 957115 h 4235290"/>
                <a:gd name="connsiteX6517" fmla="*/ 643472 w 2792478"/>
                <a:gd name="connsiteY6517" fmla="*/ 938420 h 4235290"/>
                <a:gd name="connsiteX6518" fmla="*/ 642826 w 2792478"/>
                <a:gd name="connsiteY6518" fmla="*/ 933773 h 4235290"/>
                <a:gd name="connsiteX6519" fmla="*/ 684013 w 2792478"/>
                <a:gd name="connsiteY6519" fmla="*/ 862919 h 4235290"/>
                <a:gd name="connsiteX6520" fmla="*/ 684296 w 2792478"/>
                <a:gd name="connsiteY6520" fmla="*/ 862653 h 4235290"/>
                <a:gd name="connsiteX6521" fmla="*/ 685245 w 2792478"/>
                <a:gd name="connsiteY6521" fmla="*/ 861772 h 4235290"/>
                <a:gd name="connsiteX6522" fmla="*/ 685372 w 2792478"/>
                <a:gd name="connsiteY6522" fmla="*/ 861644 h 4235290"/>
                <a:gd name="connsiteX6523" fmla="*/ 687122 w 2792478"/>
                <a:gd name="connsiteY6523" fmla="*/ 861130 h 4235290"/>
                <a:gd name="connsiteX6524" fmla="*/ 744139 w 2792478"/>
                <a:gd name="connsiteY6524" fmla="*/ 861130 h 4235290"/>
                <a:gd name="connsiteX6525" fmla="*/ 744139 w 2792478"/>
                <a:gd name="connsiteY6525" fmla="*/ 851376 h 4235290"/>
                <a:gd name="connsiteX6526" fmla="*/ 731183 w 2792478"/>
                <a:gd name="connsiteY6526" fmla="*/ 834546 h 4235290"/>
                <a:gd name="connsiteX6527" fmla="*/ 747738 w 2792478"/>
                <a:gd name="connsiteY6527" fmla="*/ 817305 h 4235290"/>
                <a:gd name="connsiteX6528" fmla="*/ 2085887 w 2792478"/>
                <a:gd name="connsiteY6528" fmla="*/ 803397 h 4235290"/>
                <a:gd name="connsiteX6529" fmla="*/ 2089491 w 2792478"/>
                <a:gd name="connsiteY6529" fmla="*/ 804761 h 4235290"/>
                <a:gd name="connsiteX6530" fmla="*/ 2091667 w 2792478"/>
                <a:gd name="connsiteY6530" fmla="*/ 809485 h 4235290"/>
                <a:gd name="connsiteX6531" fmla="*/ 2091667 w 2792478"/>
                <a:gd name="connsiteY6531" fmla="*/ 821853 h 4235290"/>
                <a:gd name="connsiteX6532" fmla="*/ 2089491 w 2792478"/>
                <a:gd name="connsiteY6532" fmla="*/ 826578 h 4235290"/>
                <a:gd name="connsiteX6533" fmla="*/ 2085887 w 2792478"/>
                <a:gd name="connsiteY6533" fmla="*/ 827942 h 4235290"/>
                <a:gd name="connsiteX6534" fmla="*/ 2082282 w 2792478"/>
                <a:gd name="connsiteY6534" fmla="*/ 826578 h 4235290"/>
                <a:gd name="connsiteX6535" fmla="*/ 2080106 w 2792478"/>
                <a:gd name="connsiteY6535" fmla="*/ 821853 h 4235290"/>
                <a:gd name="connsiteX6536" fmla="*/ 2080106 w 2792478"/>
                <a:gd name="connsiteY6536" fmla="*/ 809485 h 4235290"/>
                <a:gd name="connsiteX6537" fmla="*/ 2082282 w 2792478"/>
                <a:gd name="connsiteY6537" fmla="*/ 804761 h 4235290"/>
                <a:gd name="connsiteX6538" fmla="*/ 2085887 w 2792478"/>
                <a:gd name="connsiteY6538" fmla="*/ 803397 h 4235290"/>
                <a:gd name="connsiteX6539" fmla="*/ 660245 w 2792478"/>
                <a:gd name="connsiteY6539" fmla="*/ 803396 h 4235290"/>
                <a:gd name="connsiteX6540" fmla="*/ 698963 w 2792478"/>
                <a:gd name="connsiteY6540" fmla="*/ 803396 h 4235290"/>
                <a:gd name="connsiteX6541" fmla="*/ 698963 w 2792478"/>
                <a:gd name="connsiteY6541" fmla="*/ 811909 h 4235290"/>
                <a:gd name="connsiteX6542" fmla="*/ 693927 w 2792478"/>
                <a:gd name="connsiteY6542" fmla="*/ 817006 h 4235290"/>
                <a:gd name="connsiteX6543" fmla="*/ 690821 w 2792478"/>
                <a:gd name="connsiteY6543" fmla="*/ 817006 h 4235290"/>
                <a:gd name="connsiteX6544" fmla="*/ 679572 w 2792478"/>
                <a:gd name="connsiteY6544" fmla="*/ 826389 h 4235290"/>
                <a:gd name="connsiteX6545" fmla="*/ 668388 w 2792478"/>
                <a:gd name="connsiteY6545" fmla="*/ 817006 h 4235290"/>
                <a:gd name="connsiteX6546" fmla="*/ 665277 w 2792478"/>
                <a:gd name="connsiteY6546" fmla="*/ 817006 h 4235290"/>
                <a:gd name="connsiteX6547" fmla="*/ 660245 w 2792478"/>
                <a:gd name="connsiteY6547" fmla="*/ 811909 h 4235290"/>
                <a:gd name="connsiteX6548" fmla="*/ 660245 w 2792478"/>
                <a:gd name="connsiteY6548" fmla="*/ 803396 h 4235290"/>
                <a:gd name="connsiteX6549" fmla="*/ 830524 w 2792478"/>
                <a:gd name="connsiteY6549" fmla="*/ 784853 h 4235290"/>
                <a:gd name="connsiteX6550" fmla="*/ 830524 w 2792478"/>
                <a:gd name="connsiteY6550" fmla="*/ 813484 h 4235290"/>
                <a:gd name="connsiteX6551" fmla="*/ 870337 w 2792478"/>
                <a:gd name="connsiteY6551" fmla="*/ 853292 h 4235290"/>
                <a:gd name="connsiteX6552" fmla="*/ 910150 w 2792478"/>
                <a:gd name="connsiteY6552" fmla="*/ 813484 h 4235290"/>
                <a:gd name="connsiteX6553" fmla="*/ 910150 w 2792478"/>
                <a:gd name="connsiteY6553" fmla="*/ 785110 h 4235290"/>
                <a:gd name="connsiteX6554" fmla="*/ 872640 w 2792478"/>
                <a:gd name="connsiteY6554" fmla="*/ 791114 h 4235290"/>
                <a:gd name="connsiteX6555" fmla="*/ 830524 w 2792478"/>
                <a:gd name="connsiteY6555" fmla="*/ 784853 h 4235290"/>
                <a:gd name="connsiteX6556" fmla="*/ 2127774 w 2792478"/>
                <a:gd name="connsiteY6556" fmla="*/ 771574 h 4235290"/>
                <a:gd name="connsiteX6557" fmla="*/ 2131939 w 2792478"/>
                <a:gd name="connsiteY6557" fmla="*/ 773321 h 4235290"/>
                <a:gd name="connsiteX6558" fmla="*/ 2140757 w 2792478"/>
                <a:gd name="connsiteY6558" fmla="*/ 782079 h 4235290"/>
                <a:gd name="connsiteX6559" fmla="*/ 2140757 w 2792478"/>
                <a:gd name="connsiteY6559" fmla="*/ 790472 h 4235290"/>
                <a:gd name="connsiteX6560" fmla="*/ 2136535 w 2792478"/>
                <a:gd name="connsiteY6560" fmla="*/ 792210 h 4235290"/>
                <a:gd name="connsiteX6561" fmla="*/ 2132305 w 2792478"/>
                <a:gd name="connsiteY6561" fmla="*/ 790472 h 4235290"/>
                <a:gd name="connsiteX6562" fmla="*/ 2123544 w 2792478"/>
                <a:gd name="connsiteY6562" fmla="*/ 781705 h 4235290"/>
                <a:gd name="connsiteX6563" fmla="*/ 2123544 w 2792478"/>
                <a:gd name="connsiteY6563" fmla="*/ 773321 h 4235290"/>
                <a:gd name="connsiteX6564" fmla="*/ 2127774 w 2792478"/>
                <a:gd name="connsiteY6564" fmla="*/ 771574 h 4235290"/>
                <a:gd name="connsiteX6565" fmla="*/ 2043073 w 2792478"/>
                <a:gd name="connsiteY6565" fmla="*/ 771574 h 4235290"/>
                <a:gd name="connsiteX6566" fmla="*/ 2047295 w 2792478"/>
                <a:gd name="connsiteY6566" fmla="*/ 773321 h 4235290"/>
                <a:gd name="connsiteX6567" fmla="*/ 2047295 w 2792478"/>
                <a:gd name="connsiteY6567" fmla="*/ 781705 h 4235290"/>
                <a:gd name="connsiteX6568" fmla="*/ 2038534 w 2792478"/>
                <a:gd name="connsiteY6568" fmla="*/ 790472 h 4235290"/>
                <a:gd name="connsiteX6569" fmla="*/ 2034305 w 2792478"/>
                <a:gd name="connsiteY6569" fmla="*/ 792210 h 4235290"/>
                <a:gd name="connsiteX6570" fmla="*/ 2030147 w 2792478"/>
                <a:gd name="connsiteY6570" fmla="*/ 790472 h 4235290"/>
                <a:gd name="connsiteX6571" fmla="*/ 2030147 w 2792478"/>
                <a:gd name="connsiteY6571" fmla="*/ 782079 h 4235290"/>
                <a:gd name="connsiteX6572" fmla="*/ 2038843 w 2792478"/>
                <a:gd name="connsiteY6572" fmla="*/ 773321 h 4235290"/>
                <a:gd name="connsiteX6573" fmla="*/ 2043073 w 2792478"/>
                <a:gd name="connsiteY6573" fmla="*/ 771574 h 4235290"/>
                <a:gd name="connsiteX6574" fmla="*/ 1978568 w 2792478"/>
                <a:gd name="connsiteY6574" fmla="*/ 767604 h 4235290"/>
                <a:gd name="connsiteX6575" fmla="*/ 1985710 w 2792478"/>
                <a:gd name="connsiteY6575" fmla="*/ 771770 h 4235290"/>
                <a:gd name="connsiteX6576" fmla="*/ 1982290 w 2792478"/>
                <a:gd name="connsiteY6576" fmla="*/ 781834 h 4235290"/>
                <a:gd name="connsiteX6577" fmla="*/ 1901009 w 2792478"/>
                <a:gd name="connsiteY6577" fmla="*/ 821857 h 4235290"/>
                <a:gd name="connsiteX6578" fmla="*/ 1897901 w 2792478"/>
                <a:gd name="connsiteY6578" fmla="*/ 822665 h 4235290"/>
                <a:gd name="connsiteX6579" fmla="*/ 1895664 w 2792478"/>
                <a:gd name="connsiteY6579" fmla="*/ 822413 h 4235290"/>
                <a:gd name="connsiteX6580" fmla="*/ 1797293 w 2792478"/>
                <a:gd name="connsiteY6580" fmla="*/ 795447 h 4235290"/>
                <a:gd name="connsiteX6581" fmla="*/ 1792012 w 2792478"/>
                <a:gd name="connsiteY6581" fmla="*/ 786183 h 4235290"/>
                <a:gd name="connsiteX6582" fmla="*/ 1801208 w 2792478"/>
                <a:gd name="connsiteY6582" fmla="*/ 780965 h 4235290"/>
                <a:gd name="connsiteX6583" fmla="*/ 1896911 w 2792478"/>
                <a:gd name="connsiteY6583" fmla="*/ 807193 h 4235290"/>
                <a:gd name="connsiteX6584" fmla="*/ 1975644 w 2792478"/>
                <a:gd name="connsiteY6584" fmla="*/ 768411 h 4235290"/>
                <a:gd name="connsiteX6585" fmla="*/ 1978568 w 2792478"/>
                <a:gd name="connsiteY6585" fmla="*/ 767604 h 4235290"/>
                <a:gd name="connsiteX6586" fmla="*/ 2434894 w 2792478"/>
                <a:gd name="connsiteY6586" fmla="*/ 759712 h 4235290"/>
                <a:gd name="connsiteX6587" fmla="*/ 2438555 w 2792478"/>
                <a:gd name="connsiteY6587" fmla="*/ 759957 h 4235290"/>
                <a:gd name="connsiteX6588" fmla="*/ 2445021 w 2792478"/>
                <a:gd name="connsiteY6588" fmla="*/ 771581 h 4235290"/>
                <a:gd name="connsiteX6589" fmla="*/ 2406172 w 2792478"/>
                <a:gd name="connsiteY6589" fmla="*/ 819057 h 4235290"/>
                <a:gd name="connsiteX6590" fmla="*/ 2377216 w 2792478"/>
                <a:gd name="connsiteY6590" fmla="*/ 851369 h 4235290"/>
                <a:gd name="connsiteX6591" fmla="*/ 2371187 w 2792478"/>
                <a:gd name="connsiteY6591" fmla="*/ 976719 h 4235290"/>
                <a:gd name="connsiteX6592" fmla="*/ 2305068 w 2792478"/>
                <a:gd name="connsiteY6592" fmla="*/ 1042767 h 4235290"/>
                <a:gd name="connsiteX6593" fmla="*/ 2238702 w 2792478"/>
                <a:gd name="connsiteY6593" fmla="*/ 1070303 h 4235290"/>
                <a:gd name="connsiteX6594" fmla="*/ 2172264 w 2792478"/>
                <a:gd name="connsiteY6594" fmla="*/ 1042767 h 4235290"/>
                <a:gd name="connsiteX6595" fmla="*/ 2169227 w 2792478"/>
                <a:gd name="connsiteY6595" fmla="*/ 1039732 h 4235290"/>
                <a:gd name="connsiteX6596" fmla="*/ 2169227 w 2792478"/>
                <a:gd name="connsiteY6596" fmla="*/ 906930 h 4235290"/>
                <a:gd name="connsiteX6597" fmla="*/ 2235288 w 2792478"/>
                <a:gd name="connsiteY6597" fmla="*/ 840867 h 4235290"/>
                <a:gd name="connsiteX6598" fmla="*/ 2301654 w 2792478"/>
                <a:gd name="connsiteY6598" fmla="*/ 813331 h 4235290"/>
                <a:gd name="connsiteX6599" fmla="*/ 2362179 w 2792478"/>
                <a:gd name="connsiteY6599" fmla="*/ 836019 h 4235290"/>
                <a:gd name="connsiteX6600" fmla="*/ 2397905 w 2792478"/>
                <a:gd name="connsiteY6600" fmla="*/ 802210 h 4235290"/>
                <a:gd name="connsiteX6601" fmla="*/ 2426991 w 2792478"/>
                <a:gd name="connsiteY6601" fmla="*/ 766474 h 4235290"/>
                <a:gd name="connsiteX6602" fmla="*/ 2434894 w 2792478"/>
                <a:gd name="connsiteY6602" fmla="*/ 759712 h 4235290"/>
                <a:gd name="connsiteX6603" fmla="*/ 2605434 w 2792478"/>
                <a:gd name="connsiteY6603" fmla="*/ 739386 h 4235290"/>
                <a:gd name="connsiteX6604" fmla="*/ 2510853 w 2792478"/>
                <a:gd name="connsiteY6604" fmla="*/ 786661 h 4235290"/>
                <a:gd name="connsiteX6605" fmla="*/ 2605434 w 2792478"/>
                <a:gd name="connsiteY6605" fmla="*/ 833946 h 4235290"/>
                <a:gd name="connsiteX6606" fmla="*/ 2700003 w 2792478"/>
                <a:gd name="connsiteY6606" fmla="*/ 786661 h 4235290"/>
                <a:gd name="connsiteX6607" fmla="*/ 1978568 w 2792478"/>
                <a:gd name="connsiteY6607" fmla="*/ 737772 h 4235290"/>
                <a:gd name="connsiteX6608" fmla="*/ 1985710 w 2792478"/>
                <a:gd name="connsiteY6608" fmla="*/ 741939 h 4235290"/>
                <a:gd name="connsiteX6609" fmla="*/ 1982290 w 2792478"/>
                <a:gd name="connsiteY6609" fmla="*/ 752002 h 4235290"/>
                <a:gd name="connsiteX6610" fmla="*/ 1900944 w 2792478"/>
                <a:gd name="connsiteY6610" fmla="*/ 792026 h 4235290"/>
                <a:gd name="connsiteX6611" fmla="*/ 1897901 w 2792478"/>
                <a:gd name="connsiteY6611" fmla="*/ 792834 h 4235290"/>
                <a:gd name="connsiteX6612" fmla="*/ 1895664 w 2792478"/>
                <a:gd name="connsiteY6612" fmla="*/ 792590 h 4235290"/>
                <a:gd name="connsiteX6613" fmla="*/ 1797293 w 2792478"/>
                <a:gd name="connsiteY6613" fmla="*/ 765554 h 4235290"/>
                <a:gd name="connsiteX6614" fmla="*/ 1792012 w 2792478"/>
                <a:gd name="connsiteY6614" fmla="*/ 756352 h 4235290"/>
                <a:gd name="connsiteX6615" fmla="*/ 1801208 w 2792478"/>
                <a:gd name="connsiteY6615" fmla="*/ 751134 h 4235290"/>
                <a:gd name="connsiteX6616" fmla="*/ 1896911 w 2792478"/>
                <a:gd name="connsiteY6616" fmla="*/ 777301 h 4235290"/>
                <a:gd name="connsiteX6617" fmla="*/ 1975644 w 2792478"/>
                <a:gd name="connsiteY6617" fmla="*/ 738580 h 4235290"/>
                <a:gd name="connsiteX6618" fmla="*/ 1978568 w 2792478"/>
                <a:gd name="connsiteY6618" fmla="*/ 737772 h 4235290"/>
                <a:gd name="connsiteX6619" fmla="*/ 2068551 w 2792478"/>
                <a:gd name="connsiteY6619" fmla="*/ 731808 h 4235290"/>
                <a:gd name="connsiteX6620" fmla="*/ 2072961 w 2792478"/>
                <a:gd name="connsiteY6620" fmla="*/ 736216 h 4235290"/>
                <a:gd name="connsiteX6621" fmla="*/ 2068551 w 2792478"/>
                <a:gd name="connsiteY6621" fmla="*/ 740633 h 4235290"/>
                <a:gd name="connsiteX6622" fmla="*/ 2064200 w 2792478"/>
                <a:gd name="connsiteY6622" fmla="*/ 736216 h 4235290"/>
                <a:gd name="connsiteX6623" fmla="*/ 2068551 w 2792478"/>
                <a:gd name="connsiteY6623" fmla="*/ 731808 h 4235290"/>
                <a:gd name="connsiteX6624" fmla="*/ 866296 w 2792478"/>
                <a:gd name="connsiteY6624" fmla="*/ 725137 h 4235290"/>
                <a:gd name="connsiteX6625" fmla="*/ 830524 w 2792478"/>
                <a:gd name="connsiteY6625" fmla="*/ 752254 h 4235290"/>
                <a:gd name="connsiteX6626" fmla="*/ 830524 w 2792478"/>
                <a:gd name="connsiteY6626" fmla="*/ 775129 h 4235290"/>
                <a:gd name="connsiteX6627" fmla="*/ 866296 w 2792478"/>
                <a:gd name="connsiteY6627" fmla="*/ 781603 h 4235290"/>
                <a:gd name="connsiteX6628" fmla="*/ 875532 w 2792478"/>
                <a:gd name="connsiteY6628" fmla="*/ 725004 h 4235290"/>
                <a:gd name="connsiteX6629" fmla="*/ 875532 w 2792478"/>
                <a:gd name="connsiteY6629" fmla="*/ 781744 h 4235290"/>
                <a:gd name="connsiteX6630" fmla="*/ 910150 w 2792478"/>
                <a:gd name="connsiteY6630" fmla="*/ 775297 h 4235290"/>
                <a:gd name="connsiteX6631" fmla="*/ 910150 w 2792478"/>
                <a:gd name="connsiteY6631" fmla="*/ 752254 h 4235290"/>
                <a:gd name="connsiteX6632" fmla="*/ 875532 w 2792478"/>
                <a:gd name="connsiteY6632" fmla="*/ 725004 h 4235290"/>
                <a:gd name="connsiteX6633" fmla="*/ 2141691 w 2792478"/>
                <a:gd name="connsiteY6633" fmla="*/ 715897 h 4235290"/>
                <a:gd name="connsiteX6634" fmla="*/ 2154057 w 2792478"/>
                <a:gd name="connsiteY6634" fmla="*/ 715897 h 4235290"/>
                <a:gd name="connsiteX6635" fmla="*/ 2160024 w 2792478"/>
                <a:gd name="connsiteY6635" fmla="*/ 721860 h 4235290"/>
                <a:gd name="connsiteX6636" fmla="*/ 2154057 w 2792478"/>
                <a:gd name="connsiteY6636" fmla="*/ 727824 h 4235290"/>
                <a:gd name="connsiteX6637" fmla="*/ 2141691 w 2792478"/>
                <a:gd name="connsiteY6637" fmla="*/ 727824 h 4235290"/>
                <a:gd name="connsiteX6638" fmla="*/ 2135788 w 2792478"/>
                <a:gd name="connsiteY6638" fmla="*/ 721860 h 4235290"/>
                <a:gd name="connsiteX6639" fmla="*/ 2141691 w 2792478"/>
                <a:gd name="connsiteY6639" fmla="*/ 715897 h 4235290"/>
                <a:gd name="connsiteX6640" fmla="*/ 2016409 w 2792478"/>
                <a:gd name="connsiteY6640" fmla="*/ 715897 h 4235290"/>
                <a:gd name="connsiteX6641" fmla="*/ 2028775 w 2792478"/>
                <a:gd name="connsiteY6641" fmla="*/ 715897 h 4235290"/>
                <a:gd name="connsiteX6642" fmla="*/ 2034743 w 2792478"/>
                <a:gd name="connsiteY6642" fmla="*/ 721860 h 4235290"/>
                <a:gd name="connsiteX6643" fmla="*/ 2028775 w 2792478"/>
                <a:gd name="connsiteY6643" fmla="*/ 727824 h 4235290"/>
                <a:gd name="connsiteX6644" fmla="*/ 2016409 w 2792478"/>
                <a:gd name="connsiteY6644" fmla="*/ 727824 h 4235290"/>
                <a:gd name="connsiteX6645" fmla="*/ 2010506 w 2792478"/>
                <a:gd name="connsiteY6645" fmla="*/ 721860 h 4235290"/>
                <a:gd name="connsiteX6646" fmla="*/ 2016409 w 2792478"/>
                <a:gd name="connsiteY6646" fmla="*/ 715897 h 4235290"/>
                <a:gd name="connsiteX6647" fmla="*/ 2605434 w 2792478"/>
                <a:gd name="connsiteY6647" fmla="*/ 715887 h 4235290"/>
                <a:gd name="connsiteX6648" fmla="*/ 2746992 w 2792478"/>
                <a:gd name="connsiteY6648" fmla="*/ 786661 h 4235290"/>
                <a:gd name="connsiteX6649" fmla="*/ 2605434 w 2792478"/>
                <a:gd name="connsiteY6649" fmla="*/ 857446 h 4235290"/>
                <a:gd name="connsiteX6650" fmla="*/ 2463876 w 2792478"/>
                <a:gd name="connsiteY6650" fmla="*/ 786661 h 4235290"/>
                <a:gd name="connsiteX6651" fmla="*/ 679386 w 2792478"/>
                <a:gd name="connsiteY6651" fmla="*/ 713847 h 4235290"/>
                <a:gd name="connsiteX6652" fmla="*/ 650239 w 2792478"/>
                <a:gd name="connsiteY6652" fmla="*/ 740941 h 4235290"/>
                <a:gd name="connsiteX6653" fmla="*/ 659562 w 2792478"/>
                <a:gd name="connsiteY6653" fmla="*/ 765985 h 4235290"/>
                <a:gd name="connsiteX6654" fmla="*/ 669318 w 2792478"/>
                <a:gd name="connsiteY6654" fmla="*/ 783944 h 4235290"/>
                <a:gd name="connsiteX6655" fmla="*/ 689453 w 2792478"/>
                <a:gd name="connsiteY6655" fmla="*/ 783944 h 4235290"/>
                <a:gd name="connsiteX6656" fmla="*/ 699210 w 2792478"/>
                <a:gd name="connsiteY6656" fmla="*/ 765985 h 4235290"/>
                <a:gd name="connsiteX6657" fmla="*/ 708533 w 2792478"/>
                <a:gd name="connsiteY6657" fmla="*/ 740941 h 4235290"/>
                <a:gd name="connsiteX6658" fmla="*/ 679386 w 2792478"/>
                <a:gd name="connsiteY6658" fmla="*/ 713847 h 4235290"/>
                <a:gd name="connsiteX6659" fmla="*/ 679386 w 2792478"/>
                <a:gd name="connsiteY6659" fmla="*/ 701976 h 4235290"/>
                <a:gd name="connsiteX6660" fmla="*/ 720401 w 2792478"/>
                <a:gd name="connsiteY6660" fmla="*/ 740941 h 4235290"/>
                <a:gd name="connsiteX6661" fmla="*/ 709027 w 2792478"/>
                <a:gd name="connsiteY6661" fmla="*/ 772695 h 4235290"/>
                <a:gd name="connsiteX6662" fmla="*/ 699210 w 2792478"/>
                <a:gd name="connsiteY6662" fmla="*/ 795816 h 4235290"/>
                <a:gd name="connsiteX6663" fmla="*/ 659562 w 2792478"/>
                <a:gd name="connsiteY6663" fmla="*/ 795816 h 4235290"/>
                <a:gd name="connsiteX6664" fmla="*/ 649745 w 2792478"/>
                <a:gd name="connsiteY6664" fmla="*/ 772695 h 4235290"/>
                <a:gd name="connsiteX6665" fmla="*/ 638371 w 2792478"/>
                <a:gd name="connsiteY6665" fmla="*/ 740941 h 4235290"/>
                <a:gd name="connsiteX6666" fmla="*/ 679386 w 2792478"/>
                <a:gd name="connsiteY6666" fmla="*/ 701976 h 4235290"/>
                <a:gd name="connsiteX6667" fmla="*/ 141434 w 2792478"/>
                <a:gd name="connsiteY6667" fmla="*/ 700051 h 4235290"/>
                <a:gd name="connsiteX6668" fmla="*/ 63791 w 2792478"/>
                <a:gd name="connsiteY6668" fmla="*/ 777698 h 4235290"/>
                <a:gd name="connsiteX6669" fmla="*/ 73829 w 2792478"/>
                <a:gd name="connsiteY6669" fmla="*/ 787737 h 4235290"/>
                <a:gd name="connsiteX6670" fmla="*/ 87977 w 2792478"/>
                <a:gd name="connsiteY6670" fmla="*/ 773591 h 4235290"/>
                <a:gd name="connsiteX6671" fmla="*/ 92689 w 2792478"/>
                <a:gd name="connsiteY6671" fmla="*/ 771635 h 4235290"/>
                <a:gd name="connsiteX6672" fmla="*/ 92777 w 2792478"/>
                <a:gd name="connsiteY6672" fmla="*/ 771635 h 4235290"/>
                <a:gd name="connsiteX6673" fmla="*/ 97522 w 2792478"/>
                <a:gd name="connsiteY6673" fmla="*/ 773722 h 4235290"/>
                <a:gd name="connsiteX6674" fmla="*/ 159789 w 2792478"/>
                <a:gd name="connsiteY6674" fmla="*/ 839615 h 4235290"/>
                <a:gd name="connsiteX6675" fmla="*/ 161565 w 2792478"/>
                <a:gd name="connsiteY6675" fmla="*/ 844925 h 4235290"/>
                <a:gd name="connsiteX6676" fmla="*/ 170299 w 2792478"/>
                <a:gd name="connsiteY6676" fmla="*/ 902898 h 4235290"/>
                <a:gd name="connsiteX6677" fmla="*/ 266648 w 2792478"/>
                <a:gd name="connsiteY6677" fmla="*/ 806559 h 4235290"/>
                <a:gd name="connsiteX6678" fmla="*/ 226484 w 2792478"/>
                <a:gd name="connsiteY6678" fmla="*/ 796761 h 4235290"/>
                <a:gd name="connsiteX6679" fmla="*/ 208665 w 2792478"/>
                <a:gd name="connsiteY6679" fmla="*/ 797820 h 4235290"/>
                <a:gd name="connsiteX6680" fmla="*/ 203350 w 2792478"/>
                <a:gd name="connsiteY6680" fmla="*/ 796061 h 4235290"/>
                <a:gd name="connsiteX6681" fmla="*/ 137467 w 2792478"/>
                <a:gd name="connsiteY6681" fmla="*/ 733795 h 4235290"/>
                <a:gd name="connsiteX6682" fmla="*/ 135373 w 2792478"/>
                <a:gd name="connsiteY6682" fmla="*/ 729054 h 4235290"/>
                <a:gd name="connsiteX6683" fmla="*/ 137324 w 2792478"/>
                <a:gd name="connsiteY6683" fmla="*/ 724247 h 4235290"/>
                <a:gd name="connsiteX6684" fmla="*/ 151472 w 2792478"/>
                <a:gd name="connsiteY6684" fmla="*/ 710101 h 4235290"/>
                <a:gd name="connsiteX6685" fmla="*/ 2075323 w 2792478"/>
                <a:gd name="connsiteY6685" fmla="*/ 692159 h 4235290"/>
                <a:gd name="connsiteX6686" fmla="*/ 2077686 w 2792478"/>
                <a:gd name="connsiteY6686" fmla="*/ 693964 h 4235290"/>
                <a:gd name="connsiteX6687" fmla="*/ 2076314 w 2792478"/>
                <a:gd name="connsiteY6687" fmla="*/ 699370 h 4235290"/>
                <a:gd name="connsiteX6688" fmla="*/ 2068738 w 2792478"/>
                <a:gd name="connsiteY6688" fmla="*/ 721802 h 4235290"/>
                <a:gd name="connsiteX6689" fmla="*/ 2065564 w 2792478"/>
                <a:gd name="connsiteY6689" fmla="*/ 726460 h 4235290"/>
                <a:gd name="connsiteX6690" fmla="*/ 2064817 w 2792478"/>
                <a:gd name="connsiteY6690" fmla="*/ 726527 h 4235290"/>
                <a:gd name="connsiteX6691" fmla="*/ 2060968 w 2792478"/>
                <a:gd name="connsiteY6691" fmla="*/ 723291 h 4235290"/>
                <a:gd name="connsiteX6692" fmla="*/ 2072278 w 2792478"/>
                <a:gd name="connsiteY6692" fmla="*/ 692591 h 4235290"/>
                <a:gd name="connsiteX6693" fmla="*/ 2075323 w 2792478"/>
                <a:gd name="connsiteY6693" fmla="*/ 692159 h 4235290"/>
                <a:gd name="connsiteX6694" fmla="*/ 136732 w 2792478"/>
                <a:gd name="connsiteY6694" fmla="*/ 685948 h 4235290"/>
                <a:gd name="connsiteX6695" fmla="*/ 146146 w 2792478"/>
                <a:gd name="connsiteY6695" fmla="*/ 685948 h 4235290"/>
                <a:gd name="connsiteX6696" fmla="*/ 165587 w 2792478"/>
                <a:gd name="connsiteY6696" fmla="*/ 705382 h 4235290"/>
                <a:gd name="connsiteX6697" fmla="*/ 165587 w 2792478"/>
                <a:gd name="connsiteY6697" fmla="*/ 714809 h 4235290"/>
                <a:gd name="connsiteX6698" fmla="*/ 151581 w 2792478"/>
                <a:gd name="connsiteY6698" fmla="*/ 728813 h 4235290"/>
                <a:gd name="connsiteX6699" fmla="*/ 210265 w 2792478"/>
                <a:gd name="connsiteY6699" fmla="*/ 784274 h 4235290"/>
                <a:gd name="connsiteX6700" fmla="*/ 226484 w 2792478"/>
                <a:gd name="connsiteY6700" fmla="*/ 783455 h 4235290"/>
                <a:gd name="connsiteX6701" fmla="*/ 281190 w 2792478"/>
                <a:gd name="connsiteY6701" fmla="*/ 801425 h 4235290"/>
                <a:gd name="connsiteX6702" fmla="*/ 281190 w 2792478"/>
                <a:gd name="connsiteY6702" fmla="*/ 810831 h 4235290"/>
                <a:gd name="connsiteX6703" fmla="*/ 232588 w 2792478"/>
                <a:gd name="connsiteY6703" fmla="*/ 859432 h 4235290"/>
                <a:gd name="connsiteX6704" fmla="*/ 269815 w 2792478"/>
                <a:gd name="connsiteY6704" fmla="*/ 896660 h 4235290"/>
                <a:gd name="connsiteX6705" fmla="*/ 269815 w 2792478"/>
                <a:gd name="connsiteY6705" fmla="*/ 906077 h 4235290"/>
                <a:gd name="connsiteX6706" fmla="*/ 265103 w 2792478"/>
                <a:gd name="connsiteY6706" fmla="*/ 908021 h 4235290"/>
                <a:gd name="connsiteX6707" fmla="*/ 260401 w 2792478"/>
                <a:gd name="connsiteY6707" fmla="*/ 906077 h 4235290"/>
                <a:gd name="connsiteX6708" fmla="*/ 223175 w 2792478"/>
                <a:gd name="connsiteY6708" fmla="*/ 868837 h 4235290"/>
                <a:gd name="connsiteX6709" fmla="*/ 174562 w 2792478"/>
                <a:gd name="connsiteY6709" fmla="*/ 917449 h 4235290"/>
                <a:gd name="connsiteX6710" fmla="*/ 169861 w 2792478"/>
                <a:gd name="connsiteY6710" fmla="*/ 919404 h 4235290"/>
                <a:gd name="connsiteX6711" fmla="*/ 165159 w 2792478"/>
                <a:gd name="connsiteY6711" fmla="*/ 917449 h 4235290"/>
                <a:gd name="connsiteX6712" fmla="*/ 148009 w 2792478"/>
                <a:gd name="connsiteY6712" fmla="*/ 846530 h 4235290"/>
                <a:gd name="connsiteX6713" fmla="*/ 92547 w 2792478"/>
                <a:gd name="connsiteY6713" fmla="*/ 787836 h 4235290"/>
                <a:gd name="connsiteX6714" fmla="*/ 78542 w 2792478"/>
                <a:gd name="connsiteY6714" fmla="*/ 801851 h 4235290"/>
                <a:gd name="connsiteX6715" fmla="*/ 73829 w 2792478"/>
                <a:gd name="connsiteY6715" fmla="*/ 803796 h 4235290"/>
                <a:gd name="connsiteX6716" fmla="*/ 69117 w 2792478"/>
                <a:gd name="connsiteY6716" fmla="*/ 801851 h 4235290"/>
                <a:gd name="connsiteX6717" fmla="*/ 49676 w 2792478"/>
                <a:gd name="connsiteY6717" fmla="*/ 782406 h 4235290"/>
                <a:gd name="connsiteX6718" fmla="*/ 49676 w 2792478"/>
                <a:gd name="connsiteY6718" fmla="*/ 773001 h 4235290"/>
                <a:gd name="connsiteX6719" fmla="*/ 2086073 w 2792478"/>
                <a:gd name="connsiteY6719" fmla="*/ 682277 h 4235290"/>
                <a:gd name="connsiteX6720" fmla="*/ 2055001 w 2792478"/>
                <a:gd name="connsiteY6720" fmla="*/ 713036 h 4235290"/>
                <a:gd name="connsiteX6721" fmla="*/ 2085513 w 2792478"/>
                <a:gd name="connsiteY6721" fmla="*/ 781896 h 4235290"/>
                <a:gd name="connsiteX6722" fmla="*/ 2085578 w 2792478"/>
                <a:gd name="connsiteY6722" fmla="*/ 781896 h 4235290"/>
                <a:gd name="connsiteX6723" fmla="*/ 2117146 w 2792478"/>
                <a:gd name="connsiteY6723" fmla="*/ 713535 h 4235290"/>
                <a:gd name="connsiteX6724" fmla="*/ 2086325 w 2792478"/>
                <a:gd name="connsiteY6724" fmla="*/ 682277 h 4235290"/>
                <a:gd name="connsiteX6725" fmla="*/ 874429 w 2792478"/>
                <a:gd name="connsiteY6725" fmla="*/ 675525 h 4235290"/>
                <a:gd name="connsiteX6726" fmla="*/ 887703 w 2792478"/>
                <a:gd name="connsiteY6726" fmla="*/ 698365 h 4235290"/>
                <a:gd name="connsiteX6727" fmla="*/ 879533 w 2792478"/>
                <a:gd name="connsiteY6727" fmla="*/ 709391 h 4235290"/>
                <a:gd name="connsiteX6728" fmla="*/ 875110 w 2792478"/>
                <a:gd name="connsiteY6728" fmla="*/ 712632 h 4235290"/>
                <a:gd name="connsiteX6729" fmla="*/ 875006 w 2792478"/>
                <a:gd name="connsiteY6729" fmla="*/ 715342 h 4235290"/>
                <a:gd name="connsiteX6730" fmla="*/ 875383 w 2792478"/>
                <a:gd name="connsiteY6730" fmla="*/ 715758 h 4235290"/>
                <a:gd name="connsiteX6731" fmla="*/ 919383 w 2792478"/>
                <a:gd name="connsiteY6731" fmla="*/ 752254 h 4235290"/>
                <a:gd name="connsiteX6732" fmla="*/ 919383 w 2792478"/>
                <a:gd name="connsiteY6732" fmla="*/ 813484 h 4235290"/>
                <a:gd name="connsiteX6733" fmla="*/ 870337 w 2792478"/>
                <a:gd name="connsiteY6733" fmla="*/ 862529 h 4235290"/>
                <a:gd name="connsiteX6734" fmla="*/ 821292 w 2792478"/>
                <a:gd name="connsiteY6734" fmla="*/ 813484 h 4235290"/>
                <a:gd name="connsiteX6735" fmla="*/ 821292 w 2792478"/>
                <a:gd name="connsiteY6735" fmla="*/ 752254 h 4235290"/>
                <a:gd name="connsiteX6736" fmla="*/ 864738 w 2792478"/>
                <a:gd name="connsiteY6736" fmla="*/ 715979 h 4235290"/>
                <a:gd name="connsiteX6737" fmla="*/ 873107 w 2792478"/>
                <a:gd name="connsiteY6737" fmla="*/ 702678 h 4235290"/>
                <a:gd name="connsiteX6738" fmla="*/ 877989 w 2792478"/>
                <a:gd name="connsiteY6738" fmla="*/ 691723 h 4235290"/>
                <a:gd name="connsiteX6739" fmla="*/ 867894 w 2792478"/>
                <a:gd name="connsiteY6739" fmla="*/ 682052 h 4235290"/>
                <a:gd name="connsiteX6740" fmla="*/ 874429 w 2792478"/>
                <a:gd name="connsiteY6740" fmla="*/ 675525 h 4235290"/>
                <a:gd name="connsiteX6741" fmla="*/ 1878080 w 2792478"/>
                <a:gd name="connsiteY6741" fmla="*/ 674949 h 4235290"/>
                <a:gd name="connsiteX6742" fmla="*/ 1854463 w 2792478"/>
                <a:gd name="connsiteY6742" fmla="*/ 710242 h 4235290"/>
                <a:gd name="connsiteX6743" fmla="*/ 1819103 w 2792478"/>
                <a:gd name="connsiteY6743" fmla="*/ 726399 h 4235290"/>
                <a:gd name="connsiteX6744" fmla="*/ 1894857 w 2792478"/>
                <a:gd name="connsiteY6744" fmla="*/ 747218 h 4235290"/>
                <a:gd name="connsiteX6745" fmla="*/ 1944015 w 2792478"/>
                <a:gd name="connsiteY6745" fmla="*/ 723047 h 4235290"/>
                <a:gd name="connsiteX6746" fmla="*/ 1961104 w 2792478"/>
                <a:gd name="connsiteY6746" fmla="*/ 692721 h 4235290"/>
                <a:gd name="connsiteX6747" fmla="*/ 2366072 w 2792478"/>
                <a:gd name="connsiteY6747" fmla="*/ 666661 h 4235290"/>
                <a:gd name="connsiteX6748" fmla="*/ 2358152 w 2792478"/>
                <a:gd name="connsiteY6748" fmla="*/ 674500 h 4235290"/>
                <a:gd name="connsiteX6749" fmla="*/ 2358062 w 2792478"/>
                <a:gd name="connsiteY6749" fmla="*/ 674732 h 4235290"/>
                <a:gd name="connsiteX6750" fmla="*/ 2338925 w 2792478"/>
                <a:gd name="connsiteY6750" fmla="*/ 695595 h 4235290"/>
                <a:gd name="connsiteX6751" fmla="*/ 2330753 w 2792478"/>
                <a:gd name="connsiteY6751" fmla="*/ 696756 h 4235290"/>
                <a:gd name="connsiteX6752" fmla="*/ 2330753 w 2792478"/>
                <a:gd name="connsiteY6752" fmla="*/ 749987 h 4235290"/>
                <a:gd name="connsiteX6753" fmla="*/ 2341503 w 2792478"/>
                <a:gd name="connsiteY6753" fmla="*/ 753250 h 4235290"/>
                <a:gd name="connsiteX6754" fmla="*/ 2348505 w 2792478"/>
                <a:gd name="connsiteY6754" fmla="*/ 756575 h 4235290"/>
                <a:gd name="connsiteX6755" fmla="*/ 2374937 w 2792478"/>
                <a:gd name="connsiteY6755" fmla="*/ 758465 h 4235290"/>
                <a:gd name="connsiteX6756" fmla="*/ 2382603 w 2792478"/>
                <a:gd name="connsiteY6756" fmla="*/ 750048 h 4235290"/>
                <a:gd name="connsiteX6757" fmla="*/ 2384742 w 2792478"/>
                <a:gd name="connsiteY6757" fmla="*/ 744421 h 4235290"/>
                <a:gd name="connsiteX6758" fmla="*/ 2384905 w 2792478"/>
                <a:gd name="connsiteY6758" fmla="*/ 744237 h 4235290"/>
                <a:gd name="connsiteX6759" fmla="*/ 2390432 w 2792478"/>
                <a:gd name="connsiteY6759" fmla="*/ 728991 h 4235290"/>
                <a:gd name="connsiteX6760" fmla="*/ 2390674 w 2792478"/>
                <a:gd name="connsiteY6760" fmla="*/ 727646 h 4235290"/>
                <a:gd name="connsiteX6761" fmla="*/ 2390759 w 2792478"/>
                <a:gd name="connsiteY6761" fmla="*/ 727342 h 4235290"/>
                <a:gd name="connsiteX6762" fmla="*/ 2388029 w 2792478"/>
                <a:gd name="connsiteY6762" fmla="*/ 713200 h 4235290"/>
                <a:gd name="connsiteX6763" fmla="*/ 2387899 w 2792478"/>
                <a:gd name="connsiteY6763" fmla="*/ 713067 h 4235290"/>
                <a:gd name="connsiteX6764" fmla="*/ 2387111 w 2792478"/>
                <a:gd name="connsiteY6764" fmla="*/ 713067 h 4235290"/>
                <a:gd name="connsiteX6765" fmla="*/ 2387111 w 2792478"/>
                <a:gd name="connsiteY6765" fmla="*/ 712987 h 4235290"/>
                <a:gd name="connsiteX6766" fmla="*/ 2386143 w 2792478"/>
                <a:gd name="connsiteY6766" fmla="*/ 712987 h 4235290"/>
                <a:gd name="connsiteX6767" fmla="*/ 2383920 w 2792478"/>
                <a:gd name="connsiteY6767" fmla="*/ 710747 h 4235290"/>
                <a:gd name="connsiteX6768" fmla="*/ 2386143 w 2792478"/>
                <a:gd name="connsiteY6768" fmla="*/ 708511 h 4235290"/>
                <a:gd name="connsiteX6769" fmla="*/ 2397440 w 2792478"/>
                <a:gd name="connsiteY6769" fmla="*/ 708511 h 4235290"/>
                <a:gd name="connsiteX6770" fmla="*/ 2398031 w 2792478"/>
                <a:gd name="connsiteY6770" fmla="*/ 708606 h 4235290"/>
                <a:gd name="connsiteX6771" fmla="*/ 2421412 w 2792478"/>
                <a:gd name="connsiteY6771" fmla="*/ 708606 h 4235290"/>
                <a:gd name="connsiteX6772" fmla="*/ 2427862 w 2792478"/>
                <a:gd name="connsiteY6772" fmla="*/ 702160 h 4235290"/>
                <a:gd name="connsiteX6773" fmla="*/ 2421412 w 2792478"/>
                <a:gd name="connsiteY6773" fmla="*/ 695714 h 4235290"/>
                <a:gd name="connsiteX6774" fmla="*/ 2373653 w 2792478"/>
                <a:gd name="connsiteY6774" fmla="*/ 695714 h 4235290"/>
                <a:gd name="connsiteX6775" fmla="*/ 2364772 w 2792478"/>
                <a:gd name="connsiteY6775" fmla="*/ 693686 h 4235290"/>
                <a:gd name="connsiteX6776" fmla="*/ 2363128 w 2792478"/>
                <a:gd name="connsiteY6776" fmla="*/ 692526 h 4235290"/>
                <a:gd name="connsiteX6777" fmla="*/ 2364119 w 2792478"/>
                <a:gd name="connsiteY6777" fmla="*/ 690774 h 4235290"/>
                <a:gd name="connsiteX6778" fmla="*/ 2369849 w 2792478"/>
                <a:gd name="connsiteY6778" fmla="*/ 668883 h 4235290"/>
                <a:gd name="connsiteX6779" fmla="*/ 2366072 w 2792478"/>
                <a:gd name="connsiteY6779" fmla="*/ 666661 h 4235290"/>
                <a:gd name="connsiteX6780" fmla="*/ 2366072 w 2792478"/>
                <a:gd name="connsiteY6780" fmla="*/ 662195 h 4235290"/>
                <a:gd name="connsiteX6781" fmla="*/ 2373698 w 2792478"/>
                <a:gd name="connsiteY6781" fmla="*/ 666623 h 4235290"/>
                <a:gd name="connsiteX6782" fmla="*/ 2369224 w 2792478"/>
                <a:gd name="connsiteY6782" fmla="*/ 690740 h 4235290"/>
                <a:gd name="connsiteX6783" fmla="*/ 2373653 w 2792478"/>
                <a:gd name="connsiteY6783" fmla="*/ 691247 h 4235290"/>
                <a:gd name="connsiteX6784" fmla="*/ 2421412 w 2792478"/>
                <a:gd name="connsiteY6784" fmla="*/ 691247 h 4235290"/>
                <a:gd name="connsiteX6785" fmla="*/ 2432331 w 2792478"/>
                <a:gd name="connsiteY6785" fmla="*/ 702160 h 4235290"/>
                <a:gd name="connsiteX6786" fmla="*/ 2430209 w 2792478"/>
                <a:gd name="connsiteY6786" fmla="*/ 708606 h 4235290"/>
                <a:gd name="connsiteX6787" fmla="*/ 2423129 w 2792478"/>
                <a:gd name="connsiteY6787" fmla="*/ 712996 h 4235290"/>
                <a:gd name="connsiteX6788" fmla="*/ 2393776 w 2792478"/>
                <a:gd name="connsiteY6788" fmla="*/ 713053 h 4235290"/>
                <a:gd name="connsiteX6789" fmla="*/ 2395205 w 2792478"/>
                <a:gd name="connsiteY6789" fmla="*/ 728110 h 4235290"/>
                <a:gd name="connsiteX6790" fmla="*/ 2394496 w 2792478"/>
                <a:gd name="connsiteY6790" fmla="*/ 735290 h 4235290"/>
                <a:gd name="connsiteX6791" fmla="*/ 2388192 w 2792478"/>
                <a:gd name="connsiteY6791" fmla="*/ 747268 h 4235290"/>
                <a:gd name="connsiteX6792" fmla="*/ 2386971 w 2792478"/>
                <a:gd name="connsiteY6792" fmla="*/ 751005 h 4235290"/>
                <a:gd name="connsiteX6793" fmla="*/ 2375657 w 2792478"/>
                <a:gd name="connsiteY6793" fmla="*/ 762874 h 4235290"/>
                <a:gd name="connsiteX6794" fmla="*/ 2375443 w 2792478"/>
                <a:gd name="connsiteY6794" fmla="*/ 762907 h 4235290"/>
                <a:gd name="connsiteX6795" fmla="*/ 2346963 w 2792478"/>
                <a:gd name="connsiteY6795" fmla="*/ 760771 h 4235290"/>
                <a:gd name="connsiteX6796" fmla="*/ 2339257 w 2792478"/>
                <a:gd name="connsiteY6796" fmla="*/ 757124 h 4235290"/>
                <a:gd name="connsiteX6797" fmla="*/ 2330753 w 2792478"/>
                <a:gd name="connsiteY6797" fmla="*/ 754453 h 4235290"/>
                <a:gd name="connsiteX6798" fmla="*/ 2330753 w 2792478"/>
                <a:gd name="connsiteY6798" fmla="*/ 755230 h 4235290"/>
                <a:gd name="connsiteX6799" fmla="*/ 2326312 w 2792478"/>
                <a:gd name="connsiteY6799" fmla="*/ 759682 h 4235290"/>
                <a:gd name="connsiteX6800" fmla="*/ 2315195 w 2792478"/>
                <a:gd name="connsiteY6800" fmla="*/ 759682 h 4235290"/>
                <a:gd name="connsiteX6801" fmla="*/ 2310754 w 2792478"/>
                <a:gd name="connsiteY6801" fmla="*/ 755230 h 4235290"/>
                <a:gd name="connsiteX6802" fmla="*/ 2310754 w 2792478"/>
                <a:gd name="connsiteY6802" fmla="*/ 691522 h 4235290"/>
                <a:gd name="connsiteX6803" fmla="*/ 2315195 w 2792478"/>
                <a:gd name="connsiteY6803" fmla="*/ 687075 h 4235290"/>
                <a:gd name="connsiteX6804" fmla="*/ 2326312 w 2792478"/>
                <a:gd name="connsiteY6804" fmla="*/ 687075 h 4235290"/>
                <a:gd name="connsiteX6805" fmla="*/ 2330753 w 2792478"/>
                <a:gd name="connsiteY6805" fmla="*/ 691522 h 4235290"/>
                <a:gd name="connsiteX6806" fmla="*/ 2330753 w 2792478"/>
                <a:gd name="connsiteY6806" fmla="*/ 692294 h 4235290"/>
                <a:gd name="connsiteX6807" fmla="*/ 2353959 w 2792478"/>
                <a:gd name="connsiteY6807" fmla="*/ 672960 h 4235290"/>
                <a:gd name="connsiteX6808" fmla="*/ 2366072 w 2792478"/>
                <a:gd name="connsiteY6808" fmla="*/ 662195 h 4235290"/>
                <a:gd name="connsiteX6809" fmla="*/ 1868820 w 2792478"/>
                <a:gd name="connsiteY6809" fmla="*/ 658418 h 4235290"/>
                <a:gd name="connsiteX6810" fmla="*/ 1872240 w 2792478"/>
                <a:gd name="connsiteY6810" fmla="*/ 658418 h 4235290"/>
                <a:gd name="connsiteX6811" fmla="*/ 1969987 w 2792478"/>
                <a:gd name="connsiteY6811" fmla="*/ 679298 h 4235290"/>
                <a:gd name="connsiteX6812" fmla="*/ 1975891 w 2792478"/>
                <a:gd name="connsiteY6812" fmla="*/ 686383 h 4235290"/>
                <a:gd name="connsiteX6813" fmla="*/ 1975955 w 2792478"/>
                <a:gd name="connsiteY6813" fmla="*/ 687503 h 4235290"/>
                <a:gd name="connsiteX6814" fmla="*/ 1950286 w 2792478"/>
                <a:gd name="connsiteY6814" fmla="*/ 736653 h 4235290"/>
                <a:gd name="connsiteX6815" fmla="*/ 1899083 w 2792478"/>
                <a:gd name="connsiteY6815" fmla="*/ 761890 h 4235290"/>
                <a:gd name="connsiteX6816" fmla="*/ 1895911 w 2792478"/>
                <a:gd name="connsiteY6816" fmla="*/ 762629 h 4235290"/>
                <a:gd name="connsiteX6817" fmla="*/ 1893674 w 2792478"/>
                <a:gd name="connsiteY6817" fmla="*/ 762385 h 4235290"/>
                <a:gd name="connsiteX6818" fmla="*/ 1795303 w 2792478"/>
                <a:gd name="connsiteY6818" fmla="*/ 735411 h 4235290"/>
                <a:gd name="connsiteX6819" fmla="*/ 1789775 w 2792478"/>
                <a:gd name="connsiteY6819" fmla="*/ 728829 h 4235290"/>
                <a:gd name="connsiteX6820" fmla="*/ 1794121 w 2792478"/>
                <a:gd name="connsiteY6820" fmla="*/ 721371 h 4235290"/>
                <a:gd name="connsiteX6821" fmla="*/ 1848128 w 2792478"/>
                <a:gd name="connsiteY6821" fmla="*/ 696575 h 4235290"/>
                <a:gd name="connsiteX6822" fmla="*/ 1863164 w 2792478"/>
                <a:gd name="connsiteY6822" fmla="*/ 665937 h 4235290"/>
                <a:gd name="connsiteX6823" fmla="*/ 1865840 w 2792478"/>
                <a:gd name="connsiteY6823" fmla="*/ 659972 h 4235290"/>
                <a:gd name="connsiteX6824" fmla="*/ 1868820 w 2792478"/>
                <a:gd name="connsiteY6824" fmla="*/ 658418 h 4235290"/>
                <a:gd name="connsiteX6825" fmla="*/ 562803 w 2792478"/>
                <a:gd name="connsiteY6825" fmla="*/ 657110 h 4235290"/>
                <a:gd name="connsiteX6826" fmla="*/ 547766 w 2792478"/>
                <a:gd name="connsiteY6826" fmla="*/ 672335 h 4235290"/>
                <a:gd name="connsiteX6827" fmla="*/ 574050 w 2792478"/>
                <a:gd name="connsiteY6827" fmla="*/ 698432 h 4235290"/>
                <a:gd name="connsiteX6828" fmla="*/ 589026 w 2792478"/>
                <a:gd name="connsiteY6828" fmla="*/ 683330 h 4235290"/>
                <a:gd name="connsiteX6829" fmla="*/ 562803 w 2792478"/>
                <a:gd name="connsiteY6829" fmla="*/ 657110 h 4235290"/>
                <a:gd name="connsiteX6830" fmla="*/ 382280 w 2792478"/>
                <a:gd name="connsiteY6830" fmla="*/ 652696 h 4235290"/>
                <a:gd name="connsiteX6831" fmla="*/ 382280 w 2792478"/>
                <a:gd name="connsiteY6831" fmla="*/ 669850 h 4235290"/>
                <a:gd name="connsiteX6832" fmla="*/ 399365 w 2792478"/>
                <a:gd name="connsiteY6832" fmla="*/ 669850 h 4235290"/>
                <a:gd name="connsiteX6833" fmla="*/ 399365 w 2792478"/>
                <a:gd name="connsiteY6833" fmla="*/ 652696 h 4235290"/>
                <a:gd name="connsiteX6834" fmla="*/ 324606 w 2792478"/>
                <a:gd name="connsiteY6834" fmla="*/ 652696 h 4235290"/>
                <a:gd name="connsiteX6835" fmla="*/ 324606 w 2792478"/>
                <a:gd name="connsiteY6835" fmla="*/ 669850 h 4235290"/>
                <a:gd name="connsiteX6836" fmla="*/ 341702 w 2792478"/>
                <a:gd name="connsiteY6836" fmla="*/ 669850 h 4235290"/>
                <a:gd name="connsiteX6837" fmla="*/ 341702 w 2792478"/>
                <a:gd name="connsiteY6837" fmla="*/ 652696 h 4235290"/>
                <a:gd name="connsiteX6838" fmla="*/ 264945 w 2792478"/>
                <a:gd name="connsiteY6838" fmla="*/ 652696 h 4235290"/>
                <a:gd name="connsiteX6839" fmla="*/ 264945 w 2792478"/>
                <a:gd name="connsiteY6839" fmla="*/ 669850 h 4235290"/>
                <a:gd name="connsiteX6840" fmla="*/ 282041 w 2792478"/>
                <a:gd name="connsiteY6840" fmla="*/ 669850 h 4235290"/>
                <a:gd name="connsiteX6841" fmla="*/ 282041 w 2792478"/>
                <a:gd name="connsiteY6841" fmla="*/ 652696 h 4235290"/>
                <a:gd name="connsiteX6842" fmla="*/ 563862 w 2792478"/>
                <a:gd name="connsiteY6842" fmla="*/ 650333 h 4235290"/>
                <a:gd name="connsiteX6843" fmla="*/ 566786 w 2792478"/>
                <a:gd name="connsiteY6843" fmla="*/ 651515 h 4235290"/>
                <a:gd name="connsiteX6844" fmla="*/ 594680 w 2792478"/>
                <a:gd name="connsiteY6844" fmla="*/ 679356 h 4235290"/>
                <a:gd name="connsiteX6845" fmla="*/ 595923 w 2792478"/>
                <a:gd name="connsiteY6845" fmla="*/ 683269 h 4235290"/>
                <a:gd name="connsiteX6846" fmla="*/ 595556 w 2792478"/>
                <a:gd name="connsiteY6846" fmla="*/ 685450 h 4235290"/>
                <a:gd name="connsiteX6847" fmla="*/ 576108 w 2792478"/>
                <a:gd name="connsiteY6847" fmla="*/ 704893 h 4235290"/>
                <a:gd name="connsiteX6848" fmla="*/ 570077 w 2792478"/>
                <a:gd name="connsiteY6848" fmla="*/ 704027 h 4235290"/>
                <a:gd name="connsiteX6849" fmla="*/ 542173 w 2792478"/>
                <a:gd name="connsiteY6849" fmla="*/ 676187 h 4235290"/>
                <a:gd name="connsiteX6850" fmla="*/ 540930 w 2792478"/>
                <a:gd name="connsiteY6850" fmla="*/ 672273 h 4235290"/>
                <a:gd name="connsiteX6851" fmla="*/ 541307 w 2792478"/>
                <a:gd name="connsiteY6851" fmla="*/ 670093 h 4235290"/>
                <a:gd name="connsiteX6852" fmla="*/ 560694 w 2792478"/>
                <a:gd name="connsiteY6852" fmla="*/ 650649 h 4235290"/>
                <a:gd name="connsiteX6853" fmla="*/ 563862 w 2792478"/>
                <a:gd name="connsiteY6853" fmla="*/ 650333 h 4235290"/>
                <a:gd name="connsiteX6854" fmla="*/ 2618145 w 2792478"/>
                <a:gd name="connsiteY6854" fmla="*/ 649958 h 4235290"/>
                <a:gd name="connsiteX6855" fmla="*/ 2607585 w 2792478"/>
                <a:gd name="connsiteY6855" fmla="*/ 650152 h 4235290"/>
                <a:gd name="connsiteX6856" fmla="*/ 2602360 w 2792478"/>
                <a:gd name="connsiteY6856" fmla="*/ 651700 h 4235290"/>
                <a:gd name="connsiteX6857" fmla="*/ 2597763 w 2792478"/>
                <a:gd name="connsiteY6857" fmla="*/ 653942 h 4235290"/>
                <a:gd name="connsiteX6858" fmla="*/ 2590434 w 2792478"/>
                <a:gd name="connsiteY6858" fmla="*/ 659036 h 4235290"/>
                <a:gd name="connsiteX6859" fmla="*/ 2585956 w 2792478"/>
                <a:gd name="connsiteY6859" fmla="*/ 663448 h 4235290"/>
                <a:gd name="connsiteX6860" fmla="*/ 2584839 w 2792478"/>
                <a:gd name="connsiteY6860" fmla="*/ 665618 h 4235290"/>
                <a:gd name="connsiteX6861" fmla="*/ 2586639 w 2792478"/>
                <a:gd name="connsiteY6861" fmla="*/ 664192 h 4235290"/>
                <a:gd name="connsiteX6862" fmla="*/ 2592049 w 2792478"/>
                <a:gd name="connsiteY6862" fmla="*/ 661522 h 4235290"/>
                <a:gd name="connsiteX6863" fmla="*/ 2599812 w 2792478"/>
                <a:gd name="connsiteY6863" fmla="*/ 658170 h 4235290"/>
                <a:gd name="connsiteX6864" fmla="*/ 2604170 w 2792478"/>
                <a:gd name="connsiteY6864" fmla="*/ 656611 h 4235290"/>
                <a:gd name="connsiteX6865" fmla="*/ 2608583 w 2792478"/>
                <a:gd name="connsiteY6865" fmla="*/ 655491 h 4235290"/>
                <a:gd name="connsiteX6866" fmla="*/ 2626287 w 2792478"/>
                <a:gd name="connsiteY6866" fmla="*/ 655001 h 4235290"/>
                <a:gd name="connsiteX6867" fmla="*/ 2632380 w 2792478"/>
                <a:gd name="connsiteY6867" fmla="*/ 655185 h 4235290"/>
                <a:gd name="connsiteX6868" fmla="*/ 2634744 w 2792478"/>
                <a:gd name="connsiteY6868" fmla="*/ 655368 h 4235290"/>
                <a:gd name="connsiteX6869" fmla="*/ 2632694 w 2792478"/>
                <a:gd name="connsiteY6869" fmla="*/ 654064 h 4235290"/>
                <a:gd name="connsiteX6870" fmla="*/ 2626851 w 2792478"/>
                <a:gd name="connsiteY6870" fmla="*/ 651761 h 4235290"/>
                <a:gd name="connsiteX6871" fmla="*/ 2618145 w 2792478"/>
                <a:gd name="connsiteY6871" fmla="*/ 649958 h 4235290"/>
                <a:gd name="connsiteX6872" fmla="*/ 2018398 w 2792478"/>
                <a:gd name="connsiteY6872" fmla="*/ 648284 h 4235290"/>
                <a:gd name="connsiteX6873" fmla="*/ 2153748 w 2792478"/>
                <a:gd name="connsiteY6873" fmla="*/ 648284 h 4235290"/>
                <a:gd name="connsiteX6874" fmla="*/ 2163629 w 2792478"/>
                <a:gd name="connsiteY6874" fmla="*/ 658290 h 4235290"/>
                <a:gd name="connsiteX6875" fmla="*/ 2153748 w 2792478"/>
                <a:gd name="connsiteY6875" fmla="*/ 668296 h 4235290"/>
                <a:gd name="connsiteX6876" fmla="*/ 2105836 w 2792478"/>
                <a:gd name="connsiteY6876" fmla="*/ 668296 h 4235290"/>
                <a:gd name="connsiteX6877" fmla="*/ 2105771 w 2792478"/>
                <a:gd name="connsiteY6877" fmla="*/ 675258 h 4235290"/>
                <a:gd name="connsiteX6878" fmla="*/ 2116650 w 2792478"/>
                <a:gd name="connsiteY6878" fmla="*/ 683267 h 4235290"/>
                <a:gd name="connsiteX6879" fmla="*/ 2129016 w 2792478"/>
                <a:gd name="connsiteY6879" fmla="*/ 713718 h 4235290"/>
                <a:gd name="connsiteX6880" fmla="*/ 2118826 w 2792478"/>
                <a:gd name="connsiteY6880" fmla="*/ 758466 h 4235290"/>
                <a:gd name="connsiteX6881" fmla="*/ 2085391 w 2792478"/>
                <a:gd name="connsiteY6881" fmla="*/ 793890 h 4235290"/>
                <a:gd name="connsiteX6882" fmla="*/ 2052638 w 2792478"/>
                <a:gd name="connsiteY6882" fmla="*/ 757967 h 4235290"/>
                <a:gd name="connsiteX6883" fmla="*/ 2043195 w 2792478"/>
                <a:gd name="connsiteY6883" fmla="*/ 713036 h 4235290"/>
                <a:gd name="connsiteX6884" fmla="*/ 2066806 w 2792478"/>
                <a:gd name="connsiteY6884" fmla="*/ 675066 h 4235290"/>
                <a:gd name="connsiteX6885" fmla="*/ 2066871 w 2792478"/>
                <a:gd name="connsiteY6885" fmla="*/ 668296 h 4235290"/>
                <a:gd name="connsiteX6886" fmla="*/ 2018398 w 2792478"/>
                <a:gd name="connsiteY6886" fmla="*/ 668296 h 4235290"/>
                <a:gd name="connsiteX6887" fmla="*/ 2008517 w 2792478"/>
                <a:gd name="connsiteY6887" fmla="*/ 658290 h 4235290"/>
                <a:gd name="connsiteX6888" fmla="*/ 2018398 w 2792478"/>
                <a:gd name="connsiteY6888" fmla="*/ 648284 h 4235290"/>
                <a:gd name="connsiteX6889" fmla="*/ 2203371 w 2792478"/>
                <a:gd name="connsiteY6889" fmla="*/ 647983 h 4235290"/>
                <a:gd name="connsiteX6890" fmla="*/ 2203371 w 2792478"/>
                <a:gd name="connsiteY6890" fmla="*/ 675540 h 4235290"/>
                <a:gd name="connsiteX6891" fmla="*/ 2242134 w 2792478"/>
                <a:gd name="connsiteY6891" fmla="*/ 714302 h 4235290"/>
                <a:gd name="connsiteX6892" fmla="*/ 2280903 w 2792478"/>
                <a:gd name="connsiteY6892" fmla="*/ 675540 h 4235290"/>
                <a:gd name="connsiteX6893" fmla="*/ 2280903 w 2792478"/>
                <a:gd name="connsiteY6893" fmla="*/ 647983 h 4235290"/>
                <a:gd name="connsiteX6894" fmla="*/ 2616779 w 2792478"/>
                <a:gd name="connsiteY6894" fmla="*/ 642317 h 4235290"/>
                <a:gd name="connsiteX6895" fmla="*/ 2656676 w 2792478"/>
                <a:gd name="connsiteY6895" fmla="*/ 673270 h 4235290"/>
                <a:gd name="connsiteX6896" fmla="*/ 2656676 w 2792478"/>
                <a:gd name="connsiteY6896" fmla="*/ 673759 h 4235290"/>
                <a:gd name="connsiteX6897" fmla="*/ 2616844 w 2792478"/>
                <a:gd name="connsiteY6897" fmla="*/ 704773 h 4235290"/>
                <a:gd name="connsiteX6898" fmla="*/ 2577944 w 2792478"/>
                <a:gd name="connsiteY6898" fmla="*/ 681349 h 4235290"/>
                <a:gd name="connsiteX6899" fmla="*/ 2538415 w 2792478"/>
                <a:gd name="connsiteY6899" fmla="*/ 683519 h 4235290"/>
                <a:gd name="connsiteX6900" fmla="*/ 2449492 w 2792478"/>
                <a:gd name="connsiteY6900" fmla="*/ 683519 h 4235290"/>
                <a:gd name="connsiteX6901" fmla="*/ 2449308 w 2792478"/>
                <a:gd name="connsiteY6901" fmla="*/ 683519 h 4235290"/>
                <a:gd name="connsiteX6902" fmla="*/ 2440049 w 2792478"/>
                <a:gd name="connsiteY6902" fmla="*/ 674319 h 4235290"/>
                <a:gd name="connsiteX6903" fmla="*/ 2440049 w 2792478"/>
                <a:gd name="connsiteY6903" fmla="*/ 672832 h 4235290"/>
                <a:gd name="connsiteX6904" fmla="*/ 2449308 w 2792478"/>
                <a:gd name="connsiteY6904" fmla="*/ 663570 h 4235290"/>
                <a:gd name="connsiteX6905" fmla="*/ 2449492 w 2792478"/>
                <a:gd name="connsiteY6905" fmla="*/ 663570 h 4235290"/>
                <a:gd name="connsiteX6906" fmla="*/ 2538415 w 2792478"/>
                <a:gd name="connsiteY6906" fmla="*/ 663570 h 4235290"/>
                <a:gd name="connsiteX6907" fmla="*/ 2577944 w 2792478"/>
                <a:gd name="connsiteY6907" fmla="*/ 665689 h 4235290"/>
                <a:gd name="connsiteX6908" fmla="*/ 2616779 w 2792478"/>
                <a:gd name="connsiteY6908" fmla="*/ 642317 h 4235290"/>
                <a:gd name="connsiteX6909" fmla="*/ 374072 w 2792478"/>
                <a:gd name="connsiteY6909" fmla="*/ 636358 h 4235290"/>
                <a:gd name="connsiteX6910" fmla="*/ 407573 w 2792478"/>
                <a:gd name="connsiteY6910" fmla="*/ 636358 h 4235290"/>
                <a:gd name="connsiteX6911" fmla="*/ 415715 w 2792478"/>
                <a:gd name="connsiteY6911" fmla="*/ 644494 h 4235290"/>
                <a:gd name="connsiteX6912" fmla="*/ 415715 w 2792478"/>
                <a:gd name="connsiteY6912" fmla="*/ 677986 h 4235290"/>
                <a:gd name="connsiteX6913" fmla="*/ 407573 w 2792478"/>
                <a:gd name="connsiteY6913" fmla="*/ 686188 h 4235290"/>
                <a:gd name="connsiteX6914" fmla="*/ 374072 w 2792478"/>
                <a:gd name="connsiteY6914" fmla="*/ 686188 h 4235290"/>
                <a:gd name="connsiteX6915" fmla="*/ 365930 w 2792478"/>
                <a:gd name="connsiteY6915" fmla="*/ 677986 h 4235290"/>
                <a:gd name="connsiteX6916" fmla="*/ 365930 w 2792478"/>
                <a:gd name="connsiteY6916" fmla="*/ 644494 h 4235290"/>
                <a:gd name="connsiteX6917" fmla="*/ 374072 w 2792478"/>
                <a:gd name="connsiteY6917" fmla="*/ 636358 h 4235290"/>
                <a:gd name="connsiteX6918" fmla="*/ 316409 w 2792478"/>
                <a:gd name="connsiteY6918" fmla="*/ 636358 h 4235290"/>
                <a:gd name="connsiteX6919" fmla="*/ 349898 w 2792478"/>
                <a:gd name="connsiteY6919" fmla="*/ 636358 h 4235290"/>
                <a:gd name="connsiteX6920" fmla="*/ 358040 w 2792478"/>
                <a:gd name="connsiteY6920" fmla="*/ 644494 h 4235290"/>
                <a:gd name="connsiteX6921" fmla="*/ 358040 w 2792478"/>
                <a:gd name="connsiteY6921" fmla="*/ 677986 h 4235290"/>
                <a:gd name="connsiteX6922" fmla="*/ 349898 w 2792478"/>
                <a:gd name="connsiteY6922" fmla="*/ 686188 h 4235290"/>
                <a:gd name="connsiteX6923" fmla="*/ 316409 w 2792478"/>
                <a:gd name="connsiteY6923" fmla="*/ 686188 h 4235290"/>
                <a:gd name="connsiteX6924" fmla="*/ 308267 w 2792478"/>
                <a:gd name="connsiteY6924" fmla="*/ 677986 h 4235290"/>
                <a:gd name="connsiteX6925" fmla="*/ 308267 w 2792478"/>
                <a:gd name="connsiteY6925" fmla="*/ 644494 h 4235290"/>
                <a:gd name="connsiteX6926" fmla="*/ 316409 w 2792478"/>
                <a:gd name="connsiteY6926" fmla="*/ 636358 h 4235290"/>
                <a:gd name="connsiteX6927" fmla="*/ 256749 w 2792478"/>
                <a:gd name="connsiteY6927" fmla="*/ 636358 h 4235290"/>
                <a:gd name="connsiteX6928" fmla="*/ 290238 w 2792478"/>
                <a:gd name="connsiteY6928" fmla="*/ 636358 h 4235290"/>
                <a:gd name="connsiteX6929" fmla="*/ 298380 w 2792478"/>
                <a:gd name="connsiteY6929" fmla="*/ 644494 h 4235290"/>
                <a:gd name="connsiteX6930" fmla="*/ 298380 w 2792478"/>
                <a:gd name="connsiteY6930" fmla="*/ 677986 h 4235290"/>
                <a:gd name="connsiteX6931" fmla="*/ 290238 w 2792478"/>
                <a:gd name="connsiteY6931" fmla="*/ 686188 h 4235290"/>
                <a:gd name="connsiteX6932" fmla="*/ 256749 w 2792478"/>
                <a:gd name="connsiteY6932" fmla="*/ 686188 h 4235290"/>
                <a:gd name="connsiteX6933" fmla="*/ 248607 w 2792478"/>
                <a:gd name="connsiteY6933" fmla="*/ 677986 h 4235290"/>
                <a:gd name="connsiteX6934" fmla="*/ 248607 w 2792478"/>
                <a:gd name="connsiteY6934" fmla="*/ 644494 h 4235290"/>
                <a:gd name="connsiteX6935" fmla="*/ 256749 w 2792478"/>
                <a:gd name="connsiteY6935" fmla="*/ 636358 h 4235290"/>
                <a:gd name="connsiteX6936" fmla="*/ 552982 w 2792478"/>
                <a:gd name="connsiteY6936" fmla="*/ 636169 h 4235290"/>
                <a:gd name="connsiteX6937" fmla="*/ 497989 w 2792478"/>
                <a:gd name="connsiteY6937" fmla="*/ 691167 h 4235290"/>
                <a:gd name="connsiteX6938" fmla="*/ 505813 w 2792478"/>
                <a:gd name="connsiteY6938" fmla="*/ 718946 h 4235290"/>
                <a:gd name="connsiteX6939" fmla="*/ 495687 w 2792478"/>
                <a:gd name="connsiteY6939" fmla="*/ 729004 h 4235290"/>
                <a:gd name="connsiteX6940" fmla="*/ 495687 w 2792478"/>
                <a:gd name="connsiteY6940" fmla="*/ 729075 h 4235290"/>
                <a:gd name="connsiteX6941" fmla="*/ 415460 w 2792478"/>
                <a:gd name="connsiteY6941" fmla="*/ 809111 h 4235290"/>
                <a:gd name="connsiteX6942" fmla="*/ 415460 w 2792478"/>
                <a:gd name="connsiteY6942" fmla="*/ 828748 h 4235290"/>
                <a:gd name="connsiteX6943" fmla="*/ 434908 w 2792478"/>
                <a:gd name="connsiteY6943" fmla="*/ 828748 h 4235290"/>
                <a:gd name="connsiteX6944" fmla="*/ 444667 w 2792478"/>
                <a:gd name="connsiteY6944" fmla="*/ 818996 h 4235290"/>
                <a:gd name="connsiteX6945" fmla="*/ 454366 w 2792478"/>
                <a:gd name="connsiteY6945" fmla="*/ 814950 h 4235290"/>
                <a:gd name="connsiteX6946" fmla="*/ 470524 w 2792478"/>
                <a:gd name="connsiteY6946" fmla="*/ 814950 h 4235290"/>
                <a:gd name="connsiteX6947" fmla="*/ 470524 w 2792478"/>
                <a:gd name="connsiteY6947" fmla="*/ 801224 h 4235290"/>
                <a:gd name="connsiteX6948" fmla="*/ 484256 w 2792478"/>
                <a:gd name="connsiteY6948" fmla="*/ 787487 h 4235290"/>
                <a:gd name="connsiteX6949" fmla="*/ 497989 w 2792478"/>
                <a:gd name="connsiteY6949" fmla="*/ 787487 h 4235290"/>
                <a:gd name="connsiteX6950" fmla="*/ 497989 w 2792478"/>
                <a:gd name="connsiteY6950" fmla="*/ 771325 h 4235290"/>
                <a:gd name="connsiteX6951" fmla="*/ 502024 w 2792478"/>
                <a:gd name="connsiteY6951" fmla="*/ 761634 h 4235290"/>
                <a:gd name="connsiteX6952" fmla="*/ 515135 w 2792478"/>
                <a:gd name="connsiteY6952" fmla="*/ 748518 h 4235290"/>
                <a:gd name="connsiteX6953" fmla="*/ 522847 w 2792478"/>
                <a:gd name="connsiteY6953" fmla="*/ 740814 h 4235290"/>
                <a:gd name="connsiteX6954" fmla="*/ 525272 w 2792478"/>
                <a:gd name="connsiteY6954" fmla="*/ 738450 h 4235290"/>
                <a:gd name="connsiteX6955" fmla="*/ 552982 w 2792478"/>
                <a:gd name="connsiteY6955" fmla="*/ 746226 h 4235290"/>
                <a:gd name="connsiteX6956" fmla="*/ 608046 w 2792478"/>
                <a:gd name="connsiteY6956" fmla="*/ 691167 h 4235290"/>
                <a:gd name="connsiteX6957" fmla="*/ 552982 w 2792478"/>
                <a:gd name="connsiteY6957" fmla="*/ 636169 h 4235290"/>
                <a:gd name="connsiteX6958" fmla="*/ 189662 w 2792478"/>
                <a:gd name="connsiteY6958" fmla="*/ 628934 h 4235290"/>
                <a:gd name="connsiteX6959" fmla="*/ 192870 w 2792478"/>
                <a:gd name="connsiteY6959" fmla="*/ 628934 h 4235290"/>
                <a:gd name="connsiteX6960" fmla="*/ 199272 w 2792478"/>
                <a:gd name="connsiteY6960" fmla="*/ 635341 h 4235290"/>
                <a:gd name="connsiteX6961" fmla="*/ 199272 w 2792478"/>
                <a:gd name="connsiteY6961" fmla="*/ 651368 h 4235290"/>
                <a:gd name="connsiteX6962" fmla="*/ 192870 w 2792478"/>
                <a:gd name="connsiteY6962" fmla="*/ 657767 h 4235290"/>
                <a:gd name="connsiteX6963" fmla="*/ 189662 w 2792478"/>
                <a:gd name="connsiteY6963" fmla="*/ 657767 h 4235290"/>
                <a:gd name="connsiteX6964" fmla="*/ 189662 w 2792478"/>
                <a:gd name="connsiteY6964" fmla="*/ 664166 h 4235290"/>
                <a:gd name="connsiteX6965" fmla="*/ 187740 w 2792478"/>
                <a:gd name="connsiteY6965" fmla="*/ 664807 h 4235290"/>
                <a:gd name="connsiteX6966" fmla="*/ 182468 w 2792478"/>
                <a:gd name="connsiteY6966" fmla="*/ 657767 h 4235290"/>
                <a:gd name="connsiteX6967" fmla="*/ 164040 w 2792478"/>
                <a:gd name="connsiteY6967" fmla="*/ 657767 h 4235290"/>
                <a:gd name="connsiteX6968" fmla="*/ 157638 w 2792478"/>
                <a:gd name="connsiteY6968" fmla="*/ 651368 h 4235290"/>
                <a:gd name="connsiteX6969" fmla="*/ 157638 w 2792478"/>
                <a:gd name="connsiteY6969" fmla="*/ 644944 h 4235290"/>
                <a:gd name="connsiteX6970" fmla="*/ 164040 w 2792478"/>
                <a:gd name="connsiteY6970" fmla="*/ 644944 h 4235290"/>
                <a:gd name="connsiteX6971" fmla="*/ 164040 w 2792478"/>
                <a:gd name="connsiteY6971" fmla="*/ 651343 h 4235290"/>
                <a:gd name="connsiteX6972" fmla="*/ 192870 w 2792478"/>
                <a:gd name="connsiteY6972" fmla="*/ 651343 h 4235290"/>
                <a:gd name="connsiteX6973" fmla="*/ 192870 w 2792478"/>
                <a:gd name="connsiteY6973" fmla="*/ 635358 h 4235290"/>
                <a:gd name="connsiteX6974" fmla="*/ 189662 w 2792478"/>
                <a:gd name="connsiteY6974" fmla="*/ 635358 h 4235290"/>
                <a:gd name="connsiteX6975" fmla="*/ 552982 w 2792478"/>
                <a:gd name="connsiteY6975" fmla="*/ 622432 h 4235290"/>
                <a:gd name="connsiteX6976" fmla="*/ 621779 w 2792478"/>
                <a:gd name="connsiteY6976" fmla="*/ 691167 h 4235290"/>
                <a:gd name="connsiteX6977" fmla="*/ 552982 w 2792478"/>
                <a:gd name="connsiteY6977" fmla="*/ 759952 h 4235290"/>
                <a:gd name="connsiteX6978" fmla="*/ 528063 w 2792478"/>
                <a:gd name="connsiteY6978" fmla="*/ 755051 h 4235290"/>
                <a:gd name="connsiteX6979" fmla="*/ 511783 w 2792478"/>
                <a:gd name="connsiteY6979" fmla="*/ 771325 h 4235290"/>
                <a:gd name="connsiteX6980" fmla="*/ 511783 w 2792478"/>
                <a:gd name="connsiteY6980" fmla="*/ 787487 h 4235290"/>
                <a:gd name="connsiteX6981" fmla="*/ 497989 w 2792478"/>
                <a:gd name="connsiteY6981" fmla="*/ 801224 h 4235290"/>
                <a:gd name="connsiteX6982" fmla="*/ 484256 w 2792478"/>
                <a:gd name="connsiteY6982" fmla="*/ 801224 h 4235290"/>
                <a:gd name="connsiteX6983" fmla="*/ 484256 w 2792478"/>
                <a:gd name="connsiteY6983" fmla="*/ 814950 h 4235290"/>
                <a:gd name="connsiteX6984" fmla="*/ 470524 w 2792478"/>
                <a:gd name="connsiteY6984" fmla="*/ 828748 h 4235290"/>
                <a:gd name="connsiteX6985" fmla="*/ 454366 w 2792478"/>
                <a:gd name="connsiteY6985" fmla="*/ 828748 h 4235290"/>
                <a:gd name="connsiteX6986" fmla="*/ 444484 w 2792478"/>
                <a:gd name="connsiteY6986" fmla="*/ 838633 h 4235290"/>
                <a:gd name="connsiteX6987" fmla="*/ 436090 w 2792478"/>
                <a:gd name="connsiteY6987" fmla="*/ 842546 h 4235290"/>
                <a:gd name="connsiteX6988" fmla="*/ 415460 w 2792478"/>
                <a:gd name="connsiteY6988" fmla="*/ 842546 h 4235290"/>
                <a:gd name="connsiteX6989" fmla="*/ 401727 w 2792478"/>
                <a:gd name="connsiteY6989" fmla="*/ 828748 h 4235290"/>
                <a:gd name="connsiteX6990" fmla="*/ 401727 w 2792478"/>
                <a:gd name="connsiteY6990" fmla="*/ 808122 h 4235290"/>
                <a:gd name="connsiteX6991" fmla="*/ 405578 w 2792478"/>
                <a:gd name="connsiteY6991" fmla="*/ 799726 h 4235290"/>
                <a:gd name="connsiteX6992" fmla="*/ 489167 w 2792478"/>
                <a:gd name="connsiteY6992" fmla="*/ 716143 h 4235290"/>
                <a:gd name="connsiteX6993" fmla="*/ 484256 w 2792478"/>
                <a:gd name="connsiteY6993" fmla="*/ 691167 h 4235290"/>
                <a:gd name="connsiteX6994" fmla="*/ 552982 w 2792478"/>
                <a:gd name="connsiteY6994" fmla="*/ 622432 h 4235290"/>
                <a:gd name="connsiteX6995" fmla="*/ 654610 w 2792478"/>
                <a:gd name="connsiteY6995" fmla="*/ 620055 h 4235290"/>
                <a:gd name="connsiteX6996" fmla="*/ 654610 w 2792478"/>
                <a:gd name="connsiteY6996" fmla="*/ 656678 h 4235290"/>
                <a:gd name="connsiteX6997" fmla="*/ 658677 w 2792478"/>
                <a:gd name="connsiteY6997" fmla="*/ 660722 h 4235290"/>
                <a:gd name="connsiteX6998" fmla="*/ 764424 w 2792478"/>
                <a:gd name="connsiteY6998" fmla="*/ 660722 h 4235290"/>
                <a:gd name="connsiteX6999" fmla="*/ 768498 w 2792478"/>
                <a:gd name="connsiteY6999" fmla="*/ 656678 h 4235290"/>
                <a:gd name="connsiteX7000" fmla="*/ 768498 w 2792478"/>
                <a:gd name="connsiteY7000" fmla="*/ 620055 h 4235290"/>
                <a:gd name="connsiteX7001" fmla="*/ 743024 w 2792478"/>
                <a:gd name="connsiteY7001" fmla="*/ 620055 h 4235290"/>
                <a:gd name="connsiteX7002" fmla="*/ 711537 w 2792478"/>
                <a:gd name="connsiteY7002" fmla="*/ 644465 h 4235290"/>
                <a:gd name="connsiteX7003" fmla="*/ 680084 w 2792478"/>
                <a:gd name="connsiteY7003" fmla="*/ 620055 h 4235290"/>
                <a:gd name="connsiteX7004" fmla="*/ 1736016 w 2792478"/>
                <a:gd name="connsiteY7004" fmla="*/ 618456 h 4235290"/>
                <a:gd name="connsiteX7005" fmla="*/ 1763738 w 2792478"/>
                <a:gd name="connsiteY7005" fmla="*/ 618456 h 4235290"/>
                <a:gd name="connsiteX7006" fmla="*/ 1765724 w 2792478"/>
                <a:gd name="connsiteY7006" fmla="*/ 620443 h 4235290"/>
                <a:gd name="connsiteX7007" fmla="*/ 1765724 w 2792478"/>
                <a:gd name="connsiteY7007" fmla="*/ 644432 h 4235290"/>
                <a:gd name="connsiteX7008" fmla="*/ 1763738 w 2792478"/>
                <a:gd name="connsiteY7008" fmla="*/ 646419 h 4235290"/>
                <a:gd name="connsiteX7009" fmla="*/ 1736016 w 2792478"/>
                <a:gd name="connsiteY7009" fmla="*/ 646419 h 4235290"/>
                <a:gd name="connsiteX7010" fmla="*/ 1734086 w 2792478"/>
                <a:gd name="connsiteY7010" fmla="*/ 644432 h 4235290"/>
                <a:gd name="connsiteX7011" fmla="*/ 1734086 w 2792478"/>
                <a:gd name="connsiteY7011" fmla="*/ 620443 h 4235290"/>
                <a:gd name="connsiteX7012" fmla="*/ 1736016 w 2792478"/>
                <a:gd name="connsiteY7012" fmla="*/ 618456 h 4235290"/>
                <a:gd name="connsiteX7013" fmla="*/ 1690283 w 2792478"/>
                <a:gd name="connsiteY7013" fmla="*/ 618456 h 4235290"/>
                <a:gd name="connsiteX7014" fmla="*/ 1717993 w 2792478"/>
                <a:gd name="connsiteY7014" fmla="*/ 618456 h 4235290"/>
                <a:gd name="connsiteX7015" fmla="*/ 1719979 w 2792478"/>
                <a:gd name="connsiteY7015" fmla="*/ 620443 h 4235290"/>
                <a:gd name="connsiteX7016" fmla="*/ 1719979 w 2792478"/>
                <a:gd name="connsiteY7016" fmla="*/ 644432 h 4235290"/>
                <a:gd name="connsiteX7017" fmla="*/ 1717993 w 2792478"/>
                <a:gd name="connsiteY7017" fmla="*/ 646419 h 4235290"/>
                <a:gd name="connsiteX7018" fmla="*/ 1690283 w 2792478"/>
                <a:gd name="connsiteY7018" fmla="*/ 646419 h 4235290"/>
                <a:gd name="connsiteX7019" fmla="*/ 1688352 w 2792478"/>
                <a:gd name="connsiteY7019" fmla="*/ 644432 h 4235290"/>
                <a:gd name="connsiteX7020" fmla="*/ 1688352 w 2792478"/>
                <a:gd name="connsiteY7020" fmla="*/ 620443 h 4235290"/>
                <a:gd name="connsiteX7021" fmla="*/ 1690283 w 2792478"/>
                <a:gd name="connsiteY7021" fmla="*/ 618456 h 4235290"/>
                <a:gd name="connsiteX7022" fmla="*/ 1646524 w 2792478"/>
                <a:gd name="connsiteY7022" fmla="*/ 618456 h 4235290"/>
                <a:gd name="connsiteX7023" fmla="*/ 1674246 w 2792478"/>
                <a:gd name="connsiteY7023" fmla="*/ 618456 h 4235290"/>
                <a:gd name="connsiteX7024" fmla="*/ 1676232 w 2792478"/>
                <a:gd name="connsiteY7024" fmla="*/ 620443 h 4235290"/>
                <a:gd name="connsiteX7025" fmla="*/ 1676232 w 2792478"/>
                <a:gd name="connsiteY7025" fmla="*/ 644432 h 4235290"/>
                <a:gd name="connsiteX7026" fmla="*/ 1674246 w 2792478"/>
                <a:gd name="connsiteY7026" fmla="*/ 646419 h 4235290"/>
                <a:gd name="connsiteX7027" fmla="*/ 1646524 w 2792478"/>
                <a:gd name="connsiteY7027" fmla="*/ 646419 h 4235290"/>
                <a:gd name="connsiteX7028" fmla="*/ 1644605 w 2792478"/>
                <a:gd name="connsiteY7028" fmla="*/ 644432 h 4235290"/>
                <a:gd name="connsiteX7029" fmla="*/ 1644605 w 2792478"/>
                <a:gd name="connsiteY7029" fmla="*/ 620443 h 4235290"/>
                <a:gd name="connsiteX7030" fmla="*/ 1646524 w 2792478"/>
                <a:gd name="connsiteY7030" fmla="*/ 618456 h 4235290"/>
                <a:gd name="connsiteX7031" fmla="*/ 1600858 w 2792478"/>
                <a:gd name="connsiteY7031" fmla="*/ 618456 h 4235290"/>
                <a:gd name="connsiteX7032" fmla="*/ 1628512 w 2792478"/>
                <a:gd name="connsiteY7032" fmla="*/ 618456 h 4235290"/>
                <a:gd name="connsiteX7033" fmla="*/ 1630498 w 2792478"/>
                <a:gd name="connsiteY7033" fmla="*/ 620443 h 4235290"/>
                <a:gd name="connsiteX7034" fmla="*/ 1630498 w 2792478"/>
                <a:gd name="connsiteY7034" fmla="*/ 644432 h 4235290"/>
                <a:gd name="connsiteX7035" fmla="*/ 1628512 w 2792478"/>
                <a:gd name="connsiteY7035" fmla="*/ 646419 h 4235290"/>
                <a:gd name="connsiteX7036" fmla="*/ 1600858 w 2792478"/>
                <a:gd name="connsiteY7036" fmla="*/ 646419 h 4235290"/>
                <a:gd name="connsiteX7037" fmla="*/ 1598860 w 2792478"/>
                <a:gd name="connsiteY7037" fmla="*/ 644432 h 4235290"/>
                <a:gd name="connsiteX7038" fmla="*/ 1598860 w 2792478"/>
                <a:gd name="connsiteY7038" fmla="*/ 620443 h 4235290"/>
                <a:gd name="connsiteX7039" fmla="*/ 1600858 w 2792478"/>
                <a:gd name="connsiteY7039" fmla="*/ 618456 h 4235290"/>
                <a:gd name="connsiteX7040" fmla="*/ 141626 w 2792478"/>
                <a:gd name="connsiteY7040" fmla="*/ 612918 h 4235290"/>
                <a:gd name="connsiteX7041" fmla="*/ 141626 w 2792478"/>
                <a:gd name="connsiteY7041" fmla="*/ 635341 h 4235290"/>
                <a:gd name="connsiteX7042" fmla="*/ 180058 w 2792478"/>
                <a:gd name="connsiteY7042" fmla="*/ 635341 h 4235290"/>
                <a:gd name="connsiteX7043" fmla="*/ 180058 w 2792478"/>
                <a:gd name="connsiteY7043" fmla="*/ 612918 h 4235290"/>
                <a:gd name="connsiteX7044" fmla="*/ 2221264 w 2792478"/>
                <a:gd name="connsiteY7044" fmla="*/ 606514 h 4235290"/>
                <a:gd name="connsiteX7045" fmla="*/ 2227231 w 2792478"/>
                <a:gd name="connsiteY7045" fmla="*/ 612482 h 4235290"/>
                <a:gd name="connsiteX7046" fmla="*/ 2227231 w 2792478"/>
                <a:gd name="connsiteY7046" fmla="*/ 636057 h 4235290"/>
                <a:gd name="connsiteX7047" fmla="*/ 2257043 w 2792478"/>
                <a:gd name="connsiteY7047" fmla="*/ 636057 h 4235290"/>
                <a:gd name="connsiteX7048" fmla="*/ 2257043 w 2792478"/>
                <a:gd name="connsiteY7048" fmla="*/ 612482 h 4235290"/>
                <a:gd name="connsiteX7049" fmla="*/ 2263009 w 2792478"/>
                <a:gd name="connsiteY7049" fmla="*/ 606514 h 4235290"/>
                <a:gd name="connsiteX7050" fmla="*/ 2268970 w 2792478"/>
                <a:gd name="connsiteY7050" fmla="*/ 612482 h 4235290"/>
                <a:gd name="connsiteX7051" fmla="*/ 2268970 w 2792478"/>
                <a:gd name="connsiteY7051" fmla="*/ 636057 h 4235290"/>
                <a:gd name="connsiteX7052" fmla="*/ 2286864 w 2792478"/>
                <a:gd name="connsiteY7052" fmla="*/ 636057 h 4235290"/>
                <a:gd name="connsiteX7053" fmla="*/ 2292830 w 2792478"/>
                <a:gd name="connsiteY7053" fmla="*/ 642015 h 4235290"/>
                <a:gd name="connsiteX7054" fmla="*/ 2292830 w 2792478"/>
                <a:gd name="connsiteY7054" fmla="*/ 675540 h 4235290"/>
                <a:gd name="connsiteX7055" fmla="*/ 2248096 w 2792478"/>
                <a:gd name="connsiteY7055" fmla="*/ 725850 h 4235290"/>
                <a:gd name="connsiteX7056" fmla="*/ 2248096 w 2792478"/>
                <a:gd name="connsiteY7056" fmla="*/ 800095 h 4235290"/>
                <a:gd name="connsiteX7057" fmla="*/ 2242134 w 2792478"/>
                <a:gd name="connsiteY7057" fmla="*/ 806054 h 4235290"/>
                <a:gd name="connsiteX7058" fmla="*/ 2236168 w 2792478"/>
                <a:gd name="connsiteY7058" fmla="*/ 800095 h 4235290"/>
                <a:gd name="connsiteX7059" fmla="*/ 2236168 w 2792478"/>
                <a:gd name="connsiteY7059" fmla="*/ 725850 h 4235290"/>
                <a:gd name="connsiteX7060" fmla="*/ 2191438 w 2792478"/>
                <a:gd name="connsiteY7060" fmla="*/ 675540 h 4235290"/>
                <a:gd name="connsiteX7061" fmla="*/ 2191438 w 2792478"/>
                <a:gd name="connsiteY7061" fmla="*/ 642015 h 4235290"/>
                <a:gd name="connsiteX7062" fmla="*/ 2197404 w 2792478"/>
                <a:gd name="connsiteY7062" fmla="*/ 636057 h 4235290"/>
                <a:gd name="connsiteX7063" fmla="*/ 2215298 w 2792478"/>
                <a:gd name="connsiteY7063" fmla="*/ 636057 h 4235290"/>
                <a:gd name="connsiteX7064" fmla="*/ 2215298 w 2792478"/>
                <a:gd name="connsiteY7064" fmla="*/ 612482 h 4235290"/>
                <a:gd name="connsiteX7065" fmla="*/ 2221264 w 2792478"/>
                <a:gd name="connsiteY7065" fmla="*/ 606514 h 4235290"/>
                <a:gd name="connsiteX7066" fmla="*/ 141626 w 2792478"/>
                <a:gd name="connsiteY7066" fmla="*/ 606514 h 4235290"/>
                <a:gd name="connsiteX7067" fmla="*/ 180058 w 2792478"/>
                <a:gd name="connsiteY7067" fmla="*/ 606514 h 4235290"/>
                <a:gd name="connsiteX7068" fmla="*/ 186471 w 2792478"/>
                <a:gd name="connsiteY7068" fmla="*/ 612918 h 4235290"/>
                <a:gd name="connsiteX7069" fmla="*/ 186471 w 2792478"/>
                <a:gd name="connsiteY7069" fmla="*/ 635339 h 4235290"/>
                <a:gd name="connsiteX7070" fmla="*/ 180058 w 2792478"/>
                <a:gd name="connsiteY7070" fmla="*/ 641751 h 4235290"/>
                <a:gd name="connsiteX7071" fmla="*/ 154442 w 2792478"/>
                <a:gd name="connsiteY7071" fmla="*/ 641751 h 4235290"/>
                <a:gd name="connsiteX7072" fmla="*/ 146744 w 2792478"/>
                <a:gd name="connsiteY7072" fmla="*/ 651990 h 4235290"/>
                <a:gd name="connsiteX7073" fmla="*/ 144835 w 2792478"/>
                <a:gd name="connsiteY7073" fmla="*/ 651351 h 4235290"/>
                <a:gd name="connsiteX7074" fmla="*/ 144835 w 2792478"/>
                <a:gd name="connsiteY7074" fmla="*/ 641751 h 4235290"/>
                <a:gd name="connsiteX7075" fmla="*/ 141626 w 2792478"/>
                <a:gd name="connsiteY7075" fmla="*/ 641751 h 4235290"/>
                <a:gd name="connsiteX7076" fmla="*/ 135225 w 2792478"/>
                <a:gd name="connsiteY7076" fmla="*/ 635339 h 4235290"/>
                <a:gd name="connsiteX7077" fmla="*/ 135225 w 2792478"/>
                <a:gd name="connsiteY7077" fmla="*/ 612918 h 4235290"/>
                <a:gd name="connsiteX7078" fmla="*/ 141626 w 2792478"/>
                <a:gd name="connsiteY7078" fmla="*/ 606514 h 4235290"/>
                <a:gd name="connsiteX7079" fmla="*/ 2360439 w 2792478"/>
                <a:gd name="connsiteY7079" fmla="*/ 600618 h 4235290"/>
                <a:gd name="connsiteX7080" fmla="*/ 2327626 w 2792478"/>
                <a:gd name="connsiteY7080" fmla="*/ 607705 h 4235290"/>
                <a:gd name="connsiteX7081" fmla="*/ 2360439 w 2792478"/>
                <a:gd name="connsiteY7081" fmla="*/ 614665 h 4235290"/>
                <a:gd name="connsiteX7082" fmla="*/ 2393187 w 2792478"/>
                <a:gd name="connsiteY7082" fmla="*/ 607578 h 4235290"/>
                <a:gd name="connsiteX7083" fmla="*/ 2360439 w 2792478"/>
                <a:gd name="connsiteY7083" fmla="*/ 600618 h 4235290"/>
                <a:gd name="connsiteX7084" fmla="*/ 1244906 w 2792478"/>
                <a:gd name="connsiteY7084" fmla="*/ 597881 h 4235290"/>
                <a:gd name="connsiteX7085" fmla="*/ 1276376 w 2792478"/>
                <a:gd name="connsiteY7085" fmla="*/ 618343 h 4235290"/>
                <a:gd name="connsiteX7086" fmla="*/ 1270431 w 2792478"/>
                <a:gd name="connsiteY7086" fmla="*/ 620995 h 4235290"/>
                <a:gd name="connsiteX7087" fmla="*/ 1244906 w 2792478"/>
                <a:gd name="connsiteY7087" fmla="*/ 604399 h 4235290"/>
                <a:gd name="connsiteX7088" fmla="*/ 1219066 w 2792478"/>
                <a:gd name="connsiteY7088" fmla="*/ 621715 h 4235290"/>
                <a:gd name="connsiteX7089" fmla="*/ 1213041 w 2792478"/>
                <a:gd name="connsiteY7089" fmla="*/ 619232 h 4235290"/>
                <a:gd name="connsiteX7090" fmla="*/ 1244906 w 2792478"/>
                <a:gd name="connsiteY7090" fmla="*/ 597881 h 4235290"/>
                <a:gd name="connsiteX7091" fmla="*/ 891252 w 2792478"/>
                <a:gd name="connsiteY7091" fmla="*/ 595218 h 4235290"/>
                <a:gd name="connsiteX7092" fmla="*/ 888472 w 2792478"/>
                <a:gd name="connsiteY7092" fmla="*/ 598403 h 4235290"/>
                <a:gd name="connsiteX7093" fmla="*/ 893886 w 2792478"/>
                <a:gd name="connsiteY7093" fmla="*/ 604020 h 4235290"/>
                <a:gd name="connsiteX7094" fmla="*/ 893812 w 2792478"/>
                <a:gd name="connsiteY7094" fmla="*/ 601866 h 4235290"/>
                <a:gd name="connsiteX7095" fmla="*/ 891252 w 2792478"/>
                <a:gd name="connsiteY7095" fmla="*/ 595218 h 4235290"/>
                <a:gd name="connsiteX7096" fmla="*/ 1076176 w 2792478"/>
                <a:gd name="connsiteY7096" fmla="*/ 594592 h 4235290"/>
                <a:gd name="connsiteX7097" fmla="*/ 1083040 w 2792478"/>
                <a:gd name="connsiteY7097" fmla="*/ 604784 h 4235290"/>
                <a:gd name="connsiteX7098" fmla="*/ 1076176 w 2792478"/>
                <a:gd name="connsiteY7098" fmla="*/ 614976 h 4235290"/>
                <a:gd name="connsiteX7099" fmla="*/ 1069385 w 2792478"/>
                <a:gd name="connsiteY7099" fmla="*/ 604784 h 4235290"/>
                <a:gd name="connsiteX7100" fmla="*/ 1076176 w 2792478"/>
                <a:gd name="connsiteY7100" fmla="*/ 594592 h 4235290"/>
                <a:gd name="connsiteX7101" fmla="*/ 382280 w 2792478"/>
                <a:gd name="connsiteY7101" fmla="*/ 591056 h 4235290"/>
                <a:gd name="connsiteX7102" fmla="*/ 382280 w 2792478"/>
                <a:gd name="connsiteY7102" fmla="*/ 608197 h 4235290"/>
                <a:gd name="connsiteX7103" fmla="*/ 399365 w 2792478"/>
                <a:gd name="connsiteY7103" fmla="*/ 608197 h 4235290"/>
                <a:gd name="connsiteX7104" fmla="*/ 399365 w 2792478"/>
                <a:gd name="connsiteY7104" fmla="*/ 591056 h 4235290"/>
                <a:gd name="connsiteX7105" fmla="*/ 324540 w 2792478"/>
                <a:gd name="connsiteY7105" fmla="*/ 591056 h 4235290"/>
                <a:gd name="connsiteX7106" fmla="*/ 324540 w 2792478"/>
                <a:gd name="connsiteY7106" fmla="*/ 608197 h 4235290"/>
                <a:gd name="connsiteX7107" fmla="*/ 341702 w 2792478"/>
                <a:gd name="connsiteY7107" fmla="*/ 608197 h 4235290"/>
                <a:gd name="connsiteX7108" fmla="*/ 341702 w 2792478"/>
                <a:gd name="connsiteY7108" fmla="*/ 591056 h 4235290"/>
                <a:gd name="connsiteX7109" fmla="*/ 264945 w 2792478"/>
                <a:gd name="connsiteY7109" fmla="*/ 591056 h 4235290"/>
                <a:gd name="connsiteX7110" fmla="*/ 264945 w 2792478"/>
                <a:gd name="connsiteY7110" fmla="*/ 608144 h 4235290"/>
                <a:gd name="connsiteX7111" fmla="*/ 282041 w 2792478"/>
                <a:gd name="connsiteY7111" fmla="*/ 608144 h 4235290"/>
                <a:gd name="connsiteX7112" fmla="*/ 282041 w 2792478"/>
                <a:gd name="connsiteY7112" fmla="*/ 591056 h 4235290"/>
                <a:gd name="connsiteX7113" fmla="*/ 1736016 w 2792478"/>
                <a:gd name="connsiteY7113" fmla="*/ 578680 h 4235290"/>
                <a:gd name="connsiteX7114" fmla="*/ 1763738 w 2792478"/>
                <a:gd name="connsiteY7114" fmla="*/ 578680 h 4235290"/>
                <a:gd name="connsiteX7115" fmla="*/ 1765724 w 2792478"/>
                <a:gd name="connsiteY7115" fmla="*/ 580667 h 4235290"/>
                <a:gd name="connsiteX7116" fmla="*/ 1765724 w 2792478"/>
                <a:gd name="connsiteY7116" fmla="*/ 604656 h 4235290"/>
                <a:gd name="connsiteX7117" fmla="*/ 1763738 w 2792478"/>
                <a:gd name="connsiteY7117" fmla="*/ 606643 h 4235290"/>
                <a:gd name="connsiteX7118" fmla="*/ 1736016 w 2792478"/>
                <a:gd name="connsiteY7118" fmla="*/ 606643 h 4235290"/>
                <a:gd name="connsiteX7119" fmla="*/ 1734086 w 2792478"/>
                <a:gd name="connsiteY7119" fmla="*/ 604656 h 4235290"/>
                <a:gd name="connsiteX7120" fmla="*/ 1734086 w 2792478"/>
                <a:gd name="connsiteY7120" fmla="*/ 580667 h 4235290"/>
                <a:gd name="connsiteX7121" fmla="*/ 1736016 w 2792478"/>
                <a:gd name="connsiteY7121" fmla="*/ 578680 h 4235290"/>
                <a:gd name="connsiteX7122" fmla="*/ 1690283 w 2792478"/>
                <a:gd name="connsiteY7122" fmla="*/ 578680 h 4235290"/>
                <a:gd name="connsiteX7123" fmla="*/ 1717993 w 2792478"/>
                <a:gd name="connsiteY7123" fmla="*/ 578680 h 4235290"/>
                <a:gd name="connsiteX7124" fmla="*/ 1719979 w 2792478"/>
                <a:gd name="connsiteY7124" fmla="*/ 580667 h 4235290"/>
                <a:gd name="connsiteX7125" fmla="*/ 1719979 w 2792478"/>
                <a:gd name="connsiteY7125" fmla="*/ 604656 h 4235290"/>
                <a:gd name="connsiteX7126" fmla="*/ 1717993 w 2792478"/>
                <a:gd name="connsiteY7126" fmla="*/ 606643 h 4235290"/>
                <a:gd name="connsiteX7127" fmla="*/ 1690283 w 2792478"/>
                <a:gd name="connsiteY7127" fmla="*/ 606643 h 4235290"/>
                <a:gd name="connsiteX7128" fmla="*/ 1688352 w 2792478"/>
                <a:gd name="connsiteY7128" fmla="*/ 604656 h 4235290"/>
                <a:gd name="connsiteX7129" fmla="*/ 1688352 w 2792478"/>
                <a:gd name="connsiteY7129" fmla="*/ 580667 h 4235290"/>
                <a:gd name="connsiteX7130" fmla="*/ 1690283 w 2792478"/>
                <a:gd name="connsiteY7130" fmla="*/ 578680 h 4235290"/>
                <a:gd name="connsiteX7131" fmla="*/ 1646524 w 2792478"/>
                <a:gd name="connsiteY7131" fmla="*/ 578680 h 4235290"/>
                <a:gd name="connsiteX7132" fmla="*/ 1674246 w 2792478"/>
                <a:gd name="connsiteY7132" fmla="*/ 578680 h 4235290"/>
                <a:gd name="connsiteX7133" fmla="*/ 1676232 w 2792478"/>
                <a:gd name="connsiteY7133" fmla="*/ 580667 h 4235290"/>
                <a:gd name="connsiteX7134" fmla="*/ 1676232 w 2792478"/>
                <a:gd name="connsiteY7134" fmla="*/ 604656 h 4235290"/>
                <a:gd name="connsiteX7135" fmla="*/ 1674246 w 2792478"/>
                <a:gd name="connsiteY7135" fmla="*/ 606643 h 4235290"/>
                <a:gd name="connsiteX7136" fmla="*/ 1646524 w 2792478"/>
                <a:gd name="connsiteY7136" fmla="*/ 606643 h 4235290"/>
                <a:gd name="connsiteX7137" fmla="*/ 1644605 w 2792478"/>
                <a:gd name="connsiteY7137" fmla="*/ 604656 h 4235290"/>
                <a:gd name="connsiteX7138" fmla="*/ 1644605 w 2792478"/>
                <a:gd name="connsiteY7138" fmla="*/ 580667 h 4235290"/>
                <a:gd name="connsiteX7139" fmla="*/ 1646524 w 2792478"/>
                <a:gd name="connsiteY7139" fmla="*/ 578680 h 4235290"/>
                <a:gd name="connsiteX7140" fmla="*/ 1600858 w 2792478"/>
                <a:gd name="connsiteY7140" fmla="*/ 578680 h 4235290"/>
                <a:gd name="connsiteX7141" fmla="*/ 1628512 w 2792478"/>
                <a:gd name="connsiteY7141" fmla="*/ 578680 h 4235290"/>
                <a:gd name="connsiteX7142" fmla="*/ 1630498 w 2792478"/>
                <a:gd name="connsiteY7142" fmla="*/ 580667 h 4235290"/>
                <a:gd name="connsiteX7143" fmla="*/ 1630498 w 2792478"/>
                <a:gd name="connsiteY7143" fmla="*/ 604656 h 4235290"/>
                <a:gd name="connsiteX7144" fmla="*/ 1628512 w 2792478"/>
                <a:gd name="connsiteY7144" fmla="*/ 606643 h 4235290"/>
                <a:gd name="connsiteX7145" fmla="*/ 1600858 w 2792478"/>
                <a:gd name="connsiteY7145" fmla="*/ 606643 h 4235290"/>
                <a:gd name="connsiteX7146" fmla="*/ 1598860 w 2792478"/>
                <a:gd name="connsiteY7146" fmla="*/ 604656 h 4235290"/>
                <a:gd name="connsiteX7147" fmla="*/ 1598860 w 2792478"/>
                <a:gd name="connsiteY7147" fmla="*/ 580667 h 4235290"/>
                <a:gd name="connsiteX7148" fmla="*/ 1600858 w 2792478"/>
                <a:gd name="connsiteY7148" fmla="*/ 578680 h 4235290"/>
                <a:gd name="connsiteX7149" fmla="*/ 374072 w 2792478"/>
                <a:gd name="connsiteY7149" fmla="*/ 574705 h 4235290"/>
                <a:gd name="connsiteX7150" fmla="*/ 407573 w 2792478"/>
                <a:gd name="connsiteY7150" fmla="*/ 574705 h 4235290"/>
                <a:gd name="connsiteX7151" fmla="*/ 415715 w 2792478"/>
                <a:gd name="connsiteY7151" fmla="*/ 582841 h 4235290"/>
                <a:gd name="connsiteX7152" fmla="*/ 415715 w 2792478"/>
                <a:gd name="connsiteY7152" fmla="*/ 616346 h 4235290"/>
                <a:gd name="connsiteX7153" fmla="*/ 407573 w 2792478"/>
                <a:gd name="connsiteY7153" fmla="*/ 624483 h 4235290"/>
                <a:gd name="connsiteX7154" fmla="*/ 374072 w 2792478"/>
                <a:gd name="connsiteY7154" fmla="*/ 624483 h 4235290"/>
                <a:gd name="connsiteX7155" fmla="*/ 365930 w 2792478"/>
                <a:gd name="connsiteY7155" fmla="*/ 616346 h 4235290"/>
                <a:gd name="connsiteX7156" fmla="*/ 365930 w 2792478"/>
                <a:gd name="connsiteY7156" fmla="*/ 582841 h 4235290"/>
                <a:gd name="connsiteX7157" fmla="*/ 374072 w 2792478"/>
                <a:gd name="connsiteY7157" fmla="*/ 574705 h 4235290"/>
                <a:gd name="connsiteX7158" fmla="*/ 316409 w 2792478"/>
                <a:gd name="connsiteY7158" fmla="*/ 574705 h 4235290"/>
                <a:gd name="connsiteX7159" fmla="*/ 349898 w 2792478"/>
                <a:gd name="connsiteY7159" fmla="*/ 574705 h 4235290"/>
                <a:gd name="connsiteX7160" fmla="*/ 358040 w 2792478"/>
                <a:gd name="connsiteY7160" fmla="*/ 582841 h 4235290"/>
                <a:gd name="connsiteX7161" fmla="*/ 358040 w 2792478"/>
                <a:gd name="connsiteY7161" fmla="*/ 616346 h 4235290"/>
                <a:gd name="connsiteX7162" fmla="*/ 349898 w 2792478"/>
                <a:gd name="connsiteY7162" fmla="*/ 624483 h 4235290"/>
                <a:gd name="connsiteX7163" fmla="*/ 316409 w 2792478"/>
                <a:gd name="connsiteY7163" fmla="*/ 624483 h 4235290"/>
                <a:gd name="connsiteX7164" fmla="*/ 308267 w 2792478"/>
                <a:gd name="connsiteY7164" fmla="*/ 616346 h 4235290"/>
                <a:gd name="connsiteX7165" fmla="*/ 308267 w 2792478"/>
                <a:gd name="connsiteY7165" fmla="*/ 582841 h 4235290"/>
                <a:gd name="connsiteX7166" fmla="*/ 316409 w 2792478"/>
                <a:gd name="connsiteY7166" fmla="*/ 574705 h 4235290"/>
                <a:gd name="connsiteX7167" fmla="*/ 256749 w 2792478"/>
                <a:gd name="connsiteY7167" fmla="*/ 574705 h 4235290"/>
                <a:gd name="connsiteX7168" fmla="*/ 290238 w 2792478"/>
                <a:gd name="connsiteY7168" fmla="*/ 574705 h 4235290"/>
                <a:gd name="connsiteX7169" fmla="*/ 298380 w 2792478"/>
                <a:gd name="connsiteY7169" fmla="*/ 582841 h 4235290"/>
                <a:gd name="connsiteX7170" fmla="*/ 298380 w 2792478"/>
                <a:gd name="connsiteY7170" fmla="*/ 616346 h 4235290"/>
                <a:gd name="connsiteX7171" fmla="*/ 290238 w 2792478"/>
                <a:gd name="connsiteY7171" fmla="*/ 624548 h 4235290"/>
                <a:gd name="connsiteX7172" fmla="*/ 256749 w 2792478"/>
                <a:gd name="connsiteY7172" fmla="*/ 624548 h 4235290"/>
                <a:gd name="connsiteX7173" fmla="*/ 248607 w 2792478"/>
                <a:gd name="connsiteY7173" fmla="*/ 616346 h 4235290"/>
                <a:gd name="connsiteX7174" fmla="*/ 248607 w 2792478"/>
                <a:gd name="connsiteY7174" fmla="*/ 582841 h 4235290"/>
                <a:gd name="connsiteX7175" fmla="*/ 256749 w 2792478"/>
                <a:gd name="connsiteY7175" fmla="*/ 574705 h 4235290"/>
                <a:gd name="connsiteX7176" fmla="*/ 992390 w 2792478"/>
                <a:gd name="connsiteY7176" fmla="*/ 573302 h 4235290"/>
                <a:gd name="connsiteX7177" fmla="*/ 1022167 w 2792478"/>
                <a:gd name="connsiteY7177" fmla="*/ 578366 h 4235290"/>
                <a:gd name="connsiteX7178" fmla="*/ 1026251 w 2792478"/>
                <a:gd name="connsiteY7178" fmla="*/ 587168 h 4235290"/>
                <a:gd name="connsiteX7179" fmla="*/ 1017522 w 2792478"/>
                <a:gd name="connsiteY7179" fmla="*/ 591257 h 4235290"/>
                <a:gd name="connsiteX7180" fmla="*/ 962330 w 2792478"/>
                <a:gd name="connsiteY7180" fmla="*/ 599584 h 4235290"/>
                <a:gd name="connsiteX7181" fmla="*/ 957197 w 2792478"/>
                <a:gd name="connsiteY7181" fmla="*/ 601866 h 4235290"/>
                <a:gd name="connsiteX7182" fmla="*/ 952686 w 2792478"/>
                <a:gd name="connsiteY7182" fmla="*/ 600210 h 4235290"/>
                <a:gd name="connsiteX7183" fmla="*/ 952064 w 2792478"/>
                <a:gd name="connsiteY7183" fmla="*/ 590643 h 4235290"/>
                <a:gd name="connsiteX7184" fmla="*/ 992390 w 2792478"/>
                <a:gd name="connsiteY7184" fmla="*/ 573302 h 4235290"/>
                <a:gd name="connsiteX7185" fmla="*/ 684971 w 2792478"/>
                <a:gd name="connsiteY7185" fmla="*/ 563125 h 4235290"/>
                <a:gd name="connsiteX7186" fmla="*/ 661734 w 2792478"/>
                <a:gd name="connsiteY7186" fmla="*/ 603792 h 4235290"/>
                <a:gd name="connsiteX7187" fmla="*/ 691208 w 2792478"/>
                <a:gd name="connsiteY7187" fmla="*/ 603792 h 4235290"/>
                <a:gd name="connsiteX7188" fmla="*/ 695275 w 2792478"/>
                <a:gd name="connsiteY7188" fmla="*/ 607865 h 4235290"/>
                <a:gd name="connsiteX7189" fmla="*/ 695275 w 2792478"/>
                <a:gd name="connsiteY7189" fmla="*/ 611932 h 4235290"/>
                <a:gd name="connsiteX7190" fmla="*/ 713170 w 2792478"/>
                <a:gd name="connsiteY7190" fmla="*/ 628117 h 4235290"/>
                <a:gd name="connsiteX7191" fmla="*/ 727826 w 2792478"/>
                <a:gd name="connsiteY7191" fmla="*/ 611197 h 4235290"/>
                <a:gd name="connsiteX7192" fmla="*/ 727826 w 2792478"/>
                <a:gd name="connsiteY7192" fmla="*/ 607865 h 4235290"/>
                <a:gd name="connsiteX7193" fmla="*/ 731873 w 2792478"/>
                <a:gd name="connsiteY7193" fmla="*/ 603792 h 4235290"/>
                <a:gd name="connsiteX7194" fmla="*/ 761367 w 2792478"/>
                <a:gd name="connsiteY7194" fmla="*/ 603792 h 4235290"/>
                <a:gd name="connsiteX7195" fmla="*/ 738129 w 2792478"/>
                <a:gd name="connsiteY7195" fmla="*/ 563125 h 4235290"/>
                <a:gd name="connsiteX7196" fmla="*/ 1443583 w 2792478"/>
                <a:gd name="connsiteY7196" fmla="*/ 559541 h 4235290"/>
                <a:gd name="connsiteX7197" fmla="*/ 1461430 w 2792478"/>
                <a:gd name="connsiteY7197" fmla="*/ 577398 h 4235290"/>
                <a:gd name="connsiteX7198" fmla="*/ 1452487 w 2792478"/>
                <a:gd name="connsiteY7198" fmla="*/ 592784 h 4235290"/>
                <a:gd name="connsiteX7199" fmla="*/ 1452487 w 2792478"/>
                <a:gd name="connsiteY7199" fmla="*/ 604185 h 4235290"/>
                <a:gd name="connsiteX7200" fmla="*/ 1443583 w 2792478"/>
                <a:gd name="connsiteY7200" fmla="*/ 613104 h 4235290"/>
                <a:gd name="connsiteX7201" fmla="*/ 1434633 w 2792478"/>
                <a:gd name="connsiteY7201" fmla="*/ 604185 h 4235290"/>
                <a:gd name="connsiteX7202" fmla="*/ 1434633 w 2792478"/>
                <a:gd name="connsiteY7202" fmla="*/ 592784 h 4235290"/>
                <a:gd name="connsiteX7203" fmla="*/ 1425716 w 2792478"/>
                <a:gd name="connsiteY7203" fmla="*/ 577398 h 4235290"/>
                <a:gd name="connsiteX7204" fmla="*/ 1443583 w 2792478"/>
                <a:gd name="connsiteY7204" fmla="*/ 559541 h 4235290"/>
                <a:gd name="connsiteX7205" fmla="*/ 231138 w 2792478"/>
                <a:gd name="connsiteY7205" fmla="*/ 552271 h 4235290"/>
                <a:gd name="connsiteX7206" fmla="*/ 231138 w 2792478"/>
                <a:gd name="connsiteY7206" fmla="*/ 697010 h 4235290"/>
                <a:gd name="connsiteX7207" fmla="*/ 251525 w 2792478"/>
                <a:gd name="connsiteY7207" fmla="*/ 717456 h 4235290"/>
                <a:gd name="connsiteX7208" fmla="*/ 415023 w 2792478"/>
                <a:gd name="connsiteY7208" fmla="*/ 717456 h 4235290"/>
                <a:gd name="connsiteX7209" fmla="*/ 435477 w 2792478"/>
                <a:gd name="connsiteY7209" fmla="*/ 697010 h 4235290"/>
                <a:gd name="connsiteX7210" fmla="*/ 435477 w 2792478"/>
                <a:gd name="connsiteY7210" fmla="*/ 552271 h 4235290"/>
                <a:gd name="connsiteX7211" fmla="*/ 679013 w 2792478"/>
                <a:gd name="connsiteY7211" fmla="*/ 546856 h 4235290"/>
                <a:gd name="connsiteX7212" fmla="*/ 744088 w 2792478"/>
                <a:gd name="connsiteY7212" fmla="*/ 546856 h 4235290"/>
                <a:gd name="connsiteX7213" fmla="*/ 752209 w 2792478"/>
                <a:gd name="connsiteY7213" fmla="*/ 555002 h 4235290"/>
                <a:gd name="connsiteX7214" fmla="*/ 784760 w 2792478"/>
                <a:gd name="connsiteY7214" fmla="*/ 611932 h 4235290"/>
                <a:gd name="connsiteX7215" fmla="*/ 784760 w 2792478"/>
                <a:gd name="connsiteY7215" fmla="*/ 668862 h 4235290"/>
                <a:gd name="connsiteX7216" fmla="*/ 776619 w 2792478"/>
                <a:gd name="connsiteY7216" fmla="*/ 677009 h 4235290"/>
                <a:gd name="connsiteX7217" fmla="*/ 646489 w 2792478"/>
                <a:gd name="connsiteY7217" fmla="*/ 677009 h 4235290"/>
                <a:gd name="connsiteX7218" fmla="*/ 638341 w 2792478"/>
                <a:gd name="connsiteY7218" fmla="*/ 668862 h 4235290"/>
                <a:gd name="connsiteX7219" fmla="*/ 638341 w 2792478"/>
                <a:gd name="connsiteY7219" fmla="*/ 611932 h 4235290"/>
                <a:gd name="connsiteX7220" fmla="*/ 670872 w 2792478"/>
                <a:gd name="connsiteY7220" fmla="*/ 555002 h 4235290"/>
                <a:gd name="connsiteX7221" fmla="*/ 679013 w 2792478"/>
                <a:gd name="connsiteY7221" fmla="*/ 546856 h 4235290"/>
                <a:gd name="connsiteX7222" fmla="*/ 1077773 w 2792478"/>
                <a:gd name="connsiteY7222" fmla="*/ 546470 h 4235290"/>
                <a:gd name="connsiteX7223" fmla="*/ 1041576 w 2792478"/>
                <a:gd name="connsiteY7223" fmla="*/ 555770 h 4235290"/>
                <a:gd name="connsiteX7224" fmla="*/ 1041503 w 2792478"/>
                <a:gd name="connsiteY7224" fmla="*/ 555770 h 4235290"/>
                <a:gd name="connsiteX7225" fmla="*/ 1041368 w 2792478"/>
                <a:gd name="connsiteY7225" fmla="*/ 555770 h 4235290"/>
                <a:gd name="connsiteX7226" fmla="*/ 1040808 w 2792478"/>
                <a:gd name="connsiteY7226" fmla="*/ 555909 h 4235290"/>
                <a:gd name="connsiteX7227" fmla="*/ 1035334 w 2792478"/>
                <a:gd name="connsiteY7227" fmla="*/ 554450 h 4235290"/>
                <a:gd name="connsiteX7228" fmla="*/ 1015851 w 2792478"/>
                <a:gd name="connsiteY7228" fmla="*/ 551392 h 4235290"/>
                <a:gd name="connsiteX7229" fmla="*/ 1002465 w 2792478"/>
                <a:gd name="connsiteY7229" fmla="*/ 550014 h 4235290"/>
                <a:gd name="connsiteX7230" fmla="*/ 951162 w 2792478"/>
                <a:gd name="connsiteY7230" fmla="*/ 564572 h 4235290"/>
                <a:gd name="connsiteX7231" fmla="*/ 916977 w 2792478"/>
                <a:gd name="connsiteY7231" fmla="*/ 624474 h 4235290"/>
                <a:gd name="connsiteX7232" fmla="*/ 940409 w 2792478"/>
                <a:gd name="connsiteY7232" fmla="*/ 679939 h 4235290"/>
                <a:gd name="connsiteX7233" fmla="*/ 948809 w 2792478"/>
                <a:gd name="connsiteY7233" fmla="*/ 703589 h 4235290"/>
                <a:gd name="connsiteX7234" fmla="*/ 958441 w 2792478"/>
                <a:gd name="connsiteY7234" fmla="*/ 704354 h 4235290"/>
                <a:gd name="connsiteX7235" fmla="*/ 961281 w 2792478"/>
                <a:gd name="connsiteY7235" fmla="*/ 692285 h 4235290"/>
                <a:gd name="connsiteX7236" fmla="*/ 968560 w 2792478"/>
                <a:gd name="connsiteY7236" fmla="*/ 688892 h 4235290"/>
                <a:gd name="connsiteX7237" fmla="*/ 970084 w 2792478"/>
                <a:gd name="connsiteY7237" fmla="*/ 689031 h 4235290"/>
                <a:gd name="connsiteX7238" fmla="*/ 970925 w 2792478"/>
                <a:gd name="connsiteY7238" fmla="*/ 689239 h 4235290"/>
                <a:gd name="connsiteX7239" fmla="*/ 1001221 w 2792478"/>
                <a:gd name="connsiteY7239" fmla="*/ 692216 h 4235290"/>
                <a:gd name="connsiteX7240" fmla="*/ 1007256 w 2792478"/>
                <a:gd name="connsiteY7240" fmla="*/ 691938 h 4235290"/>
                <a:gd name="connsiteX7241" fmla="*/ 1009475 w 2792478"/>
                <a:gd name="connsiteY7241" fmla="*/ 691671 h 4235290"/>
                <a:gd name="connsiteX7242" fmla="*/ 1009536 w 2792478"/>
                <a:gd name="connsiteY7242" fmla="*/ 691671 h 4235290"/>
                <a:gd name="connsiteX7243" fmla="*/ 1019594 w 2792478"/>
                <a:gd name="connsiteY7243" fmla="*/ 705743 h 4235290"/>
                <a:gd name="connsiteX7244" fmla="*/ 1023959 w 2792478"/>
                <a:gd name="connsiteY7244" fmla="*/ 705743 h 4235290"/>
                <a:gd name="connsiteX7245" fmla="*/ 1029018 w 2792478"/>
                <a:gd name="connsiteY7245" fmla="*/ 687571 h 4235290"/>
                <a:gd name="connsiteX7246" fmla="*/ 1031103 w 2792478"/>
                <a:gd name="connsiteY7246" fmla="*/ 686460 h 4235290"/>
                <a:gd name="connsiteX7247" fmla="*/ 1039564 w 2792478"/>
                <a:gd name="connsiteY7247" fmla="*/ 685487 h 4235290"/>
                <a:gd name="connsiteX7248" fmla="*/ 1045672 w 2792478"/>
                <a:gd name="connsiteY7248" fmla="*/ 685012 h 4235290"/>
                <a:gd name="connsiteX7249" fmla="*/ 1049208 w 2792478"/>
                <a:gd name="connsiteY7249" fmla="*/ 685012 h 4235290"/>
                <a:gd name="connsiteX7250" fmla="*/ 1058010 w 2792478"/>
                <a:gd name="connsiteY7250" fmla="*/ 697358 h 4235290"/>
                <a:gd name="connsiteX7251" fmla="*/ 1070275 w 2792478"/>
                <a:gd name="connsiteY7251" fmla="*/ 696177 h 4235290"/>
                <a:gd name="connsiteX7252" fmla="*/ 1071738 w 2792478"/>
                <a:gd name="connsiteY7252" fmla="*/ 680090 h 4235290"/>
                <a:gd name="connsiteX7253" fmla="*/ 1072640 w 2792478"/>
                <a:gd name="connsiteY7253" fmla="*/ 679395 h 4235290"/>
                <a:gd name="connsiteX7254" fmla="*/ 1078187 w 2792478"/>
                <a:gd name="connsiteY7254" fmla="*/ 671693 h 4235290"/>
                <a:gd name="connsiteX7255" fmla="*/ 1083454 w 2792478"/>
                <a:gd name="connsiteY7255" fmla="*/ 662682 h 4235290"/>
                <a:gd name="connsiteX7256" fmla="*/ 1111056 w 2792478"/>
                <a:gd name="connsiteY7256" fmla="*/ 649571 h 4235290"/>
                <a:gd name="connsiteX7257" fmla="*/ 1110983 w 2792478"/>
                <a:gd name="connsiteY7257" fmla="*/ 649571 h 4235290"/>
                <a:gd name="connsiteX7258" fmla="*/ 1110983 w 2792478"/>
                <a:gd name="connsiteY7258" fmla="*/ 630299 h 4235290"/>
                <a:gd name="connsiteX7259" fmla="*/ 1098499 w 2792478"/>
                <a:gd name="connsiteY7259" fmla="*/ 619007 h 4235290"/>
                <a:gd name="connsiteX7260" fmla="*/ 1098084 w 2792478"/>
                <a:gd name="connsiteY7260" fmla="*/ 617061 h 4235290"/>
                <a:gd name="connsiteX7261" fmla="*/ 1073957 w 2792478"/>
                <a:gd name="connsiteY7261" fmla="*/ 570247 h 4235290"/>
                <a:gd name="connsiteX7262" fmla="*/ 1071738 w 2792478"/>
                <a:gd name="connsiteY7262" fmla="*/ 565394 h 4235290"/>
                <a:gd name="connsiteX7263" fmla="*/ 1073676 w 2792478"/>
                <a:gd name="connsiteY7263" fmla="*/ 560403 h 4235290"/>
                <a:gd name="connsiteX7264" fmla="*/ 1077773 w 2792478"/>
                <a:gd name="connsiteY7264" fmla="*/ 546470 h 4235290"/>
                <a:gd name="connsiteX7265" fmla="*/ 2129727 w 2792478"/>
                <a:gd name="connsiteY7265" fmla="*/ 542056 h 4235290"/>
                <a:gd name="connsiteX7266" fmla="*/ 2129727 w 2792478"/>
                <a:gd name="connsiteY7266" fmla="*/ 566508 h 4235290"/>
                <a:gd name="connsiteX7267" fmla="*/ 2163750 w 2792478"/>
                <a:gd name="connsiteY7267" fmla="*/ 600533 h 4235290"/>
                <a:gd name="connsiteX7268" fmla="*/ 2197773 w 2792478"/>
                <a:gd name="connsiteY7268" fmla="*/ 566508 h 4235290"/>
                <a:gd name="connsiteX7269" fmla="*/ 2197773 w 2792478"/>
                <a:gd name="connsiteY7269" fmla="*/ 542275 h 4235290"/>
                <a:gd name="connsiteX7270" fmla="*/ 2165717 w 2792478"/>
                <a:gd name="connsiteY7270" fmla="*/ 547399 h 4235290"/>
                <a:gd name="connsiteX7271" fmla="*/ 2129727 w 2792478"/>
                <a:gd name="connsiteY7271" fmla="*/ 542056 h 4235290"/>
                <a:gd name="connsiteX7272" fmla="*/ 1389988 w 2792478"/>
                <a:gd name="connsiteY7272" fmla="*/ 541683 h 4235290"/>
                <a:gd name="connsiteX7273" fmla="*/ 1389988 w 2792478"/>
                <a:gd name="connsiteY7273" fmla="*/ 630980 h 4235290"/>
                <a:gd name="connsiteX7274" fmla="*/ 1497145 w 2792478"/>
                <a:gd name="connsiteY7274" fmla="*/ 630980 h 4235290"/>
                <a:gd name="connsiteX7275" fmla="*/ 1497145 w 2792478"/>
                <a:gd name="connsiteY7275" fmla="*/ 541683 h 4235290"/>
                <a:gd name="connsiteX7276" fmla="*/ 1736016 w 2792478"/>
                <a:gd name="connsiteY7276" fmla="*/ 540902 h 4235290"/>
                <a:gd name="connsiteX7277" fmla="*/ 1763738 w 2792478"/>
                <a:gd name="connsiteY7277" fmla="*/ 540902 h 4235290"/>
                <a:gd name="connsiteX7278" fmla="*/ 1765724 w 2792478"/>
                <a:gd name="connsiteY7278" fmla="*/ 542889 h 4235290"/>
                <a:gd name="connsiteX7279" fmla="*/ 1765724 w 2792478"/>
                <a:gd name="connsiteY7279" fmla="*/ 566878 h 4235290"/>
                <a:gd name="connsiteX7280" fmla="*/ 1763738 w 2792478"/>
                <a:gd name="connsiteY7280" fmla="*/ 568865 h 4235290"/>
                <a:gd name="connsiteX7281" fmla="*/ 1736016 w 2792478"/>
                <a:gd name="connsiteY7281" fmla="*/ 568865 h 4235290"/>
                <a:gd name="connsiteX7282" fmla="*/ 1734086 w 2792478"/>
                <a:gd name="connsiteY7282" fmla="*/ 566878 h 4235290"/>
                <a:gd name="connsiteX7283" fmla="*/ 1734086 w 2792478"/>
                <a:gd name="connsiteY7283" fmla="*/ 542889 h 4235290"/>
                <a:gd name="connsiteX7284" fmla="*/ 1736016 w 2792478"/>
                <a:gd name="connsiteY7284" fmla="*/ 540902 h 4235290"/>
                <a:gd name="connsiteX7285" fmla="*/ 1690283 w 2792478"/>
                <a:gd name="connsiteY7285" fmla="*/ 540902 h 4235290"/>
                <a:gd name="connsiteX7286" fmla="*/ 1717993 w 2792478"/>
                <a:gd name="connsiteY7286" fmla="*/ 540902 h 4235290"/>
                <a:gd name="connsiteX7287" fmla="*/ 1719979 w 2792478"/>
                <a:gd name="connsiteY7287" fmla="*/ 542889 h 4235290"/>
                <a:gd name="connsiteX7288" fmla="*/ 1719979 w 2792478"/>
                <a:gd name="connsiteY7288" fmla="*/ 566878 h 4235290"/>
                <a:gd name="connsiteX7289" fmla="*/ 1717993 w 2792478"/>
                <a:gd name="connsiteY7289" fmla="*/ 568865 h 4235290"/>
                <a:gd name="connsiteX7290" fmla="*/ 1690283 w 2792478"/>
                <a:gd name="connsiteY7290" fmla="*/ 568865 h 4235290"/>
                <a:gd name="connsiteX7291" fmla="*/ 1688352 w 2792478"/>
                <a:gd name="connsiteY7291" fmla="*/ 566878 h 4235290"/>
                <a:gd name="connsiteX7292" fmla="*/ 1688352 w 2792478"/>
                <a:gd name="connsiteY7292" fmla="*/ 542889 h 4235290"/>
                <a:gd name="connsiteX7293" fmla="*/ 1690283 w 2792478"/>
                <a:gd name="connsiteY7293" fmla="*/ 540902 h 4235290"/>
                <a:gd name="connsiteX7294" fmla="*/ 556839 w 2792478"/>
                <a:gd name="connsiteY7294" fmla="*/ 534931 h 4235290"/>
                <a:gd name="connsiteX7295" fmla="*/ 564604 w 2792478"/>
                <a:gd name="connsiteY7295" fmla="*/ 534931 h 4235290"/>
                <a:gd name="connsiteX7296" fmla="*/ 564604 w 2792478"/>
                <a:gd name="connsiteY7296" fmla="*/ 581602 h 4235290"/>
                <a:gd name="connsiteX7297" fmla="*/ 556839 w 2792478"/>
                <a:gd name="connsiteY7297" fmla="*/ 581602 h 4235290"/>
                <a:gd name="connsiteX7298" fmla="*/ 556839 w 2792478"/>
                <a:gd name="connsiteY7298" fmla="*/ 534931 h 4235290"/>
                <a:gd name="connsiteX7299" fmla="*/ 540929 w 2792478"/>
                <a:gd name="connsiteY7299" fmla="*/ 534931 h 4235290"/>
                <a:gd name="connsiteX7300" fmla="*/ 548699 w 2792478"/>
                <a:gd name="connsiteY7300" fmla="*/ 534931 h 4235290"/>
                <a:gd name="connsiteX7301" fmla="*/ 548699 w 2792478"/>
                <a:gd name="connsiteY7301" fmla="*/ 581602 h 4235290"/>
                <a:gd name="connsiteX7302" fmla="*/ 540929 w 2792478"/>
                <a:gd name="connsiteY7302" fmla="*/ 581602 h 4235290"/>
                <a:gd name="connsiteX7303" fmla="*/ 540929 w 2792478"/>
                <a:gd name="connsiteY7303" fmla="*/ 534931 h 4235290"/>
                <a:gd name="connsiteX7304" fmla="*/ 527007 w 2792478"/>
                <a:gd name="connsiteY7304" fmla="*/ 534931 h 4235290"/>
                <a:gd name="connsiteX7305" fmla="*/ 534777 w 2792478"/>
                <a:gd name="connsiteY7305" fmla="*/ 534931 h 4235290"/>
                <a:gd name="connsiteX7306" fmla="*/ 534777 w 2792478"/>
                <a:gd name="connsiteY7306" fmla="*/ 581602 h 4235290"/>
                <a:gd name="connsiteX7307" fmla="*/ 527007 w 2792478"/>
                <a:gd name="connsiteY7307" fmla="*/ 581602 h 4235290"/>
                <a:gd name="connsiteX7308" fmla="*/ 527007 w 2792478"/>
                <a:gd name="connsiteY7308" fmla="*/ 534931 h 4235290"/>
                <a:gd name="connsiteX7309" fmla="*/ 1083113 w 2792478"/>
                <a:gd name="connsiteY7309" fmla="*/ 531008 h 4235290"/>
                <a:gd name="connsiteX7310" fmla="*/ 1088794 w 2792478"/>
                <a:gd name="connsiteY7310" fmla="*/ 532120 h 4235290"/>
                <a:gd name="connsiteX7311" fmla="*/ 1091574 w 2792478"/>
                <a:gd name="connsiteY7311" fmla="*/ 537181 h 4235290"/>
                <a:gd name="connsiteX7312" fmla="*/ 1087404 w 2792478"/>
                <a:gd name="connsiteY7312" fmla="*/ 564225 h 4235290"/>
                <a:gd name="connsiteX7313" fmla="*/ 1111678 w 2792478"/>
                <a:gd name="connsiteY7313" fmla="*/ 614907 h 4235290"/>
                <a:gd name="connsiteX7314" fmla="*/ 1116250 w 2792478"/>
                <a:gd name="connsiteY7314" fmla="*/ 617200 h 4235290"/>
                <a:gd name="connsiteX7315" fmla="*/ 1122004 w 2792478"/>
                <a:gd name="connsiteY7315" fmla="*/ 618798 h 4235290"/>
                <a:gd name="connsiteX7316" fmla="*/ 1124638 w 2792478"/>
                <a:gd name="connsiteY7316" fmla="*/ 623918 h 4235290"/>
                <a:gd name="connsiteX7317" fmla="*/ 1124638 w 2792478"/>
                <a:gd name="connsiteY7317" fmla="*/ 656092 h 4235290"/>
                <a:gd name="connsiteX7318" fmla="*/ 1122565 w 2792478"/>
                <a:gd name="connsiteY7318" fmla="*/ 661014 h 4235290"/>
                <a:gd name="connsiteX7319" fmla="*/ 1117493 w 2792478"/>
                <a:gd name="connsiteY7319" fmla="*/ 662891 h 4235290"/>
                <a:gd name="connsiteX7320" fmla="*/ 1093854 w 2792478"/>
                <a:gd name="connsiteY7320" fmla="*/ 671554 h 4235290"/>
                <a:gd name="connsiteX7321" fmla="*/ 1090525 w 2792478"/>
                <a:gd name="connsiteY7321" fmla="*/ 677518 h 4235290"/>
                <a:gd name="connsiteX7322" fmla="*/ 1082967 w 2792478"/>
                <a:gd name="connsiteY7322" fmla="*/ 688614 h 4235290"/>
                <a:gd name="connsiteX7323" fmla="*/ 1085259 w 2792478"/>
                <a:gd name="connsiteY7323" fmla="*/ 700532 h 4235290"/>
                <a:gd name="connsiteX7324" fmla="*/ 1084283 w 2792478"/>
                <a:gd name="connsiteY7324" fmla="*/ 706149 h 4235290"/>
                <a:gd name="connsiteX7325" fmla="*/ 1079297 w 2792478"/>
                <a:gd name="connsiteY7325" fmla="*/ 709067 h 4235290"/>
                <a:gd name="connsiteX7326" fmla="*/ 1053780 w 2792478"/>
                <a:gd name="connsiteY7326" fmla="*/ 711488 h 4235290"/>
                <a:gd name="connsiteX7327" fmla="*/ 1046501 w 2792478"/>
                <a:gd name="connsiteY7327" fmla="*/ 706496 h 4235290"/>
                <a:gd name="connsiteX7328" fmla="*/ 1044002 w 2792478"/>
                <a:gd name="connsiteY7328" fmla="*/ 698875 h 4235290"/>
                <a:gd name="connsiteX7329" fmla="*/ 1040539 w 2792478"/>
                <a:gd name="connsiteY7329" fmla="*/ 699153 h 4235290"/>
                <a:gd name="connsiteX7330" fmla="*/ 1038321 w 2792478"/>
                <a:gd name="connsiteY7330" fmla="*/ 699292 h 4235290"/>
                <a:gd name="connsiteX7331" fmla="*/ 1037345 w 2792478"/>
                <a:gd name="connsiteY7331" fmla="*/ 712669 h 4235290"/>
                <a:gd name="connsiteX7332" fmla="*/ 1030554 w 2792478"/>
                <a:gd name="connsiteY7332" fmla="*/ 719398 h 4235290"/>
                <a:gd name="connsiteX7333" fmla="*/ 1014047 w 2792478"/>
                <a:gd name="connsiteY7333" fmla="*/ 719468 h 4235290"/>
                <a:gd name="connsiteX7334" fmla="*/ 1013974 w 2792478"/>
                <a:gd name="connsiteY7334" fmla="*/ 719468 h 4235290"/>
                <a:gd name="connsiteX7335" fmla="*/ 1007256 w 2792478"/>
                <a:gd name="connsiteY7335" fmla="*/ 713920 h 4235290"/>
                <a:gd name="connsiteX7336" fmla="*/ 1005525 w 2792478"/>
                <a:gd name="connsiteY7336" fmla="*/ 705801 h 4235290"/>
                <a:gd name="connsiteX7337" fmla="*/ 1001221 w 2792478"/>
                <a:gd name="connsiteY7337" fmla="*/ 705940 h 4235290"/>
                <a:gd name="connsiteX7338" fmla="*/ 972095 w 2792478"/>
                <a:gd name="connsiteY7338" fmla="*/ 703589 h 4235290"/>
                <a:gd name="connsiteX7339" fmla="*/ 972717 w 2792478"/>
                <a:gd name="connsiteY7339" fmla="*/ 709276 h 4235290"/>
                <a:gd name="connsiteX7340" fmla="*/ 973205 w 2792478"/>
                <a:gd name="connsiteY7340" fmla="*/ 711835 h 4235290"/>
                <a:gd name="connsiteX7341" fmla="*/ 966414 w 2792478"/>
                <a:gd name="connsiteY7341" fmla="*/ 718646 h 4235290"/>
                <a:gd name="connsiteX7342" fmla="*/ 966280 w 2792478"/>
                <a:gd name="connsiteY7342" fmla="*/ 718646 h 4235290"/>
                <a:gd name="connsiteX7343" fmla="*/ 965719 w 2792478"/>
                <a:gd name="connsiteY7343" fmla="*/ 718646 h 4235290"/>
                <a:gd name="connsiteX7344" fmla="*/ 941665 w 2792478"/>
                <a:gd name="connsiteY7344" fmla="*/ 716769 h 4235290"/>
                <a:gd name="connsiteX7345" fmla="*/ 935350 w 2792478"/>
                <a:gd name="connsiteY7345" fmla="*/ 709971 h 4235290"/>
                <a:gd name="connsiteX7346" fmla="*/ 932997 w 2792478"/>
                <a:gd name="connsiteY7346" fmla="*/ 691451 h 4235290"/>
                <a:gd name="connsiteX7347" fmla="*/ 903310 w 2792478"/>
                <a:gd name="connsiteY7347" fmla="*/ 624474 h 4235290"/>
                <a:gd name="connsiteX7348" fmla="*/ 904565 w 2792478"/>
                <a:gd name="connsiteY7348" fmla="*/ 611166 h 4235290"/>
                <a:gd name="connsiteX7349" fmla="*/ 897494 w 2792478"/>
                <a:gd name="connsiteY7349" fmla="*/ 612695 h 4235290"/>
                <a:gd name="connsiteX7350" fmla="*/ 888826 w 2792478"/>
                <a:gd name="connsiteY7350" fmla="*/ 618370 h 4235290"/>
                <a:gd name="connsiteX7351" fmla="*/ 863443 w 2792478"/>
                <a:gd name="connsiteY7351" fmla="*/ 583497 h 4235290"/>
                <a:gd name="connsiteX7352" fmla="*/ 870514 w 2792478"/>
                <a:gd name="connsiteY7352" fmla="*/ 581621 h 4235290"/>
                <a:gd name="connsiteX7353" fmla="*/ 882718 w 2792478"/>
                <a:gd name="connsiteY7353" fmla="*/ 610402 h 4235290"/>
                <a:gd name="connsiteX7354" fmla="*/ 888680 w 2792478"/>
                <a:gd name="connsiteY7354" fmla="*/ 610680 h 4235290"/>
                <a:gd name="connsiteX7355" fmla="*/ 880853 w 2792478"/>
                <a:gd name="connsiteY7355" fmla="*/ 600210 h 4235290"/>
                <a:gd name="connsiteX7356" fmla="*/ 898945 w 2792478"/>
                <a:gd name="connsiteY7356" fmla="*/ 591824 h 4235290"/>
                <a:gd name="connsiteX7357" fmla="*/ 900542 w 2792478"/>
                <a:gd name="connsiteY7357" fmla="*/ 604784 h 4235290"/>
                <a:gd name="connsiteX7358" fmla="*/ 906297 w 2792478"/>
                <a:gd name="connsiteY7358" fmla="*/ 602491 h 4235290"/>
                <a:gd name="connsiteX7359" fmla="*/ 944152 w 2792478"/>
                <a:gd name="connsiteY7359" fmla="*/ 552921 h 4235290"/>
                <a:gd name="connsiteX7360" fmla="*/ 1002538 w 2792478"/>
                <a:gd name="connsiteY7360" fmla="*/ 536359 h 4235290"/>
                <a:gd name="connsiteX7361" fmla="*/ 1018216 w 2792478"/>
                <a:gd name="connsiteY7361" fmla="*/ 537946 h 4235290"/>
                <a:gd name="connsiteX7362" fmla="*/ 1041088 w 2792478"/>
                <a:gd name="connsiteY7362" fmla="*/ 541825 h 4235290"/>
                <a:gd name="connsiteX7363" fmla="*/ 1272963 w 2792478"/>
                <a:gd name="connsiteY7363" fmla="*/ 530356 h 4235290"/>
                <a:gd name="connsiteX7364" fmla="*/ 1286736 w 2792478"/>
                <a:gd name="connsiteY7364" fmla="*/ 544130 h 4235290"/>
                <a:gd name="connsiteX7365" fmla="*/ 1272963 w 2792478"/>
                <a:gd name="connsiteY7365" fmla="*/ 557911 h 4235290"/>
                <a:gd name="connsiteX7366" fmla="*/ 1259181 w 2792478"/>
                <a:gd name="connsiteY7366" fmla="*/ 544130 h 4235290"/>
                <a:gd name="connsiteX7367" fmla="*/ 1272963 w 2792478"/>
                <a:gd name="connsiteY7367" fmla="*/ 530356 h 4235290"/>
                <a:gd name="connsiteX7368" fmla="*/ 1216478 w 2792478"/>
                <a:gd name="connsiteY7368" fmla="*/ 530356 h 4235290"/>
                <a:gd name="connsiteX7369" fmla="*/ 1230259 w 2792478"/>
                <a:gd name="connsiteY7369" fmla="*/ 544130 h 4235290"/>
                <a:gd name="connsiteX7370" fmla="*/ 1216478 w 2792478"/>
                <a:gd name="connsiteY7370" fmla="*/ 557911 h 4235290"/>
                <a:gd name="connsiteX7371" fmla="*/ 1202713 w 2792478"/>
                <a:gd name="connsiteY7371" fmla="*/ 544130 h 4235290"/>
                <a:gd name="connsiteX7372" fmla="*/ 1216478 w 2792478"/>
                <a:gd name="connsiteY7372" fmla="*/ 530356 h 4235290"/>
                <a:gd name="connsiteX7373" fmla="*/ 1578482 w 2792478"/>
                <a:gd name="connsiteY7373" fmla="*/ 520448 h 4235290"/>
                <a:gd name="connsiteX7374" fmla="*/ 1578482 w 2792478"/>
                <a:gd name="connsiteY7374" fmla="*/ 661208 h 4235290"/>
                <a:gd name="connsiteX7375" fmla="*/ 1788714 w 2792478"/>
                <a:gd name="connsiteY7375" fmla="*/ 661208 h 4235290"/>
                <a:gd name="connsiteX7376" fmla="*/ 1788714 w 2792478"/>
                <a:gd name="connsiteY7376" fmla="*/ 520448 h 4235290"/>
                <a:gd name="connsiteX7377" fmla="*/ 510727 w 2792478"/>
                <a:gd name="connsiteY7377" fmla="*/ 518464 h 4235290"/>
                <a:gd name="connsiteX7378" fmla="*/ 510727 w 2792478"/>
                <a:gd name="connsiteY7378" fmla="*/ 596270 h 4235290"/>
                <a:gd name="connsiteX7379" fmla="*/ 580702 w 2792478"/>
                <a:gd name="connsiteY7379" fmla="*/ 596270 h 4235290"/>
                <a:gd name="connsiteX7380" fmla="*/ 580702 w 2792478"/>
                <a:gd name="connsiteY7380" fmla="*/ 518464 h 4235290"/>
                <a:gd name="connsiteX7381" fmla="*/ 2335766 w 2792478"/>
                <a:gd name="connsiteY7381" fmla="*/ 505102 h 4235290"/>
                <a:gd name="connsiteX7382" fmla="*/ 2339555 w 2792478"/>
                <a:gd name="connsiteY7382" fmla="*/ 508275 h 4235290"/>
                <a:gd name="connsiteX7383" fmla="*/ 2344902 w 2792478"/>
                <a:gd name="connsiteY7383" fmla="*/ 569422 h 4235290"/>
                <a:gd name="connsiteX7384" fmla="*/ 2341733 w 2792478"/>
                <a:gd name="connsiteY7384" fmla="*/ 573153 h 4235290"/>
                <a:gd name="connsiteX7385" fmla="*/ 2341419 w 2792478"/>
                <a:gd name="connsiteY7385" fmla="*/ 573153 h 4235290"/>
                <a:gd name="connsiteX7386" fmla="*/ 2338000 w 2792478"/>
                <a:gd name="connsiteY7386" fmla="*/ 569981 h 4235290"/>
                <a:gd name="connsiteX7387" fmla="*/ 2332658 w 2792478"/>
                <a:gd name="connsiteY7387" fmla="*/ 508897 h 4235290"/>
                <a:gd name="connsiteX7388" fmla="*/ 2335766 w 2792478"/>
                <a:gd name="connsiteY7388" fmla="*/ 505102 h 4235290"/>
                <a:gd name="connsiteX7389" fmla="*/ 526263 w 2792478"/>
                <a:gd name="connsiteY7389" fmla="*/ 502928 h 4235290"/>
                <a:gd name="connsiteX7390" fmla="*/ 526263 w 2792478"/>
                <a:gd name="connsiteY7390" fmla="*/ 510696 h 4235290"/>
                <a:gd name="connsiteX7391" fmla="*/ 565166 w 2792478"/>
                <a:gd name="connsiteY7391" fmla="*/ 510696 h 4235290"/>
                <a:gd name="connsiteX7392" fmla="*/ 565166 w 2792478"/>
                <a:gd name="connsiteY7392" fmla="*/ 502928 h 4235290"/>
                <a:gd name="connsiteX7393" fmla="*/ 2475534 w 2792478"/>
                <a:gd name="connsiteY7393" fmla="*/ 500756 h 4235290"/>
                <a:gd name="connsiteX7394" fmla="*/ 2444527 w 2792478"/>
                <a:gd name="connsiteY7394" fmla="*/ 518902 h 4235290"/>
                <a:gd name="connsiteX7395" fmla="*/ 2440363 w 2792478"/>
                <a:gd name="connsiteY7395" fmla="*/ 539167 h 4235290"/>
                <a:gd name="connsiteX7396" fmla="*/ 2472737 w 2792478"/>
                <a:gd name="connsiteY7396" fmla="*/ 574583 h 4235290"/>
                <a:gd name="connsiteX7397" fmla="*/ 2476716 w 2792478"/>
                <a:gd name="connsiteY7397" fmla="*/ 581419 h 4235290"/>
                <a:gd name="connsiteX7398" fmla="*/ 2476716 w 2792478"/>
                <a:gd name="connsiteY7398" fmla="*/ 630702 h 4235290"/>
                <a:gd name="connsiteX7399" fmla="*/ 2564023 w 2792478"/>
                <a:gd name="connsiteY7399" fmla="*/ 630702 h 4235290"/>
                <a:gd name="connsiteX7400" fmla="*/ 2564023 w 2792478"/>
                <a:gd name="connsiteY7400" fmla="*/ 587818 h 4235290"/>
                <a:gd name="connsiteX7401" fmla="*/ 2513870 w 2792478"/>
                <a:gd name="connsiteY7401" fmla="*/ 594033 h 4235290"/>
                <a:gd name="connsiteX7402" fmla="*/ 2498583 w 2792478"/>
                <a:gd name="connsiteY7402" fmla="*/ 593533 h 4235290"/>
                <a:gd name="connsiteX7403" fmla="*/ 2491438 w 2792478"/>
                <a:gd name="connsiteY7403" fmla="*/ 585087 h 4235290"/>
                <a:gd name="connsiteX7404" fmla="*/ 2499830 w 2792478"/>
                <a:gd name="connsiteY7404" fmla="*/ 578006 h 4235290"/>
                <a:gd name="connsiteX7405" fmla="*/ 2587821 w 2792478"/>
                <a:gd name="connsiteY7405" fmla="*/ 554450 h 4235290"/>
                <a:gd name="connsiteX7406" fmla="*/ 2590369 w 2792478"/>
                <a:gd name="connsiteY7406" fmla="*/ 520023 h 4235290"/>
                <a:gd name="connsiteX7407" fmla="*/ 2559242 w 2792478"/>
                <a:gd name="connsiteY7407" fmla="*/ 505850 h 4235290"/>
                <a:gd name="connsiteX7408" fmla="*/ 2505858 w 2792478"/>
                <a:gd name="connsiteY7408" fmla="*/ 544822 h 4235290"/>
                <a:gd name="connsiteX7409" fmla="*/ 2495168 w 2792478"/>
                <a:gd name="connsiteY7409" fmla="*/ 547491 h 4235290"/>
                <a:gd name="connsiteX7410" fmla="*/ 2492555 w 2792478"/>
                <a:gd name="connsiteY7410" fmla="*/ 536803 h 4235290"/>
                <a:gd name="connsiteX7411" fmla="*/ 2510086 w 2792478"/>
                <a:gd name="connsiteY7411" fmla="*/ 514806 h 4235290"/>
                <a:gd name="connsiteX7412" fmla="*/ 2475534 w 2792478"/>
                <a:gd name="connsiteY7412" fmla="*/ 500756 h 4235290"/>
                <a:gd name="connsiteX7413" fmla="*/ 518497 w 2792478"/>
                <a:gd name="connsiteY7413" fmla="*/ 495161 h 4235290"/>
                <a:gd name="connsiteX7414" fmla="*/ 572931 w 2792478"/>
                <a:gd name="connsiteY7414" fmla="*/ 495161 h 4235290"/>
                <a:gd name="connsiteX7415" fmla="*/ 572931 w 2792478"/>
                <a:gd name="connsiteY7415" fmla="*/ 510696 h 4235290"/>
                <a:gd name="connsiteX7416" fmla="*/ 596238 w 2792478"/>
                <a:gd name="connsiteY7416" fmla="*/ 510696 h 4235290"/>
                <a:gd name="connsiteX7417" fmla="*/ 596238 w 2792478"/>
                <a:gd name="connsiteY7417" fmla="*/ 518464 h 4235290"/>
                <a:gd name="connsiteX7418" fmla="*/ 588467 w 2792478"/>
                <a:gd name="connsiteY7418" fmla="*/ 518464 h 4235290"/>
                <a:gd name="connsiteX7419" fmla="*/ 588467 w 2792478"/>
                <a:gd name="connsiteY7419" fmla="*/ 604038 h 4235290"/>
                <a:gd name="connsiteX7420" fmla="*/ 502961 w 2792478"/>
                <a:gd name="connsiteY7420" fmla="*/ 604038 h 4235290"/>
                <a:gd name="connsiteX7421" fmla="*/ 502961 w 2792478"/>
                <a:gd name="connsiteY7421" fmla="*/ 518464 h 4235290"/>
                <a:gd name="connsiteX7422" fmla="*/ 495191 w 2792478"/>
                <a:gd name="connsiteY7422" fmla="*/ 518464 h 4235290"/>
                <a:gd name="connsiteX7423" fmla="*/ 495191 w 2792478"/>
                <a:gd name="connsiteY7423" fmla="*/ 510696 h 4235290"/>
                <a:gd name="connsiteX7424" fmla="*/ 518497 w 2792478"/>
                <a:gd name="connsiteY7424" fmla="*/ 510696 h 4235290"/>
                <a:gd name="connsiteX7425" fmla="*/ 251525 w 2792478"/>
                <a:gd name="connsiteY7425" fmla="*/ 495094 h 4235290"/>
                <a:gd name="connsiteX7426" fmla="*/ 231138 w 2792478"/>
                <a:gd name="connsiteY7426" fmla="*/ 515540 h 4235290"/>
                <a:gd name="connsiteX7427" fmla="*/ 231138 w 2792478"/>
                <a:gd name="connsiteY7427" fmla="*/ 535933 h 4235290"/>
                <a:gd name="connsiteX7428" fmla="*/ 435477 w 2792478"/>
                <a:gd name="connsiteY7428" fmla="*/ 535933 h 4235290"/>
                <a:gd name="connsiteX7429" fmla="*/ 435477 w 2792478"/>
                <a:gd name="connsiteY7429" fmla="*/ 515540 h 4235290"/>
                <a:gd name="connsiteX7430" fmla="*/ 415023 w 2792478"/>
                <a:gd name="connsiteY7430" fmla="*/ 495094 h 4235290"/>
                <a:gd name="connsiteX7431" fmla="*/ 390729 w 2792478"/>
                <a:gd name="connsiteY7431" fmla="*/ 495094 h 4235290"/>
                <a:gd name="connsiteX7432" fmla="*/ 390729 w 2792478"/>
                <a:gd name="connsiteY7432" fmla="*/ 505297 h 4235290"/>
                <a:gd name="connsiteX7433" fmla="*/ 382521 w 2792478"/>
                <a:gd name="connsiteY7433" fmla="*/ 513433 h 4235290"/>
                <a:gd name="connsiteX7434" fmla="*/ 374379 w 2792478"/>
                <a:gd name="connsiteY7434" fmla="*/ 505297 h 4235290"/>
                <a:gd name="connsiteX7435" fmla="*/ 374379 w 2792478"/>
                <a:gd name="connsiteY7435" fmla="*/ 495094 h 4235290"/>
                <a:gd name="connsiteX7436" fmla="*/ 289931 w 2792478"/>
                <a:gd name="connsiteY7436" fmla="*/ 495094 h 4235290"/>
                <a:gd name="connsiteX7437" fmla="*/ 289931 w 2792478"/>
                <a:gd name="connsiteY7437" fmla="*/ 505297 h 4235290"/>
                <a:gd name="connsiteX7438" fmla="*/ 281723 w 2792478"/>
                <a:gd name="connsiteY7438" fmla="*/ 513433 h 4235290"/>
                <a:gd name="connsiteX7439" fmla="*/ 273592 w 2792478"/>
                <a:gd name="connsiteY7439" fmla="*/ 505297 h 4235290"/>
                <a:gd name="connsiteX7440" fmla="*/ 273592 w 2792478"/>
                <a:gd name="connsiteY7440" fmla="*/ 495094 h 4235290"/>
                <a:gd name="connsiteX7441" fmla="*/ 2170956 w 2792478"/>
                <a:gd name="connsiteY7441" fmla="*/ 494847 h 4235290"/>
                <a:gd name="connsiteX7442" fmla="*/ 2195114 w 2792478"/>
                <a:gd name="connsiteY7442" fmla="*/ 530893 h 4235290"/>
                <a:gd name="connsiteX7443" fmla="*/ 2170956 w 2792478"/>
                <a:gd name="connsiteY7443" fmla="*/ 534866 h 4235290"/>
                <a:gd name="connsiteX7444" fmla="*/ 1244712 w 2792478"/>
                <a:gd name="connsiteY7444" fmla="*/ 491899 h 4235290"/>
                <a:gd name="connsiteX7445" fmla="*/ 1166043 w 2792478"/>
                <a:gd name="connsiteY7445" fmla="*/ 570568 h 4235290"/>
                <a:gd name="connsiteX7446" fmla="*/ 1244712 w 2792478"/>
                <a:gd name="connsiteY7446" fmla="*/ 649222 h 4235290"/>
                <a:gd name="connsiteX7447" fmla="*/ 1323374 w 2792478"/>
                <a:gd name="connsiteY7447" fmla="*/ 570568 h 4235290"/>
                <a:gd name="connsiteX7448" fmla="*/ 1244712 w 2792478"/>
                <a:gd name="connsiteY7448" fmla="*/ 491899 h 4235290"/>
                <a:gd name="connsiteX7449" fmla="*/ 2160296 w 2792478"/>
                <a:gd name="connsiteY7449" fmla="*/ 491025 h 4235290"/>
                <a:gd name="connsiteX7450" fmla="*/ 2129727 w 2792478"/>
                <a:gd name="connsiteY7450" fmla="*/ 514191 h 4235290"/>
                <a:gd name="connsiteX7451" fmla="*/ 2129727 w 2792478"/>
                <a:gd name="connsiteY7451" fmla="*/ 533746 h 4235290"/>
                <a:gd name="connsiteX7452" fmla="*/ 2160296 w 2792478"/>
                <a:gd name="connsiteY7452" fmla="*/ 539271 h 4235290"/>
                <a:gd name="connsiteX7453" fmla="*/ 2168182 w 2792478"/>
                <a:gd name="connsiteY7453" fmla="*/ 490904 h 4235290"/>
                <a:gd name="connsiteX7454" fmla="*/ 2168182 w 2792478"/>
                <a:gd name="connsiteY7454" fmla="*/ 539399 h 4235290"/>
                <a:gd name="connsiteX7455" fmla="*/ 2197773 w 2792478"/>
                <a:gd name="connsiteY7455" fmla="*/ 533882 h 4235290"/>
                <a:gd name="connsiteX7456" fmla="*/ 2197773 w 2792478"/>
                <a:gd name="connsiteY7456" fmla="*/ 514191 h 4235290"/>
                <a:gd name="connsiteX7457" fmla="*/ 2168182 w 2792478"/>
                <a:gd name="connsiteY7457" fmla="*/ 490904 h 4235290"/>
                <a:gd name="connsiteX7458" fmla="*/ 2475100 w 2792478"/>
                <a:gd name="connsiteY7458" fmla="*/ 485218 h 4235290"/>
                <a:gd name="connsiteX7459" fmla="*/ 2521763 w 2792478"/>
                <a:gd name="connsiteY7459" fmla="*/ 504485 h 4235290"/>
                <a:gd name="connsiteX7460" fmla="*/ 2559242 w 2792478"/>
                <a:gd name="connsiteY7460" fmla="*/ 490323 h 4235290"/>
                <a:gd name="connsiteX7461" fmla="*/ 2603671 w 2792478"/>
                <a:gd name="connsiteY7461" fmla="*/ 512004 h 4235290"/>
                <a:gd name="connsiteX7462" fmla="*/ 2601557 w 2792478"/>
                <a:gd name="connsiteY7462" fmla="*/ 561786 h 4235290"/>
                <a:gd name="connsiteX7463" fmla="*/ 2579560 w 2792478"/>
                <a:gd name="connsiteY7463" fmla="*/ 581796 h 4235290"/>
                <a:gd name="connsiteX7464" fmla="*/ 2579560 w 2792478"/>
                <a:gd name="connsiteY7464" fmla="*/ 638465 h 4235290"/>
                <a:gd name="connsiteX7465" fmla="*/ 2571786 w 2792478"/>
                <a:gd name="connsiteY7465" fmla="*/ 646239 h 4235290"/>
                <a:gd name="connsiteX7466" fmla="*/ 2468942 w 2792478"/>
                <a:gd name="connsiteY7466" fmla="*/ 646239 h 4235290"/>
                <a:gd name="connsiteX7467" fmla="*/ 2461179 w 2792478"/>
                <a:gd name="connsiteY7467" fmla="*/ 638465 h 4235290"/>
                <a:gd name="connsiteX7468" fmla="*/ 2461179 w 2792478"/>
                <a:gd name="connsiteY7468" fmla="*/ 585831 h 4235290"/>
                <a:gd name="connsiteX7469" fmla="*/ 2425261 w 2792478"/>
                <a:gd name="connsiteY7469" fmla="*/ 542896 h 4235290"/>
                <a:gd name="connsiteX7470" fmla="*/ 2431538 w 2792478"/>
                <a:gd name="connsiteY7470" fmla="*/ 510262 h 4235290"/>
                <a:gd name="connsiteX7471" fmla="*/ 2475100 w 2792478"/>
                <a:gd name="connsiteY7471" fmla="*/ 485218 h 4235290"/>
                <a:gd name="connsiteX7472" fmla="*/ 1244712 w 2792478"/>
                <a:gd name="connsiteY7472" fmla="*/ 483222 h 4235290"/>
                <a:gd name="connsiteX7473" fmla="*/ 1332060 w 2792478"/>
                <a:gd name="connsiteY7473" fmla="*/ 570568 h 4235290"/>
                <a:gd name="connsiteX7474" fmla="*/ 1244712 w 2792478"/>
                <a:gd name="connsiteY7474" fmla="*/ 657916 h 4235290"/>
                <a:gd name="connsiteX7475" fmla="*/ 1157365 w 2792478"/>
                <a:gd name="connsiteY7475" fmla="*/ 570568 h 4235290"/>
                <a:gd name="connsiteX7476" fmla="*/ 1244712 w 2792478"/>
                <a:gd name="connsiteY7476" fmla="*/ 483222 h 4235290"/>
                <a:gd name="connsiteX7477" fmla="*/ 2406610 w 2792478"/>
                <a:gd name="connsiteY7477" fmla="*/ 474840 h 4235290"/>
                <a:gd name="connsiteX7478" fmla="*/ 2360684 w 2792478"/>
                <a:gd name="connsiteY7478" fmla="*/ 481991 h 4235290"/>
                <a:gd name="connsiteX7479" fmla="*/ 2314887 w 2792478"/>
                <a:gd name="connsiteY7479" fmla="*/ 474967 h 4235290"/>
                <a:gd name="connsiteX7480" fmla="*/ 2327001 w 2792478"/>
                <a:gd name="connsiteY7480" fmla="*/ 599502 h 4235290"/>
                <a:gd name="connsiteX7481" fmla="*/ 2360439 w 2792478"/>
                <a:gd name="connsiteY7481" fmla="*/ 593658 h 4235290"/>
                <a:gd name="connsiteX7482" fmla="*/ 2393997 w 2792478"/>
                <a:gd name="connsiteY7482" fmla="*/ 599566 h 4235290"/>
                <a:gd name="connsiteX7483" fmla="*/ 2406610 w 2792478"/>
                <a:gd name="connsiteY7483" fmla="*/ 474840 h 4235290"/>
                <a:gd name="connsiteX7484" fmla="*/ 972583 w 2792478"/>
                <a:gd name="connsiteY7484" fmla="*/ 469302 h 4235290"/>
                <a:gd name="connsiteX7485" fmla="*/ 1004476 w 2792478"/>
                <a:gd name="connsiteY7485" fmla="*/ 501196 h 4235290"/>
                <a:gd name="connsiteX7486" fmla="*/ 972583 w 2792478"/>
                <a:gd name="connsiteY7486" fmla="*/ 533093 h 4235290"/>
                <a:gd name="connsiteX7487" fmla="*/ 940677 w 2792478"/>
                <a:gd name="connsiteY7487" fmla="*/ 501196 h 4235290"/>
                <a:gd name="connsiteX7488" fmla="*/ 972583 w 2792478"/>
                <a:gd name="connsiteY7488" fmla="*/ 469302 h 4235290"/>
                <a:gd name="connsiteX7489" fmla="*/ 1443583 w 2792478"/>
                <a:gd name="connsiteY7489" fmla="*/ 461300 h 4235290"/>
                <a:gd name="connsiteX7490" fmla="*/ 1407842 w 2792478"/>
                <a:gd name="connsiteY7490" fmla="*/ 497039 h 4235290"/>
                <a:gd name="connsiteX7491" fmla="*/ 1407842 w 2792478"/>
                <a:gd name="connsiteY7491" fmla="*/ 523797 h 4235290"/>
                <a:gd name="connsiteX7492" fmla="*/ 1479284 w 2792478"/>
                <a:gd name="connsiteY7492" fmla="*/ 523797 h 4235290"/>
                <a:gd name="connsiteX7493" fmla="*/ 1479284 w 2792478"/>
                <a:gd name="connsiteY7493" fmla="*/ 497039 h 4235290"/>
                <a:gd name="connsiteX7494" fmla="*/ 1443583 w 2792478"/>
                <a:gd name="connsiteY7494" fmla="*/ 461300 h 4235290"/>
                <a:gd name="connsiteX7495" fmla="*/ 1578482 w 2792478"/>
                <a:gd name="connsiteY7495" fmla="*/ 459365 h 4235290"/>
                <a:gd name="connsiteX7496" fmla="*/ 1604764 w 2792478"/>
                <a:gd name="connsiteY7496" fmla="*/ 459365 h 4235290"/>
                <a:gd name="connsiteX7497" fmla="*/ 1604764 w 2792478"/>
                <a:gd name="connsiteY7497" fmla="*/ 485525 h 4235290"/>
                <a:gd name="connsiteX7498" fmla="*/ 1621916 w 2792478"/>
                <a:gd name="connsiteY7498" fmla="*/ 502740 h 4235290"/>
                <a:gd name="connsiteX7499" fmla="*/ 1625398 w 2792478"/>
                <a:gd name="connsiteY7499" fmla="*/ 502740 h 4235290"/>
                <a:gd name="connsiteX7500" fmla="*/ 1642618 w 2792478"/>
                <a:gd name="connsiteY7500" fmla="*/ 485525 h 4235290"/>
                <a:gd name="connsiteX7501" fmla="*/ 1642618 w 2792478"/>
                <a:gd name="connsiteY7501" fmla="*/ 459365 h 4235290"/>
                <a:gd name="connsiteX7502" fmla="*/ 1726441 w 2792478"/>
                <a:gd name="connsiteY7502" fmla="*/ 459365 h 4235290"/>
                <a:gd name="connsiteX7503" fmla="*/ 1726441 w 2792478"/>
                <a:gd name="connsiteY7503" fmla="*/ 485338 h 4235290"/>
                <a:gd name="connsiteX7504" fmla="*/ 1743661 w 2792478"/>
                <a:gd name="connsiteY7504" fmla="*/ 502498 h 4235290"/>
                <a:gd name="connsiteX7505" fmla="*/ 1747143 w 2792478"/>
                <a:gd name="connsiteY7505" fmla="*/ 502498 h 4235290"/>
                <a:gd name="connsiteX7506" fmla="*/ 1764352 w 2792478"/>
                <a:gd name="connsiteY7506" fmla="*/ 487765 h 4235290"/>
                <a:gd name="connsiteX7507" fmla="*/ 1764352 w 2792478"/>
                <a:gd name="connsiteY7507" fmla="*/ 459365 h 4235290"/>
                <a:gd name="connsiteX7508" fmla="*/ 1788714 w 2792478"/>
                <a:gd name="connsiteY7508" fmla="*/ 459365 h 4235290"/>
                <a:gd name="connsiteX7509" fmla="*/ 1804126 w 2792478"/>
                <a:gd name="connsiteY7509" fmla="*/ 474779 h 4235290"/>
                <a:gd name="connsiteX7510" fmla="*/ 1804126 w 2792478"/>
                <a:gd name="connsiteY7510" fmla="*/ 661208 h 4235290"/>
                <a:gd name="connsiteX7511" fmla="*/ 1788714 w 2792478"/>
                <a:gd name="connsiteY7511" fmla="*/ 676622 h 4235290"/>
                <a:gd name="connsiteX7512" fmla="*/ 1578482 w 2792478"/>
                <a:gd name="connsiteY7512" fmla="*/ 676622 h 4235290"/>
                <a:gd name="connsiteX7513" fmla="*/ 1563070 w 2792478"/>
                <a:gd name="connsiteY7513" fmla="*/ 661208 h 4235290"/>
                <a:gd name="connsiteX7514" fmla="*/ 1563070 w 2792478"/>
                <a:gd name="connsiteY7514" fmla="*/ 474779 h 4235290"/>
                <a:gd name="connsiteX7515" fmla="*/ 1578482 w 2792478"/>
                <a:gd name="connsiteY7515" fmla="*/ 459365 h 4235290"/>
                <a:gd name="connsiteX7516" fmla="*/ 2360684 w 2792478"/>
                <a:gd name="connsiteY7516" fmla="*/ 456384 h 4235290"/>
                <a:gd name="connsiteX7517" fmla="*/ 2313953 w 2792478"/>
                <a:gd name="connsiteY7517" fmla="*/ 465273 h 4235290"/>
                <a:gd name="connsiteX7518" fmla="*/ 2314013 w 2792478"/>
                <a:gd name="connsiteY7518" fmla="*/ 466325 h 4235290"/>
                <a:gd name="connsiteX7519" fmla="*/ 2360684 w 2792478"/>
                <a:gd name="connsiteY7519" fmla="*/ 475031 h 4235290"/>
                <a:gd name="connsiteX7520" fmla="*/ 2407545 w 2792478"/>
                <a:gd name="connsiteY7520" fmla="*/ 465704 h 4235290"/>
                <a:gd name="connsiteX7521" fmla="*/ 2407605 w 2792478"/>
                <a:gd name="connsiteY7521" fmla="*/ 465648 h 4235290"/>
                <a:gd name="connsiteX7522" fmla="*/ 2360684 w 2792478"/>
                <a:gd name="connsiteY7522" fmla="*/ 456384 h 4235290"/>
                <a:gd name="connsiteX7523" fmla="*/ 1116567 w 2792478"/>
                <a:gd name="connsiteY7523" fmla="*/ 454770 h 4235290"/>
                <a:gd name="connsiteX7524" fmla="*/ 1119610 w 2792478"/>
                <a:gd name="connsiteY7524" fmla="*/ 457942 h 4235290"/>
                <a:gd name="connsiteX7525" fmla="*/ 1119610 w 2792478"/>
                <a:gd name="connsiteY7525" fmla="*/ 471240 h 4235290"/>
                <a:gd name="connsiteX7526" fmla="*/ 1124768 w 2792478"/>
                <a:gd name="connsiteY7526" fmla="*/ 476335 h 4235290"/>
                <a:gd name="connsiteX7527" fmla="*/ 1134960 w 2792478"/>
                <a:gd name="connsiteY7527" fmla="*/ 476335 h 4235290"/>
                <a:gd name="connsiteX7528" fmla="*/ 1138131 w 2792478"/>
                <a:gd name="connsiteY7528" fmla="*/ 479319 h 4235290"/>
                <a:gd name="connsiteX7529" fmla="*/ 1134960 w 2792478"/>
                <a:gd name="connsiteY7529" fmla="*/ 482422 h 4235290"/>
                <a:gd name="connsiteX7530" fmla="*/ 1119610 w 2792478"/>
                <a:gd name="connsiteY7530" fmla="*/ 482422 h 4235290"/>
                <a:gd name="connsiteX7531" fmla="*/ 1118119 w 2792478"/>
                <a:gd name="connsiteY7531" fmla="*/ 482484 h 4235290"/>
                <a:gd name="connsiteX7532" fmla="*/ 1114641 w 2792478"/>
                <a:gd name="connsiteY7532" fmla="*/ 481431 h 4235290"/>
                <a:gd name="connsiteX7533" fmla="*/ 1113523 w 2792478"/>
                <a:gd name="connsiteY7533" fmla="*/ 479565 h 4235290"/>
                <a:gd name="connsiteX7534" fmla="*/ 1113523 w 2792478"/>
                <a:gd name="connsiteY7534" fmla="*/ 457942 h 4235290"/>
                <a:gd name="connsiteX7535" fmla="*/ 1116567 w 2792478"/>
                <a:gd name="connsiteY7535" fmla="*/ 454770 h 4235290"/>
                <a:gd name="connsiteX7536" fmla="*/ 281723 w 2792478"/>
                <a:gd name="connsiteY7536" fmla="*/ 449425 h 4235290"/>
                <a:gd name="connsiteX7537" fmla="*/ 289931 w 2792478"/>
                <a:gd name="connsiteY7537" fmla="*/ 457561 h 4235290"/>
                <a:gd name="connsiteX7538" fmla="*/ 289931 w 2792478"/>
                <a:gd name="connsiteY7538" fmla="*/ 478757 h 4235290"/>
                <a:gd name="connsiteX7539" fmla="*/ 374379 w 2792478"/>
                <a:gd name="connsiteY7539" fmla="*/ 478757 h 4235290"/>
                <a:gd name="connsiteX7540" fmla="*/ 374379 w 2792478"/>
                <a:gd name="connsiteY7540" fmla="*/ 457561 h 4235290"/>
                <a:gd name="connsiteX7541" fmla="*/ 382521 w 2792478"/>
                <a:gd name="connsiteY7541" fmla="*/ 449425 h 4235290"/>
                <a:gd name="connsiteX7542" fmla="*/ 390729 w 2792478"/>
                <a:gd name="connsiteY7542" fmla="*/ 457561 h 4235290"/>
                <a:gd name="connsiteX7543" fmla="*/ 390729 w 2792478"/>
                <a:gd name="connsiteY7543" fmla="*/ 478757 h 4235290"/>
                <a:gd name="connsiteX7544" fmla="*/ 415023 w 2792478"/>
                <a:gd name="connsiteY7544" fmla="*/ 478757 h 4235290"/>
                <a:gd name="connsiteX7545" fmla="*/ 451816 w 2792478"/>
                <a:gd name="connsiteY7545" fmla="*/ 515540 h 4235290"/>
                <a:gd name="connsiteX7546" fmla="*/ 451816 w 2792478"/>
                <a:gd name="connsiteY7546" fmla="*/ 697010 h 4235290"/>
                <a:gd name="connsiteX7547" fmla="*/ 415023 w 2792478"/>
                <a:gd name="connsiteY7547" fmla="*/ 733794 h 4235290"/>
                <a:gd name="connsiteX7548" fmla="*/ 251525 w 2792478"/>
                <a:gd name="connsiteY7548" fmla="*/ 733794 h 4235290"/>
                <a:gd name="connsiteX7549" fmla="*/ 214799 w 2792478"/>
                <a:gd name="connsiteY7549" fmla="*/ 697010 h 4235290"/>
                <a:gd name="connsiteX7550" fmla="*/ 214799 w 2792478"/>
                <a:gd name="connsiteY7550" fmla="*/ 515540 h 4235290"/>
                <a:gd name="connsiteX7551" fmla="*/ 251525 w 2792478"/>
                <a:gd name="connsiteY7551" fmla="*/ 478757 h 4235290"/>
                <a:gd name="connsiteX7552" fmla="*/ 273592 w 2792478"/>
                <a:gd name="connsiteY7552" fmla="*/ 478757 h 4235290"/>
                <a:gd name="connsiteX7553" fmla="*/ 273592 w 2792478"/>
                <a:gd name="connsiteY7553" fmla="*/ 457561 h 4235290"/>
                <a:gd name="connsiteX7554" fmla="*/ 281723 w 2792478"/>
                <a:gd name="connsiteY7554" fmla="*/ 449425 h 4235290"/>
                <a:gd name="connsiteX7555" fmla="*/ 2360684 w 2792478"/>
                <a:gd name="connsiteY7555" fmla="*/ 449424 h 4235290"/>
                <a:gd name="connsiteX7556" fmla="*/ 2414192 w 2792478"/>
                <a:gd name="connsiteY7556" fmla="*/ 463528 h 4235290"/>
                <a:gd name="connsiteX7557" fmla="*/ 2414751 w 2792478"/>
                <a:gd name="connsiteY7557" fmla="*/ 463591 h 4235290"/>
                <a:gd name="connsiteX7558" fmla="*/ 2400084 w 2792478"/>
                <a:gd name="connsiteY7558" fmla="*/ 608016 h 4235290"/>
                <a:gd name="connsiteX7559" fmla="*/ 2360439 w 2792478"/>
                <a:gd name="connsiteY7559" fmla="*/ 621625 h 4235290"/>
                <a:gd name="connsiteX7560" fmla="*/ 2320664 w 2792478"/>
                <a:gd name="connsiteY7560" fmla="*/ 607642 h 4235290"/>
                <a:gd name="connsiteX7561" fmla="*/ 2320789 w 2792478"/>
                <a:gd name="connsiteY7561" fmla="*/ 607211 h 4235290"/>
                <a:gd name="connsiteX7562" fmla="*/ 2307241 w 2792478"/>
                <a:gd name="connsiteY7562" fmla="*/ 468127 h 4235290"/>
                <a:gd name="connsiteX7563" fmla="*/ 2306806 w 2792478"/>
                <a:gd name="connsiteY7563" fmla="*/ 465704 h 4235290"/>
                <a:gd name="connsiteX7564" fmla="*/ 2306931 w 2792478"/>
                <a:gd name="connsiteY7564" fmla="*/ 464834 h 4235290"/>
                <a:gd name="connsiteX7565" fmla="*/ 2306806 w 2792478"/>
                <a:gd name="connsiteY7565" fmla="*/ 463591 h 4235290"/>
                <a:gd name="connsiteX7566" fmla="*/ 2307116 w 2792478"/>
                <a:gd name="connsiteY7566" fmla="*/ 463528 h 4235290"/>
                <a:gd name="connsiteX7567" fmla="*/ 2360684 w 2792478"/>
                <a:gd name="connsiteY7567" fmla="*/ 449424 h 4235290"/>
                <a:gd name="connsiteX7568" fmla="*/ 2167246 w 2792478"/>
                <a:gd name="connsiteY7568" fmla="*/ 448622 h 4235290"/>
                <a:gd name="connsiteX7569" fmla="*/ 2178594 w 2792478"/>
                <a:gd name="connsiteY7569" fmla="*/ 468147 h 4235290"/>
                <a:gd name="connsiteX7570" fmla="*/ 2171608 w 2792478"/>
                <a:gd name="connsiteY7570" fmla="*/ 477562 h 4235290"/>
                <a:gd name="connsiteX7571" fmla="*/ 2167828 w 2792478"/>
                <a:gd name="connsiteY7571" fmla="*/ 480333 h 4235290"/>
                <a:gd name="connsiteX7572" fmla="*/ 2167735 w 2792478"/>
                <a:gd name="connsiteY7572" fmla="*/ 482647 h 4235290"/>
                <a:gd name="connsiteX7573" fmla="*/ 2168061 w 2792478"/>
                <a:gd name="connsiteY7573" fmla="*/ 483003 h 4235290"/>
                <a:gd name="connsiteX7574" fmla="*/ 2205662 w 2792478"/>
                <a:gd name="connsiteY7574" fmla="*/ 514191 h 4235290"/>
                <a:gd name="connsiteX7575" fmla="*/ 2205662 w 2792478"/>
                <a:gd name="connsiteY7575" fmla="*/ 566508 h 4235290"/>
                <a:gd name="connsiteX7576" fmla="*/ 2163750 w 2792478"/>
                <a:gd name="connsiteY7576" fmla="*/ 608427 h 4235290"/>
                <a:gd name="connsiteX7577" fmla="*/ 2121837 w 2792478"/>
                <a:gd name="connsiteY7577" fmla="*/ 566508 h 4235290"/>
                <a:gd name="connsiteX7578" fmla="*/ 2121837 w 2792478"/>
                <a:gd name="connsiteY7578" fmla="*/ 514191 h 4235290"/>
                <a:gd name="connsiteX7579" fmla="*/ 2158961 w 2792478"/>
                <a:gd name="connsiteY7579" fmla="*/ 483194 h 4235290"/>
                <a:gd name="connsiteX7580" fmla="*/ 2166117 w 2792478"/>
                <a:gd name="connsiteY7580" fmla="*/ 471827 h 4235290"/>
                <a:gd name="connsiteX7581" fmla="*/ 2170285 w 2792478"/>
                <a:gd name="connsiteY7581" fmla="*/ 462463 h 4235290"/>
                <a:gd name="connsiteX7582" fmla="*/ 2161658 w 2792478"/>
                <a:gd name="connsiteY7582" fmla="*/ 454202 h 4235290"/>
                <a:gd name="connsiteX7583" fmla="*/ 2167246 w 2792478"/>
                <a:gd name="connsiteY7583" fmla="*/ 448622 h 4235290"/>
                <a:gd name="connsiteX7584" fmla="*/ 517682 w 2792478"/>
                <a:gd name="connsiteY7584" fmla="*/ 447430 h 4235290"/>
                <a:gd name="connsiteX7585" fmla="*/ 520357 w 2792478"/>
                <a:gd name="connsiteY7585" fmla="*/ 450052 h 4235290"/>
                <a:gd name="connsiteX7586" fmla="*/ 520357 w 2792478"/>
                <a:gd name="connsiteY7586" fmla="*/ 452665 h 4235290"/>
                <a:gd name="connsiteX7587" fmla="*/ 517682 w 2792478"/>
                <a:gd name="connsiteY7587" fmla="*/ 455268 h 4235290"/>
                <a:gd name="connsiteX7588" fmla="*/ 515078 w 2792478"/>
                <a:gd name="connsiteY7588" fmla="*/ 452665 h 4235290"/>
                <a:gd name="connsiteX7589" fmla="*/ 515078 w 2792478"/>
                <a:gd name="connsiteY7589" fmla="*/ 450052 h 4235290"/>
                <a:gd name="connsiteX7590" fmla="*/ 517682 w 2792478"/>
                <a:gd name="connsiteY7590" fmla="*/ 447430 h 4235290"/>
                <a:gd name="connsiteX7591" fmla="*/ 1118119 w 2792478"/>
                <a:gd name="connsiteY7591" fmla="*/ 447124 h 4235290"/>
                <a:gd name="connsiteX7592" fmla="*/ 1087482 w 2792478"/>
                <a:gd name="connsiteY7592" fmla="*/ 477763 h 4235290"/>
                <a:gd name="connsiteX7593" fmla="*/ 1118119 w 2792478"/>
                <a:gd name="connsiteY7593" fmla="*/ 508583 h 4235290"/>
                <a:gd name="connsiteX7594" fmla="*/ 1148757 w 2792478"/>
                <a:gd name="connsiteY7594" fmla="*/ 477763 h 4235290"/>
                <a:gd name="connsiteX7595" fmla="*/ 1118119 w 2792478"/>
                <a:gd name="connsiteY7595" fmla="*/ 447124 h 4235290"/>
                <a:gd name="connsiteX7596" fmla="*/ 1443583 w 2792478"/>
                <a:gd name="connsiteY7596" fmla="*/ 443451 h 4235290"/>
                <a:gd name="connsiteX7597" fmla="*/ 1497145 w 2792478"/>
                <a:gd name="connsiteY7597" fmla="*/ 497039 h 4235290"/>
                <a:gd name="connsiteX7598" fmla="*/ 1497145 w 2792478"/>
                <a:gd name="connsiteY7598" fmla="*/ 523797 h 4235290"/>
                <a:gd name="connsiteX7599" fmla="*/ 1515019 w 2792478"/>
                <a:gd name="connsiteY7599" fmla="*/ 541664 h 4235290"/>
                <a:gd name="connsiteX7600" fmla="*/ 1515019 w 2792478"/>
                <a:gd name="connsiteY7600" fmla="*/ 630980 h 4235290"/>
                <a:gd name="connsiteX7601" fmla="*/ 1497145 w 2792478"/>
                <a:gd name="connsiteY7601" fmla="*/ 648838 h 4235290"/>
                <a:gd name="connsiteX7602" fmla="*/ 1389988 w 2792478"/>
                <a:gd name="connsiteY7602" fmla="*/ 648838 h 4235290"/>
                <a:gd name="connsiteX7603" fmla="*/ 1372134 w 2792478"/>
                <a:gd name="connsiteY7603" fmla="*/ 630980 h 4235290"/>
                <a:gd name="connsiteX7604" fmla="*/ 1372134 w 2792478"/>
                <a:gd name="connsiteY7604" fmla="*/ 541664 h 4235290"/>
                <a:gd name="connsiteX7605" fmla="*/ 1389988 w 2792478"/>
                <a:gd name="connsiteY7605" fmla="*/ 523797 h 4235290"/>
                <a:gd name="connsiteX7606" fmla="*/ 1389988 w 2792478"/>
                <a:gd name="connsiteY7606" fmla="*/ 497039 h 4235290"/>
                <a:gd name="connsiteX7607" fmla="*/ 1443583 w 2792478"/>
                <a:gd name="connsiteY7607" fmla="*/ 443451 h 4235290"/>
                <a:gd name="connsiteX7608" fmla="*/ 786399 w 2792478"/>
                <a:gd name="connsiteY7608" fmla="*/ 441469 h 4235290"/>
                <a:gd name="connsiteX7609" fmla="*/ 797709 w 2792478"/>
                <a:gd name="connsiteY7609" fmla="*/ 445942 h 4235290"/>
                <a:gd name="connsiteX7610" fmla="*/ 802864 w 2792478"/>
                <a:gd name="connsiteY7610" fmla="*/ 456450 h 4235290"/>
                <a:gd name="connsiteX7611" fmla="*/ 793106 w 2792478"/>
                <a:gd name="connsiteY7611" fmla="*/ 470058 h 4235290"/>
                <a:gd name="connsiteX7612" fmla="*/ 793106 w 2792478"/>
                <a:gd name="connsiteY7612" fmla="*/ 498080 h 4235290"/>
                <a:gd name="connsiteX7613" fmla="*/ 786399 w 2792478"/>
                <a:gd name="connsiteY7613" fmla="*/ 505041 h 4235290"/>
                <a:gd name="connsiteX7614" fmla="*/ 779559 w 2792478"/>
                <a:gd name="connsiteY7614" fmla="*/ 498080 h 4235290"/>
                <a:gd name="connsiteX7615" fmla="*/ 779559 w 2792478"/>
                <a:gd name="connsiteY7615" fmla="*/ 470058 h 4235290"/>
                <a:gd name="connsiteX7616" fmla="*/ 769622 w 2792478"/>
                <a:gd name="connsiteY7616" fmla="*/ 456450 h 4235290"/>
                <a:gd name="connsiteX7617" fmla="*/ 774717 w 2792478"/>
                <a:gd name="connsiteY7617" fmla="*/ 445942 h 4235290"/>
                <a:gd name="connsiteX7618" fmla="*/ 786399 w 2792478"/>
                <a:gd name="connsiteY7618" fmla="*/ 441469 h 4235290"/>
                <a:gd name="connsiteX7619" fmla="*/ 1620242 w 2792478"/>
                <a:gd name="connsiteY7619" fmla="*/ 441467 h 4235290"/>
                <a:gd name="connsiteX7620" fmla="*/ 1623724 w 2792478"/>
                <a:gd name="connsiteY7620" fmla="*/ 441467 h 4235290"/>
                <a:gd name="connsiteX7621" fmla="*/ 1633166 w 2792478"/>
                <a:gd name="connsiteY7621" fmla="*/ 450979 h 4235290"/>
                <a:gd name="connsiteX7622" fmla="*/ 1633166 w 2792478"/>
                <a:gd name="connsiteY7622" fmla="*/ 486963 h 4235290"/>
                <a:gd name="connsiteX7623" fmla="*/ 1623724 w 2792478"/>
                <a:gd name="connsiteY7623" fmla="*/ 496405 h 4235290"/>
                <a:gd name="connsiteX7624" fmla="*/ 1620242 w 2792478"/>
                <a:gd name="connsiteY7624" fmla="*/ 496405 h 4235290"/>
                <a:gd name="connsiteX7625" fmla="*/ 1610801 w 2792478"/>
                <a:gd name="connsiteY7625" fmla="*/ 486963 h 4235290"/>
                <a:gd name="connsiteX7626" fmla="*/ 1610801 w 2792478"/>
                <a:gd name="connsiteY7626" fmla="*/ 450979 h 4235290"/>
                <a:gd name="connsiteX7627" fmla="*/ 1620242 w 2792478"/>
                <a:gd name="connsiteY7627" fmla="*/ 441467 h 4235290"/>
                <a:gd name="connsiteX7628" fmla="*/ 1743538 w 2792478"/>
                <a:gd name="connsiteY7628" fmla="*/ 439483 h 4235290"/>
                <a:gd name="connsiteX7629" fmla="*/ 1747020 w 2792478"/>
                <a:gd name="connsiteY7629" fmla="*/ 439483 h 4235290"/>
                <a:gd name="connsiteX7630" fmla="*/ 1756461 w 2792478"/>
                <a:gd name="connsiteY7630" fmla="*/ 448922 h 4235290"/>
                <a:gd name="connsiteX7631" fmla="*/ 1756461 w 2792478"/>
                <a:gd name="connsiteY7631" fmla="*/ 484965 h 4235290"/>
                <a:gd name="connsiteX7632" fmla="*/ 1747020 w 2792478"/>
                <a:gd name="connsiteY7632" fmla="*/ 494418 h 4235290"/>
                <a:gd name="connsiteX7633" fmla="*/ 1743538 w 2792478"/>
                <a:gd name="connsiteY7633" fmla="*/ 494418 h 4235290"/>
                <a:gd name="connsiteX7634" fmla="*/ 1734086 w 2792478"/>
                <a:gd name="connsiteY7634" fmla="*/ 484965 h 4235290"/>
                <a:gd name="connsiteX7635" fmla="*/ 1734086 w 2792478"/>
                <a:gd name="connsiteY7635" fmla="*/ 448922 h 4235290"/>
                <a:gd name="connsiteX7636" fmla="*/ 1743538 w 2792478"/>
                <a:gd name="connsiteY7636" fmla="*/ 439483 h 4235290"/>
                <a:gd name="connsiteX7637" fmla="*/ 1118119 w 2792478"/>
                <a:gd name="connsiteY7637" fmla="*/ 439483 h 4235290"/>
                <a:gd name="connsiteX7638" fmla="*/ 1156401 w 2792478"/>
                <a:gd name="connsiteY7638" fmla="*/ 477763 h 4235290"/>
                <a:gd name="connsiteX7639" fmla="*/ 1118119 w 2792478"/>
                <a:gd name="connsiteY7639" fmla="*/ 516291 h 4235290"/>
                <a:gd name="connsiteX7640" fmla="*/ 1079838 w 2792478"/>
                <a:gd name="connsiteY7640" fmla="*/ 477763 h 4235290"/>
                <a:gd name="connsiteX7641" fmla="*/ 1118119 w 2792478"/>
                <a:gd name="connsiteY7641" fmla="*/ 439483 h 4235290"/>
                <a:gd name="connsiteX7642" fmla="*/ 1088850 w 2792478"/>
                <a:gd name="connsiteY7642" fmla="*/ 439483 h 4235290"/>
                <a:gd name="connsiteX7643" fmla="*/ 1090902 w 2792478"/>
                <a:gd name="connsiteY7643" fmla="*/ 440601 h 4235290"/>
                <a:gd name="connsiteX7644" fmla="*/ 1090464 w 2792478"/>
                <a:gd name="connsiteY7644" fmla="*/ 444954 h 4235290"/>
                <a:gd name="connsiteX7645" fmla="*/ 1075926 w 2792478"/>
                <a:gd name="connsiteY7645" fmla="*/ 468566 h 4235290"/>
                <a:gd name="connsiteX7646" fmla="*/ 1072939 w 2792478"/>
                <a:gd name="connsiteY7646" fmla="*/ 470988 h 4235290"/>
                <a:gd name="connsiteX7647" fmla="*/ 1072321 w 2792478"/>
                <a:gd name="connsiteY7647" fmla="*/ 470926 h 4235290"/>
                <a:gd name="connsiteX7648" fmla="*/ 1069957 w 2792478"/>
                <a:gd name="connsiteY7648" fmla="*/ 467261 h 4235290"/>
                <a:gd name="connsiteX7649" fmla="*/ 1086552 w 2792478"/>
                <a:gd name="connsiteY7649" fmla="*/ 440168 h 4235290"/>
                <a:gd name="connsiteX7650" fmla="*/ 1088850 w 2792478"/>
                <a:gd name="connsiteY7650" fmla="*/ 439483 h 4235290"/>
                <a:gd name="connsiteX7651" fmla="*/ 1144161 w 2792478"/>
                <a:gd name="connsiteY7651" fmla="*/ 437495 h 4235290"/>
                <a:gd name="connsiteX7652" fmla="*/ 1146397 w 2792478"/>
                <a:gd name="connsiteY7652" fmla="*/ 438116 h 4235290"/>
                <a:gd name="connsiteX7653" fmla="*/ 1163922 w 2792478"/>
                <a:gd name="connsiteY7653" fmla="*/ 465023 h 4235290"/>
                <a:gd name="connsiteX7654" fmla="*/ 1161685 w 2792478"/>
                <a:gd name="connsiteY7654" fmla="*/ 468753 h 4235290"/>
                <a:gd name="connsiteX7655" fmla="*/ 1160940 w 2792478"/>
                <a:gd name="connsiteY7655" fmla="*/ 468818 h 4235290"/>
                <a:gd name="connsiteX7656" fmla="*/ 1157953 w 2792478"/>
                <a:gd name="connsiteY7656" fmla="*/ 466454 h 4235290"/>
                <a:gd name="connsiteX7657" fmla="*/ 1142670 w 2792478"/>
                <a:gd name="connsiteY7657" fmla="*/ 443026 h 4235290"/>
                <a:gd name="connsiteX7658" fmla="*/ 1142108 w 2792478"/>
                <a:gd name="connsiteY7658" fmla="*/ 438676 h 4235290"/>
                <a:gd name="connsiteX7659" fmla="*/ 1144161 w 2792478"/>
                <a:gd name="connsiteY7659" fmla="*/ 437495 h 4235290"/>
                <a:gd name="connsiteX7660" fmla="*/ 444103 w 2792478"/>
                <a:gd name="connsiteY7660" fmla="*/ 435507 h 4235290"/>
                <a:gd name="connsiteX7661" fmla="*/ 446779 w 2792478"/>
                <a:gd name="connsiteY7661" fmla="*/ 438114 h 4235290"/>
                <a:gd name="connsiteX7662" fmla="*/ 446779 w 2792478"/>
                <a:gd name="connsiteY7662" fmla="*/ 440730 h 4235290"/>
                <a:gd name="connsiteX7663" fmla="*/ 444103 w 2792478"/>
                <a:gd name="connsiteY7663" fmla="*/ 443397 h 4235290"/>
                <a:gd name="connsiteX7664" fmla="*/ 441499 w 2792478"/>
                <a:gd name="connsiteY7664" fmla="*/ 440730 h 4235290"/>
                <a:gd name="connsiteX7665" fmla="*/ 441499 w 2792478"/>
                <a:gd name="connsiteY7665" fmla="*/ 438114 h 4235290"/>
                <a:gd name="connsiteX7666" fmla="*/ 444103 w 2792478"/>
                <a:gd name="connsiteY7666" fmla="*/ 435507 h 4235290"/>
                <a:gd name="connsiteX7667" fmla="*/ 517682 w 2792478"/>
                <a:gd name="connsiteY7667" fmla="*/ 434072 h 4235290"/>
                <a:gd name="connsiteX7668" fmla="*/ 520357 w 2792478"/>
                <a:gd name="connsiteY7668" fmla="*/ 436745 h 4235290"/>
                <a:gd name="connsiteX7669" fmla="*/ 520357 w 2792478"/>
                <a:gd name="connsiteY7669" fmla="*/ 441596 h 4235290"/>
                <a:gd name="connsiteX7670" fmla="*/ 517682 w 2792478"/>
                <a:gd name="connsiteY7670" fmla="*/ 444269 h 4235290"/>
                <a:gd name="connsiteX7671" fmla="*/ 515078 w 2792478"/>
                <a:gd name="connsiteY7671" fmla="*/ 441596 h 4235290"/>
                <a:gd name="connsiteX7672" fmla="*/ 515078 w 2792478"/>
                <a:gd name="connsiteY7672" fmla="*/ 436745 h 4235290"/>
                <a:gd name="connsiteX7673" fmla="*/ 517682 w 2792478"/>
                <a:gd name="connsiteY7673" fmla="*/ 434072 h 4235290"/>
                <a:gd name="connsiteX7674" fmla="*/ 609157 w 2792478"/>
                <a:gd name="connsiteY7674" fmla="*/ 431522 h 4235290"/>
                <a:gd name="connsiteX7675" fmla="*/ 611832 w 2792478"/>
                <a:gd name="connsiteY7675" fmla="*/ 434200 h 4235290"/>
                <a:gd name="connsiteX7676" fmla="*/ 611832 w 2792478"/>
                <a:gd name="connsiteY7676" fmla="*/ 436745 h 4235290"/>
                <a:gd name="connsiteX7677" fmla="*/ 609157 w 2792478"/>
                <a:gd name="connsiteY7677" fmla="*/ 439419 h 4235290"/>
                <a:gd name="connsiteX7678" fmla="*/ 606553 w 2792478"/>
                <a:gd name="connsiteY7678" fmla="*/ 436745 h 4235290"/>
                <a:gd name="connsiteX7679" fmla="*/ 606553 w 2792478"/>
                <a:gd name="connsiteY7679" fmla="*/ 434200 h 4235290"/>
                <a:gd name="connsiteX7680" fmla="*/ 609157 w 2792478"/>
                <a:gd name="connsiteY7680" fmla="*/ 431522 h 4235290"/>
                <a:gd name="connsiteX7681" fmla="*/ 717483 w 2792478"/>
                <a:gd name="connsiteY7681" fmla="*/ 426063 h 4235290"/>
                <a:gd name="connsiteX7682" fmla="*/ 717483 w 2792478"/>
                <a:gd name="connsiteY7682" fmla="*/ 509891 h 4235290"/>
                <a:gd name="connsiteX7683" fmla="*/ 851586 w 2792478"/>
                <a:gd name="connsiteY7683" fmla="*/ 509891 h 4235290"/>
                <a:gd name="connsiteX7684" fmla="*/ 851586 w 2792478"/>
                <a:gd name="connsiteY7684" fmla="*/ 426063 h 4235290"/>
                <a:gd name="connsiteX7685" fmla="*/ 1982098 w 2792478"/>
                <a:gd name="connsiteY7685" fmla="*/ 423908 h 4235290"/>
                <a:gd name="connsiteX7686" fmla="*/ 1998237 w 2792478"/>
                <a:gd name="connsiteY7686" fmla="*/ 480901 h 4235290"/>
                <a:gd name="connsiteX7687" fmla="*/ 1998237 w 2792478"/>
                <a:gd name="connsiteY7687" fmla="*/ 597750 h 4235290"/>
                <a:gd name="connsiteX7688" fmla="*/ 2007262 w 2792478"/>
                <a:gd name="connsiteY7688" fmla="*/ 606792 h 4235290"/>
                <a:gd name="connsiteX7689" fmla="*/ 2078051 w 2792478"/>
                <a:gd name="connsiteY7689" fmla="*/ 606792 h 4235290"/>
                <a:gd name="connsiteX7690" fmla="*/ 2087076 w 2792478"/>
                <a:gd name="connsiteY7690" fmla="*/ 597750 h 4235290"/>
                <a:gd name="connsiteX7691" fmla="*/ 2087076 w 2792478"/>
                <a:gd name="connsiteY7691" fmla="*/ 459530 h 4235290"/>
                <a:gd name="connsiteX7692" fmla="*/ 2051456 w 2792478"/>
                <a:gd name="connsiteY7692" fmla="*/ 423908 h 4235290"/>
                <a:gd name="connsiteX7693" fmla="*/ 1955032 w 2792478"/>
                <a:gd name="connsiteY7693" fmla="*/ 423421 h 4235290"/>
                <a:gd name="connsiteX7694" fmla="*/ 1926987 w 2792478"/>
                <a:gd name="connsiteY7694" fmla="*/ 467114 h 4235290"/>
                <a:gd name="connsiteX7695" fmla="*/ 1945977 w 2792478"/>
                <a:gd name="connsiteY7695" fmla="*/ 467114 h 4235290"/>
                <a:gd name="connsiteX7696" fmla="*/ 1960245 w 2792478"/>
                <a:gd name="connsiteY7696" fmla="*/ 480901 h 4235290"/>
                <a:gd name="connsiteX7697" fmla="*/ 1945977 w 2792478"/>
                <a:gd name="connsiteY7697" fmla="*/ 494669 h 4235290"/>
                <a:gd name="connsiteX7698" fmla="*/ 1926987 w 2792478"/>
                <a:gd name="connsiteY7698" fmla="*/ 494669 h 4235290"/>
                <a:gd name="connsiteX7699" fmla="*/ 1955032 w 2792478"/>
                <a:gd name="connsiteY7699" fmla="*/ 539321 h 4235290"/>
                <a:gd name="connsiteX7700" fmla="*/ 1983999 w 2792478"/>
                <a:gd name="connsiteY7700" fmla="*/ 480901 h 4235290"/>
                <a:gd name="connsiteX7701" fmla="*/ 1955032 w 2792478"/>
                <a:gd name="connsiteY7701" fmla="*/ 423421 h 4235290"/>
                <a:gd name="connsiteX7702" fmla="*/ 444103 w 2792478"/>
                <a:gd name="connsiteY7702" fmla="*/ 420219 h 4235290"/>
                <a:gd name="connsiteX7703" fmla="*/ 446779 w 2792478"/>
                <a:gd name="connsiteY7703" fmla="*/ 422827 h 4235290"/>
                <a:gd name="connsiteX7704" fmla="*/ 446779 w 2792478"/>
                <a:gd name="connsiteY7704" fmla="*/ 427680 h 4235290"/>
                <a:gd name="connsiteX7705" fmla="*/ 444103 w 2792478"/>
                <a:gd name="connsiteY7705" fmla="*/ 430351 h 4235290"/>
                <a:gd name="connsiteX7706" fmla="*/ 441499 w 2792478"/>
                <a:gd name="connsiteY7706" fmla="*/ 427680 h 4235290"/>
                <a:gd name="connsiteX7707" fmla="*/ 441499 w 2792478"/>
                <a:gd name="connsiteY7707" fmla="*/ 422827 h 4235290"/>
                <a:gd name="connsiteX7708" fmla="*/ 444103 w 2792478"/>
                <a:gd name="connsiteY7708" fmla="*/ 420219 h 4235290"/>
                <a:gd name="connsiteX7709" fmla="*/ 517682 w 2792478"/>
                <a:gd name="connsiteY7709" fmla="*/ 419534 h 4235290"/>
                <a:gd name="connsiteX7710" fmla="*/ 520357 w 2792478"/>
                <a:gd name="connsiteY7710" fmla="*/ 422213 h 4235290"/>
                <a:gd name="connsiteX7711" fmla="*/ 520357 w 2792478"/>
                <a:gd name="connsiteY7711" fmla="*/ 427051 h 4235290"/>
                <a:gd name="connsiteX7712" fmla="*/ 517682 w 2792478"/>
                <a:gd name="connsiteY7712" fmla="*/ 429660 h 4235290"/>
                <a:gd name="connsiteX7713" fmla="*/ 515078 w 2792478"/>
                <a:gd name="connsiteY7713" fmla="*/ 427051 h 4235290"/>
                <a:gd name="connsiteX7714" fmla="*/ 515078 w 2792478"/>
                <a:gd name="connsiteY7714" fmla="*/ 422213 h 4235290"/>
                <a:gd name="connsiteX7715" fmla="*/ 517682 w 2792478"/>
                <a:gd name="connsiteY7715" fmla="*/ 419534 h 4235290"/>
                <a:gd name="connsiteX7716" fmla="*/ 609157 w 2792478"/>
                <a:gd name="connsiteY7716" fmla="*/ 416235 h 4235290"/>
                <a:gd name="connsiteX7717" fmla="*/ 611832 w 2792478"/>
                <a:gd name="connsiteY7717" fmla="*/ 418856 h 4235290"/>
                <a:gd name="connsiteX7718" fmla="*/ 611832 w 2792478"/>
                <a:gd name="connsiteY7718" fmla="*/ 423699 h 4235290"/>
                <a:gd name="connsiteX7719" fmla="*/ 609157 w 2792478"/>
                <a:gd name="connsiteY7719" fmla="*/ 426369 h 4235290"/>
                <a:gd name="connsiteX7720" fmla="*/ 606553 w 2792478"/>
                <a:gd name="connsiteY7720" fmla="*/ 423699 h 4235290"/>
                <a:gd name="connsiteX7721" fmla="*/ 606553 w 2792478"/>
                <a:gd name="connsiteY7721" fmla="*/ 418856 h 4235290"/>
                <a:gd name="connsiteX7722" fmla="*/ 609157 w 2792478"/>
                <a:gd name="connsiteY7722" fmla="*/ 416235 h 4235290"/>
                <a:gd name="connsiteX7723" fmla="*/ 386556 w 2792478"/>
                <a:gd name="connsiteY7723" fmla="*/ 413210 h 4235290"/>
                <a:gd name="connsiteX7724" fmla="*/ 406241 w 2792478"/>
                <a:gd name="connsiteY7724" fmla="*/ 413210 h 4235290"/>
                <a:gd name="connsiteX7725" fmla="*/ 409528 w 2792478"/>
                <a:gd name="connsiteY7725" fmla="*/ 416498 h 4235290"/>
                <a:gd name="connsiteX7726" fmla="*/ 406241 w 2792478"/>
                <a:gd name="connsiteY7726" fmla="*/ 419760 h 4235290"/>
                <a:gd name="connsiteX7727" fmla="*/ 386556 w 2792478"/>
                <a:gd name="connsiteY7727" fmla="*/ 419760 h 4235290"/>
                <a:gd name="connsiteX7728" fmla="*/ 383283 w 2792478"/>
                <a:gd name="connsiteY7728" fmla="*/ 416498 h 4235290"/>
                <a:gd name="connsiteX7729" fmla="*/ 386556 w 2792478"/>
                <a:gd name="connsiteY7729" fmla="*/ 413210 h 4235290"/>
                <a:gd name="connsiteX7730" fmla="*/ 1955032 w 2792478"/>
                <a:gd name="connsiteY7730" fmla="*/ 409652 h 4235290"/>
                <a:gd name="connsiteX7731" fmla="*/ 2050986 w 2792478"/>
                <a:gd name="connsiteY7731" fmla="*/ 409652 h 4235290"/>
                <a:gd name="connsiteX7732" fmla="*/ 2101314 w 2792478"/>
                <a:gd name="connsiteY7732" fmla="*/ 459530 h 4235290"/>
                <a:gd name="connsiteX7733" fmla="*/ 2101314 w 2792478"/>
                <a:gd name="connsiteY7733" fmla="*/ 597282 h 4235290"/>
                <a:gd name="connsiteX7734" fmla="*/ 2078051 w 2792478"/>
                <a:gd name="connsiteY7734" fmla="*/ 620091 h 4235290"/>
                <a:gd name="connsiteX7735" fmla="*/ 2007262 w 2792478"/>
                <a:gd name="connsiteY7735" fmla="*/ 620091 h 4235290"/>
                <a:gd name="connsiteX7736" fmla="*/ 1983999 w 2792478"/>
                <a:gd name="connsiteY7736" fmla="*/ 597282 h 4235290"/>
                <a:gd name="connsiteX7737" fmla="*/ 1983999 w 2792478"/>
                <a:gd name="connsiteY7737" fmla="*/ 553098 h 4235290"/>
                <a:gd name="connsiteX7738" fmla="*/ 1953592 w 2792478"/>
                <a:gd name="connsiteY7738" fmla="*/ 553098 h 4235290"/>
                <a:gd name="connsiteX7739" fmla="*/ 1912749 w 2792478"/>
                <a:gd name="connsiteY7739" fmla="*/ 494210 h 4235290"/>
                <a:gd name="connsiteX7740" fmla="*/ 1899431 w 2792478"/>
                <a:gd name="connsiteY7740" fmla="*/ 494210 h 4235290"/>
                <a:gd name="connsiteX7741" fmla="*/ 1885193 w 2792478"/>
                <a:gd name="connsiteY7741" fmla="*/ 480433 h 4235290"/>
                <a:gd name="connsiteX7742" fmla="*/ 1899431 w 2792478"/>
                <a:gd name="connsiteY7742" fmla="*/ 466655 h 4235290"/>
                <a:gd name="connsiteX7743" fmla="*/ 1912749 w 2792478"/>
                <a:gd name="connsiteY7743" fmla="*/ 466655 h 4235290"/>
                <a:gd name="connsiteX7744" fmla="*/ 1955032 w 2792478"/>
                <a:gd name="connsiteY7744" fmla="*/ 409652 h 4235290"/>
                <a:gd name="connsiteX7745" fmla="*/ 444103 w 2792478"/>
                <a:gd name="connsiteY7745" fmla="*/ 405610 h 4235290"/>
                <a:gd name="connsiteX7746" fmla="*/ 446779 w 2792478"/>
                <a:gd name="connsiteY7746" fmla="*/ 408282 h 4235290"/>
                <a:gd name="connsiteX7747" fmla="*/ 446779 w 2792478"/>
                <a:gd name="connsiteY7747" fmla="*/ 413134 h 4235290"/>
                <a:gd name="connsiteX7748" fmla="*/ 444103 w 2792478"/>
                <a:gd name="connsiteY7748" fmla="*/ 415807 h 4235290"/>
                <a:gd name="connsiteX7749" fmla="*/ 441499 w 2792478"/>
                <a:gd name="connsiteY7749" fmla="*/ 413134 h 4235290"/>
                <a:gd name="connsiteX7750" fmla="*/ 441499 w 2792478"/>
                <a:gd name="connsiteY7750" fmla="*/ 408282 h 4235290"/>
                <a:gd name="connsiteX7751" fmla="*/ 444103 w 2792478"/>
                <a:gd name="connsiteY7751" fmla="*/ 405610 h 4235290"/>
                <a:gd name="connsiteX7752" fmla="*/ 517682 w 2792478"/>
                <a:gd name="connsiteY7752" fmla="*/ 404995 h 4235290"/>
                <a:gd name="connsiteX7753" fmla="*/ 520357 w 2792478"/>
                <a:gd name="connsiteY7753" fmla="*/ 407600 h 4235290"/>
                <a:gd name="connsiteX7754" fmla="*/ 520357 w 2792478"/>
                <a:gd name="connsiteY7754" fmla="*/ 412455 h 4235290"/>
                <a:gd name="connsiteX7755" fmla="*/ 517682 w 2792478"/>
                <a:gd name="connsiteY7755" fmla="*/ 415128 h 4235290"/>
                <a:gd name="connsiteX7756" fmla="*/ 515078 w 2792478"/>
                <a:gd name="connsiteY7756" fmla="*/ 412455 h 4235290"/>
                <a:gd name="connsiteX7757" fmla="*/ 515078 w 2792478"/>
                <a:gd name="connsiteY7757" fmla="*/ 407600 h 4235290"/>
                <a:gd name="connsiteX7758" fmla="*/ 517682 w 2792478"/>
                <a:gd name="connsiteY7758" fmla="*/ 404995 h 4235290"/>
                <a:gd name="connsiteX7759" fmla="*/ 2490801 w 2792478"/>
                <a:gd name="connsiteY7759" fmla="*/ 403897 h 4235290"/>
                <a:gd name="connsiteX7760" fmla="*/ 2499633 w 2792478"/>
                <a:gd name="connsiteY7760" fmla="*/ 447397 h 4235290"/>
                <a:gd name="connsiteX7761" fmla="*/ 2456180 w 2792478"/>
                <a:gd name="connsiteY7761" fmla="*/ 438573 h 4235290"/>
                <a:gd name="connsiteX7762" fmla="*/ 2462323 w 2792478"/>
                <a:gd name="connsiteY7762" fmla="*/ 434355 h 4235290"/>
                <a:gd name="connsiteX7763" fmla="*/ 2467117 w 2792478"/>
                <a:gd name="connsiteY7763" fmla="*/ 426986 h 4235290"/>
                <a:gd name="connsiteX7764" fmla="*/ 2474460 w 2792478"/>
                <a:gd name="connsiteY7764" fmla="*/ 422226 h 4235290"/>
                <a:gd name="connsiteX7765" fmla="*/ 2479235 w 2792478"/>
                <a:gd name="connsiteY7765" fmla="*/ 414870 h 4235290"/>
                <a:gd name="connsiteX7766" fmla="*/ 2486578 w 2792478"/>
                <a:gd name="connsiteY7766" fmla="*/ 410091 h 4235290"/>
                <a:gd name="connsiteX7767" fmla="*/ 2490801 w 2792478"/>
                <a:gd name="connsiteY7767" fmla="*/ 403897 h 4235290"/>
                <a:gd name="connsiteX7768" fmla="*/ 609157 w 2792478"/>
                <a:gd name="connsiteY7768" fmla="*/ 401639 h 4235290"/>
                <a:gd name="connsiteX7769" fmla="*/ 611832 w 2792478"/>
                <a:gd name="connsiteY7769" fmla="*/ 404311 h 4235290"/>
                <a:gd name="connsiteX7770" fmla="*/ 611832 w 2792478"/>
                <a:gd name="connsiteY7770" fmla="*/ 409154 h 4235290"/>
                <a:gd name="connsiteX7771" fmla="*/ 609157 w 2792478"/>
                <a:gd name="connsiteY7771" fmla="*/ 411772 h 4235290"/>
                <a:gd name="connsiteX7772" fmla="*/ 606553 w 2792478"/>
                <a:gd name="connsiteY7772" fmla="*/ 409154 h 4235290"/>
                <a:gd name="connsiteX7773" fmla="*/ 606553 w 2792478"/>
                <a:gd name="connsiteY7773" fmla="*/ 404311 h 4235290"/>
                <a:gd name="connsiteX7774" fmla="*/ 609157 w 2792478"/>
                <a:gd name="connsiteY7774" fmla="*/ 401639 h 4235290"/>
                <a:gd name="connsiteX7775" fmla="*/ 444103 w 2792478"/>
                <a:gd name="connsiteY7775" fmla="*/ 391077 h 4235290"/>
                <a:gd name="connsiteX7776" fmla="*/ 446779 w 2792478"/>
                <a:gd name="connsiteY7776" fmla="*/ 393686 h 4235290"/>
                <a:gd name="connsiteX7777" fmla="*/ 446779 w 2792478"/>
                <a:gd name="connsiteY7777" fmla="*/ 398524 h 4235290"/>
                <a:gd name="connsiteX7778" fmla="*/ 444103 w 2792478"/>
                <a:gd name="connsiteY7778" fmla="*/ 401198 h 4235290"/>
                <a:gd name="connsiteX7779" fmla="*/ 441499 w 2792478"/>
                <a:gd name="connsiteY7779" fmla="*/ 398524 h 4235290"/>
                <a:gd name="connsiteX7780" fmla="*/ 441499 w 2792478"/>
                <a:gd name="connsiteY7780" fmla="*/ 393686 h 4235290"/>
                <a:gd name="connsiteX7781" fmla="*/ 444103 w 2792478"/>
                <a:gd name="connsiteY7781" fmla="*/ 391077 h 4235290"/>
                <a:gd name="connsiteX7782" fmla="*/ 517682 w 2792478"/>
                <a:gd name="connsiteY7782" fmla="*/ 390394 h 4235290"/>
                <a:gd name="connsiteX7783" fmla="*/ 520357 w 2792478"/>
                <a:gd name="connsiteY7783" fmla="*/ 393066 h 4235290"/>
                <a:gd name="connsiteX7784" fmla="*/ 520357 w 2792478"/>
                <a:gd name="connsiteY7784" fmla="*/ 397910 h 4235290"/>
                <a:gd name="connsiteX7785" fmla="*/ 517682 w 2792478"/>
                <a:gd name="connsiteY7785" fmla="*/ 400515 h 4235290"/>
                <a:gd name="connsiteX7786" fmla="*/ 515078 w 2792478"/>
                <a:gd name="connsiteY7786" fmla="*/ 397910 h 4235290"/>
                <a:gd name="connsiteX7787" fmla="*/ 515078 w 2792478"/>
                <a:gd name="connsiteY7787" fmla="*/ 393066 h 4235290"/>
                <a:gd name="connsiteX7788" fmla="*/ 517682 w 2792478"/>
                <a:gd name="connsiteY7788" fmla="*/ 390394 h 4235290"/>
                <a:gd name="connsiteX7789" fmla="*/ 609157 w 2792478"/>
                <a:gd name="connsiteY7789" fmla="*/ 387030 h 4235290"/>
                <a:gd name="connsiteX7790" fmla="*/ 611832 w 2792478"/>
                <a:gd name="connsiteY7790" fmla="*/ 389701 h 4235290"/>
                <a:gd name="connsiteX7791" fmla="*/ 611832 w 2792478"/>
                <a:gd name="connsiteY7791" fmla="*/ 394554 h 4235290"/>
                <a:gd name="connsiteX7792" fmla="*/ 609157 w 2792478"/>
                <a:gd name="connsiteY7792" fmla="*/ 397226 h 4235290"/>
                <a:gd name="connsiteX7793" fmla="*/ 606553 w 2792478"/>
                <a:gd name="connsiteY7793" fmla="*/ 394554 h 4235290"/>
                <a:gd name="connsiteX7794" fmla="*/ 606553 w 2792478"/>
                <a:gd name="connsiteY7794" fmla="*/ 389701 h 4235290"/>
                <a:gd name="connsiteX7795" fmla="*/ 609157 w 2792478"/>
                <a:gd name="connsiteY7795" fmla="*/ 387030 h 4235290"/>
                <a:gd name="connsiteX7796" fmla="*/ 444103 w 2792478"/>
                <a:gd name="connsiteY7796" fmla="*/ 376468 h 4235290"/>
                <a:gd name="connsiteX7797" fmla="*/ 446779 w 2792478"/>
                <a:gd name="connsiteY7797" fmla="*/ 379138 h 4235290"/>
                <a:gd name="connsiteX7798" fmla="*/ 446779 w 2792478"/>
                <a:gd name="connsiteY7798" fmla="*/ 383992 h 4235290"/>
                <a:gd name="connsiteX7799" fmla="*/ 444103 w 2792478"/>
                <a:gd name="connsiteY7799" fmla="*/ 386601 h 4235290"/>
                <a:gd name="connsiteX7800" fmla="*/ 441499 w 2792478"/>
                <a:gd name="connsiteY7800" fmla="*/ 383992 h 4235290"/>
                <a:gd name="connsiteX7801" fmla="*/ 441499 w 2792478"/>
                <a:gd name="connsiteY7801" fmla="*/ 379138 h 4235290"/>
                <a:gd name="connsiteX7802" fmla="*/ 444103 w 2792478"/>
                <a:gd name="connsiteY7802" fmla="*/ 376468 h 4235290"/>
                <a:gd name="connsiteX7803" fmla="*/ 517682 w 2792478"/>
                <a:gd name="connsiteY7803" fmla="*/ 375849 h 4235290"/>
                <a:gd name="connsiteX7804" fmla="*/ 520357 w 2792478"/>
                <a:gd name="connsiteY7804" fmla="*/ 378458 h 4235290"/>
                <a:gd name="connsiteX7805" fmla="*/ 520357 w 2792478"/>
                <a:gd name="connsiteY7805" fmla="*/ 383301 h 4235290"/>
                <a:gd name="connsiteX7806" fmla="*/ 517682 w 2792478"/>
                <a:gd name="connsiteY7806" fmla="*/ 385975 h 4235290"/>
                <a:gd name="connsiteX7807" fmla="*/ 515078 w 2792478"/>
                <a:gd name="connsiteY7807" fmla="*/ 383301 h 4235290"/>
                <a:gd name="connsiteX7808" fmla="*/ 515078 w 2792478"/>
                <a:gd name="connsiteY7808" fmla="*/ 378458 h 4235290"/>
                <a:gd name="connsiteX7809" fmla="*/ 517682 w 2792478"/>
                <a:gd name="connsiteY7809" fmla="*/ 375849 h 4235290"/>
                <a:gd name="connsiteX7810" fmla="*/ 2087440 w 2792478"/>
                <a:gd name="connsiteY7810" fmla="*/ 373859 h 4235290"/>
                <a:gd name="connsiteX7811" fmla="*/ 2090858 w 2792478"/>
                <a:gd name="connsiteY7811" fmla="*/ 377277 h 4235290"/>
                <a:gd name="connsiteX7812" fmla="*/ 2087440 w 2792478"/>
                <a:gd name="connsiteY7812" fmla="*/ 380634 h 4235290"/>
                <a:gd name="connsiteX7813" fmla="*/ 2084084 w 2792478"/>
                <a:gd name="connsiteY7813" fmla="*/ 377277 h 4235290"/>
                <a:gd name="connsiteX7814" fmla="*/ 2087440 w 2792478"/>
                <a:gd name="connsiteY7814" fmla="*/ 373859 h 4235290"/>
                <a:gd name="connsiteX7815" fmla="*/ 340641 w 2792478"/>
                <a:gd name="connsiteY7815" fmla="*/ 373847 h 4235290"/>
                <a:gd name="connsiteX7816" fmla="*/ 393126 w 2792478"/>
                <a:gd name="connsiteY7816" fmla="*/ 373847 h 4235290"/>
                <a:gd name="connsiteX7817" fmla="*/ 399682 w 2792478"/>
                <a:gd name="connsiteY7817" fmla="*/ 380401 h 4235290"/>
                <a:gd name="connsiteX7818" fmla="*/ 399682 w 2792478"/>
                <a:gd name="connsiteY7818" fmla="*/ 409929 h 4235290"/>
                <a:gd name="connsiteX7819" fmla="*/ 393126 w 2792478"/>
                <a:gd name="connsiteY7819" fmla="*/ 409929 h 4235290"/>
                <a:gd name="connsiteX7820" fmla="*/ 393126 w 2792478"/>
                <a:gd name="connsiteY7820" fmla="*/ 380401 h 4235290"/>
                <a:gd name="connsiteX7821" fmla="*/ 340641 w 2792478"/>
                <a:gd name="connsiteY7821" fmla="*/ 380401 h 4235290"/>
                <a:gd name="connsiteX7822" fmla="*/ 340641 w 2792478"/>
                <a:gd name="connsiteY7822" fmla="*/ 413210 h 4235290"/>
                <a:gd name="connsiteX7823" fmla="*/ 380915 w 2792478"/>
                <a:gd name="connsiteY7823" fmla="*/ 413210 h 4235290"/>
                <a:gd name="connsiteX7824" fmla="*/ 380000 w 2792478"/>
                <a:gd name="connsiteY7824" fmla="*/ 416498 h 4235290"/>
                <a:gd name="connsiteX7825" fmla="*/ 380915 w 2792478"/>
                <a:gd name="connsiteY7825" fmla="*/ 419760 h 4235290"/>
                <a:gd name="connsiteX7826" fmla="*/ 363494 w 2792478"/>
                <a:gd name="connsiteY7826" fmla="*/ 419760 h 4235290"/>
                <a:gd name="connsiteX7827" fmla="*/ 354556 w 2792478"/>
                <a:gd name="connsiteY7827" fmla="*/ 431030 h 4235290"/>
                <a:gd name="connsiteX7828" fmla="*/ 350483 w 2792478"/>
                <a:gd name="connsiteY7828" fmla="*/ 429602 h 4235290"/>
                <a:gd name="connsiteX7829" fmla="*/ 350483 w 2792478"/>
                <a:gd name="connsiteY7829" fmla="*/ 419760 h 4235290"/>
                <a:gd name="connsiteX7830" fmla="*/ 340641 w 2792478"/>
                <a:gd name="connsiteY7830" fmla="*/ 419760 h 4235290"/>
                <a:gd name="connsiteX7831" fmla="*/ 334085 w 2792478"/>
                <a:gd name="connsiteY7831" fmla="*/ 413210 h 4235290"/>
                <a:gd name="connsiteX7832" fmla="*/ 334085 w 2792478"/>
                <a:gd name="connsiteY7832" fmla="*/ 380401 h 4235290"/>
                <a:gd name="connsiteX7833" fmla="*/ 340641 w 2792478"/>
                <a:gd name="connsiteY7833" fmla="*/ 373847 h 4235290"/>
                <a:gd name="connsiteX7834" fmla="*/ 609157 w 2792478"/>
                <a:gd name="connsiteY7834" fmla="*/ 372496 h 4235290"/>
                <a:gd name="connsiteX7835" fmla="*/ 611832 w 2792478"/>
                <a:gd name="connsiteY7835" fmla="*/ 375105 h 4235290"/>
                <a:gd name="connsiteX7836" fmla="*/ 611832 w 2792478"/>
                <a:gd name="connsiteY7836" fmla="*/ 379945 h 4235290"/>
                <a:gd name="connsiteX7837" fmla="*/ 609157 w 2792478"/>
                <a:gd name="connsiteY7837" fmla="*/ 382617 h 4235290"/>
                <a:gd name="connsiteX7838" fmla="*/ 606553 w 2792478"/>
                <a:gd name="connsiteY7838" fmla="*/ 379945 h 4235290"/>
                <a:gd name="connsiteX7839" fmla="*/ 606553 w 2792478"/>
                <a:gd name="connsiteY7839" fmla="*/ 375105 h 4235290"/>
                <a:gd name="connsiteX7840" fmla="*/ 609157 w 2792478"/>
                <a:gd name="connsiteY7840" fmla="*/ 372496 h 4235290"/>
                <a:gd name="connsiteX7841" fmla="*/ 2075569 w 2792478"/>
                <a:gd name="connsiteY7841" fmla="*/ 363919 h 4235290"/>
                <a:gd name="connsiteX7842" fmla="*/ 2080979 w 2792478"/>
                <a:gd name="connsiteY7842" fmla="*/ 369325 h 4235290"/>
                <a:gd name="connsiteX7843" fmla="*/ 2075569 w 2792478"/>
                <a:gd name="connsiteY7843" fmla="*/ 374792 h 4235290"/>
                <a:gd name="connsiteX7844" fmla="*/ 2070165 w 2792478"/>
                <a:gd name="connsiteY7844" fmla="*/ 369325 h 4235290"/>
                <a:gd name="connsiteX7845" fmla="*/ 2075569 w 2792478"/>
                <a:gd name="connsiteY7845" fmla="*/ 363919 h 4235290"/>
                <a:gd name="connsiteX7846" fmla="*/ 2056740 w 2792478"/>
                <a:gd name="connsiteY7846" fmla="*/ 363919 h 4235290"/>
                <a:gd name="connsiteX7847" fmla="*/ 2067245 w 2792478"/>
                <a:gd name="connsiteY7847" fmla="*/ 374421 h 4235290"/>
                <a:gd name="connsiteX7848" fmla="*/ 2056740 w 2792478"/>
                <a:gd name="connsiteY7848" fmla="*/ 384858 h 4235290"/>
                <a:gd name="connsiteX7849" fmla="*/ 2046301 w 2792478"/>
                <a:gd name="connsiteY7849" fmla="*/ 374421 h 4235290"/>
                <a:gd name="connsiteX7850" fmla="*/ 2056740 w 2792478"/>
                <a:gd name="connsiteY7850" fmla="*/ 363919 h 4235290"/>
                <a:gd name="connsiteX7851" fmla="*/ 517682 w 2792478"/>
                <a:gd name="connsiteY7851" fmla="*/ 361920 h 4235290"/>
                <a:gd name="connsiteX7852" fmla="*/ 520357 w 2792478"/>
                <a:gd name="connsiteY7852" fmla="*/ 364597 h 4235290"/>
                <a:gd name="connsiteX7853" fmla="*/ 520357 w 2792478"/>
                <a:gd name="connsiteY7853" fmla="*/ 367151 h 4235290"/>
                <a:gd name="connsiteX7854" fmla="*/ 517682 w 2792478"/>
                <a:gd name="connsiteY7854" fmla="*/ 369822 h 4235290"/>
                <a:gd name="connsiteX7855" fmla="*/ 515078 w 2792478"/>
                <a:gd name="connsiteY7855" fmla="*/ 367151 h 4235290"/>
                <a:gd name="connsiteX7856" fmla="*/ 515078 w 2792478"/>
                <a:gd name="connsiteY7856" fmla="*/ 364597 h 4235290"/>
                <a:gd name="connsiteX7857" fmla="*/ 517682 w 2792478"/>
                <a:gd name="connsiteY7857" fmla="*/ 361920 h 4235290"/>
                <a:gd name="connsiteX7858" fmla="*/ 444103 w 2792478"/>
                <a:gd name="connsiteY7858" fmla="*/ 361920 h 4235290"/>
                <a:gd name="connsiteX7859" fmla="*/ 446779 w 2792478"/>
                <a:gd name="connsiteY7859" fmla="*/ 364597 h 4235290"/>
                <a:gd name="connsiteX7860" fmla="*/ 446779 w 2792478"/>
                <a:gd name="connsiteY7860" fmla="*/ 369448 h 4235290"/>
                <a:gd name="connsiteX7861" fmla="*/ 444103 w 2792478"/>
                <a:gd name="connsiteY7861" fmla="*/ 372053 h 4235290"/>
                <a:gd name="connsiteX7862" fmla="*/ 441499 w 2792478"/>
                <a:gd name="connsiteY7862" fmla="*/ 369448 h 4235290"/>
                <a:gd name="connsiteX7863" fmla="*/ 441499 w 2792478"/>
                <a:gd name="connsiteY7863" fmla="*/ 364597 h 4235290"/>
                <a:gd name="connsiteX7864" fmla="*/ 444103 w 2792478"/>
                <a:gd name="connsiteY7864" fmla="*/ 361920 h 4235290"/>
                <a:gd name="connsiteX7865" fmla="*/ 2392611 w 2792478"/>
                <a:gd name="connsiteY7865" fmla="*/ 358567 h 4235290"/>
                <a:gd name="connsiteX7866" fmla="*/ 2386552 w 2792478"/>
                <a:gd name="connsiteY7866" fmla="*/ 364625 h 4235290"/>
                <a:gd name="connsiteX7867" fmla="*/ 2444145 w 2792478"/>
                <a:gd name="connsiteY7867" fmla="*/ 422226 h 4235290"/>
                <a:gd name="connsiteX7868" fmla="*/ 2450204 w 2792478"/>
                <a:gd name="connsiteY7868" fmla="*/ 422226 h 4235290"/>
                <a:gd name="connsiteX7869" fmla="*/ 2450204 w 2792478"/>
                <a:gd name="connsiteY7869" fmla="*/ 416157 h 4235290"/>
                <a:gd name="connsiteX7870" fmla="*/ 609157 w 2792478"/>
                <a:gd name="connsiteY7870" fmla="*/ 357952 h 4235290"/>
                <a:gd name="connsiteX7871" fmla="*/ 611832 w 2792478"/>
                <a:gd name="connsiteY7871" fmla="*/ 360561 h 4235290"/>
                <a:gd name="connsiteX7872" fmla="*/ 611832 w 2792478"/>
                <a:gd name="connsiteY7872" fmla="*/ 365412 h 4235290"/>
                <a:gd name="connsiteX7873" fmla="*/ 609157 w 2792478"/>
                <a:gd name="connsiteY7873" fmla="*/ 368085 h 4235290"/>
                <a:gd name="connsiteX7874" fmla="*/ 606553 w 2792478"/>
                <a:gd name="connsiteY7874" fmla="*/ 365412 h 4235290"/>
                <a:gd name="connsiteX7875" fmla="*/ 606553 w 2792478"/>
                <a:gd name="connsiteY7875" fmla="*/ 360561 h 4235290"/>
                <a:gd name="connsiteX7876" fmla="*/ 609157 w 2792478"/>
                <a:gd name="connsiteY7876" fmla="*/ 357952 h 4235290"/>
                <a:gd name="connsiteX7877" fmla="*/ 2251251 w 2792478"/>
                <a:gd name="connsiteY7877" fmla="*/ 355958 h 4235290"/>
                <a:gd name="connsiteX7878" fmla="*/ 2265361 w 2792478"/>
                <a:gd name="connsiteY7878" fmla="*/ 370075 h 4235290"/>
                <a:gd name="connsiteX7879" fmla="*/ 2260697 w 2792478"/>
                <a:gd name="connsiteY7879" fmla="*/ 388965 h 4235290"/>
                <a:gd name="connsiteX7880" fmla="*/ 2251251 w 2792478"/>
                <a:gd name="connsiteY7880" fmla="*/ 398227 h 4235290"/>
                <a:gd name="connsiteX7881" fmla="*/ 2241868 w 2792478"/>
                <a:gd name="connsiteY7881" fmla="*/ 388902 h 4235290"/>
                <a:gd name="connsiteX7882" fmla="*/ 2237204 w 2792478"/>
                <a:gd name="connsiteY7882" fmla="*/ 370075 h 4235290"/>
                <a:gd name="connsiteX7883" fmla="*/ 2251251 w 2792478"/>
                <a:gd name="connsiteY7883" fmla="*/ 355958 h 4235290"/>
                <a:gd name="connsiteX7884" fmla="*/ 444103 w 2792478"/>
                <a:gd name="connsiteY7884" fmla="*/ 349997 h 4235290"/>
                <a:gd name="connsiteX7885" fmla="*/ 446779 w 2792478"/>
                <a:gd name="connsiteY7885" fmla="*/ 352611 h 4235290"/>
                <a:gd name="connsiteX7886" fmla="*/ 446779 w 2792478"/>
                <a:gd name="connsiteY7886" fmla="*/ 355213 h 4235290"/>
                <a:gd name="connsiteX7887" fmla="*/ 444103 w 2792478"/>
                <a:gd name="connsiteY7887" fmla="*/ 357822 h 4235290"/>
                <a:gd name="connsiteX7888" fmla="*/ 441499 w 2792478"/>
                <a:gd name="connsiteY7888" fmla="*/ 355213 h 4235290"/>
                <a:gd name="connsiteX7889" fmla="*/ 441499 w 2792478"/>
                <a:gd name="connsiteY7889" fmla="*/ 352611 h 4235290"/>
                <a:gd name="connsiteX7890" fmla="*/ 444103 w 2792478"/>
                <a:gd name="connsiteY7890" fmla="*/ 349997 h 4235290"/>
                <a:gd name="connsiteX7891" fmla="*/ 1279569 w 2792478"/>
                <a:gd name="connsiteY7891" fmla="*/ 349995 h 4235290"/>
                <a:gd name="connsiteX7892" fmla="*/ 1290878 w 2792478"/>
                <a:gd name="connsiteY7892" fmla="*/ 354471 h 4235290"/>
                <a:gd name="connsiteX7893" fmla="*/ 1296041 w 2792478"/>
                <a:gd name="connsiteY7893" fmla="*/ 364974 h 4235290"/>
                <a:gd name="connsiteX7894" fmla="*/ 1286283 w 2792478"/>
                <a:gd name="connsiteY7894" fmla="*/ 378645 h 4235290"/>
                <a:gd name="connsiteX7895" fmla="*/ 1286283 w 2792478"/>
                <a:gd name="connsiteY7895" fmla="*/ 406610 h 4235290"/>
                <a:gd name="connsiteX7896" fmla="*/ 1279569 w 2792478"/>
                <a:gd name="connsiteY7896" fmla="*/ 413568 h 4235290"/>
                <a:gd name="connsiteX7897" fmla="*/ 1272735 w 2792478"/>
                <a:gd name="connsiteY7897" fmla="*/ 406610 h 4235290"/>
                <a:gd name="connsiteX7898" fmla="*/ 1272735 w 2792478"/>
                <a:gd name="connsiteY7898" fmla="*/ 378645 h 4235290"/>
                <a:gd name="connsiteX7899" fmla="*/ 1262791 w 2792478"/>
                <a:gd name="connsiteY7899" fmla="*/ 364974 h 4235290"/>
                <a:gd name="connsiteX7900" fmla="*/ 1267886 w 2792478"/>
                <a:gd name="connsiteY7900" fmla="*/ 354471 h 4235290"/>
                <a:gd name="connsiteX7901" fmla="*/ 1279569 w 2792478"/>
                <a:gd name="connsiteY7901" fmla="*/ 349995 h 4235290"/>
                <a:gd name="connsiteX7902" fmla="*/ 2404736 w 2792478"/>
                <a:gd name="connsiteY7902" fmla="*/ 346443 h 4235290"/>
                <a:gd name="connsiteX7903" fmla="*/ 2398677 w 2792478"/>
                <a:gd name="connsiteY7903" fmla="*/ 352507 h 4235290"/>
                <a:gd name="connsiteX7904" fmla="*/ 2456263 w 2792478"/>
                <a:gd name="connsiteY7904" fmla="*/ 410098 h 4235290"/>
                <a:gd name="connsiteX7905" fmla="*/ 2462323 w 2792478"/>
                <a:gd name="connsiteY7905" fmla="*/ 410104 h 4235290"/>
                <a:gd name="connsiteX7906" fmla="*/ 2462323 w 2792478"/>
                <a:gd name="connsiteY7906" fmla="*/ 404033 h 4235290"/>
                <a:gd name="connsiteX7907" fmla="*/ 609157 w 2792478"/>
                <a:gd name="connsiteY7907" fmla="*/ 346018 h 4235290"/>
                <a:gd name="connsiteX7908" fmla="*/ 611832 w 2792478"/>
                <a:gd name="connsiteY7908" fmla="*/ 348686 h 4235290"/>
                <a:gd name="connsiteX7909" fmla="*/ 611832 w 2792478"/>
                <a:gd name="connsiteY7909" fmla="*/ 351235 h 4235290"/>
                <a:gd name="connsiteX7910" fmla="*/ 609157 w 2792478"/>
                <a:gd name="connsiteY7910" fmla="*/ 353909 h 4235290"/>
                <a:gd name="connsiteX7911" fmla="*/ 606553 w 2792478"/>
                <a:gd name="connsiteY7911" fmla="*/ 351235 h 4235290"/>
                <a:gd name="connsiteX7912" fmla="*/ 606553 w 2792478"/>
                <a:gd name="connsiteY7912" fmla="*/ 348686 h 4235290"/>
                <a:gd name="connsiteX7913" fmla="*/ 609157 w 2792478"/>
                <a:gd name="connsiteY7913" fmla="*/ 346018 h 4235290"/>
                <a:gd name="connsiteX7914" fmla="*/ 2032875 w 2792478"/>
                <a:gd name="connsiteY7914" fmla="*/ 342413 h 4235290"/>
                <a:gd name="connsiteX7915" fmla="*/ 2021440 w 2792478"/>
                <a:gd name="connsiteY7915" fmla="*/ 367956 h 4235290"/>
                <a:gd name="connsiteX7916" fmla="*/ 2026100 w 2792478"/>
                <a:gd name="connsiteY7916" fmla="*/ 374421 h 4235290"/>
                <a:gd name="connsiteX7917" fmla="*/ 2038782 w 2792478"/>
                <a:gd name="connsiteY7917" fmla="*/ 347076 h 4235290"/>
                <a:gd name="connsiteX7918" fmla="*/ 573244 w 2792478"/>
                <a:gd name="connsiteY7918" fmla="*/ 337446 h 4235290"/>
                <a:gd name="connsiteX7919" fmla="*/ 501714 w 2792478"/>
                <a:gd name="connsiteY7919" fmla="*/ 359813 h 4235290"/>
                <a:gd name="connsiteX7920" fmla="*/ 430183 w 2792478"/>
                <a:gd name="connsiteY7920" fmla="*/ 337506 h 4235290"/>
                <a:gd name="connsiteX7921" fmla="*/ 430183 w 2792478"/>
                <a:gd name="connsiteY7921" fmla="*/ 427550 h 4235290"/>
                <a:gd name="connsiteX7922" fmla="*/ 501714 w 2792478"/>
                <a:gd name="connsiteY7922" fmla="*/ 460615 h 4235290"/>
                <a:gd name="connsiteX7923" fmla="*/ 573244 w 2792478"/>
                <a:gd name="connsiteY7923" fmla="*/ 427550 h 4235290"/>
                <a:gd name="connsiteX7924" fmla="*/ 1212644 w 2792478"/>
                <a:gd name="connsiteY7924" fmla="*/ 336574 h 4235290"/>
                <a:gd name="connsiteX7925" fmla="*/ 1212644 w 2792478"/>
                <a:gd name="connsiteY7925" fmla="*/ 420405 h 4235290"/>
                <a:gd name="connsiteX7926" fmla="*/ 1346747 w 2792478"/>
                <a:gd name="connsiteY7926" fmla="*/ 420405 h 4235290"/>
                <a:gd name="connsiteX7927" fmla="*/ 1346747 w 2792478"/>
                <a:gd name="connsiteY7927" fmla="*/ 336574 h 4235290"/>
                <a:gd name="connsiteX7928" fmla="*/ 2416860 w 2792478"/>
                <a:gd name="connsiteY7928" fmla="*/ 334316 h 4235290"/>
                <a:gd name="connsiteX7929" fmla="*/ 2410795 w 2792478"/>
                <a:gd name="connsiteY7929" fmla="*/ 340378 h 4235290"/>
                <a:gd name="connsiteX7930" fmla="*/ 2468388 w 2792478"/>
                <a:gd name="connsiteY7930" fmla="*/ 397975 h 4235290"/>
                <a:gd name="connsiteX7931" fmla="*/ 2474447 w 2792478"/>
                <a:gd name="connsiteY7931" fmla="*/ 397975 h 4235290"/>
                <a:gd name="connsiteX7932" fmla="*/ 2474447 w 2792478"/>
                <a:gd name="connsiteY7932" fmla="*/ 391912 h 4235290"/>
                <a:gd name="connsiteX7933" fmla="*/ 784594 w 2792478"/>
                <a:gd name="connsiteY7933" fmla="*/ 330109 h 4235290"/>
                <a:gd name="connsiteX7934" fmla="*/ 820142 w 2792478"/>
                <a:gd name="connsiteY7934" fmla="*/ 344460 h 4235290"/>
                <a:gd name="connsiteX7935" fmla="*/ 834189 w 2792478"/>
                <a:gd name="connsiteY7935" fmla="*/ 381002 h 4235290"/>
                <a:gd name="connsiteX7936" fmla="*/ 834189 w 2792478"/>
                <a:gd name="connsiteY7936" fmla="*/ 412694 h 4235290"/>
                <a:gd name="connsiteX7937" fmla="*/ 858420 w 2792478"/>
                <a:gd name="connsiteY7937" fmla="*/ 412694 h 4235290"/>
                <a:gd name="connsiteX7938" fmla="*/ 865134 w 2792478"/>
                <a:gd name="connsiteY7938" fmla="*/ 419404 h 4235290"/>
                <a:gd name="connsiteX7939" fmla="*/ 865134 w 2792478"/>
                <a:gd name="connsiteY7939" fmla="*/ 516727 h 4235290"/>
                <a:gd name="connsiteX7940" fmla="*/ 858420 w 2792478"/>
                <a:gd name="connsiteY7940" fmla="*/ 523375 h 4235290"/>
                <a:gd name="connsiteX7941" fmla="*/ 710642 w 2792478"/>
                <a:gd name="connsiteY7941" fmla="*/ 523375 h 4235290"/>
                <a:gd name="connsiteX7942" fmla="*/ 703995 w 2792478"/>
                <a:gd name="connsiteY7942" fmla="*/ 516727 h 4235290"/>
                <a:gd name="connsiteX7943" fmla="*/ 703995 w 2792478"/>
                <a:gd name="connsiteY7943" fmla="*/ 419404 h 4235290"/>
                <a:gd name="connsiteX7944" fmla="*/ 710642 w 2792478"/>
                <a:gd name="connsiteY7944" fmla="*/ 412694 h 4235290"/>
                <a:gd name="connsiteX7945" fmla="*/ 820641 w 2792478"/>
                <a:gd name="connsiteY7945" fmla="*/ 412694 h 4235290"/>
                <a:gd name="connsiteX7946" fmla="*/ 820641 w 2792478"/>
                <a:gd name="connsiteY7946" fmla="*/ 381002 h 4235290"/>
                <a:gd name="connsiteX7947" fmla="*/ 810570 w 2792478"/>
                <a:gd name="connsiteY7947" fmla="*/ 354096 h 4235290"/>
                <a:gd name="connsiteX7948" fmla="*/ 784594 w 2792478"/>
                <a:gd name="connsiteY7948" fmla="*/ 343466 h 4235290"/>
                <a:gd name="connsiteX7949" fmla="*/ 758312 w 2792478"/>
                <a:gd name="connsiteY7949" fmla="*/ 354096 h 4235290"/>
                <a:gd name="connsiteX7950" fmla="*/ 748181 w 2792478"/>
                <a:gd name="connsiteY7950" fmla="*/ 381002 h 4235290"/>
                <a:gd name="connsiteX7951" fmla="*/ 748181 w 2792478"/>
                <a:gd name="connsiteY7951" fmla="*/ 388707 h 4235290"/>
                <a:gd name="connsiteX7952" fmla="*/ 741340 w 2792478"/>
                <a:gd name="connsiteY7952" fmla="*/ 395424 h 4235290"/>
                <a:gd name="connsiteX7953" fmla="*/ 734634 w 2792478"/>
                <a:gd name="connsiteY7953" fmla="*/ 388707 h 4235290"/>
                <a:gd name="connsiteX7954" fmla="*/ 734634 w 2792478"/>
                <a:gd name="connsiteY7954" fmla="*/ 381002 h 4235290"/>
                <a:gd name="connsiteX7955" fmla="*/ 748800 w 2792478"/>
                <a:gd name="connsiteY7955" fmla="*/ 344460 h 4235290"/>
                <a:gd name="connsiteX7956" fmla="*/ 784594 w 2792478"/>
                <a:gd name="connsiteY7956" fmla="*/ 330109 h 4235290"/>
                <a:gd name="connsiteX7957" fmla="*/ 1649221 w 2792478"/>
                <a:gd name="connsiteY7957" fmla="*/ 329337 h 4235290"/>
                <a:gd name="connsiteX7958" fmla="*/ 1648997 w 2792478"/>
                <a:gd name="connsiteY7958" fmla="*/ 329563 h 4235290"/>
                <a:gd name="connsiteX7959" fmla="*/ 1648997 w 2792478"/>
                <a:gd name="connsiteY7959" fmla="*/ 343932 h 4235290"/>
                <a:gd name="connsiteX7960" fmla="*/ 1646609 w 2792478"/>
                <a:gd name="connsiteY7960" fmla="*/ 347967 h 4235290"/>
                <a:gd name="connsiteX7961" fmla="*/ 1641939 w 2792478"/>
                <a:gd name="connsiteY7961" fmla="*/ 347801 h 4235290"/>
                <a:gd name="connsiteX7962" fmla="*/ 1629832 w 2792478"/>
                <a:gd name="connsiteY7962" fmla="*/ 340055 h 4235290"/>
                <a:gd name="connsiteX7963" fmla="*/ 1629516 w 2792478"/>
                <a:gd name="connsiteY7963" fmla="*/ 340113 h 4235290"/>
                <a:gd name="connsiteX7964" fmla="*/ 1617992 w 2792478"/>
                <a:gd name="connsiteY7964" fmla="*/ 358094 h 4235290"/>
                <a:gd name="connsiteX7965" fmla="*/ 1618064 w 2792478"/>
                <a:gd name="connsiteY7965" fmla="*/ 358417 h 4235290"/>
                <a:gd name="connsiteX7966" fmla="*/ 1633647 w 2792478"/>
                <a:gd name="connsiteY7966" fmla="*/ 368389 h 4235290"/>
                <a:gd name="connsiteX7967" fmla="*/ 1635764 w 2792478"/>
                <a:gd name="connsiteY7967" fmla="*/ 372258 h 4235290"/>
                <a:gd name="connsiteX7968" fmla="*/ 1633647 w 2792478"/>
                <a:gd name="connsiteY7968" fmla="*/ 376132 h 4235290"/>
                <a:gd name="connsiteX7969" fmla="*/ 1618064 w 2792478"/>
                <a:gd name="connsiteY7969" fmla="*/ 386105 h 4235290"/>
                <a:gd name="connsiteX7970" fmla="*/ 1617992 w 2792478"/>
                <a:gd name="connsiteY7970" fmla="*/ 386427 h 4235290"/>
                <a:gd name="connsiteX7971" fmla="*/ 1629516 w 2792478"/>
                <a:gd name="connsiteY7971" fmla="*/ 404415 h 4235290"/>
                <a:gd name="connsiteX7972" fmla="*/ 1629832 w 2792478"/>
                <a:gd name="connsiteY7972" fmla="*/ 404469 h 4235290"/>
                <a:gd name="connsiteX7973" fmla="*/ 1641939 w 2792478"/>
                <a:gd name="connsiteY7973" fmla="*/ 396735 h 4235290"/>
                <a:gd name="connsiteX7974" fmla="*/ 1644410 w 2792478"/>
                <a:gd name="connsiteY7974" fmla="*/ 396001 h 4235290"/>
                <a:gd name="connsiteX7975" fmla="*/ 1646604 w 2792478"/>
                <a:gd name="connsiteY7975" fmla="*/ 396567 h 4235290"/>
                <a:gd name="connsiteX7976" fmla="*/ 1648997 w 2792478"/>
                <a:gd name="connsiteY7976" fmla="*/ 400599 h 4235290"/>
                <a:gd name="connsiteX7977" fmla="*/ 1648997 w 2792478"/>
                <a:gd name="connsiteY7977" fmla="*/ 414963 h 4235290"/>
                <a:gd name="connsiteX7978" fmla="*/ 1649221 w 2792478"/>
                <a:gd name="connsiteY7978" fmla="*/ 415187 h 4235290"/>
                <a:gd name="connsiteX7979" fmla="*/ 1670581 w 2792478"/>
                <a:gd name="connsiteY7979" fmla="*/ 415187 h 4235290"/>
                <a:gd name="connsiteX7980" fmla="*/ 1670799 w 2792478"/>
                <a:gd name="connsiteY7980" fmla="*/ 414963 h 4235290"/>
                <a:gd name="connsiteX7981" fmla="*/ 1670799 w 2792478"/>
                <a:gd name="connsiteY7981" fmla="*/ 400599 h 4235290"/>
                <a:gd name="connsiteX7982" fmla="*/ 1673192 w 2792478"/>
                <a:gd name="connsiteY7982" fmla="*/ 396567 h 4235290"/>
                <a:gd name="connsiteX7983" fmla="*/ 1677872 w 2792478"/>
                <a:gd name="connsiteY7983" fmla="*/ 396725 h 4235290"/>
                <a:gd name="connsiteX7984" fmla="*/ 1689970 w 2792478"/>
                <a:gd name="connsiteY7984" fmla="*/ 404469 h 4235290"/>
                <a:gd name="connsiteX7985" fmla="*/ 1690285 w 2792478"/>
                <a:gd name="connsiteY7985" fmla="*/ 404415 h 4235290"/>
                <a:gd name="connsiteX7986" fmla="*/ 1701810 w 2792478"/>
                <a:gd name="connsiteY7986" fmla="*/ 386427 h 4235290"/>
                <a:gd name="connsiteX7987" fmla="*/ 1701737 w 2792478"/>
                <a:gd name="connsiteY7987" fmla="*/ 386105 h 4235290"/>
                <a:gd name="connsiteX7988" fmla="*/ 1686149 w 2792478"/>
                <a:gd name="connsiteY7988" fmla="*/ 376132 h 4235290"/>
                <a:gd name="connsiteX7989" fmla="*/ 1684037 w 2792478"/>
                <a:gd name="connsiteY7989" fmla="*/ 372258 h 4235290"/>
                <a:gd name="connsiteX7990" fmla="*/ 1686149 w 2792478"/>
                <a:gd name="connsiteY7990" fmla="*/ 368389 h 4235290"/>
                <a:gd name="connsiteX7991" fmla="*/ 1701737 w 2792478"/>
                <a:gd name="connsiteY7991" fmla="*/ 358406 h 4235290"/>
                <a:gd name="connsiteX7992" fmla="*/ 1701810 w 2792478"/>
                <a:gd name="connsiteY7992" fmla="*/ 358094 h 4235290"/>
                <a:gd name="connsiteX7993" fmla="*/ 1690285 w 2792478"/>
                <a:gd name="connsiteY7993" fmla="*/ 340113 h 4235290"/>
                <a:gd name="connsiteX7994" fmla="*/ 1689979 w 2792478"/>
                <a:gd name="connsiteY7994" fmla="*/ 340055 h 4235290"/>
                <a:gd name="connsiteX7995" fmla="*/ 1677872 w 2792478"/>
                <a:gd name="connsiteY7995" fmla="*/ 347793 h 4235290"/>
                <a:gd name="connsiteX7996" fmla="*/ 1673192 w 2792478"/>
                <a:gd name="connsiteY7996" fmla="*/ 347967 h 4235290"/>
                <a:gd name="connsiteX7997" fmla="*/ 1670799 w 2792478"/>
                <a:gd name="connsiteY7997" fmla="*/ 343932 h 4235290"/>
                <a:gd name="connsiteX7998" fmla="*/ 1670799 w 2792478"/>
                <a:gd name="connsiteY7998" fmla="*/ 329563 h 4235290"/>
                <a:gd name="connsiteX7999" fmla="*/ 1670581 w 2792478"/>
                <a:gd name="connsiteY7999" fmla="*/ 329337 h 4235290"/>
                <a:gd name="connsiteX8000" fmla="*/ 2013860 w 2792478"/>
                <a:gd name="connsiteY8000" fmla="*/ 328676 h 4235290"/>
                <a:gd name="connsiteX8001" fmla="*/ 1996211 w 2792478"/>
                <a:gd name="connsiteY8001" fmla="*/ 346141 h 4235290"/>
                <a:gd name="connsiteX8002" fmla="*/ 1996272 w 2792478"/>
                <a:gd name="connsiteY8002" fmla="*/ 346204 h 4235290"/>
                <a:gd name="connsiteX8003" fmla="*/ 2002113 w 2792478"/>
                <a:gd name="connsiteY8003" fmla="*/ 360935 h 4235290"/>
                <a:gd name="connsiteX8004" fmla="*/ 2013239 w 2792478"/>
                <a:gd name="connsiteY8004" fmla="*/ 363979 h 4235290"/>
                <a:gd name="connsiteX8005" fmla="*/ 2025479 w 2792478"/>
                <a:gd name="connsiteY8005" fmla="*/ 337007 h 4235290"/>
                <a:gd name="connsiteX8006" fmla="*/ 1563809 w 2792478"/>
                <a:gd name="connsiteY8006" fmla="*/ 327365 h 4235290"/>
                <a:gd name="connsiteX8007" fmla="*/ 1507100 w 2792478"/>
                <a:gd name="connsiteY8007" fmla="*/ 333584 h 4235290"/>
                <a:gd name="connsiteX8008" fmla="*/ 1507100 w 2792478"/>
                <a:gd name="connsiteY8008" fmla="*/ 414547 h 4235290"/>
                <a:gd name="connsiteX8009" fmla="*/ 1563809 w 2792478"/>
                <a:gd name="connsiteY8009" fmla="*/ 404364 h 4235290"/>
                <a:gd name="connsiteX8010" fmla="*/ 1563809 w 2792478"/>
                <a:gd name="connsiteY8010" fmla="*/ 327365 h 4235290"/>
                <a:gd name="connsiteX8011" fmla="*/ 1443352 w 2792478"/>
                <a:gd name="connsiteY8011" fmla="*/ 327358 h 4235290"/>
                <a:gd name="connsiteX8012" fmla="*/ 1443352 w 2792478"/>
                <a:gd name="connsiteY8012" fmla="*/ 404364 h 4235290"/>
                <a:gd name="connsiteX8013" fmla="*/ 1500061 w 2792478"/>
                <a:gd name="connsiteY8013" fmla="*/ 414547 h 4235290"/>
                <a:gd name="connsiteX8014" fmla="*/ 1500061 w 2792478"/>
                <a:gd name="connsiteY8014" fmla="*/ 333584 h 4235290"/>
                <a:gd name="connsiteX8015" fmla="*/ 1443352 w 2792478"/>
                <a:gd name="connsiteY8015" fmla="*/ 327358 h 4235290"/>
                <a:gd name="connsiteX8016" fmla="*/ 2186683 w 2792478"/>
                <a:gd name="connsiteY8016" fmla="*/ 326383 h 4235290"/>
                <a:gd name="connsiteX8017" fmla="*/ 2179726 w 2792478"/>
                <a:gd name="connsiteY8017" fmla="*/ 333468 h 4235290"/>
                <a:gd name="connsiteX8018" fmla="*/ 2179726 w 2792478"/>
                <a:gd name="connsiteY8018" fmla="*/ 382742 h 4235290"/>
                <a:gd name="connsiteX8019" fmla="*/ 2229003 w 2792478"/>
                <a:gd name="connsiteY8019" fmla="*/ 432095 h 4235290"/>
                <a:gd name="connsiteX8020" fmla="*/ 2271261 w 2792478"/>
                <a:gd name="connsiteY8020" fmla="*/ 432095 h 4235290"/>
                <a:gd name="connsiteX8021" fmla="*/ 2320601 w 2792478"/>
                <a:gd name="connsiteY8021" fmla="*/ 382742 h 4235290"/>
                <a:gd name="connsiteX8022" fmla="*/ 2320601 w 2792478"/>
                <a:gd name="connsiteY8022" fmla="*/ 354593 h 4235290"/>
                <a:gd name="connsiteX8023" fmla="*/ 2320601 w 2792478"/>
                <a:gd name="connsiteY8023" fmla="*/ 333468 h 4235290"/>
                <a:gd name="connsiteX8024" fmla="*/ 2313519 w 2792478"/>
                <a:gd name="connsiteY8024" fmla="*/ 326383 h 4235290"/>
                <a:gd name="connsiteX8025" fmla="*/ 1649221 w 2792478"/>
                <a:gd name="connsiteY8025" fmla="*/ 320157 h 4235290"/>
                <a:gd name="connsiteX8026" fmla="*/ 1670581 w 2792478"/>
                <a:gd name="connsiteY8026" fmla="*/ 320157 h 4235290"/>
                <a:gd name="connsiteX8027" fmla="*/ 1679984 w 2792478"/>
                <a:gd name="connsiteY8027" fmla="*/ 329563 h 4235290"/>
                <a:gd name="connsiteX8028" fmla="*/ 1679984 w 2792478"/>
                <a:gd name="connsiteY8028" fmla="*/ 335554 h 4235290"/>
                <a:gd name="connsiteX8029" fmla="*/ 1685018 w 2792478"/>
                <a:gd name="connsiteY8029" fmla="*/ 332313 h 4235290"/>
                <a:gd name="connsiteX8030" fmla="*/ 1692096 w 2792478"/>
                <a:gd name="connsiteY8030" fmla="*/ 331046 h 4235290"/>
                <a:gd name="connsiteX8031" fmla="*/ 1698009 w 2792478"/>
                <a:gd name="connsiteY8031" fmla="*/ 335160 h 4235290"/>
                <a:gd name="connsiteX8032" fmla="*/ 1709533 w 2792478"/>
                <a:gd name="connsiteY8032" fmla="*/ 353153 h 4235290"/>
                <a:gd name="connsiteX8033" fmla="*/ 1706679 w 2792478"/>
                <a:gd name="connsiteY8033" fmla="*/ 366141 h 4235290"/>
                <a:gd name="connsiteX8034" fmla="*/ 1697135 w 2792478"/>
                <a:gd name="connsiteY8034" fmla="*/ 372258 h 4235290"/>
                <a:gd name="connsiteX8035" fmla="*/ 1706679 w 2792478"/>
                <a:gd name="connsiteY8035" fmla="*/ 378386 h 4235290"/>
                <a:gd name="connsiteX8036" fmla="*/ 1710805 w 2792478"/>
                <a:gd name="connsiteY8036" fmla="*/ 384289 h 4235290"/>
                <a:gd name="connsiteX8037" fmla="*/ 1709533 w 2792478"/>
                <a:gd name="connsiteY8037" fmla="*/ 391369 h 4235290"/>
                <a:gd name="connsiteX8038" fmla="*/ 1698009 w 2792478"/>
                <a:gd name="connsiteY8038" fmla="*/ 409361 h 4235290"/>
                <a:gd name="connsiteX8039" fmla="*/ 1692096 w 2792478"/>
                <a:gd name="connsiteY8039" fmla="*/ 413475 h 4235290"/>
                <a:gd name="connsiteX8040" fmla="*/ 1690086 w 2792478"/>
                <a:gd name="connsiteY8040" fmla="*/ 413689 h 4235290"/>
                <a:gd name="connsiteX8041" fmla="*/ 1685008 w 2792478"/>
                <a:gd name="connsiteY8041" fmla="*/ 412209 h 4235290"/>
                <a:gd name="connsiteX8042" fmla="*/ 1679969 w 2792478"/>
                <a:gd name="connsiteY8042" fmla="*/ 408986 h 4235290"/>
                <a:gd name="connsiteX8043" fmla="*/ 1679969 w 2792478"/>
                <a:gd name="connsiteY8043" fmla="*/ 414963 h 4235290"/>
                <a:gd name="connsiteX8044" fmla="*/ 1670581 w 2792478"/>
                <a:gd name="connsiteY8044" fmla="*/ 424371 h 4235290"/>
                <a:gd name="connsiteX8045" fmla="*/ 1649221 w 2792478"/>
                <a:gd name="connsiteY8045" fmla="*/ 424371 h 4235290"/>
                <a:gd name="connsiteX8046" fmla="*/ 1639818 w 2792478"/>
                <a:gd name="connsiteY8046" fmla="*/ 414963 h 4235290"/>
                <a:gd name="connsiteX8047" fmla="*/ 1639818 w 2792478"/>
                <a:gd name="connsiteY8047" fmla="*/ 408986 h 4235290"/>
                <a:gd name="connsiteX8048" fmla="*/ 1634779 w 2792478"/>
                <a:gd name="connsiteY8048" fmla="*/ 412209 h 4235290"/>
                <a:gd name="connsiteX8049" fmla="*/ 1627686 w 2792478"/>
                <a:gd name="connsiteY8049" fmla="*/ 413475 h 4235290"/>
                <a:gd name="connsiteX8050" fmla="*/ 1621793 w 2792478"/>
                <a:gd name="connsiteY8050" fmla="*/ 409371 h 4235290"/>
                <a:gd name="connsiteX8051" fmla="*/ 1610268 w 2792478"/>
                <a:gd name="connsiteY8051" fmla="*/ 391369 h 4235290"/>
                <a:gd name="connsiteX8052" fmla="*/ 1608996 w 2792478"/>
                <a:gd name="connsiteY8052" fmla="*/ 384296 h 4235290"/>
                <a:gd name="connsiteX8053" fmla="*/ 1613113 w 2792478"/>
                <a:gd name="connsiteY8053" fmla="*/ 378386 h 4235290"/>
                <a:gd name="connsiteX8054" fmla="*/ 1622667 w 2792478"/>
                <a:gd name="connsiteY8054" fmla="*/ 372258 h 4235290"/>
                <a:gd name="connsiteX8055" fmla="*/ 1613113 w 2792478"/>
                <a:gd name="connsiteY8055" fmla="*/ 366141 h 4235290"/>
                <a:gd name="connsiteX8056" fmla="*/ 1610268 w 2792478"/>
                <a:gd name="connsiteY8056" fmla="*/ 353153 h 4235290"/>
                <a:gd name="connsiteX8057" fmla="*/ 1621793 w 2792478"/>
                <a:gd name="connsiteY8057" fmla="*/ 335160 h 4235290"/>
                <a:gd name="connsiteX8058" fmla="*/ 1627686 w 2792478"/>
                <a:gd name="connsiteY8058" fmla="*/ 331059 h 4235290"/>
                <a:gd name="connsiteX8059" fmla="*/ 1634779 w 2792478"/>
                <a:gd name="connsiteY8059" fmla="*/ 332313 h 4235290"/>
                <a:gd name="connsiteX8060" fmla="*/ 1639818 w 2792478"/>
                <a:gd name="connsiteY8060" fmla="*/ 335554 h 4235290"/>
                <a:gd name="connsiteX8061" fmla="*/ 1639818 w 2792478"/>
                <a:gd name="connsiteY8061" fmla="*/ 329563 h 4235290"/>
                <a:gd name="connsiteX8062" fmla="*/ 1649221 w 2792478"/>
                <a:gd name="connsiteY8062" fmla="*/ 320157 h 4235290"/>
                <a:gd name="connsiteX8063" fmla="*/ 2001122 w 2792478"/>
                <a:gd name="connsiteY8063" fmla="*/ 319545 h 4235290"/>
                <a:gd name="connsiteX8064" fmla="*/ 1979495 w 2792478"/>
                <a:gd name="connsiteY8064" fmla="*/ 339676 h 4235290"/>
                <a:gd name="connsiteX8065" fmla="*/ 1989252 w 2792478"/>
                <a:gd name="connsiteY8065" fmla="*/ 340734 h 4235290"/>
                <a:gd name="connsiteX8066" fmla="*/ 2006649 w 2792478"/>
                <a:gd name="connsiteY8066" fmla="*/ 323457 h 4235290"/>
                <a:gd name="connsiteX8067" fmla="*/ 895019 w 2792478"/>
                <a:gd name="connsiteY8067" fmla="*/ 318538 h 4235290"/>
                <a:gd name="connsiteX8068" fmla="*/ 895019 w 2792478"/>
                <a:gd name="connsiteY8068" fmla="*/ 340243 h 4235290"/>
                <a:gd name="connsiteX8069" fmla="*/ 895897 w 2792478"/>
                <a:gd name="connsiteY8069" fmla="*/ 346110 h 4235290"/>
                <a:gd name="connsiteX8070" fmla="*/ 899460 w 2792478"/>
                <a:gd name="connsiteY8070" fmla="*/ 348789 h 4235290"/>
                <a:gd name="connsiteX8071" fmla="*/ 925536 w 2792478"/>
                <a:gd name="connsiteY8071" fmla="*/ 364681 h 4235290"/>
                <a:gd name="connsiteX8072" fmla="*/ 927636 w 2792478"/>
                <a:gd name="connsiteY8072" fmla="*/ 368401 h 4235290"/>
                <a:gd name="connsiteX8073" fmla="*/ 927636 w 2792478"/>
                <a:gd name="connsiteY8073" fmla="*/ 379555 h 4235290"/>
                <a:gd name="connsiteX8074" fmla="*/ 925514 w 2792478"/>
                <a:gd name="connsiteY8074" fmla="*/ 383301 h 4235290"/>
                <a:gd name="connsiteX8075" fmla="*/ 900018 w 2792478"/>
                <a:gd name="connsiteY8075" fmla="*/ 398840 h 4235290"/>
                <a:gd name="connsiteX8076" fmla="*/ 895019 w 2792478"/>
                <a:gd name="connsiteY8076" fmla="*/ 408115 h 4235290"/>
                <a:gd name="connsiteX8077" fmla="*/ 895019 w 2792478"/>
                <a:gd name="connsiteY8077" fmla="*/ 426463 h 4235290"/>
                <a:gd name="connsiteX8078" fmla="*/ 965677 w 2792478"/>
                <a:gd name="connsiteY8078" fmla="*/ 426463 h 4235290"/>
                <a:gd name="connsiteX8079" fmla="*/ 965677 w 2792478"/>
                <a:gd name="connsiteY8079" fmla="*/ 407721 h 4235290"/>
                <a:gd name="connsiteX8080" fmla="*/ 964799 w 2792478"/>
                <a:gd name="connsiteY8080" fmla="*/ 401851 h 4235290"/>
                <a:gd name="connsiteX8081" fmla="*/ 961236 w 2792478"/>
                <a:gd name="connsiteY8081" fmla="*/ 399171 h 4235290"/>
                <a:gd name="connsiteX8082" fmla="*/ 935155 w 2792478"/>
                <a:gd name="connsiteY8082" fmla="*/ 383295 h 4235290"/>
                <a:gd name="connsiteX8083" fmla="*/ 933061 w 2792478"/>
                <a:gd name="connsiteY8083" fmla="*/ 379555 h 4235290"/>
                <a:gd name="connsiteX8084" fmla="*/ 933061 w 2792478"/>
                <a:gd name="connsiteY8084" fmla="*/ 368401 h 4235290"/>
                <a:gd name="connsiteX8085" fmla="*/ 935183 w 2792478"/>
                <a:gd name="connsiteY8085" fmla="*/ 364662 h 4235290"/>
                <a:gd name="connsiteX8086" fmla="*/ 960683 w 2792478"/>
                <a:gd name="connsiteY8086" fmla="*/ 349136 h 4235290"/>
                <a:gd name="connsiteX8087" fmla="*/ 965677 w 2792478"/>
                <a:gd name="connsiteY8087" fmla="*/ 339862 h 4235290"/>
                <a:gd name="connsiteX8088" fmla="*/ 965677 w 2792478"/>
                <a:gd name="connsiteY8088" fmla="*/ 318538 h 4235290"/>
                <a:gd name="connsiteX8089" fmla="*/ 1082157 w 2792478"/>
                <a:gd name="connsiteY8089" fmla="*/ 318167 h 4235290"/>
                <a:gd name="connsiteX8090" fmla="*/ 1096264 w 2792478"/>
                <a:gd name="connsiteY8090" fmla="*/ 325998 h 4235290"/>
                <a:gd name="connsiteX8091" fmla="*/ 1077431 w 2792478"/>
                <a:gd name="connsiteY8091" fmla="*/ 366950 h 4235290"/>
                <a:gd name="connsiteX8092" fmla="*/ 1065125 w 2792478"/>
                <a:gd name="connsiteY8092" fmla="*/ 366699 h 4235290"/>
                <a:gd name="connsiteX8093" fmla="*/ 1039526 w 2792478"/>
                <a:gd name="connsiteY8093" fmla="*/ 332460 h 4235290"/>
                <a:gd name="connsiteX8094" fmla="*/ 1057111 w 2792478"/>
                <a:gd name="connsiteY8094" fmla="*/ 322333 h 4235290"/>
                <a:gd name="connsiteX8095" fmla="*/ 1066374 w 2792478"/>
                <a:gd name="connsiteY8095" fmla="*/ 329107 h 4235290"/>
                <a:gd name="connsiteX8096" fmla="*/ 1076498 w 2792478"/>
                <a:gd name="connsiteY8096" fmla="*/ 319226 h 4235290"/>
                <a:gd name="connsiteX8097" fmla="*/ 1082157 w 2792478"/>
                <a:gd name="connsiteY8097" fmla="*/ 318167 h 4235290"/>
                <a:gd name="connsiteX8098" fmla="*/ 583625 w 2792478"/>
                <a:gd name="connsiteY8098" fmla="*/ 316876 h 4235290"/>
                <a:gd name="connsiteX8099" fmla="*/ 583554 w 2792478"/>
                <a:gd name="connsiteY8099" fmla="*/ 317063 h 4235290"/>
                <a:gd name="connsiteX8100" fmla="*/ 583744 w 2792478"/>
                <a:gd name="connsiteY8100" fmla="*/ 317491 h 4235290"/>
                <a:gd name="connsiteX8101" fmla="*/ 583744 w 2792478"/>
                <a:gd name="connsiteY8101" fmla="*/ 418541 h 4235290"/>
                <a:gd name="connsiteX8102" fmla="*/ 603132 w 2792478"/>
                <a:gd name="connsiteY8102" fmla="*/ 440285 h 4235290"/>
                <a:gd name="connsiteX8103" fmla="*/ 662423 w 2792478"/>
                <a:gd name="connsiteY8103" fmla="*/ 487082 h 4235290"/>
                <a:gd name="connsiteX8104" fmla="*/ 661110 w 2792478"/>
                <a:gd name="connsiteY8104" fmla="*/ 402257 h 4235290"/>
                <a:gd name="connsiteX8105" fmla="*/ 662850 w 2792478"/>
                <a:gd name="connsiteY8105" fmla="*/ 383245 h 4235290"/>
                <a:gd name="connsiteX8106" fmla="*/ 659807 w 2792478"/>
                <a:gd name="connsiteY8106" fmla="*/ 383676 h 4235290"/>
                <a:gd name="connsiteX8107" fmla="*/ 622213 w 2792478"/>
                <a:gd name="connsiteY8107" fmla="*/ 361985 h 4235290"/>
                <a:gd name="connsiteX8108" fmla="*/ 583625 w 2792478"/>
                <a:gd name="connsiteY8108" fmla="*/ 316876 h 4235290"/>
                <a:gd name="connsiteX8109" fmla="*/ 2388067 w 2792478"/>
                <a:gd name="connsiteY8109" fmla="*/ 314617 h 4235290"/>
                <a:gd name="connsiteX8110" fmla="*/ 2409293 w 2792478"/>
                <a:gd name="connsiteY8110" fmla="*/ 314617 h 4235290"/>
                <a:gd name="connsiteX8111" fmla="*/ 2410737 w 2792478"/>
                <a:gd name="connsiteY8111" fmla="*/ 316191 h 4235290"/>
                <a:gd name="connsiteX8112" fmla="*/ 2480461 w 2792478"/>
                <a:gd name="connsiteY8112" fmla="*/ 385905 h 4235290"/>
                <a:gd name="connsiteX8113" fmla="*/ 2480506 w 2792478"/>
                <a:gd name="connsiteY8113" fmla="*/ 404033 h 4235290"/>
                <a:gd name="connsiteX8114" fmla="*/ 2472085 w 2792478"/>
                <a:gd name="connsiteY8114" fmla="*/ 407717 h 4235290"/>
                <a:gd name="connsiteX8115" fmla="*/ 2468388 w 2792478"/>
                <a:gd name="connsiteY8115" fmla="*/ 416164 h 4235290"/>
                <a:gd name="connsiteX8116" fmla="*/ 2459967 w 2792478"/>
                <a:gd name="connsiteY8116" fmla="*/ 419837 h 4235290"/>
                <a:gd name="connsiteX8117" fmla="*/ 2456263 w 2792478"/>
                <a:gd name="connsiteY8117" fmla="*/ 428297 h 4235290"/>
                <a:gd name="connsiteX8118" fmla="*/ 2438163 w 2792478"/>
                <a:gd name="connsiteY8118" fmla="*/ 428207 h 4235290"/>
                <a:gd name="connsiteX8119" fmla="*/ 2368433 w 2792478"/>
                <a:gd name="connsiteY8119" fmla="*/ 358496 h 4235290"/>
                <a:gd name="connsiteX8120" fmla="*/ 2366847 w 2792478"/>
                <a:gd name="connsiteY8120" fmla="*/ 357054 h 4235290"/>
                <a:gd name="connsiteX8121" fmla="*/ 2366847 w 2792478"/>
                <a:gd name="connsiteY8121" fmla="*/ 335826 h 4235290"/>
                <a:gd name="connsiteX8122" fmla="*/ 503643 w 2792478"/>
                <a:gd name="connsiteY8122" fmla="*/ 308236 h 4235290"/>
                <a:gd name="connsiteX8123" fmla="*/ 483201 w 2792478"/>
                <a:gd name="connsiteY8123" fmla="*/ 313268 h 4235290"/>
                <a:gd name="connsiteX8124" fmla="*/ 503643 w 2792478"/>
                <a:gd name="connsiteY8124" fmla="*/ 317929 h 4235290"/>
                <a:gd name="connsiteX8125" fmla="*/ 524085 w 2792478"/>
                <a:gd name="connsiteY8125" fmla="*/ 312899 h 4235290"/>
                <a:gd name="connsiteX8126" fmla="*/ 503643 w 2792478"/>
                <a:gd name="connsiteY8126" fmla="*/ 308236 h 4235290"/>
                <a:gd name="connsiteX8127" fmla="*/ 883379 w 2792478"/>
                <a:gd name="connsiteY8127" fmla="*/ 302260 h 4235290"/>
                <a:gd name="connsiteX8128" fmla="*/ 977323 w 2792478"/>
                <a:gd name="connsiteY8128" fmla="*/ 302260 h 4235290"/>
                <a:gd name="connsiteX8129" fmla="*/ 979747 w 2792478"/>
                <a:gd name="connsiteY8129" fmla="*/ 304691 h 4235290"/>
                <a:gd name="connsiteX8130" fmla="*/ 979747 w 2792478"/>
                <a:gd name="connsiteY8130" fmla="*/ 316120 h 4235290"/>
                <a:gd name="connsiteX8131" fmla="*/ 977323 w 2792478"/>
                <a:gd name="connsiteY8131" fmla="*/ 318538 h 4235290"/>
                <a:gd name="connsiteX8132" fmla="*/ 974409 w 2792478"/>
                <a:gd name="connsiteY8132" fmla="*/ 318538 h 4235290"/>
                <a:gd name="connsiteX8133" fmla="*/ 974409 w 2792478"/>
                <a:gd name="connsiteY8133" fmla="*/ 339855 h 4235290"/>
                <a:gd name="connsiteX8134" fmla="*/ 965682 w 2792478"/>
                <a:gd name="connsiteY8134" fmla="*/ 356298 h 4235290"/>
                <a:gd name="connsiteX8135" fmla="*/ 941797 w 2792478"/>
                <a:gd name="connsiteY8135" fmla="*/ 370878 h 4235290"/>
                <a:gd name="connsiteX8136" fmla="*/ 941797 w 2792478"/>
                <a:gd name="connsiteY8136" fmla="*/ 377102 h 4235290"/>
                <a:gd name="connsiteX8137" fmla="*/ 965778 w 2792478"/>
                <a:gd name="connsiteY8137" fmla="*/ 391724 h 4235290"/>
                <a:gd name="connsiteX8138" fmla="*/ 974409 w 2792478"/>
                <a:gd name="connsiteY8138" fmla="*/ 407721 h 4235290"/>
                <a:gd name="connsiteX8139" fmla="*/ 974409 w 2792478"/>
                <a:gd name="connsiteY8139" fmla="*/ 426463 h 4235290"/>
                <a:gd name="connsiteX8140" fmla="*/ 977323 w 2792478"/>
                <a:gd name="connsiteY8140" fmla="*/ 426463 h 4235290"/>
                <a:gd name="connsiteX8141" fmla="*/ 979747 w 2792478"/>
                <a:gd name="connsiteY8141" fmla="*/ 428885 h 4235290"/>
                <a:gd name="connsiteX8142" fmla="*/ 979747 w 2792478"/>
                <a:gd name="connsiteY8142" fmla="*/ 440317 h 4235290"/>
                <a:gd name="connsiteX8143" fmla="*/ 977323 w 2792478"/>
                <a:gd name="connsiteY8143" fmla="*/ 442751 h 4235290"/>
                <a:gd name="connsiteX8144" fmla="*/ 883379 w 2792478"/>
                <a:gd name="connsiteY8144" fmla="*/ 442751 h 4235290"/>
                <a:gd name="connsiteX8145" fmla="*/ 880950 w 2792478"/>
                <a:gd name="connsiteY8145" fmla="*/ 440317 h 4235290"/>
                <a:gd name="connsiteX8146" fmla="*/ 880950 w 2792478"/>
                <a:gd name="connsiteY8146" fmla="*/ 428885 h 4235290"/>
                <a:gd name="connsiteX8147" fmla="*/ 883379 w 2792478"/>
                <a:gd name="connsiteY8147" fmla="*/ 426463 h 4235290"/>
                <a:gd name="connsiteX8148" fmla="*/ 886292 w 2792478"/>
                <a:gd name="connsiteY8148" fmla="*/ 426463 h 4235290"/>
                <a:gd name="connsiteX8149" fmla="*/ 886292 w 2792478"/>
                <a:gd name="connsiteY8149" fmla="*/ 408115 h 4235290"/>
                <a:gd name="connsiteX8150" fmla="*/ 895015 w 2792478"/>
                <a:gd name="connsiteY8150" fmla="*/ 391665 h 4235290"/>
                <a:gd name="connsiteX8151" fmla="*/ 918900 w 2792478"/>
                <a:gd name="connsiteY8151" fmla="*/ 377089 h 4235290"/>
                <a:gd name="connsiteX8152" fmla="*/ 918900 w 2792478"/>
                <a:gd name="connsiteY8152" fmla="*/ 370858 h 4235290"/>
                <a:gd name="connsiteX8153" fmla="*/ 894919 w 2792478"/>
                <a:gd name="connsiteY8153" fmla="*/ 356246 h 4235290"/>
                <a:gd name="connsiteX8154" fmla="*/ 886292 w 2792478"/>
                <a:gd name="connsiteY8154" fmla="*/ 340243 h 4235290"/>
                <a:gd name="connsiteX8155" fmla="*/ 886292 w 2792478"/>
                <a:gd name="connsiteY8155" fmla="*/ 318538 h 4235290"/>
                <a:gd name="connsiteX8156" fmla="*/ 883379 w 2792478"/>
                <a:gd name="connsiteY8156" fmla="*/ 318538 h 4235290"/>
                <a:gd name="connsiteX8157" fmla="*/ 880950 w 2792478"/>
                <a:gd name="connsiteY8157" fmla="*/ 316120 h 4235290"/>
                <a:gd name="connsiteX8158" fmla="*/ 880950 w 2792478"/>
                <a:gd name="connsiteY8158" fmla="*/ 304691 h 4235290"/>
                <a:gd name="connsiteX8159" fmla="*/ 883379 w 2792478"/>
                <a:gd name="connsiteY8159" fmla="*/ 302260 h 4235290"/>
                <a:gd name="connsiteX8160" fmla="*/ 2024982 w 2792478"/>
                <a:gd name="connsiteY8160" fmla="*/ 301582 h 4235290"/>
                <a:gd name="connsiteX8161" fmla="*/ 2017032 w 2792478"/>
                <a:gd name="connsiteY8161" fmla="*/ 304690 h 4235290"/>
                <a:gd name="connsiteX8162" fmla="*/ 2007707 w 2792478"/>
                <a:gd name="connsiteY8162" fmla="*/ 313395 h 4235290"/>
                <a:gd name="connsiteX8163" fmla="*/ 2042200 w 2792478"/>
                <a:gd name="connsiteY8163" fmla="*/ 338189 h 4235290"/>
                <a:gd name="connsiteX8164" fmla="*/ 2047481 w 2792478"/>
                <a:gd name="connsiteY8164" fmla="*/ 326565 h 4235290"/>
                <a:gd name="connsiteX8165" fmla="*/ 2043627 w 2792478"/>
                <a:gd name="connsiteY8165" fmla="*/ 312208 h 4235290"/>
                <a:gd name="connsiteX8166" fmla="*/ 2031818 w 2792478"/>
                <a:gd name="connsiteY8166" fmla="*/ 303759 h 4235290"/>
                <a:gd name="connsiteX8167" fmla="*/ 2024982 w 2792478"/>
                <a:gd name="connsiteY8167" fmla="*/ 301582 h 4235290"/>
                <a:gd name="connsiteX8168" fmla="*/ 1898868 w 2792478"/>
                <a:gd name="connsiteY8168" fmla="*/ 301333 h 4235290"/>
                <a:gd name="connsiteX8169" fmla="*/ 1825863 w 2792478"/>
                <a:gd name="connsiteY8169" fmla="*/ 354570 h 4235290"/>
                <a:gd name="connsiteX8170" fmla="*/ 1852313 w 2792478"/>
                <a:gd name="connsiteY8170" fmla="*/ 390453 h 4235290"/>
                <a:gd name="connsiteX8171" fmla="*/ 1884562 w 2792478"/>
                <a:gd name="connsiteY8171" fmla="*/ 366737 h 4235290"/>
                <a:gd name="connsiteX8172" fmla="*/ 1898868 w 2792478"/>
                <a:gd name="connsiteY8172" fmla="*/ 301333 h 4235290"/>
                <a:gd name="connsiteX8173" fmla="*/ 503643 w 2792478"/>
                <a:gd name="connsiteY8173" fmla="*/ 300286 h 4235290"/>
                <a:gd name="connsiteX8174" fmla="*/ 531981 w 2792478"/>
                <a:gd name="connsiteY8174" fmla="*/ 313079 h 4235290"/>
                <a:gd name="connsiteX8175" fmla="*/ 503643 w 2792478"/>
                <a:gd name="connsiteY8175" fmla="*/ 325886 h 4235290"/>
                <a:gd name="connsiteX8176" fmla="*/ 475306 w 2792478"/>
                <a:gd name="connsiteY8176" fmla="*/ 313079 h 4235290"/>
                <a:gd name="connsiteX8177" fmla="*/ 503643 w 2792478"/>
                <a:gd name="connsiteY8177" fmla="*/ 300286 h 4235290"/>
                <a:gd name="connsiteX8178" fmla="*/ 1568343 w 2792478"/>
                <a:gd name="connsiteY8178" fmla="*/ 293328 h 4235290"/>
                <a:gd name="connsiteX8179" fmla="*/ 1552542 w 2792478"/>
                <a:gd name="connsiteY8179" fmla="*/ 298058 h 4235290"/>
                <a:gd name="connsiteX8180" fmla="*/ 1507100 w 2792478"/>
                <a:gd name="connsiteY8180" fmla="*/ 302075 h 4235290"/>
                <a:gd name="connsiteX8181" fmla="*/ 1507100 w 2792478"/>
                <a:gd name="connsiteY8181" fmla="*/ 326553 h 4235290"/>
                <a:gd name="connsiteX8182" fmla="*/ 1568343 w 2792478"/>
                <a:gd name="connsiteY8182" fmla="*/ 319227 h 4235290"/>
                <a:gd name="connsiteX8183" fmla="*/ 1568343 w 2792478"/>
                <a:gd name="connsiteY8183" fmla="*/ 293328 h 4235290"/>
                <a:gd name="connsiteX8184" fmla="*/ 1438825 w 2792478"/>
                <a:gd name="connsiteY8184" fmla="*/ 293328 h 4235290"/>
                <a:gd name="connsiteX8185" fmla="*/ 1438825 w 2792478"/>
                <a:gd name="connsiteY8185" fmla="*/ 319227 h 4235290"/>
                <a:gd name="connsiteX8186" fmla="*/ 1500061 w 2792478"/>
                <a:gd name="connsiteY8186" fmla="*/ 326553 h 4235290"/>
                <a:gd name="connsiteX8187" fmla="*/ 1500061 w 2792478"/>
                <a:gd name="connsiteY8187" fmla="*/ 302075 h 4235290"/>
                <a:gd name="connsiteX8188" fmla="*/ 1454632 w 2792478"/>
                <a:gd name="connsiteY8188" fmla="*/ 298058 h 4235290"/>
                <a:gd name="connsiteX8189" fmla="*/ 1438825 w 2792478"/>
                <a:gd name="connsiteY8189" fmla="*/ 293328 h 4235290"/>
                <a:gd name="connsiteX8190" fmla="*/ 1901301 w 2792478"/>
                <a:gd name="connsiteY8190" fmla="*/ 286420 h 4235290"/>
                <a:gd name="connsiteX8191" fmla="*/ 1905247 w 2792478"/>
                <a:gd name="connsiteY8191" fmla="*/ 288855 h 4235290"/>
                <a:gd name="connsiteX8192" fmla="*/ 1892168 w 2792478"/>
                <a:gd name="connsiteY8192" fmla="*/ 376469 h 4235290"/>
                <a:gd name="connsiteX8193" fmla="*/ 1855059 w 2792478"/>
                <a:gd name="connsiteY8193" fmla="*/ 403853 h 4235290"/>
                <a:gd name="connsiteX8194" fmla="*/ 1851406 w 2792478"/>
                <a:gd name="connsiteY8194" fmla="*/ 405074 h 4235290"/>
                <a:gd name="connsiteX8195" fmla="*/ 1846533 w 2792478"/>
                <a:gd name="connsiteY8195" fmla="*/ 402639 h 4235290"/>
                <a:gd name="connsiteX8196" fmla="*/ 1842295 w 2792478"/>
                <a:gd name="connsiteY8196" fmla="*/ 396864 h 4235290"/>
                <a:gd name="connsiteX8197" fmla="*/ 1811551 w 2792478"/>
                <a:gd name="connsiteY8197" fmla="*/ 419372 h 4235290"/>
                <a:gd name="connsiteX8198" fmla="*/ 1782054 w 2792478"/>
                <a:gd name="connsiteY8198" fmla="*/ 414806 h 4235290"/>
                <a:gd name="connsiteX8199" fmla="*/ 1786307 w 2792478"/>
                <a:gd name="connsiteY8199" fmla="*/ 385285 h 4235290"/>
                <a:gd name="connsiteX8200" fmla="*/ 1817037 w 2792478"/>
                <a:gd name="connsiteY8200" fmla="*/ 362789 h 4235290"/>
                <a:gd name="connsiteX8201" fmla="*/ 1812777 w 2792478"/>
                <a:gd name="connsiteY8201" fmla="*/ 357011 h 4235290"/>
                <a:gd name="connsiteX8202" fmla="*/ 1813991 w 2792478"/>
                <a:gd name="connsiteY8202" fmla="*/ 348483 h 4235290"/>
                <a:gd name="connsiteX8203" fmla="*/ 1896728 w 2792478"/>
                <a:gd name="connsiteY8203" fmla="*/ 287641 h 4235290"/>
                <a:gd name="connsiteX8204" fmla="*/ 1901301 w 2792478"/>
                <a:gd name="connsiteY8204" fmla="*/ 286420 h 4235290"/>
                <a:gd name="connsiteX8205" fmla="*/ 2122070 w 2792478"/>
                <a:gd name="connsiteY8205" fmla="*/ 285695 h 4235290"/>
                <a:gd name="connsiteX8206" fmla="*/ 2139217 w 2792478"/>
                <a:gd name="connsiteY8206" fmla="*/ 285695 h 4235290"/>
                <a:gd name="connsiteX8207" fmla="*/ 2143501 w 2792478"/>
                <a:gd name="connsiteY8207" fmla="*/ 289979 h 4235290"/>
                <a:gd name="connsiteX8208" fmla="*/ 2139217 w 2792478"/>
                <a:gd name="connsiteY8208" fmla="*/ 294271 h 4235290"/>
                <a:gd name="connsiteX8209" fmla="*/ 2122070 w 2792478"/>
                <a:gd name="connsiteY8209" fmla="*/ 294271 h 4235290"/>
                <a:gd name="connsiteX8210" fmla="*/ 2117781 w 2792478"/>
                <a:gd name="connsiteY8210" fmla="*/ 289979 h 4235290"/>
                <a:gd name="connsiteX8211" fmla="*/ 2122070 w 2792478"/>
                <a:gd name="connsiteY8211" fmla="*/ 285695 h 4235290"/>
                <a:gd name="connsiteX8212" fmla="*/ 501714 w 2792478"/>
                <a:gd name="connsiteY8212" fmla="*/ 283002 h 4235290"/>
                <a:gd name="connsiteX8213" fmla="*/ 430183 w 2792478"/>
                <a:gd name="connsiteY8213" fmla="*/ 316129 h 4235290"/>
                <a:gd name="connsiteX8214" fmla="*/ 501714 w 2792478"/>
                <a:gd name="connsiteY8214" fmla="*/ 349252 h 4235290"/>
                <a:gd name="connsiteX8215" fmla="*/ 573244 w 2792478"/>
                <a:gd name="connsiteY8215" fmla="*/ 316129 h 4235290"/>
                <a:gd name="connsiteX8216" fmla="*/ 569385 w 2792478"/>
                <a:gd name="connsiteY8216" fmla="*/ 306123 h 4235290"/>
                <a:gd name="connsiteX8217" fmla="*/ 569267 w 2792478"/>
                <a:gd name="connsiteY8217" fmla="*/ 306058 h 4235290"/>
                <a:gd name="connsiteX8218" fmla="*/ 567089 w 2792478"/>
                <a:gd name="connsiteY8218" fmla="*/ 303082 h 4235290"/>
                <a:gd name="connsiteX8219" fmla="*/ 501714 w 2792478"/>
                <a:gd name="connsiteY8219" fmla="*/ 283002 h 4235290"/>
                <a:gd name="connsiteX8220" fmla="*/ 1071092 w 2792478"/>
                <a:gd name="connsiteY8220" fmla="*/ 281435 h 4235290"/>
                <a:gd name="connsiteX8221" fmla="*/ 1029829 w 2792478"/>
                <a:gd name="connsiteY8221" fmla="*/ 292497 h 4235290"/>
                <a:gd name="connsiteX8222" fmla="*/ 1020629 w 2792478"/>
                <a:gd name="connsiteY8222" fmla="*/ 379690 h 4235290"/>
                <a:gd name="connsiteX8223" fmla="*/ 1113976 w 2792478"/>
                <a:gd name="connsiteY8223" fmla="*/ 394479 h 4235290"/>
                <a:gd name="connsiteX8224" fmla="*/ 1119500 w 2792478"/>
                <a:gd name="connsiteY8224" fmla="*/ 396657 h 4235290"/>
                <a:gd name="connsiteX8225" fmla="*/ 1129071 w 2792478"/>
                <a:gd name="connsiteY8225" fmla="*/ 400077 h 4235290"/>
                <a:gd name="connsiteX8226" fmla="*/ 1134912 w 2792478"/>
                <a:gd name="connsiteY8226" fmla="*/ 401876 h 4235290"/>
                <a:gd name="connsiteX8227" fmla="*/ 1132738 w 2792478"/>
                <a:gd name="connsiteY8227" fmla="*/ 396032 h 4235290"/>
                <a:gd name="connsiteX8228" fmla="*/ 1128763 w 2792478"/>
                <a:gd name="connsiteY8228" fmla="*/ 383109 h 4235290"/>
                <a:gd name="connsiteX8229" fmla="*/ 1130004 w 2792478"/>
                <a:gd name="connsiteY8229" fmla="*/ 378509 h 4235290"/>
                <a:gd name="connsiteX8230" fmla="*/ 1130320 w 2792478"/>
                <a:gd name="connsiteY8230" fmla="*/ 377267 h 4235290"/>
                <a:gd name="connsiteX8231" fmla="*/ 1111178 w 2792478"/>
                <a:gd name="connsiteY8231" fmla="*/ 296230 h 4235290"/>
                <a:gd name="connsiteX8232" fmla="*/ 1071092 w 2792478"/>
                <a:gd name="connsiteY8232" fmla="*/ 281435 h 4235290"/>
                <a:gd name="connsiteX8233" fmla="*/ 1536661 w 2792478"/>
                <a:gd name="connsiteY8233" fmla="*/ 276808 h 4235290"/>
                <a:gd name="connsiteX8234" fmla="*/ 1536661 w 2792478"/>
                <a:gd name="connsiteY8234" fmla="*/ 276853 h 4235290"/>
                <a:gd name="connsiteX8235" fmla="*/ 1536954 w 2792478"/>
                <a:gd name="connsiteY8235" fmla="*/ 279430 h 4235290"/>
                <a:gd name="connsiteX8236" fmla="*/ 1535152 w 2792478"/>
                <a:gd name="connsiteY8236" fmla="*/ 289525 h 4235290"/>
                <a:gd name="connsiteX8237" fmla="*/ 1528412 w 2792478"/>
                <a:gd name="connsiteY8237" fmla="*/ 292256 h 4235290"/>
                <a:gd name="connsiteX8238" fmla="*/ 1510018 w 2792478"/>
                <a:gd name="connsiteY8238" fmla="*/ 283753 h 4235290"/>
                <a:gd name="connsiteX8239" fmla="*/ 1504827 w 2792478"/>
                <a:gd name="connsiteY8239" fmla="*/ 285478 h 4235290"/>
                <a:gd name="connsiteX8240" fmla="*/ 1502334 w 2792478"/>
                <a:gd name="connsiteY8240" fmla="*/ 285478 h 4235290"/>
                <a:gd name="connsiteX8241" fmla="*/ 1497023 w 2792478"/>
                <a:gd name="connsiteY8241" fmla="*/ 283661 h 4235290"/>
                <a:gd name="connsiteX8242" fmla="*/ 1496956 w 2792478"/>
                <a:gd name="connsiteY8242" fmla="*/ 283731 h 4235290"/>
                <a:gd name="connsiteX8243" fmla="*/ 1477818 w 2792478"/>
                <a:gd name="connsiteY8243" fmla="*/ 291817 h 4235290"/>
                <a:gd name="connsiteX8244" fmla="*/ 1477373 w 2792478"/>
                <a:gd name="connsiteY8244" fmla="*/ 291817 h 4235290"/>
                <a:gd name="connsiteX8245" fmla="*/ 1471796 w 2792478"/>
                <a:gd name="connsiteY8245" fmla="*/ 289441 h 4235290"/>
                <a:gd name="connsiteX8246" fmla="*/ 1469755 w 2792478"/>
                <a:gd name="connsiteY8246" fmla="*/ 278087 h 4235290"/>
                <a:gd name="connsiteX8247" fmla="*/ 1469848 w 2792478"/>
                <a:gd name="connsiteY8247" fmla="*/ 276822 h 4235290"/>
                <a:gd name="connsiteX8248" fmla="*/ 1468991 w 2792478"/>
                <a:gd name="connsiteY8248" fmla="*/ 276924 h 4235290"/>
                <a:gd name="connsiteX8249" fmla="*/ 1438938 w 2792478"/>
                <a:gd name="connsiteY8249" fmla="*/ 285049 h 4235290"/>
                <a:gd name="connsiteX8250" fmla="*/ 1458022 w 2792478"/>
                <a:gd name="connsiteY8250" fmla="*/ 291559 h 4235290"/>
                <a:gd name="connsiteX8251" fmla="*/ 1503577 w 2792478"/>
                <a:gd name="connsiteY8251" fmla="*/ 295068 h 4235290"/>
                <a:gd name="connsiteX8252" fmla="*/ 1549138 w 2792478"/>
                <a:gd name="connsiteY8252" fmla="*/ 291559 h 4235290"/>
                <a:gd name="connsiteX8253" fmla="*/ 1568223 w 2792478"/>
                <a:gd name="connsiteY8253" fmla="*/ 285049 h 4235290"/>
                <a:gd name="connsiteX8254" fmla="*/ 1538210 w 2792478"/>
                <a:gd name="connsiteY8254" fmla="*/ 276924 h 4235290"/>
                <a:gd name="connsiteX8255" fmla="*/ 1536661 w 2792478"/>
                <a:gd name="connsiteY8255" fmla="*/ 276808 h 4235290"/>
                <a:gd name="connsiteX8256" fmla="*/ 2113492 w 2792478"/>
                <a:gd name="connsiteY8256" fmla="*/ 272836 h 4235290"/>
                <a:gd name="connsiteX8257" fmla="*/ 2147791 w 2792478"/>
                <a:gd name="connsiteY8257" fmla="*/ 272836 h 4235290"/>
                <a:gd name="connsiteX8258" fmla="*/ 2152080 w 2792478"/>
                <a:gd name="connsiteY8258" fmla="*/ 277119 h 4235290"/>
                <a:gd name="connsiteX8259" fmla="*/ 2147791 w 2792478"/>
                <a:gd name="connsiteY8259" fmla="*/ 281406 h 4235290"/>
                <a:gd name="connsiteX8260" fmla="*/ 2113492 w 2792478"/>
                <a:gd name="connsiteY8260" fmla="*/ 281406 h 4235290"/>
                <a:gd name="connsiteX8261" fmla="*/ 2109202 w 2792478"/>
                <a:gd name="connsiteY8261" fmla="*/ 277119 h 4235290"/>
                <a:gd name="connsiteX8262" fmla="*/ 2113492 w 2792478"/>
                <a:gd name="connsiteY8262" fmla="*/ 272836 h 4235290"/>
                <a:gd name="connsiteX8263" fmla="*/ 501714 w 2792478"/>
                <a:gd name="connsiteY8263" fmla="*/ 272442 h 4235290"/>
                <a:gd name="connsiteX8264" fmla="*/ 576914 w 2792478"/>
                <a:gd name="connsiteY8264" fmla="*/ 298482 h 4235290"/>
                <a:gd name="connsiteX8265" fmla="*/ 631659 w 2792478"/>
                <a:gd name="connsiteY8265" fmla="*/ 357204 h 4235290"/>
                <a:gd name="connsiteX8266" fmla="*/ 658067 w 2792478"/>
                <a:gd name="connsiteY8266" fmla="*/ 373241 h 4235290"/>
                <a:gd name="connsiteX8267" fmla="*/ 670993 w 2792478"/>
                <a:gd name="connsiteY8267" fmla="*/ 376102 h 4235290"/>
                <a:gd name="connsiteX8268" fmla="*/ 671550 w 2792478"/>
                <a:gd name="connsiteY8268" fmla="*/ 403931 h 4235290"/>
                <a:gd name="connsiteX8269" fmla="*/ 674781 w 2792478"/>
                <a:gd name="connsiteY8269" fmla="*/ 491924 h 4235290"/>
                <a:gd name="connsiteX8270" fmla="*/ 673917 w 2792478"/>
                <a:gd name="connsiteY8270" fmla="*/ 496712 h 4235290"/>
                <a:gd name="connsiteX8271" fmla="*/ 669750 w 2792478"/>
                <a:gd name="connsiteY8271" fmla="*/ 498766 h 4235290"/>
                <a:gd name="connsiteX8272" fmla="*/ 669502 w 2792478"/>
                <a:gd name="connsiteY8272" fmla="*/ 498766 h 4235290"/>
                <a:gd name="connsiteX8273" fmla="*/ 593687 w 2792478"/>
                <a:gd name="connsiteY8273" fmla="*/ 445012 h 4235290"/>
                <a:gd name="connsiteX8274" fmla="*/ 583246 w 2792478"/>
                <a:gd name="connsiteY8274" fmla="*/ 430416 h 4235290"/>
                <a:gd name="connsiteX8275" fmla="*/ 501714 w 2792478"/>
                <a:gd name="connsiteY8275" fmla="*/ 471241 h 4235290"/>
                <a:gd name="connsiteX8276" fmla="*/ 419625 w 2792478"/>
                <a:gd name="connsiteY8276" fmla="*/ 427550 h 4235290"/>
                <a:gd name="connsiteX8277" fmla="*/ 419625 w 2792478"/>
                <a:gd name="connsiteY8277" fmla="*/ 317491 h 4235290"/>
                <a:gd name="connsiteX8278" fmla="*/ 419814 w 2792478"/>
                <a:gd name="connsiteY8278" fmla="*/ 317063 h 4235290"/>
                <a:gd name="connsiteX8279" fmla="*/ 419625 w 2792478"/>
                <a:gd name="connsiteY8279" fmla="*/ 316129 h 4235290"/>
                <a:gd name="connsiteX8280" fmla="*/ 501714 w 2792478"/>
                <a:gd name="connsiteY8280" fmla="*/ 272442 h 4235290"/>
                <a:gd name="connsiteX8281" fmla="*/ 1502334 w 2792478"/>
                <a:gd name="connsiteY8281" fmla="*/ 272287 h 4235290"/>
                <a:gd name="connsiteX8282" fmla="*/ 1500652 w 2792478"/>
                <a:gd name="connsiteY8282" fmla="*/ 273966 h 4235290"/>
                <a:gd name="connsiteX8283" fmla="*/ 1500652 w 2792478"/>
                <a:gd name="connsiteY8283" fmla="*/ 276776 h 4235290"/>
                <a:gd name="connsiteX8284" fmla="*/ 1502334 w 2792478"/>
                <a:gd name="connsiteY8284" fmla="*/ 278448 h 4235290"/>
                <a:gd name="connsiteX8285" fmla="*/ 1504827 w 2792478"/>
                <a:gd name="connsiteY8285" fmla="*/ 278448 h 4235290"/>
                <a:gd name="connsiteX8286" fmla="*/ 1506502 w 2792478"/>
                <a:gd name="connsiteY8286" fmla="*/ 276776 h 4235290"/>
                <a:gd name="connsiteX8287" fmla="*/ 1506502 w 2792478"/>
                <a:gd name="connsiteY8287" fmla="*/ 273966 h 4235290"/>
                <a:gd name="connsiteX8288" fmla="*/ 1504827 w 2792478"/>
                <a:gd name="connsiteY8288" fmla="*/ 272287 h 4235290"/>
                <a:gd name="connsiteX8289" fmla="*/ 1067615 w 2792478"/>
                <a:gd name="connsiteY8289" fmla="*/ 270440 h 4235290"/>
                <a:gd name="connsiteX8290" fmla="*/ 1117390 w 2792478"/>
                <a:gd name="connsiteY8290" fmla="*/ 287278 h 4235290"/>
                <a:gd name="connsiteX8291" fmla="*/ 1140760 w 2792478"/>
                <a:gd name="connsiteY8291" fmla="*/ 380313 h 4235290"/>
                <a:gd name="connsiteX8292" fmla="*/ 1138958 w 2792478"/>
                <a:gd name="connsiteY8292" fmla="*/ 382797 h 4235290"/>
                <a:gd name="connsiteX8293" fmla="*/ 1144483 w 2792478"/>
                <a:gd name="connsiteY8293" fmla="*/ 400694 h 4235290"/>
                <a:gd name="connsiteX8294" fmla="*/ 1143866 w 2792478"/>
                <a:gd name="connsiteY8294" fmla="*/ 412687 h 4235290"/>
                <a:gd name="connsiteX8295" fmla="*/ 1131561 w 2792478"/>
                <a:gd name="connsiteY8295" fmla="*/ 411132 h 4235290"/>
                <a:gd name="connsiteX8296" fmla="*/ 1117390 w 2792478"/>
                <a:gd name="connsiteY8296" fmla="*/ 404361 h 4235290"/>
                <a:gd name="connsiteX8297" fmla="*/ 1117082 w 2792478"/>
                <a:gd name="connsiteY8297" fmla="*/ 404361 h 4235290"/>
                <a:gd name="connsiteX8298" fmla="*/ 1006712 w 2792478"/>
                <a:gd name="connsiteY8298" fmla="*/ 380620 h 4235290"/>
                <a:gd name="connsiteX8299" fmla="*/ 1018148 w 2792478"/>
                <a:gd name="connsiteY8299" fmla="*/ 287592 h 4235290"/>
                <a:gd name="connsiteX8300" fmla="*/ 1067615 w 2792478"/>
                <a:gd name="connsiteY8300" fmla="*/ 270440 h 4235290"/>
                <a:gd name="connsiteX8301" fmla="*/ 705547 w 2792478"/>
                <a:gd name="connsiteY8301" fmla="*/ 268586 h 4235290"/>
                <a:gd name="connsiteX8302" fmla="*/ 700082 w 2792478"/>
                <a:gd name="connsiteY8302" fmla="*/ 273999 h 4235290"/>
                <a:gd name="connsiteX8303" fmla="*/ 705547 w 2792478"/>
                <a:gd name="connsiteY8303" fmla="*/ 279468 h 4235290"/>
                <a:gd name="connsiteX8304" fmla="*/ 711020 w 2792478"/>
                <a:gd name="connsiteY8304" fmla="*/ 273999 h 4235290"/>
                <a:gd name="connsiteX8305" fmla="*/ 706047 w 2792478"/>
                <a:gd name="connsiteY8305" fmla="*/ 268776 h 4235290"/>
                <a:gd name="connsiteX8306" fmla="*/ 705547 w 2792478"/>
                <a:gd name="connsiteY8306" fmla="*/ 268586 h 4235290"/>
                <a:gd name="connsiteX8307" fmla="*/ 1477453 w 2792478"/>
                <a:gd name="connsiteY8307" fmla="*/ 266545 h 4235290"/>
                <a:gd name="connsiteX8308" fmla="*/ 1476688 w 2792478"/>
                <a:gd name="connsiteY8308" fmla="*/ 272437 h 4235290"/>
                <a:gd name="connsiteX8309" fmla="*/ 1476768 w 2792478"/>
                <a:gd name="connsiteY8309" fmla="*/ 278616 h 4235290"/>
                <a:gd name="connsiteX8310" fmla="*/ 1477001 w 2792478"/>
                <a:gd name="connsiteY8310" fmla="*/ 284719 h 4235290"/>
                <a:gd name="connsiteX8311" fmla="*/ 1477546 w 2792478"/>
                <a:gd name="connsiteY8311" fmla="*/ 284790 h 4235290"/>
                <a:gd name="connsiteX8312" fmla="*/ 1492356 w 2792478"/>
                <a:gd name="connsiteY8312" fmla="*/ 278417 h 4235290"/>
                <a:gd name="connsiteX8313" fmla="*/ 1493672 w 2792478"/>
                <a:gd name="connsiteY8313" fmla="*/ 277699 h 4235290"/>
                <a:gd name="connsiteX8314" fmla="*/ 1493626 w 2792478"/>
                <a:gd name="connsiteY8314" fmla="*/ 276769 h 4235290"/>
                <a:gd name="connsiteX8315" fmla="*/ 1493626 w 2792478"/>
                <a:gd name="connsiteY8315" fmla="*/ 273966 h 4235290"/>
                <a:gd name="connsiteX8316" fmla="*/ 1494005 w 2792478"/>
                <a:gd name="connsiteY8316" fmla="*/ 271448 h 4235290"/>
                <a:gd name="connsiteX8317" fmla="*/ 1493314 w 2792478"/>
                <a:gd name="connsiteY8317" fmla="*/ 271042 h 4235290"/>
                <a:gd name="connsiteX8318" fmla="*/ 1477453 w 2792478"/>
                <a:gd name="connsiteY8318" fmla="*/ 266545 h 4235290"/>
                <a:gd name="connsiteX8319" fmla="*/ 1529429 w 2792478"/>
                <a:gd name="connsiteY8319" fmla="*/ 265899 h 4235290"/>
                <a:gd name="connsiteX8320" fmla="*/ 1513528 w 2792478"/>
                <a:gd name="connsiteY8320" fmla="*/ 271080 h 4235290"/>
                <a:gd name="connsiteX8321" fmla="*/ 1513129 w 2792478"/>
                <a:gd name="connsiteY8321" fmla="*/ 271333 h 4235290"/>
                <a:gd name="connsiteX8322" fmla="*/ 1513542 w 2792478"/>
                <a:gd name="connsiteY8322" fmla="*/ 273966 h 4235290"/>
                <a:gd name="connsiteX8323" fmla="*/ 1513542 w 2792478"/>
                <a:gd name="connsiteY8323" fmla="*/ 276776 h 4235290"/>
                <a:gd name="connsiteX8324" fmla="*/ 1513482 w 2792478"/>
                <a:gd name="connsiteY8324" fmla="*/ 277751 h 4235290"/>
                <a:gd name="connsiteX8325" fmla="*/ 1514472 w 2792478"/>
                <a:gd name="connsiteY8325" fmla="*/ 278325 h 4235290"/>
                <a:gd name="connsiteX8326" fmla="*/ 1530067 w 2792478"/>
                <a:gd name="connsiteY8326" fmla="*/ 284657 h 4235290"/>
                <a:gd name="connsiteX8327" fmla="*/ 1530007 w 2792478"/>
                <a:gd name="connsiteY8327" fmla="*/ 280528 h 4235290"/>
                <a:gd name="connsiteX8328" fmla="*/ 1529635 w 2792478"/>
                <a:gd name="connsiteY8328" fmla="*/ 276594 h 4235290"/>
                <a:gd name="connsiteX8329" fmla="*/ 1530193 w 2792478"/>
                <a:gd name="connsiteY8329" fmla="*/ 272500 h 4235290"/>
                <a:gd name="connsiteX8330" fmla="*/ 1530632 w 2792478"/>
                <a:gd name="connsiteY8330" fmla="*/ 269356 h 4235290"/>
                <a:gd name="connsiteX8331" fmla="*/ 1530639 w 2792478"/>
                <a:gd name="connsiteY8331" fmla="*/ 269325 h 4235290"/>
                <a:gd name="connsiteX8332" fmla="*/ 1529429 w 2792478"/>
                <a:gd name="connsiteY8332" fmla="*/ 265899 h 4235290"/>
                <a:gd name="connsiteX8333" fmla="*/ 1768329 w 2792478"/>
                <a:gd name="connsiteY8333" fmla="*/ 262496 h 4235290"/>
                <a:gd name="connsiteX8334" fmla="*/ 1746023 w 2792478"/>
                <a:gd name="connsiteY8334" fmla="*/ 284868 h 4235290"/>
                <a:gd name="connsiteX8335" fmla="*/ 1768329 w 2792478"/>
                <a:gd name="connsiteY8335" fmla="*/ 307175 h 4235290"/>
                <a:gd name="connsiteX8336" fmla="*/ 1790642 w 2792478"/>
                <a:gd name="connsiteY8336" fmla="*/ 284868 h 4235290"/>
                <a:gd name="connsiteX8337" fmla="*/ 1768329 w 2792478"/>
                <a:gd name="connsiteY8337" fmla="*/ 262496 h 4235290"/>
                <a:gd name="connsiteX8338" fmla="*/ 2104918 w 2792478"/>
                <a:gd name="connsiteY8338" fmla="*/ 259971 h 4235290"/>
                <a:gd name="connsiteX8339" fmla="*/ 2156359 w 2792478"/>
                <a:gd name="connsiteY8339" fmla="*/ 259971 h 4235290"/>
                <a:gd name="connsiteX8340" fmla="*/ 2160654 w 2792478"/>
                <a:gd name="connsiteY8340" fmla="*/ 264260 h 4235290"/>
                <a:gd name="connsiteX8341" fmla="*/ 2156359 w 2792478"/>
                <a:gd name="connsiteY8341" fmla="*/ 268547 h 4235290"/>
                <a:gd name="connsiteX8342" fmla="*/ 2104918 w 2792478"/>
                <a:gd name="connsiteY8342" fmla="*/ 268547 h 4235290"/>
                <a:gd name="connsiteX8343" fmla="*/ 2100634 w 2792478"/>
                <a:gd name="connsiteY8343" fmla="*/ 264260 h 4235290"/>
                <a:gd name="connsiteX8344" fmla="*/ 2104918 w 2792478"/>
                <a:gd name="connsiteY8344" fmla="*/ 259971 h 4235290"/>
                <a:gd name="connsiteX8345" fmla="*/ 1532606 w 2792478"/>
                <a:gd name="connsiteY8345" fmla="*/ 259628 h 4235290"/>
                <a:gd name="connsiteX8346" fmla="*/ 1537665 w 2792478"/>
                <a:gd name="connsiteY8346" fmla="*/ 269348 h 4235290"/>
                <a:gd name="connsiteX8347" fmla="*/ 1537665 w 2792478"/>
                <a:gd name="connsiteY8347" fmla="*/ 269542 h 4235290"/>
                <a:gd name="connsiteX8348" fmla="*/ 1537652 w 2792478"/>
                <a:gd name="connsiteY8348" fmla="*/ 269832 h 4235290"/>
                <a:gd name="connsiteX8349" fmla="*/ 1538862 w 2792478"/>
                <a:gd name="connsiteY8349" fmla="*/ 269923 h 4235290"/>
                <a:gd name="connsiteX8350" fmla="*/ 1538981 w 2792478"/>
                <a:gd name="connsiteY8350" fmla="*/ 269931 h 4235290"/>
                <a:gd name="connsiteX8351" fmla="*/ 1563823 w 2792478"/>
                <a:gd name="connsiteY8351" fmla="*/ 274948 h 4235290"/>
                <a:gd name="connsiteX8352" fmla="*/ 1575369 w 2792478"/>
                <a:gd name="connsiteY8352" fmla="*/ 285049 h 4235290"/>
                <a:gd name="connsiteX8353" fmla="*/ 1575376 w 2792478"/>
                <a:gd name="connsiteY8353" fmla="*/ 291288 h 4235290"/>
                <a:gd name="connsiteX8354" fmla="*/ 1575376 w 2792478"/>
                <a:gd name="connsiteY8354" fmla="*/ 322007 h 4235290"/>
                <a:gd name="connsiteX8355" fmla="*/ 1572690 w 2792478"/>
                <a:gd name="connsiteY8355" fmla="*/ 325434 h 4235290"/>
                <a:gd name="connsiteX8356" fmla="*/ 1570822 w 2792478"/>
                <a:gd name="connsiteY8356" fmla="*/ 325872 h 4235290"/>
                <a:gd name="connsiteX8357" fmla="*/ 1570836 w 2792478"/>
                <a:gd name="connsiteY8357" fmla="*/ 326163 h 4235290"/>
                <a:gd name="connsiteX8358" fmla="*/ 1570836 w 2792478"/>
                <a:gd name="connsiteY8358" fmla="*/ 405844 h 4235290"/>
                <a:gd name="connsiteX8359" fmla="*/ 1569971 w 2792478"/>
                <a:gd name="connsiteY8359" fmla="*/ 408167 h 4235290"/>
                <a:gd name="connsiteX8360" fmla="*/ 1503577 w 2792478"/>
                <a:gd name="connsiteY8360" fmla="*/ 421600 h 4235290"/>
                <a:gd name="connsiteX8361" fmla="*/ 1437196 w 2792478"/>
                <a:gd name="connsiteY8361" fmla="*/ 408167 h 4235290"/>
                <a:gd name="connsiteX8362" fmla="*/ 1436325 w 2792478"/>
                <a:gd name="connsiteY8362" fmla="*/ 405844 h 4235290"/>
                <a:gd name="connsiteX8363" fmla="*/ 1436325 w 2792478"/>
                <a:gd name="connsiteY8363" fmla="*/ 326163 h 4235290"/>
                <a:gd name="connsiteX8364" fmla="*/ 1436339 w 2792478"/>
                <a:gd name="connsiteY8364" fmla="*/ 325866 h 4235290"/>
                <a:gd name="connsiteX8365" fmla="*/ 1434484 w 2792478"/>
                <a:gd name="connsiteY8365" fmla="*/ 325420 h 4235290"/>
                <a:gd name="connsiteX8366" fmla="*/ 1431792 w 2792478"/>
                <a:gd name="connsiteY8366" fmla="*/ 322007 h 4235290"/>
                <a:gd name="connsiteX8367" fmla="*/ 1431792 w 2792478"/>
                <a:gd name="connsiteY8367" fmla="*/ 291288 h 4235290"/>
                <a:gd name="connsiteX8368" fmla="*/ 1431805 w 2792478"/>
                <a:gd name="connsiteY8368" fmla="*/ 285049 h 4235290"/>
                <a:gd name="connsiteX8369" fmla="*/ 1443338 w 2792478"/>
                <a:gd name="connsiteY8369" fmla="*/ 274948 h 4235290"/>
                <a:gd name="connsiteX8370" fmla="*/ 1468146 w 2792478"/>
                <a:gd name="connsiteY8370" fmla="*/ 269938 h 4235290"/>
                <a:gd name="connsiteX8371" fmla="*/ 1469296 w 2792478"/>
                <a:gd name="connsiteY8371" fmla="*/ 269800 h 4235290"/>
                <a:gd name="connsiteX8372" fmla="*/ 1473717 w 2792478"/>
                <a:gd name="connsiteY8372" fmla="*/ 260585 h 4235290"/>
                <a:gd name="connsiteX8373" fmla="*/ 1497674 w 2792478"/>
                <a:gd name="connsiteY8373" fmla="*/ 265525 h 4235290"/>
                <a:gd name="connsiteX8374" fmla="*/ 1498346 w 2792478"/>
                <a:gd name="connsiteY8374" fmla="*/ 266229 h 4235290"/>
                <a:gd name="connsiteX8375" fmla="*/ 1502334 w 2792478"/>
                <a:gd name="connsiteY8375" fmla="*/ 265262 h 4235290"/>
                <a:gd name="connsiteX8376" fmla="*/ 1504827 w 2792478"/>
                <a:gd name="connsiteY8376" fmla="*/ 265262 h 4235290"/>
                <a:gd name="connsiteX8377" fmla="*/ 1508616 w 2792478"/>
                <a:gd name="connsiteY8377" fmla="*/ 266128 h 4235290"/>
                <a:gd name="connsiteX8378" fmla="*/ 1509247 w 2792478"/>
                <a:gd name="connsiteY8378" fmla="*/ 265507 h 4235290"/>
                <a:gd name="connsiteX8379" fmla="*/ 1532606 w 2792478"/>
                <a:gd name="connsiteY8379" fmla="*/ 259628 h 4235290"/>
                <a:gd name="connsiteX8380" fmla="*/ 867382 w 2792478"/>
                <a:gd name="connsiteY8380" fmla="*/ 256928 h 4235290"/>
                <a:gd name="connsiteX8381" fmla="*/ 878986 w 2792478"/>
                <a:gd name="connsiteY8381" fmla="*/ 268528 h 4235290"/>
                <a:gd name="connsiteX8382" fmla="*/ 902194 w 2792478"/>
                <a:gd name="connsiteY8382" fmla="*/ 268528 h 4235290"/>
                <a:gd name="connsiteX8383" fmla="*/ 913798 w 2792478"/>
                <a:gd name="connsiteY8383" fmla="*/ 256928 h 4235290"/>
                <a:gd name="connsiteX8384" fmla="*/ 1768329 w 2792478"/>
                <a:gd name="connsiteY8384" fmla="*/ 256529 h 4235290"/>
                <a:gd name="connsiteX8385" fmla="*/ 1796672 w 2792478"/>
                <a:gd name="connsiteY8385" fmla="*/ 284868 h 4235290"/>
                <a:gd name="connsiteX8386" fmla="*/ 1768329 w 2792478"/>
                <a:gd name="connsiteY8386" fmla="*/ 313206 h 4235290"/>
                <a:gd name="connsiteX8387" fmla="*/ 1740054 w 2792478"/>
                <a:gd name="connsiteY8387" fmla="*/ 284868 h 4235290"/>
                <a:gd name="connsiteX8388" fmla="*/ 1768329 w 2792478"/>
                <a:gd name="connsiteY8388" fmla="*/ 256529 h 4235290"/>
                <a:gd name="connsiteX8389" fmla="*/ 2250132 w 2792478"/>
                <a:gd name="connsiteY8389" fmla="*/ 255974 h 4235290"/>
                <a:gd name="connsiteX8390" fmla="*/ 2221921 w 2792478"/>
                <a:gd name="connsiteY8390" fmla="*/ 284125 h 4235290"/>
                <a:gd name="connsiteX8391" fmla="*/ 2221921 w 2792478"/>
                <a:gd name="connsiteY8391" fmla="*/ 312277 h 4235290"/>
                <a:gd name="connsiteX8392" fmla="*/ 2278343 w 2792478"/>
                <a:gd name="connsiteY8392" fmla="*/ 312277 h 4235290"/>
                <a:gd name="connsiteX8393" fmla="*/ 2278343 w 2792478"/>
                <a:gd name="connsiteY8393" fmla="*/ 284125 h 4235290"/>
                <a:gd name="connsiteX8394" fmla="*/ 2250132 w 2792478"/>
                <a:gd name="connsiteY8394" fmla="*/ 255974 h 4235290"/>
                <a:gd name="connsiteX8395" fmla="*/ 702002 w 2792478"/>
                <a:gd name="connsiteY8395" fmla="*/ 250877 h 4235290"/>
                <a:gd name="connsiteX8396" fmla="*/ 643718 w 2792478"/>
                <a:gd name="connsiteY8396" fmla="*/ 277286 h 4235290"/>
                <a:gd name="connsiteX8397" fmla="*/ 654959 w 2792478"/>
                <a:gd name="connsiteY8397" fmla="*/ 292515 h 4235290"/>
                <a:gd name="connsiteX8398" fmla="*/ 704430 w 2792478"/>
                <a:gd name="connsiteY8398" fmla="*/ 313086 h 4235290"/>
                <a:gd name="connsiteX8399" fmla="*/ 704493 w 2792478"/>
                <a:gd name="connsiteY8399" fmla="*/ 317063 h 4235290"/>
                <a:gd name="connsiteX8400" fmla="*/ 704493 w 2792478"/>
                <a:gd name="connsiteY8400" fmla="*/ 313086 h 4235290"/>
                <a:gd name="connsiteX8401" fmla="*/ 753956 w 2792478"/>
                <a:gd name="connsiteY8401" fmla="*/ 292515 h 4235290"/>
                <a:gd name="connsiteX8402" fmla="*/ 764518 w 2792478"/>
                <a:gd name="connsiteY8402" fmla="*/ 278534 h 4235290"/>
                <a:gd name="connsiteX8403" fmla="*/ 710020 w 2792478"/>
                <a:gd name="connsiteY8403" fmla="*/ 251433 h 4235290"/>
                <a:gd name="connsiteX8404" fmla="*/ 710020 w 2792478"/>
                <a:gd name="connsiteY8404" fmla="*/ 261379 h 4235290"/>
                <a:gd name="connsiteX8405" fmla="*/ 719028 w 2792478"/>
                <a:gd name="connsiteY8405" fmla="*/ 273999 h 4235290"/>
                <a:gd name="connsiteX8406" fmla="*/ 710020 w 2792478"/>
                <a:gd name="connsiteY8406" fmla="*/ 286670 h 4235290"/>
                <a:gd name="connsiteX8407" fmla="*/ 710020 w 2792478"/>
                <a:gd name="connsiteY8407" fmla="*/ 302702 h 4235290"/>
                <a:gd name="connsiteX8408" fmla="*/ 706047 w 2792478"/>
                <a:gd name="connsiteY8408" fmla="*/ 306749 h 4235290"/>
                <a:gd name="connsiteX8409" fmla="*/ 702002 w 2792478"/>
                <a:gd name="connsiteY8409" fmla="*/ 302702 h 4235290"/>
                <a:gd name="connsiteX8410" fmla="*/ 702002 w 2792478"/>
                <a:gd name="connsiteY8410" fmla="*/ 286863 h 4235290"/>
                <a:gd name="connsiteX8411" fmla="*/ 692065 w 2792478"/>
                <a:gd name="connsiteY8411" fmla="*/ 273999 h 4235290"/>
                <a:gd name="connsiteX8412" fmla="*/ 702002 w 2792478"/>
                <a:gd name="connsiteY8412" fmla="*/ 261193 h 4235290"/>
                <a:gd name="connsiteX8413" fmla="*/ 2071284 w 2792478"/>
                <a:gd name="connsiteY8413" fmla="*/ 250690 h 4235290"/>
                <a:gd name="connsiteX8414" fmla="*/ 2077807 w 2792478"/>
                <a:gd name="connsiteY8414" fmla="*/ 252178 h 4235290"/>
                <a:gd name="connsiteX8415" fmla="*/ 2079860 w 2792478"/>
                <a:gd name="connsiteY8415" fmla="*/ 264423 h 4235290"/>
                <a:gd name="connsiteX8416" fmla="*/ 2049780 w 2792478"/>
                <a:gd name="connsiteY8416" fmla="*/ 306000 h 4235290"/>
                <a:gd name="connsiteX8417" fmla="*/ 2055498 w 2792478"/>
                <a:gd name="connsiteY8417" fmla="*/ 330233 h 4235290"/>
                <a:gd name="connsiteX8418" fmla="*/ 2033686 w 2792478"/>
                <a:gd name="connsiteY8418" fmla="*/ 378270 h 4235290"/>
                <a:gd name="connsiteX8419" fmla="*/ 2026100 w 2792478"/>
                <a:gd name="connsiteY8419" fmla="*/ 383431 h 4235290"/>
                <a:gd name="connsiteX8420" fmla="*/ 2025608 w 2792478"/>
                <a:gd name="connsiteY8420" fmla="*/ 383431 h 4235290"/>
                <a:gd name="connsiteX8421" fmla="*/ 2018022 w 2792478"/>
                <a:gd name="connsiteY8421" fmla="*/ 379142 h 4235290"/>
                <a:gd name="connsiteX8422" fmla="*/ 2014604 w 2792478"/>
                <a:gd name="connsiteY8422" fmla="*/ 373421 h 4235290"/>
                <a:gd name="connsiteX8423" fmla="*/ 1999875 w 2792478"/>
                <a:gd name="connsiteY8423" fmla="*/ 369448 h 4235290"/>
                <a:gd name="connsiteX8424" fmla="*/ 1993973 w 2792478"/>
                <a:gd name="connsiteY8424" fmla="*/ 364160 h 4235290"/>
                <a:gd name="connsiteX8425" fmla="*/ 1988133 w 2792478"/>
                <a:gd name="connsiteY8425" fmla="*/ 349436 h 4235290"/>
                <a:gd name="connsiteX8426" fmla="*/ 1978746 w 2792478"/>
                <a:gd name="connsiteY8426" fmla="*/ 348564 h 4235290"/>
                <a:gd name="connsiteX8427" fmla="*/ 1971166 w 2792478"/>
                <a:gd name="connsiteY8427" fmla="*/ 342659 h 4235290"/>
                <a:gd name="connsiteX8428" fmla="*/ 1973526 w 2792478"/>
                <a:gd name="connsiteY8428" fmla="*/ 333280 h 4235290"/>
                <a:gd name="connsiteX8429" fmla="*/ 2011063 w 2792478"/>
                <a:gd name="connsiteY8429" fmla="*/ 298288 h 4235290"/>
                <a:gd name="connsiteX8430" fmla="*/ 2025049 w 2792478"/>
                <a:gd name="connsiteY8430" fmla="*/ 292757 h 4235290"/>
                <a:gd name="connsiteX8431" fmla="*/ 2035795 w 2792478"/>
                <a:gd name="connsiteY8431" fmla="*/ 295927 h 4235290"/>
                <a:gd name="connsiteX8432" fmla="*/ 2065567 w 2792478"/>
                <a:gd name="connsiteY8432" fmla="*/ 254229 h 4235290"/>
                <a:gd name="connsiteX8433" fmla="*/ 2071284 w 2792478"/>
                <a:gd name="connsiteY8433" fmla="*/ 250690 h 4235290"/>
                <a:gd name="connsiteX8434" fmla="*/ 2104918 w 2792478"/>
                <a:gd name="connsiteY8434" fmla="*/ 247118 h 4235290"/>
                <a:gd name="connsiteX8435" fmla="*/ 2156359 w 2792478"/>
                <a:gd name="connsiteY8435" fmla="*/ 247118 h 4235290"/>
                <a:gd name="connsiteX8436" fmla="*/ 2160654 w 2792478"/>
                <a:gd name="connsiteY8436" fmla="*/ 251402 h 4235290"/>
                <a:gd name="connsiteX8437" fmla="*/ 2156359 w 2792478"/>
                <a:gd name="connsiteY8437" fmla="*/ 255695 h 4235290"/>
                <a:gd name="connsiteX8438" fmla="*/ 2104918 w 2792478"/>
                <a:gd name="connsiteY8438" fmla="*/ 255695 h 4235290"/>
                <a:gd name="connsiteX8439" fmla="*/ 2100634 w 2792478"/>
                <a:gd name="connsiteY8439" fmla="*/ 251402 h 4235290"/>
                <a:gd name="connsiteX8440" fmla="*/ 2104918 w 2792478"/>
                <a:gd name="connsiteY8440" fmla="*/ 247118 h 4235290"/>
                <a:gd name="connsiteX8441" fmla="*/ 753706 w 2792478"/>
                <a:gd name="connsiteY8441" fmla="*/ 240627 h 4235290"/>
                <a:gd name="connsiteX8442" fmla="*/ 762902 w 2792478"/>
                <a:gd name="connsiteY8442" fmla="*/ 240627 h 4235290"/>
                <a:gd name="connsiteX8443" fmla="*/ 764955 w 2792478"/>
                <a:gd name="connsiteY8443" fmla="*/ 242610 h 4235290"/>
                <a:gd name="connsiteX8444" fmla="*/ 762902 w 2792478"/>
                <a:gd name="connsiteY8444" fmla="*/ 244666 h 4235290"/>
                <a:gd name="connsiteX8445" fmla="*/ 753706 w 2792478"/>
                <a:gd name="connsiteY8445" fmla="*/ 244666 h 4235290"/>
                <a:gd name="connsiteX8446" fmla="*/ 751724 w 2792478"/>
                <a:gd name="connsiteY8446" fmla="*/ 242610 h 4235290"/>
                <a:gd name="connsiteX8447" fmla="*/ 753706 w 2792478"/>
                <a:gd name="connsiteY8447" fmla="*/ 240627 h 4235290"/>
                <a:gd name="connsiteX8448" fmla="*/ 646325 w 2792478"/>
                <a:gd name="connsiteY8448" fmla="*/ 240627 h 4235290"/>
                <a:gd name="connsiteX8449" fmla="*/ 655521 w 2792478"/>
                <a:gd name="connsiteY8449" fmla="*/ 240627 h 4235290"/>
                <a:gd name="connsiteX8450" fmla="*/ 657575 w 2792478"/>
                <a:gd name="connsiteY8450" fmla="*/ 242675 h 4235290"/>
                <a:gd name="connsiteX8451" fmla="*/ 655584 w 2792478"/>
                <a:gd name="connsiteY8451" fmla="*/ 244666 h 4235290"/>
                <a:gd name="connsiteX8452" fmla="*/ 646325 w 2792478"/>
                <a:gd name="connsiteY8452" fmla="*/ 244666 h 4235290"/>
                <a:gd name="connsiteX8453" fmla="*/ 644334 w 2792478"/>
                <a:gd name="connsiteY8453" fmla="*/ 242675 h 4235290"/>
                <a:gd name="connsiteX8454" fmla="*/ 646325 w 2792478"/>
                <a:gd name="connsiteY8454" fmla="*/ 240627 h 4235290"/>
                <a:gd name="connsiteX8455" fmla="*/ 1279755 w 2792478"/>
                <a:gd name="connsiteY8455" fmla="*/ 240621 h 4235290"/>
                <a:gd name="connsiteX8456" fmla="*/ 1315303 w 2792478"/>
                <a:gd name="connsiteY8456" fmla="*/ 254972 h 4235290"/>
                <a:gd name="connsiteX8457" fmla="*/ 1329350 w 2792478"/>
                <a:gd name="connsiteY8457" fmla="*/ 291514 h 4235290"/>
                <a:gd name="connsiteX8458" fmla="*/ 1329350 w 2792478"/>
                <a:gd name="connsiteY8458" fmla="*/ 323206 h 4235290"/>
                <a:gd name="connsiteX8459" fmla="*/ 1353581 w 2792478"/>
                <a:gd name="connsiteY8459" fmla="*/ 323206 h 4235290"/>
                <a:gd name="connsiteX8460" fmla="*/ 1360295 w 2792478"/>
                <a:gd name="connsiteY8460" fmla="*/ 329917 h 4235290"/>
                <a:gd name="connsiteX8461" fmla="*/ 1360295 w 2792478"/>
                <a:gd name="connsiteY8461" fmla="*/ 427240 h 4235290"/>
                <a:gd name="connsiteX8462" fmla="*/ 1353581 w 2792478"/>
                <a:gd name="connsiteY8462" fmla="*/ 433890 h 4235290"/>
                <a:gd name="connsiteX8463" fmla="*/ 1205803 w 2792478"/>
                <a:gd name="connsiteY8463" fmla="*/ 433890 h 4235290"/>
                <a:gd name="connsiteX8464" fmla="*/ 1199156 w 2792478"/>
                <a:gd name="connsiteY8464" fmla="*/ 427240 h 4235290"/>
                <a:gd name="connsiteX8465" fmla="*/ 1199156 w 2792478"/>
                <a:gd name="connsiteY8465" fmla="*/ 329917 h 4235290"/>
                <a:gd name="connsiteX8466" fmla="*/ 1205803 w 2792478"/>
                <a:gd name="connsiteY8466" fmla="*/ 323206 h 4235290"/>
                <a:gd name="connsiteX8467" fmla="*/ 1315802 w 2792478"/>
                <a:gd name="connsiteY8467" fmla="*/ 323206 h 4235290"/>
                <a:gd name="connsiteX8468" fmla="*/ 1315802 w 2792478"/>
                <a:gd name="connsiteY8468" fmla="*/ 291514 h 4235290"/>
                <a:gd name="connsiteX8469" fmla="*/ 1305731 w 2792478"/>
                <a:gd name="connsiteY8469" fmla="*/ 264608 h 4235290"/>
                <a:gd name="connsiteX8470" fmla="*/ 1279755 w 2792478"/>
                <a:gd name="connsiteY8470" fmla="*/ 254042 h 4235290"/>
                <a:gd name="connsiteX8471" fmla="*/ 1253473 w 2792478"/>
                <a:gd name="connsiteY8471" fmla="*/ 264608 h 4235290"/>
                <a:gd name="connsiteX8472" fmla="*/ 1243342 w 2792478"/>
                <a:gd name="connsiteY8472" fmla="*/ 291514 h 4235290"/>
                <a:gd name="connsiteX8473" fmla="*/ 1243342 w 2792478"/>
                <a:gd name="connsiteY8473" fmla="*/ 299218 h 4235290"/>
                <a:gd name="connsiteX8474" fmla="*/ 1236501 w 2792478"/>
                <a:gd name="connsiteY8474" fmla="*/ 305937 h 4235290"/>
                <a:gd name="connsiteX8475" fmla="*/ 1229795 w 2792478"/>
                <a:gd name="connsiteY8475" fmla="*/ 299218 h 4235290"/>
                <a:gd name="connsiteX8476" fmla="*/ 1229795 w 2792478"/>
                <a:gd name="connsiteY8476" fmla="*/ 291514 h 4235290"/>
                <a:gd name="connsiteX8477" fmla="*/ 1243961 w 2792478"/>
                <a:gd name="connsiteY8477" fmla="*/ 254972 h 4235290"/>
                <a:gd name="connsiteX8478" fmla="*/ 1279755 w 2792478"/>
                <a:gd name="connsiteY8478" fmla="*/ 240621 h 4235290"/>
                <a:gd name="connsiteX8479" fmla="*/ 861580 w 2792478"/>
                <a:gd name="connsiteY8479" fmla="*/ 239517 h 4235290"/>
                <a:gd name="connsiteX8480" fmla="*/ 855771 w 2792478"/>
                <a:gd name="connsiteY8480" fmla="*/ 245316 h 4235290"/>
                <a:gd name="connsiteX8481" fmla="*/ 861580 w 2792478"/>
                <a:gd name="connsiteY8481" fmla="*/ 251122 h 4235290"/>
                <a:gd name="connsiteX8482" fmla="*/ 919606 w 2792478"/>
                <a:gd name="connsiteY8482" fmla="*/ 251122 h 4235290"/>
                <a:gd name="connsiteX8483" fmla="*/ 925408 w 2792478"/>
                <a:gd name="connsiteY8483" fmla="*/ 245316 h 4235290"/>
                <a:gd name="connsiteX8484" fmla="*/ 919606 w 2792478"/>
                <a:gd name="connsiteY8484" fmla="*/ 239517 h 4235290"/>
                <a:gd name="connsiteX8485" fmla="*/ 1761189 w 2792478"/>
                <a:gd name="connsiteY8485" fmla="*/ 238693 h 4235290"/>
                <a:gd name="connsiteX8486" fmla="*/ 1760750 w 2792478"/>
                <a:gd name="connsiteY8486" fmla="*/ 239007 h 4235290"/>
                <a:gd name="connsiteX8487" fmla="*/ 1759632 w 2792478"/>
                <a:gd name="connsiteY8487" fmla="*/ 243042 h 4235290"/>
                <a:gd name="connsiteX8488" fmla="*/ 1754721 w 2792478"/>
                <a:gd name="connsiteY8488" fmla="*/ 248449 h 4235290"/>
                <a:gd name="connsiteX8489" fmla="*/ 1751305 w 2792478"/>
                <a:gd name="connsiteY8489" fmla="*/ 249882 h 4235290"/>
                <a:gd name="connsiteX8490" fmla="*/ 1747950 w 2792478"/>
                <a:gd name="connsiteY8490" fmla="*/ 250562 h 4235290"/>
                <a:gd name="connsiteX8491" fmla="*/ 1743968 w 2792478"/>
                <a:gd name="connsiteY8491" fmla="*/ 249631 h 4235290"/>
                <a:gd name="connsiteX8492" fmla="*/ 1740863 w 2792478"/>
                <a:gd name="connsiteY8492" fmla="*/ 247891 h 4235290"/>
                <a:gd name="connsiteX8493" fmla="*/ 1740742 w 2792478"/>
                <a:gd name="connsiteY8493" fmla="*/ 247827 h 4235290"/>
                <a:gd name="connsiteX8494" fmla="*/ 1740303 w 2792478"/>
                <a:gd name="connsiteY8494" fmla="*/ 247955 h 4235290"/>
                <a:gd name="connsiteX8495" fmla="*/ 1730548 w 2792478"/>
                <a:gd name="connsiteY8495" fmla="*/ 257711 h 4235290"/>
                <a:gd name="connsiteX8496" fmla="*/ 1730488 w 2792478"/>
                <a:gd name="connsiteY8496" fmla="*/ 258270 h 4235290"/>
                <a:gd name="connsiteX8497" fmla="*/ 1732415 w 2792478"/>
                <a:gd name="connsiteY8497" fmla="*/ 261687 h 4235290"/>
                <a:gd name="connsiteX8498" fmla="*/ 1732725 w 2792478"/>
                <a:gd name="connsiteY8498" fmla="*/ 269081 h 4235290"/>
                <a:gd name="connsiteX8499" fmla="*/ 1726445 w 2792478"/>
                <a:gd name="connsiteY8499" fmla="*/ 276293 h 4235290"/>
                <a:gd name="connsiteX8500" fmla="*/ 1722471 w 2792478"/>
                <a:gd name="connsiteY8500" fmla="*/ 277346 h 4235290"/>
                <a:gd name="connsiteX8501" fmla="*/ 1722161 w 2792478"/>
                <a:gd name="connsiteY8501" fmla="*/ 277783 h 4235290"/>
                <a:gd name="connsiteX8502" fmla="*/ 1722161 w 2792478"/>
                <a:gd name="connsiteY8502" fmla="*/ 291638 h 4235290"/>
                <a:gd name="connsiteX8503" fmla="*/ 1722531 w 2792478"/>
                <a:gd name="connsiteY8503" fmla="*/ 292017 h 4235290"/>
                <a:gd name="connsiteX8504" fmla="*/ 1726445 w 2792478"/>
                <a:gd name="connsiteY8504" fmla="*/ 293134 h 4235290"/>
                <a:gd name="connsiteX8505" fmla="*/ 1731856 w 2792478"/>
                <a:gd name="connsiteY8505" fmla="*/ 298106 h 4235290"/>
                <a:gd name="connsiteX8506" fmla="*/ 1732974 w 2792478"/>
                <a:gd name="connsiteY8506" fmla="*/ 300777 h 4235290"/>
                <a:gd name="connsiteX8507" fmla="*/ 1732596 w 2792478"/>
                <a:gd name="connsiteY8507" fmla="*/ 308107 h 4235290"/>
                <a:gd name="connsiteX8508" fmla="*/ 1730858 w 2792478"/>
                <a:gd name="connsiteY8508" fmla="*/ 311279 h 4235290"/>
                <a:gd name="connsiteX8509" fmla="*/ 1730919 w 2792478"/>
                <a:gd name="connsiteY8509" fmla="*/ 311838 h 4235290"/>
                <a:gd name="connsiteX8510" fmla="*/ 1740674 w 2792478"/>
                <a:gd name="connsiteY8510" fmla="*/ 321595 h 4235290"/>
                <a:gd name="connsiteX8511" fmla="*/ 1741051 w 2792478"/>
                <a:gd name="connsiteY8511" fmla="*/ 321659 h 4235290"/>
                <a:gd name="connsiteX8512" fmla="*/ 1741233 w 2792478"/>
                <a:gd name="connsiteY8512" fmla="*/ 321659 h 4235290"/>
                <a:gd name="connsiteX8513" fmla="*/ 1744217 w 2792478"/>
                <a:gd name="connsiteY8513" fmla="*/ 319918 h 4235290"/>
                <a:gd name="connsiteX8514" fmla="*/ 1748260 w 2792478"/>
                <a:gd name="connsiteY8514" fmla="*/ 318923 h 4235290"/>
                <a:gd name="connsiteX8515" fmla="*/ 1751554 w 2792478"/>
                <a:gd name="connsiteY8515" fmla="*/ 319668 h 4235290"/>
                <a:gd name="connsiteX8516" fmla="*/ 1754781 w 2792478"/>
                <a:gd name="connsiteY8516" fmla="*/ 320972 h 4235290"/>
                <a:gd name="connsiteX8517" fmla="*/ 1759692 w 2792478"/>
                <a:gd name="connsiteY8517" fmla="*/ 326380 h 4235290"/>
                <a:gd name="connsiteX8518" fmla="*/ 1760750 w 2792478"/>
                <a:gd name="connsiteY8518" fmla="*/ 330234 h 4235290"/>
                <a:gd name="connsiteX8519" fmla="*/ 1761189 w 2792478"/>
                <a:gd name="connsiteY8519" fmla="*/ 330542 h 4235290"/>
                <a:gd name="connsiteX8520" fmla="*/ 1774979 w 2792478"/>
                <a:gd name="connsiteY8520" fmla="*/ 330542 h 4235290"/>
                <a:gd name="connsiteX8521" fmla="*/ 1775417 w 2792478"/>
                <a:gd name="connsiteY8521" fmla="*/ 330169 h 4235290"/>
                <a:gd name="connsiteX8522" fmla="*/ 1776475 w 2792478"/>
                <a:gd name="connsiteY8522" fmla="*/ 326380 h 4235290"/>
                <a:gd name="connsiteX8523" fmla="*/ 1781447 w 2792478"/>
                <a:gd name="connsiteY8523" fmla="*/ 320972 h 4235290"/>
                <a:gd name="connsiteX8524" fmla="*/ 1784363 w 2792478"/>
                <a:gd name="connsiteY8524" fmla="*/ 319790 h 4235290"/>
                <a:gd name="connsiteX8525" fmla="*/ 1787718 w 2792478"/>
                <a:gd name="connsiteY8525" fmla="*/ 319109 h 4235290"/>
                <a:gd name="connsiteX8526" fmla="*/ 1791700 w 2792478"/>
                <a:gd name="connsiteY8526" fmla="*/ 320105 h 4235290"/>
                <a:gd name="connsiteX8527" fmla="*/ 1794927 w 2792478"/>
                <a:gd name="connsiteY8527" fmla="*/ 321903 h 4235290"/>
                <a:gd name="connsiteX8528" fmla="*/ 1795055 w 2792478"/>
                <a:gd name="connsiteY8528" fmla="*/ 321903 h 4235290"/>
                <a:gd name="connsiteX8529" fmla="*/ 1795486 w 2792478"/>
                <a:gd name="connsiteY8529" fmla="*/ 321845 h 4235290"/>
                <a:gd name="connsiteX8530" fmla="*/ 1805248 w 2792478"/>
                <a:gd name="connsiteY8530" fmla="*/ 312025 h 4235290"/>
                <a:gd name="connsiteX8531" fmla="*/ 1805309 w 2792478"/>
                <a:gd name="connsiteY8531" fmla="*/ 311529 h 4235290"/>
                <a:gd name="connsiteX8532" fmla="*/ 1803503 w 2792478"/>
                <a:gd name="connsiteY8532" fmla="*/ 308293 h 4235290"/>
                <a:gd name="connsiteX8533" fmla="*/ 1803193 w 2792478"/>
                <a:gd name="connsiteY8533" fmla="*/ 300964 h 4235290"/>
                <a:gd name="connsiteX8534" fmla="*/ 1804379 w 2792478"/>
                <a:gd name="connsiteY8534" fmla="*/ 298106 h 4235290"/>
                <a:gd name="connsiteX8535" fmla="*/ 1809782 w 2792478"/>
                <a:gd name="connsiteY8535" fmla="*/ 293134 h 4235290"/>
                <a:gd name="connsiteX8536" fmla="*/ 1813696 w 2792478"/>
                <a:gd name="connsiteY8536" fmla="*/ 292017 h 4235290"/>
                <a:gd name="connsiteX8537" fmla="*/ 1814006 w 2792478"/>
                <a:gd name="connsiteY8537" fmla="*/ 291580 h 4235290"/>
                <a:gd name="connsiteX8538" fmla="*/ 1814006 w 2792478"/>
                <a:gd name="connsiteY8538" fmla="*/ 277783 h 4235290"/>
                <a:gd name="connsiteX8539" fmla="*/ 1813696 w 2792478"/>
                <a:gd name="connsiteY8539" fmla="*/ 277346 h 4235290"/>
                <a:gd name="connsiteX8540" fmla="*/ 1809782 w 2792478"/>
                <a:gd name="connsiteY8540" fmla="*/ 276293 h 4235290"/>
                <a:gd name="connsiteX8541" fmla="*/ 1804379 w 2792478"/>
                <a:gd name="connsiteY8541" fmla="*/ 271322 h 4235290"/>
                <a:gd name="connsiteX8542" fmla="*/ 1803382 w 2792478"/>
                <a:gd name="connsiteY8542" fmla="*/ 268772 h 4235290"/>
                <a:gd name="connsiteX8543" fmla="*/ 1803692 w 2792478"/>
                <a:gd name="connsiteY8543" fmla="*/ 261501 h 4235290"/>
                <a:gd name="connsiteX8544" fmla="*/ 1805679 w 2792478"/>
                <a:gd name="connsiteY8544" fmla="*/ 257962 h 4235290"/>
                <a:gd name="connsiteX8545" fmla="*/ 1805558 w 2792478"/>
                <a:gd name="connsiteY8545" fmla="*/ 257461 h 4235290"/>
                <a:gd name="connsiteX8546" fmla="*/ 1795803 w 2792478"/>
                <a:gd name="connsiteY8546" fmla="*/ 247705 h 4235290"/>
                <a:gd name="connsiteX8547" fmla="*/ 1795425 w 2792478"/>
                <a:gd name="connsiteY8547" fmla="*/ 247582 h 4235290"/>
                <a:gd name="connsiteX8548" fmla="*/ 1795244 w 2792478"/>
                <a:gd name="connsiteY8548" fmla="*/ 247640 h 4235290"/>
                <a:gd name="connsiteX8549" fmla="*/ 1792010 w 2792478"/>
                <a:gd name="connsiteY8549" fmla="*/ 249509 h 4235290"/>
                <a:gd name="connsiteX8550" fmla="*/ 1787968 w 2792478"/>
                <a:gd name="connsiteY8550" fmla="*/ 250440 h 4235290"/>
                <a:gd name="connsiteX8551" fmla="*/ 1784613 w 2792478"/>
                <a:gd name="connsiteY8551" fmla="*/ 249753 h 4235290"/>
                <a:gd name="connsiteX8552" fmla="*/ 1781507 w 2792478"/>
                <a:gd name="connsiteY8552" fmla="*/ 248449 h 4235290"/>
                <a:gd name="connsiteX8553" fmla="*/ 1776535 w 2792478"/>
                <a:gd name="connsiteY8553" fmla="*/ 243042 h 4235290"/>
                <a:gd name="connsiteX8554" fmla="*/ 1775417 w 2792478"/>
                <a:gd name="connsiteY8554" fmla="*/ 239007 h 4235290"/>
                <a:gd name="connsiteX8555" fmla="*/ 1774979 w 2792478"/>
                <a:gd name="connsiteY8555" fmla="*/ 238693 h 4235290"/>
                <a:gd name="connsiteX8556" fmla="*/ 2250132 w 2792478"/>
                <a:gd name="connsiteY8556" fmla="*/ 234841 h 4235290"/>
                <a:gd name="connsiteX8557" fmla="*/ 2200792 w 2792478"/>
                <a:gd name="connsiteY8557" fmla="*/ 284125 h 4235290"/>
                <a:gd name="connsiteX8558" fmla="*/ 2200792 w 2792478"/>
                <a:gd name="connsiteY8558" fmla="*/ 312277 h 4235290"/>
                <a:gd name="connsiteX8559" fmla="*/ 2214894 w 2792478"/>
                <a:gd name="connsiteY8559" fmla="*/ 312277 h 4235290"/>
                <a:gd name="connsiteX8560" fmla="*/ 2214894 w 2792478"/>
                <a:gd name="connsiteY8560" fmla="*/ 284190 h 4235290"/>
                <a:gd name="connsiteX8561" fmla="*/ 2250132 w 2792478"/>
                <a:gd name="connsiteY8561" fmla="*/ 248952 h 4235290"/>
                <a:gd name="connsiteX8562" fmla="*/ 2285371 w 2792478"/>
                <a:gd name="connsiteY8562" fmla="*/ 284190 h 4235290"/>
                <a:gd name="connsiteX8563" fmla="*/ 2285371 w 2792478"/>
                <a:gd name="connsiteY8563" fmla="*/ 312277 h 4235290"/>
                <a:gd name="connsiteX8564" fmla="*/ 2299410 w 2792478"/>
                <a:gd name="connsiteY8564" fmla="*/ 312277 h 4235290"/>
                <a:gd name="connsiteX8565" fmla="*/ 2299410 w 2792478"/>
                <a:gd name="connsiteY8565" fmla="*/ 284125 h 4235290"/>
                <a:gd name="connsiteX8566" fmla="*/ 2250132 w 2792478"/>
                <a:gd name="connsiteY8566" fmla="*/ 234841 h 4235290"/>
                <a:gd name="connsiteX8567" fmla="*/ 1761189 w 2792478"/>
                <a:gd name="connsiteY8567" fmla="*/ 232668 h 4235290"/>
                <a:gd name="connsiteX8568" fmla="*/ 1775047 w 2792478"/>
                <a:gd name="connsiteY8568" fmla="*/ 232668 h 4235290"/>
                <a:gd name="connsiteX8569" fmla="*/ 1781258 w 2792478"/>
                <a:gd name="connsiteY8569" fmla="*/ 237389 h 4235290"/>
                <a:gd name="connsiteX8570" fmla="*/ 1782376 w 2792478"/>
                <a:gd name="connsiteY8570" fmla="*/ 241429 h 4235290"/>
                <a:gd name="connsiteX8571" fmla="*/ 1783623 w 2792478"/>
                <a:gd name="connsiteY8571" fmla="*/ 242797 h 4235290"/>
                <a:gd name="connsiteX8572" fmla="*/ 1783804 w 2792478"/>
                <a:gd name="connsiteY8572" fmla="*/ 242855 h 4235290"/>
                <a:gd name="connsiteX8573" fmla="*/ 1787159 w 2792478"/>
                <a:gd name="connsiteY8573" fmla="*/ 244287 h 4235290"/>
                <a:gd name="connsiteX8574" fmla="*/ 1787968 w 2792478"/>
                <a:gd name="connsiteY8574" fmla="*/ 244474 h 4235290"/>
                <a:gd name="connsiteX8575" fmla="*/ 1789025 w 2792478"/>
                <a:gd name="connsiteY8575" fmla="*/ 244223 h 4235290"/>
                <a:gd name="connsiteX8576" fmla="*/ 1792320 w 2792478"/>
                <a:gd name="connsiteY8576" fmla="*/ 242360 h 4235290"/>
                <a:gd name="connsiteX8577" fmla="*/ 1795425 w 2792478"/>
                <a:gd name="connsiteY8577" fmla="*/ 241551 h 4235290"/>
                <a:gd name="connsiteX8578" fmla="*/ 1800088 w 2792478"/>
                <a:gd name="connsiteY8578" fmla="*/ 243414 h 4235290"/>
                <a:gd name="connsiteX8579" fmla="*/ 1809843 w 2792478"/>
                <a:gd name="connsiteY8579" fmla="*/ 253176 h 4235290"/>
                <a:gd name="connsiteX8580" fmla="*/ 1810900 w 2792478"/>
                <a:gd name="connsiteY8580" fmla="*/ 260942 h 4235290"/>
                <a:gd name="connsiteX8581" fmla="*/ 1808913 w 2792478"/>
                <a:gd name="connsiteY8581" fmla="*/ 264423 h 4235290"/>
                <a:gd name="connsiteX8582" fmla="*/ 1808853 w 2792478"/>
                <a:gd name="connsiteY8582" fmla="*/ 266350 h 4235290"/>
                <a:gd name="connsiteX8583" fmla="*/ 1808913 w 2792478"/>
                <a:gd name="connsiteY8583" fmla="*/ 266473 h 4235290"/>
                <a:gd name="connsiteX8584" fmla="*/ 1810031 w 2792478"/>
                <a:gd name="connsiteY8584" fmla="*/ 269208 h 4235290"/>
                <a:gd name="connsiteX8585" fmla="*/ 1811399 w 2792478"/>
                <a:gd name="connsiteY8585" fmla="*/ 270512 h 4235290"/>
                <a:gd name="connsiteX8586" fmla="*/ 1815313 w 2792478"/>
                <a:gd name="connsiteY8586" fmla="*/ 271566 h 4235290"/>
                <a:gd name="connsiteX8587" fmla="*/ 1820036 w 2792478"/>
                <a:gd name="connsiteY8587" fmla="*/ 277783 h 4235290"/>
                <a:gd name="connsiteX8588" fmla="*/ 1820036 w 2792478"/>
                <a:gd name="connsiteY8588" fmla="*/ 291638 h 4235290"/>
                <a:gd name="connsiteX8589" fmla="*/ 1815313 w 2792478"/>
                <a:gd name="connsiteY8589" fmla="*/ 297856 h 4235290"/>
                <a:gd name="connsiteX8590" fmla="*/ 1811399 w 2792478"/>
                <a:gd name="connsiteY8590" fmla="*/ 298909 h 4235290"/>
                <a:gd name="connsiteX8591" fmla="*/ 1810031 w 2792478"/>
                <a:gd name="connsiteY8591" fmla="*/ 300219 h 4235290"/>
                <a:gd name="connsiteX8592" fmla="*/ 1809971 w 2792478"/>
                <a:gd name="connsiteY8592" fmla="*/ 300341 h 4235290"/>
                <a:gd name="connsiteX8593" fmla="*/ 1808664 w 2792478"/>
                <a:gd name="connsiteY8593" fmla="*/ 303449 h 4235290"/>
                <a:gd name="connsiteX8594" fmla="*/ 1808724 w 2792478"/>
                <a:gd name="connsiteY8594" fmla="*/ 305376 h 4235290"/>
                <a:gd name="connsiteX8595" fmla="*/ 1810530 w 2792478"/>
                <a:gd name="connsiteY8595" fmla="*/ 308544 h 4235290"/>
                <a:gd name="connsiteX8596" fmla="*/ 1809472 w 2792478"/>
                <a:gd name="connsiteY8596" fmla="*/ 316315 h 4235290"/>
                <a:gd name="connsiteX8597" fmla="*/ 1799717 w 2792478"/>
                <a:gd name="connsiteY8597" fmla="*/ 326072 h 4235290"/>
                <a:gd name="connsiteX8598" fmla="*/ 1795055 w 2792478"/>
                <a:gd name="connsiteY8598" fmla="*/ 327934 h 4235290"/>
                <a:gd name="connsiteX8599" fmla="*/ 1791950 w 2792478"/>
                <a:gd name="connsiteY8599" fmla="*/ 327125 h 4235290"/>
                <a:gd name="connsiteX8600" fmla="*/ 1788776 w 2792478"/>
                <a:gd name="connsiteY8600" fmla="*/ 325321 h 4235290"/>
                <a:gd name="connsiteX8601" fmla="*/ 1787718 w 2792478"/>
                <a:gd name="connsiteY8601" fmla="*/ 325076 h 4235290"/>
                <a:gd name="connsiteX8602" fmla="*/ 1786910 w 2792478"/>
                <a:gd name="connsiteY8602" fmla="*/ 325262 h 4235290"/>
                <a:gd name="connsiteX8603" fmla="*/ 1786728 w 2792478"/>
                <a:gd name="connsiteY8603" fmla="*/ 325321 h 4235290"/>
                <a:gd name="connsiteX8604" fmla="*/ 1783555 w 2792478"/>
                <a:gd name="connsiteY8604" fmla="*/ 326630 h 4235290"/>
                <a:gd name="connsiteX8605" fmla="*/ 1782316 w 2792478"/>
                <a:gd name="connsiteY8605" fmla="*/ 327992 h 4235290"/>
                <a:gd name="connsiteX8606" fmla="*/ 1781258 w 2792478"/>
                <a:gd name="connsiteY8606" fmla="*/ 331788 h 4235290"/>
                <a:gd name="connsiteX8607" fmla="*/ 1775047 w 2792478"/>
                <a:gd name="connsiteY8607" fmla="*/ 336509 h 4235290"/>
                <a:gd name="connsiteX8608" fmla="*/ 1761189 w 2792478"/>
                <a:gd name="connsiteY8608" fmla="*/ 336509 h 4235290"/>
                <a:gd name="connsiteX8609" fmla="*/ 1754970 w 2792478"/>
                <a:gd name="connsiteY8609" fmla="*/ 331788 h 4235290"/>
                <a:gd name="connsiteX8610" fmla="*/ 1753912 w 2792478"/>
                <a:gd name="connsiteY8610" fmla="*/ 327992 h 4235290"/>
                <a:gd name="connsiteX8611" fmla="*/ 1752673 w 2792478"/>
                <a:gd name="connsiteY8611" fmla="*/ 326566 h 4235290"/>
                <a:gd name="connsiteX8612" fmla="*/ 1752484 w 2792478"/>
                <a:gd name="connsiteY8612" fmla="*/ 326566 h 4235290"/>
                <a:gd name="connsiteX8613" fmla="*/ 1749069 w 2792478"/>
                <a:gd name="connsiteY8613" fmla="*/ 325076 h 4235290"/>
                <a:gd name="connsiteX8614" fmla="*/ 1748260 w 2792478"/>
                <a:gd name="connsiteY8614" fmla="*/ 324948 h 4235290"/>
                <a:gd name="connsiteX8615" fmla="*/ 1747202 w 2792478"/>
                <a:gd name="connsiteY8615" fmla="*/ 325134 h 4235290"/>
                <a:gd name="connsiteX8616" fmla="*/ 1744157 w 2792478"/>
                <a:gd name="connsiteY8616" fmla="*/ 326875 h 4235290"/>
                <a:gd name="connsiteX8617" fmla="*/ 1741051 w 2792478"/>
                <a:gd name="connsiteY8617" fmla="*/ 327684 h 4235290"/>
                <a:gd name="connsiteX8618" fmla="*/ 1736450 w 2792478"/>
                <a:gd name="connsiteY8618" fmla="*/ 325821 h 4235290"/>
                <a:gd name="connsiteX8619" fmla="*/ 1726634 w 2792478"/>
                <a:gd name="connsiteY8619" fmla="*/ 316064 h 4235290"/>
                <a:gd name="connsiteX8620" fmla="*/ 1725637 w 2792478"/>
                <a:gd name="connsiteY8620" fmla="*/ 308293 h 4235290"/>
                <a:gd name="connsiteX8621" fmla="*/ 1727375 w 2792478"/>
                <a:gd name="connsiteY8621" fmla="*/ 305126 h 4235290"/>
                <a:gd name="connsiteX8622" fmla="*/ 1727503 w 2792478"/>
                <a:gd name="connsiteY8622" fmla="*/ 303263 h 4235290"/>
                <a:gd name="connsiteX8623" fmla="*/ 1727443 w 2792478"/>
                <a:gd name="connsiteY8623" fmla="*/ 303135 h 4235290"/>
                <a:gd name="connsiteX8624" fmla="*/ 1726196 w 2792478"/>
                <a:gd name="connsiteY8624" fmla="*/ 300219 h 4235290"/>
                <a:gd name="connsiteX8625" fmla="*/ 1724828 w 2792478"/>
                <a:gd name="connsiteY8625" fmla="*/ 298909 h 4235290"/>
                <a:gd name="connsiteX8626" fmla="*/ 1720914 w 2792478"/>
                <a:gd name="connsiteY8626" fmla="*/ 297856 h 4235290"/>
                <a:gd name="connsiteX8627" fmla="*/ 1716192 w 2792478"/>
                <a:gd name="connsiteY8627" fmla="*/ 291638 h 4235290"/>
                <a:gd name="connsiteX8628" fmla="*/ 1716192 w 2792478"/>
                <a:gd name="connsiteY8628" fmla="*/ 277783 h 4235290"/>
                <a:gd name="connsiteX8629" fmla="*/ 1720914 w 2792478"/>
                <a:gd name="connsiteY8629" fmla="*/ 271566 h 4235290"/>
                <a:gd name="connsiteX8630" fmla="*/ 1724519 w 2792478"/>
                <a:gd name="connsiteY8630" fmla="*/ 270576 h 4235290"/>
                <a:gd name="connsiteX8631" fmla="*/ 1727314 w 2792478"/>
                <a:gd name="connsiteY8631" fmla="*/ 266537 h 4235290"/>
                <a:gd name="connsiteX8632" fmla="*/ 1727193 w 2792478"/>
                <a:gd name="connsiteY8632" fmla="*/ 264609 h 4235290"/>
                <a:gd name="connsiteX8633" fmla="*/ 1725267 w 2792478"/>
                <a:gd name="connsiteY8633" fmla="*/ 261192 h 4235290"/>
                <a:gd name="connsiteX8634" fmla="*/ 1726325 w 2792478"/>
                <a:gd name="connsiteY8634" fmla="*/ 253485 h 4235290"/>
                <a:gd name="connsiteX8635" fmla="*/ 1736080 w 2792478"/>
                <a:gd name="connsiteY8635" fmla="*/ 243664 h 4235290"/>
                <a:gd name="connsiteX8636" fmla="*/ 1740742 w 2792478"/>
                <a:gd name="connsiteY8636" fmla="*/ 241866 h 4235290"/>
                <a:gd name="connsiteX8637" fmla="*/ 1743847 w 2792478"/>
                <a:gd name="connsiteY8637" fmla="*/ 242610 h 4235290"/>
                <a:gd name="connsiteX8638" fmla="*/ 1746953 w 2792478"/>
                <a:gd name="connsiteY8638" fmla="*/ 244410 h 4235290"/>
                <a:gd name="connsiteX8639" fmla="*/ 1747950 w 2792478"/>
                <a:gd name="connsiteY8639" fmla="*/ 244596 h 4235290"/>
                <a:gd name="connsiteX8640" fmla="*/ 1748759 w 2792478"/>
                <a:gd name="connsiteY8640" fmla="*/ 244474 h 4235290"/>
                <a:gd name="connsiteX8641" fmla="*/ 1748880 w 2792478"/>
                <a:gd name="connsiteY8641" fmla="*/ 244351 h 4235290"/>
                <a:gd name="connsiteX8642" fmla="*/ 1752544 w 2792478"/>
                <a:gd name="connsiteY8642" fmla="*/ 242855 h 4235290"/>
                <a:gd name="connsiteX8643" fmla="*/ 1753852 w 2792478"/>
                <a:gd name="connsiteY8643" fmla="*/ 241429 h 4235290"/>
                <a:gd name="connsiteX8644" fmla="*/ 1754970 w 2792478"/>
                <a:gd name="connsiteY8644" fmla="*/ 237389 h 4235290"/>
                <a:gd name="connsiteX8645" fmla="*/ 1761189 w 2792478"/>
                <a:gd name="connsiteY8645" fmla="*/ 232668 h 4235290"/>
                <a:gd name="connsiteX8646" fmla="*/ 564358 w 2792478"/>
                <a:gd name="connsiteY8646" fmla="*/ 229683 h 4235290"/>
                <a:gd name="connsiteX8647" fmla="*/ 560940 w 2792478"/>
                <a:gd name="connsiteY8647" fmla="*/ 230431 h 4235290"/>
                <a:gd name="connsiteX8648" fmla="*/ 556589 w 2792478"/>
                <a:gd name="connsiteY8648" fmla="*/ 241680 h 4235290"/>
                <a:gd name="connsiteX8649" fmla="*/ 564358 w 2792478"/>
                <a:gd name="connsiteY8649" fmla="*/ 246776 h 4235290"/>
                <a:gd name="connsiteX8650" fmla="*/ 567838 w 2792478"/>
                <a:gd name="connsiteY8650" fmla="*/ 246027 h 4235290"/>
                <a:gd name="connsiteX8651" fmla="*/ 572189 w 2792478"/>
                <a:gd name="connsiteY8651" fmla="*/ 234779 h 4235290"/>
                <a:gd name="connsiteX8652" fmla="*/ 564358 w 2792478"/>
                <a:gd name="connsiteY8652" fmla="*/ 229683 h 4235290"/>
                <a:gd name="connsiteX8653" fmla="*/ 1845825 w 2792478"/>
                <a:gd name="connsiteY8653" fmla="*/ 227196 h 4235290"/>
                <a:gd name="connsiteX8654" fmla="*/ 1828053 w 2792478"/>
                <a:gd name="connsiteY8654" fmla="*/ 244351 h 4235290"/>
                <a:gd name="connsiteX8655" fmla="*/ 1845145 w 2792478"/>
                <a:gd name="connsiteY8655" fmla="*/ 262182 h 4235290"/>
                <a:gd name="connsiteX8656" fmla="*/ 1862977 w 2792478"/>
                <a:gd name="connsiteY8656" fmla="*/ 245032 h 4235290"/>
                <a:gd name="connsiteX8657" fmla="*/ 1845825 w 2792478"/>
                <a:gd name="connsiteY8657" fmla="*/ 227196 h 4235290"/>
                <a:gd name="connsiteX8658" fmla="*/ 760107 w 2792478"/>
                <a:gd name="connsiteY8658" fmla="*/ 226767 h 4235290"/>
                <a:gd name="connsiteX8659" fmla="*/ 762598 w 2792478"/>
                <a:gd name="connsiteY8659" fmla="*/ 228195 h 4235290"/>
                <a:gd name="connsiteX8660" fmla="*/ 761170 w 2792478"/>
                <a:gd name="connsiteY8660" fmla="*/ 230681 h 4235290"/>
                <a:gd name="connsiteX8661" fmla="*/ 752215 w 2792478"/>
                <a:gd name="connsiteY8661" fmla="*/ 233046 h 4235290"/>
                <a:gd name="connsiteX8662" fmla="*/ 751724 w 2792478"/>
                <a:gd name="connsiteY8662" fmla="*/ 233106 h 4235290"/>
                <a:gd name="connsiteX8663" fmla="*/ 749795 w 2792478"/>
                <a:gd name="connsiteY8663" fmla="*/ 231619 h 4235290"/>
                <a:gd name="connsiteX8664" fmla="*/ 751224 w 2792478"/>
                <a:gd name="connsiteY8664" fmla="*/ 229125 h 4235290"/>
                <a:gd name="connsiteX8665" fmla="*/ 648807 w 2792478"/>
                <a:gd name="connsiteY8665" fmla="*/ 226767 h 4235290"/>
                <a:gd name="connsiteX8666" fmla="*/ 657762 w 2792478"/>
                <a:gd name="connsiteY8666" fmla="*/ 229125 h 4235290"/>
                <a:gd name="connsiteX8667" fmla="*/ 659191 w 2792478"/>
                <a:gd name="connsiteY8667" fmla="*/ 231619 h 4235290"/>
                <a:gd name="connsiteX8668" fmla="*/ 657200 w 2792478"/>
                <a:gd name="connsiteY8668" fmla="*/ 233106 h 4235290"/>
                <a:gd name="connsiteX8669" fmla="*/ 656700 w 2792478"/>
                <a:gd name="connsiteY8669" fmla="*/ 233046 h 4235290"/>
                <a:gd name="connsiteX8670" fmla="*/ 647816 w 2792478"/>
                <a:gd name="connsiteY8670" fmla="*/ 230681 h 4235290"/>
                <a:gd name="connsiteX8671" fmla="*/ 646388 w 2792478"/>
                <a:gd name="connsiteY8671" fmla="*/ 228195 h 4235290"/>
                <a:gd name="connsiteX8672" fmla="*/ 648807 w 2792478"/>
                <a:gd name="connsiteY8672" fmla="*/ 226767 h 4235290"/>
                <a:gd name="connsiteX8673" fmla="*/ 564358 w 2792478"/>
                <a:gd name="connsiteY8673" fmla="*/ 226703 h 4235290"/>
                <a:gd name="connsiteX8674" fmla="*/ 574923 w 2792478"/>
                <a:gd name="connsiteY8674" fmla="*/ 233538 h 4235290"/>
                <a:gd name="connsiteX8675" fmla="*/ 569080 w 2792478"/>
                <a:gd name="connsiteY8675" fmla="*/ 248765 h 4235290"/>
                <a:gd name="connsiteX8676" fmla="*/ 564358 w 2792478"/>
                <a:gd name="connsiteY8676" fmla="*/ 249760 h 4235290"/>
                <a:gd name="connsiteX8677" fmla="*/ 553855 w 2792478"/>
                <a:gd name="connsiteY8677" fmla="*/ 242920 h 4235290"/>
                <a:gd name="connsiteX8678" fmla="*/ 559698 w 2792478"/>
                <a:gd name="connsiteY8678" fmla="*/ 227697 h 4235290"/>
                <a:gd name="connsiteX8679" fmla="*/ 564358 w 2792478"/>
                <a:gd name="connsiteY8679" fmla="*/ 226703 h 4235290"/>
                <a:gd name="connsiteX8680" fmla="*/ 1632674 w 2792478"/>
                <a:gd name="connsiteY8680" fmla="*/ 224710 h 4235290"/>
                <a:gd name="connsiteX8681" fmla="*/ 1644231 w 2792478"/>
                <a:gd name="connsiteY8681" fmla="*/ 224710 h 4235290"/>
                <a:gd name="connsiteX8682" fmla="*/ 1644231 w 2792478"/>
                <a:gd name="connsiteY8682" fmla="*/ 241488 h 4235290"/>
                <a:gd name="connsiteX8683" fmla="*/ 1632674 w 2792478"/>
                <a:gd name="connsiteY8683" fmla="*/ 241488 h 4235290"/>
                <a:gd name="connsiteX8684" fmla="*/ 1632674 w 2792478"/>
                <a:gd name="connsiteY8684" fmla="*/ 224710 h 4235290"/>
                <a:gd name="connsiteX8685" fmla="*/ 1388944 w 2792478"/>
                <a:gd name="connsiteY8685" fmla="*/ 223725 h 4235290"/>
                <a:gd name="connsiteX8686" fmla="*/ 1388944 w 2792478"/>
                <a:gd name="connsiteY8686" fmla="*/ 234976 h 4235290"/>
                <a:gd name="connsiteX8687" fmla="*/ 1417027 w 2792478"/>
                <a:gd name="connsiteY8687" fmla="*/ 234976 h 4235290"/>
                <a:gd name="connsiteX8688" fmla="*/ 1417027 w 2792478"/>
                <a:gd name="connsiteY8688" fmla="*/ 223725 h 4235290"/>
                <a:gd name="connsiteX8689" fmla="*/ 1388944 w 2792478"/>
                <a:gd name="connsiteY8689" fmla="*/ 223725 h 4235290"/>
                <a:gd name="connsiteX8690" fmla="*/ 861580 w 2792478"/>
                <a:gd name="connsiteY8690" fmla="*/ 222111 h 4235290"/>
                <a:gd name="connsiteX8691" fmla="*/ 855771 w 2792478"/>
                <a:gd name="connsiteY8691" fmla="*/ 227904 h 4235290"/>
                <a:gd name="connsiteX8692" fmla="*/ 861580 w 2792478"/>
                <a:gd name="connsiteY8692" fmla="*/ 233710 h 4235290"/>
                <a:gd name="connsiteX8693" fmla="*/ 919606 w 2792478"/>
                <a:gd name="connsiteY8693" fmla="*/ 233710 h 4235290"/>
                <a:gd name="connsiteX8694" fmla="*/ 925408 w 2792478"/>
                <a:gd name="connsiteY8694" fmla="*/ 227904 h 4235290"/>
                <a:gd name="connsiteX8695" fmla="*/ 919606 w 2792478"/>
                <a:gd name="connsiteY8695" fmla="*/ 222111 h 4235290"/>
                <a:gd name="connsiteX8696" fmla="*/ 2250132 w 2792478"/>
                <a:gd name="connsiteY8696" fmla="*/ 220735 h 4235290"/>
                <a:gd name="connsiteX8697" fmla="*/ 2313519 w 2792478"/>
                <a:gd name="connsiteY8697" fmla="*/ 284125 h 4235290"/>
                <a:gd name="connsiteX8698" fmla="*/ 2313519 w 2792478"/>
                <a:gd name="connsiteY8698" fmla="*/ 312277 h 4235290"/>
                <a:gd name="connsiteX8699" fmla="*/ 2334648 w 2792478"/>
                <a:gd name="connsiteY8699" fmla="*/ 333468 h 4235290"/>
                <a:gd name="connsiteX8700" fmla="*/ 2334648 w 2792478"/>
                <a:gd name="connsiteY8700" fmla="*/ 382742 h 4235290"/>
                <a:gd name="connsiteX8701" fmla="*/ 2271261 w 2792478"/>
                <a:gd name="connsiteY8701" fmla="*/ 446196 h 4235290"/>
                <a:gd name="connsiteX8702" fmla="*/ 2229003 w 2792478"/>
                <a:gd name="connsiteY8702" fmla="*/ 446196 h 4235290"/>
                <a:gd name="connsiteX8703" fmla="*/ 2165616 w 2792478"/>
                <a:gd name="connsiteY8703" fmla="*/ 382742 h 4235290"/>
                <a:gd name="connsiteX8704" fmla="*/ 2165616 w 2792478"/>
                <a:gd name="connsiteY8704" fmla="*/ 333468 h 4235290"/>
                <a:gd name="connsiteX8705" fmla="*/ 2186683 w 2792478"/>
                <a:gd name="connsiteY8705" fmla="*/ 312277 h 4235290"/>
                <a:gd name="connsiteX8706" fmla="*/ 2186683 w 2792478"/>
                <a:gd name="connsiteY8706" fmla="*/ 284125 h 4235290"/>
                <a:gd name="connsiteX8707" fmla="*/ 2250132 w 2792478"/>
                <a:gd name="connsiteY8707" fmla="*/ 220735 h 4235290"/>
                <a:gd name="connsiteX8708" fmla="*/ 567591 w 2792478"/>
                <a:gd name="connsiteY8708" fmla="*/ 213838 h 4235290"/>
                <a:gd name="connsiteX8709" fmla="*/ 563178 w 2792478"/>
                <a:gd name="connsiteY8709" fmla="*/ 213902 h 4235290"/>
                <a:gd name="connsiteX8710" fmla="*/ 562681 w 2792478"/>
                <a:gd name="connsiteY8710" fmla="*/ 216821 h 4235290"/>
                <a:gd name="connsiteX8711" fmla="*/ 555596 w 2792478"/>
                <a:gd name="connsiteY8711" fmla="*/ 221667 h 4235290"/>
                <a:gd name="connsiteX8712" fmla="*/ 552862 w 2792478"/>
                <a:gd name="connsiteY8712" fmla="*/ 221171 h 4235290"/>
                <a:gd name="connsiteX8713" fmla="*/ 550315 w 2792478"/>
                <a:gd name="connsiteY8713" fmla="*/ 219491 h 4235290"/>
                <a:gd name="connsiteX8714" fmla="*/ 547206 w 2792478"/>
                <a:gd name="connsiteY8714" fmla="*/ 222661 h 4235290"/>
                <a:gd name="connsiteX8715" fmla="*/ 548948 w 2792478"/>
                <a:gd name="connsiteY8715" fmla="*/ 225088 h 4235290"/>
                <a:gd name="connsiteX8716" fmla="*/ 549070 w 2792478"/>
                <a:gd name="connsiteY8716" fmla="*/ 230864 h 4235290"/>
                <a:gd name="connsiteX8717" fmla="*/ 545093 w 2792478"/>
                <a:gd name="connsiteY8717" fmla="*/ 235092 h 4235290"/>
                <a:gd name="connsiteX8718" fmla="*/ 541987 w 2792478"/>
                <a:gd name="connsiteY8718" fmla="*/ 235712 h 4235290"/>
                <a:gd name="connsiteX8719" fmla="*/ 542050 w 2792478"/>
                <a:gd name="connsiteY8719" fmla="*/ 240124 h 4235290"/>
                <a:gd name="connsiteX8720" fmla="*/ 545031 w 2792478"/>
                <a:gd name="connsiteY8720" fmla="*/ 240622 h 4235290"/>
                <a:gd name="connsiteX8721" fmla="*/ 549257 w 2792478"/>
                <a:gd name="connsiteY8721" fmla="*/ 244664 h 4235290"/>
                <a:gd name="connsiteX8722" fmla="*/ 549382 w 2792478"/>
                <a:gd name="connsiteY8722" fmla="*/ 250441 h 4235290"/>
                <a:gd name="connsiteX8723" fmla="*/ 547640 w 2792478"/>
                <a:gd name="connsiteY8723" fmla="*/ 253112 h 4235290"/>
                <a:gd name="connsiteX8724" fmla="*/ 550811 w 2792478"/>
                <a:gd name="connsiteY8724" fmla="*/ 256160 h 4235290"/>
                <a:gd name="connsiteX8725" fmla="*/ 553296 w 2792478"/>
                <a:gd name="connsiteY8725" fmla="*/ 254418 h 4235290"/>
                <a:gd name="connsiteX8726" fmla="*/ 556342 w 2792478"/>
                <a:gd name="connsiteY8726" fmla="*/ 253738 h 4235290"/>
                <a:gd name="connsiteX8727" fmla="*/ 563302 w 2792478"/>
                <a:gd name="connsiteY8727" fmla="*/ 258208 h 4235290"/>
                <a:gd name="connsiteX8728" fmla="*/ 563924 w 2792478"/>
                <a:gd name="connsiteY8728" fmla="*/ 261378 h 4235290"/>
                <a:gd name="connsiteX8729" fmla="*/ 568334 w 2792478"/>
                <a:gd name="connsiteY8729" fmla="*/ 261315 h 4235290"/>
                <a:gd name="connsiteX8730" fmla="*/ 568833 w 2792478"/>
                <a:gd name="connsiteY8730" fmla="*/ 258272 h 4235290"/>
                <a:gd name="connsiteX8731" fmla="*/ 575916 w 2792478"/>
                <a:gd name="connsiteY8731" fmla="*/ 253423 h 4235290"/>
                <a:gd name="connsiteX8732" fmla="*/ 578650 w 2792478"/>
                <a:gd name="connsiteY8732" fmla="*/ 253919 h 4235290"/>
                <a:gd name="connsiteX8733" fmla="*/ 581324 w 2792478"/>
                <a:gd name="connsiteY8733" fmla="*/ 255663 h 4235290"/>
                <a:gd name="connsiteX8734" fmla="*/ 584368 w 2792478"/>
                <a:gd name="connsiteY8734" fmla="*/ 252491 h 4235290"/>
                <a:gd name="connsiteX8735" fmla="*/ 582567 w 2792478"/>
                <a:gd name="connsiteY8735" fmla="*/ 250070 h 4235290"/>
                <a:gd name="connsiteX8736" fmla="*/ 586419 w 2792478"/>
                <a:gd name="connsiteY8736" fmla="*/ 240001 h 4235290"/>
                <a:gd name="connsiteX8737" fmla="*/ 589527 w 2792478"/>
                <a:gd name="connsiteY8737" fmla="*/ 239381 h 4235290"/>
                <a:gd name="connsiteX8738" fmla="*/ 589402 w 2792478"/>
                <a:gd name="connsiteY8738" fmla="*/ 234966 h 4235290"/>
                <a:gd name="connsiteX8739" fmla="*/ 586481 w 2792478"/>
                <a:gd name="connsiteY8739" fmla="*/ 234472 h 4235290"/>
                <a:gd name="connsiteX8740" fmla="*/ 582130 w 2792478"/>
                <a:gd name="connsiteY8740" fmla="*/ 224649 h 4235290"/>
                <a:gd name="connsiteX8741" fmla="*/ 583809 w 2792478"/>
                <a:gd name="connsiteY8741" fmla="*/ 222104 h 4235290"/>
                <a:gd name="connsiteX8742" fmla="*/ 580641 w 2792478"/>
                <a:gd name="connsiteY8742" fmla="*/ 219058 h 4235290"/>
                <a:gd name="connsiteX8743" fmla="*/ 578278 w 2792478"/>
                <a:gd name="connsiteY8743" fmla="*/ 220735 h 4235290"/>
                <a:gd name="connsiteX8744" fmla="*/ 575172 w 2792478"/>
                <a:gd name="connsiteY8744" fmla="*/ 221358 h 4235290"/>
                <a:gd name="connsiteX8745" fmla="*/ 568212 w 2792478"/>
                <a:gd name="connsiteY8745" fmla="*/ 216882 h 4235290"/>
                <a:gd name="connsiteX8746" fmla="*/ 567591 w 2792478"/>
                <a:gd name="connsiteY8746" fmla="*/ 213838 h 4235290"/>
                <a:gd name="connsiteX8747" fmla="*/ 569392 w 2792478"/>
                <a:gd name="connsiteY8747" fmla="*/ 211041 h 4235290"/>
                <a:gd name="connsiteX8748" fmla="*/ 570447 w 2792478"/>
                <a:gd name="connsiteY8748" fmla="*/ 211662 h 4235290"/>
                <a:gd name="connsiteX8749" fmla="*/ 570697 w 2792478"/>
                <a:gd name="connsiteY8749" fmla="*/ 212843 h 4235290"/>
                <a:gd name="connsiteX8750" fmla="*/ 571009 w 2792478"/>
                <a:gd name="connsiteY8750" fmla="*/ 215640 h 4235290"/>
                <a:gd name="connsiteX8751" fmla="*/ 575172 w 2792478"/>
                <a:gd name="connsiteY8751" fmla="*/ 218378 h 4235290"/>
                <a:gd name="connsiteX8752" fmla="*/ 577036 w 2792478"/>
                <a:gd name="connsiteY8752" fmla="*/ 217939 h 4235290"/>
                <a:gd name="connsiteX8753" fmla="*/ 579087 w 2792478"/>
                <a:gd name="connsiteY8753" fmla="*/ 216137 h 4235290"/>
                <a:gd name="connsiteX8754" fmla="*/ 580080 w 2792478"/>
                <a:gd name="connsiteY8754" fmla="*/ 215452 h 4235290"/>
                <a:gd name="connsiteX8755" fmla="*/ 581262 w 2792478"/>
                <a:gd name="connsiteY8755" fmla="*/ 215704 h 4235290"/>
                <a:gd name="connsiteX8756" fmla="*/ 587102 w 2792478"/>
                <a:gd name="connsiteY8756" fmla="*/ 221358 h 4235290"/>
                <a:gd name="connsiteX8757" fmla="*/ 587414 w 2792478"/>
                <a:gd name="connsiteY8757" fmla="*/ 222537 h 4235290"/>
                <a:gd name="connsiteX8758" fmla="*/ 586731 w 2792478"/>
                <a:gd name="connsiteY8758" fmla="*/ 223532 h 4235290"/>
                <a:gd name="connsiteX8759" fmla="*/ 584927 w 2792478"/>
                <a:gd name="connsiteY8759" fmla="*/ 225768 h 4235290"/>
                <a:gd name="connsiteX8760" fmla="*/ 587601 w 2792478"/>
                <a:gd name="connsiteY8760" fmla="*/ 231672 h 4235290"/>
                <a:gd name="connsiteX8761" fmla="*/ 590335 w 2792478"/>
                <a:gd name="connsiteY8761" fmla="*/ 231799 h 4235290"/>
                <a:gd name="connsiteX8762" fmla="*/ 591515 w 2792478"/>
                <a:gd name="connsiteY8762" fmla="*/ 232045 h 4235290"/>
                <a:gd name="connsiteX8763" fmla="*/ 592199 w 2792478"/>
                <a:gd name="connsiteY8763" fmla="*/ 233040 h 4235290"/>
                <a:gd name="connsiteX8764" fmla="*/ 592324 w 2792478"/>
                <a:gd name="connsiteY8764" fmla="*/ 241243 h 4235290"/>
                <a:gd name="connsiteX8765" fmla="*/ 591703 w 2792478"/>
                <a:gd name="connsiteY8765" fmla="*/ 242237 h 4235290"/>
                <a:gd name="connsiteX8766" fmla="*/ 590520 w 2792478"/>
                <a:gd name="connsiteY8766" fmla="*/ 242487 h 4235290"/>
                <a:gd name="connsiteX8767" fmla="*/ 587661 w 2792478"/>
                <a:gd name="connsiteY8767" fmla="*/ 242797 h 4235290"/>
                <a:gd name="connsiteX8768" fmla="*/ 585363 w 2792478"/>
                <a:gd name="connsiteY8768" fmla="*/ 248823 h 4235290"/>
                <a:gd name="connsiteX8769" fmla="*/ 587227 w 2792478"/>
                <a:gd name="connsiteY8769" fmla="*/ 250877 h 4235290"/>
                <a:gd name="connsiteX8770" fmla="*/ 587911 w 2792478"/>
                <a:gd name="connsiteY8770" fmla="*/ 251871 h 4235290"/>
                <a:gd name="connsiteX8771" fmla="*/ 587723 w 2792478"/>
                <a:gd name="connsiteY8771" fmla="*/ 253050 h 4235290"/>
                <a:gd name="connsiteX8772" fmla="*/ 582008 w 2792478"/>
                <a:gd name="connsiteY8772" fmla="*/ 259015 h 4235290"/>
                <a:gd name="connsiteX8773" fmla="*/ 580826 w 2792478"/>
                <a:gd name="connsiteY8773" fmla="*/ 259266 h 4235290"/>
                <a:gd name="connsiteX8774" fmla="*/ 579770 w 2792478"/>
                <a:gd name="connsiteY8774" fmla="*/ 258582 h 4235290"/>
                <a:gd name="connsiteX8775" fmla="*/ 577595 w 2792478"/>
                <a:gd name="connsiteY8775" fmla="*/ 256718 h 4235290"/>
                <a:gd name="connsiteX8776" fmla="*/ 575916 w 2792478"/>
                <a:gd name="connsiteY8776" fmla="*/ 256406 h 4235290"/>
                <a:gd name="connsiteX8777" fmla="*/ 571630 w 2792478"/>
                <a:gd name="connsiteY8777" fmla="*/ 259389 h 4235290"/>
                <a:gd name="connsiteX8778" fmla="*/ 571505 w 2792478"/>
                <a:gd name="connsiteY8778" fmla="*/ 262186 h 4235290"/>
                <a:gd name="connsiteX8779" fmla="*/ 571318 w 2792478"/>
                <a:gd name="connsiteY8779" fmla="*/ 263368 h 4235290"/>
                <a:gd name="connsiteX8780" fmla="*/ 570325 w 2792478"/>
                <a:gd name="connsiteY8780" fmla="*/ 264052 h 4235290"/>
                <a:gd name="connsiteX8781" fmla="*/ 565787 w 2792478"/>
                <a:gd name="connsiteY8781" fmla="*/ 264485 h 4235290"/>
                <a:gd name="connsiteX8782" fmla="*/ 562060 w 2792478"/>
                <a:gd name="connsiteY8782" fmla="*/ 264175 h 4235290"/>
                <a:gd name="connsiteX8783" fmla="*/ 561065 w 2792478"/>
                <a:gd name="connsiteY8783" fmla="*/ 263555 h 4235290"/>
                <a:gd name="connsiteX8784" fmla="*/ 560815 w 2792478"/>
                <a:gd name="connsiteY8784" fmla="*/ 262373 h 4235290"/>
                <a:gd name="connsiteX8785" fmla="*/ 560568 w 2792478"/>
                <a:gd name="connsiteY8785" fmla="*/ 259454 h 4235290"/>
                <a:gd name="connsiteX8786" fmla="*/ 556342 w 2792478"/>
                <a:gd name="connsiteY8786" fmla="*/ 256718 h 4235290"/>
                <a:gd name="connsiteX8787" fmla="*/ 554478 w 2792478"/>
                <a:gd name="connsiteY8787" fmla="*/ 257154 h 4235290"/>
                <a:gd name="connsiteX8788" fmla="*/ 552365 w 2792478"/>
                <a:gd name="connsiteY8788" fmla="*/ 259015 h 4235290"/>
                <a:gd name="connsiteX8789" fmla="*/ 551432 w 2792478"/>
                <a:gd name="connsiteY8789" fmla="*/ 259764 h 4235290"/>
                <a:gd name="connsiteX8790" fmla="*/ 550252 w 2792478"/>
                <a:gd name="connsiteY8790" fmla="*/ 259514 h 4235290"/>
                <a:gd name="connsiteX8791" fmla="*/ 544285 w 2792478"/>
                <a:gd name="connsiteY8791" fmla="*/ 253797 h 4235290"/>
                <a:gd name="connsiteX8792" fmla="*/ 544038 w 2792478"/>
                <a:gd name="connsiteY8792" fmla="*/ 252616 h 4235290"/>
                <a:gd name="connsiteX8793" fmla="*/ 544722 w 2792478"/>
                <a:gd name="connsiteY8793" fmla="*/ 251561 h 4235290"/>
                <a:gd name="connsiteX8794" fmla="*/ 546585 w 2792478"/>
                <a:gd name="connsiteY8794" fmla="*/ 249385 h 4235290"/>
                <a:gd name="connsiteX8795" fmla="*/ 546460 w 2792478"/>
                <a:gd name="connsiteY8795" fmla="*/ 245841 h 4235290"/>
                <a:gd name="connsiteX8796" fmla="*/ 543976 w 2792478"/>
                <a:gd name="connsiteY8796" fmla="*/ 243418 h 4235290"/>
                <a:gd name="connsiteX8797" fmla="*/ 541179 w 2792478"/>
                <a:gd name="connsiteY8797" fmla="*/ 243295 h 4235290"/>
                <a:gd name="connsiteX8798" fmla="*/ 539937 w 2792478"/>
                <a:gd name="connsiteY8798" fmla="*/ 243107 h 4235290"/>
                <a:gd name="connsiteX8799" fmla="*/ 539315 w 2792478"/>
                <a:gd name="connsiteY8799" fmla="*/ 242113 h 4235290"/>
                <a:gd name="connsiteX8800" fmla="*/ 539191 w 2792478"/>
                <a:gd name="connsiteY8800" fmla="*/ 233847 h 4235290"/>
                <a:gd name="connsiteX8801" fmla="*/ 539812 w 2792478"/>
                <a:gd name="connsiteY8801" fmla="*/ 232853 h 4235290"/>
                <a:gd name="connsiteX8802" fmla="*/ 540992 w 2792478"/>
                <a:gd name="connsiteY8802" fmla="*/ 232606 h 4235290"/>
                <a:gd name="connsiteX8803" fmla="*/ 543851 w 2792478"/>
                <a:gd name="connsiteY8803" fmla="*/ 232357 h 4235290"/>
                <a:gd name="connsiteX8804" fmla="*/ 546273 w 2792478"/>
                <a:gd name="connsiteY8804" fmla="*/ 229809 h 4235290"/>
                <a:gd name="connsiteX8805" fmla="*/ 546151 w 2792478"/>
                <a:gd name="connsiteY8805" fmla="*/ 226267 h 4235290"/>
                <a:gd name="connsiteX8806" fmla="*/ 544347 w 2792478"/>
                <a:gd name="connsiteY8806" fmla="*/ 224216 h 4235290"/>
                <a:gd name="connsiteX8807" fmla="*/ 543664 w 2792478"/>
                <a:gd name="connsiteY8807" fmla="*/ 223222 h 4235290"/>
                <a:gd name="connsiteX8808" fmla="*/ 543913 w 2792478"/>
                <a:gd name="connsiteY8808" fmla="*/ 222040 h 4235290"/>
                <a:gd name="connsiteX8809" fmla="*/ 549569 w 2792478"/>
                <a:gd name="connsiteY8809" fmla="*/ 216201 h 4235290"/>
                <a:gd name="connsiteX8810" fmla="*/ 550749 w 2792478"/>
                <a:gd name="connsiteY8810" fmla="*/ 215950 h 4235290"/>
                <a:gd name="connsiteX8811" fmla="*/ 551742 w 2792478"/>
                <a:gd name="connsiteY8811" fmla="*/ 216571 h 4235290"/>
                <a:gd name="connsiteX8812" fmla="*/ 553980 w 2792478"/>
                <a:gd name="connsiteY8812" fmla="*/ 218378 h 4235290"/>
                <a:gd name="connsiteX8813" fmla="*/ 555596 w 2792478"/>
                <a:gd name="connsiteY8813" fmla="*/ 218684 h 4235290"/>
                <a:gd name="connsiteX8814" fmla="*/ 559885 w 2792478"/>
                <a:gd name="connsiteY8814" fmla="*/ 215763 h 4235290"/>
                <a:gd name="connsiteX8815" fmla="*/ 560069 w 2792478"/>
                <a:gd name="connsiteY8815" fmla="*/ 213030 h 4235290"/>
                <a:gd name="connsiteX8816" fmla="*/ 560256 w 2792478"/>
                <a:gd name="connsiteY8816" fmla="*/ 211848 h 4235290"/>
                <a:gd name="connsiteX8817" fmla="*/ 561252 w 2792478"/>
                <a:gd name="connsiteY8817" fmla="*/ 211166 h 4235290"/>
                <a:gd name="connsiteX8818" fmla="*/ 569392 w 2792478"/>
                <a:gd name="connsiteY8818" fmla="*/ 211041 h 4235290"/>
                <a:gd name="connsiteX8819" fmla="*/ 756259 w 2792478"/>
                <a:gd name="connsiteY8819" fmla="*/ 210854 h 4235290"/>
                <a:gd name="connsiteX8820" fmla="*/ 757500 w 2792478"/>
                <a:gd name="connsiteY8820" fmla="*/ 211790 h 4235290"/>
                <a:gd name="connsiteX8821" fmla="*/ 756750 w 2792478"/>
                <a:gd name="connsiteY8821" fmla="*/ 214524 h 4235290"/>
                <a:gd name="connsiteX8822" fmla="*/ 748733 w 2792478"/>
                <a:gd name="connsiteY8822" fmla="*/ 219185 h 4235290"/>
                <a:gd name="connsiteX8823" fmla="*/ 747742 w 2792478"/>
                <a:gd name="connsiteY8823" fmla="*/ 219437 h 4235290"/>
                <a:gd name="connsiteX8824" fmla="*/ 746001 w 2792478"/>
                <a:gd name="connsiteY8824" fmla="*/ 218436 h 4235290"/>
                <a:gd name="connsiteX8825" fmla="*/ 746751 w 2792478"/>
                <a:gd name="connsiteY8825" fmla="*/ 215704 h 4235290"/>
                <a:gd name="connsiteX8826" fmla="*/ 754706 w 2792478"/>
                <a:gd name="connsiteY8826" fmla="*/ 211041 h 4235290"/>
                <a:gd name="connsiteX8827" fmla="*/ 756259 w 2792478"/>
                <a:gd name="connsiteY8827" fmla="*/ 210854 h 4235290"/>
                <a:gd name="connsiteX8828" fmla="*/ 653780 w 2792478"/>
                <a:gd name="connsiteY8828" fmla="*/ 210854 h 4235290"/>
                <a:gd name="connsiteX8829" fmla="*/ 655271 w 2792478"/>
                <a:gd name="connsiteY8829" fmla="*/ 211041 h 4235290"/>
                <a:gd name="connsiteX8830" fmla="*/ 663289 w 2792478"/>
                <a:gd name="connsiteY8830" fmla="*/ 215640 h 4235290"/>
                <a:gd name="connsiteX8831" fmla="*/ 664039 w 2792478"/>
                <a:gd name="connsiteY8831" fmla="*/ 218436 h 4235290"/>
                <a:gd name="connsiteX8832" fmla="*/ 662235 w 2792478"/>
                <a:gd name="connsiteY8832" fmla="*/ 219437 h 4235290"/>
                <a:gd name="connsiteX8833" fmla="*/ 661235 w 2792478"/>
                <a:gd name="connsiteY8833" fmla="*/ 219185 h 4235290"/>
                <a:gd name="connsiteX8834" fmla="*/ 653280 w 2792478"/>
                <a:gd name="connsiteY8834" fmla="*/ 214524 h 4235290"/>
                <a:gd name="connsiteX8835" fmla="*/ 652539 w 2792478"/>
                <a:gd name="connsiteY8835" fmla="*/ 211790 h 4235290"/>
                <a:gd name="connsiteX8836" fmla="*/ 653780 w 2792478"/>
                <a:gd name="connsiteY8836" fmla="*/ 210854 h 4235290"/>
                <a:gd name="connsiteX8837" fmla="*/ 1841412 w 2792478"/>
                <a:gd name="connsiteY8837" fmla="*/ 210791 h 4235290"/>
                <a:gd name="connsiteX8838" fmla="*/ 1850986 w 2792478"/>
                <a:gd name="connsiteY8838" fmla="*/ 210977 h 4235290"/>
                <a:gd name="connsiteX8839" fmla="*/ 1853222 w 2792478"/>
                <a:gd name="connsiteY8839" fmla="*/ 212782 h 4235290"/>
                <a:gd name="connsiteX8840" fmla="*/ 1853902 w 2792478"/>
                <a:gd name="connsiteY8840" fmla="*/ 215576 h 4235290"/>
                <a:gd name="connsiteX8841" fmla="*/ 1856079 w 2792478"/>
                <a:gd name="connsiteY8841" fmla="*/ 217998 h 4235290"/>
                <a:gd name="connsiteX8842" fmla="*/ 1858315 w 2792478"/>
                <a:gd name="connsiteY8842" fmla="*/ 218929 h 4235290"/>
                <a:gd name="connsiteX8843" fmla="*/ 1861489 w 2792478"/>
                <a:gd name="connsiteY8843" fmla="*/ 218929 h 4235290"/>
                <a:gd name="connsiteX8844" fmla="*/ 1863786 w 2792478"/>
                <a:gd name="connsiteY8844" fmla="*/ 217689 h 4235290"/>
                <a:gd name="connsiteX8845" fmla="*/ 1866642 w 2792478"/>
                <a:gd name="connsiteY8845" fmla="*/ 218126 h 4235290"/>
                <a:gd name="connsiteX8846" fmla="*/ 1873292 w 2792478"/>
                <a:gd name="connsiteY8846" fmla="*/ 225024 h 4235290"/>
                <a:gd name="connsiteX8847" fmla="*/ 1873609 w 2792478"/>
                <a:gd name="connsiteY8847" fmla="*/ 227883 h 4235290"/>
                <a:gd name="connsiteX8848" fmla="*/ 1872173 w 2792478"/>
                <a:gd name="connsiteY8848" fmla="*/ 230240 h 4235290"/>
                <a:gd name="connsiteX8849" fmla="*/ 1871992 w 2792478"/>
                <a:gd name="connsiteY8849" fmla="*/ 233471 h 4235290"/>
                <a:gd name="connsiteX8850" fmla="*/ 1872672 w 2792478"/>
                <a:gd name="connsiteY8850" fmla="*/ 235276 h 4235290"/>
                <a:gd name="connsiteX8851" fmla="*/ 1875037 w 2792478"/>
                <a:gd name="connsiteY8851" fmla="*/ 237511 h 4235290"/>
                <a:gd name="connsiteX8852" fmla="*/ 1877704 w 2792478"/>
                <a:gd name="connsiteY8852" fmla="*/ 238321 h 4235290"/>
                <a:gd name="connsiteX8853" fmla="*/ 1879382 w 2792478"/>
                <a:gd name="connsiteY8853" fmla="*/ 240620 h 4235290"/>
                <a:gd name="connsiteX8854" fmla="*/ 1879200 w 2792478"/>
                <a:gd name="connsiteY8854" fmla="*/ 250190 h 4235290"/>
                <a:gd name="connsiteX8855" fmla="*/ 1877455 w 2792478"/>
                <a:gd name="connsiteY8855" fmla="*/ 252426 h 4235290"/>
                <a:gd name="connsiteX8856" fmla="*/ 1874727 w 2792478"/>
                <a:gd name="connsiteY8856" fmla="*/ 253176 h 4235290"/>
                <a:gd name="connsiteX8857" fmla="*/ 1872302 w 2792478"/>
                <a:gd name="connsiteY8857" fmla="*/ 255284 h 4235290"/>
                <a:gd name="connsiteX8858" fmla="*/ 1871433 w 2792478"/>
                <a:gd name="connsiteY8858" fmla="*/ 257339 h 4235290"/>
                <a:gd name="connsiteX8859" fmla="*/ 1871433 w 2792478"/>
                <a:gd name="connsiteY8859" fmla="*/ 260570 h 4235290"/>
                <a:gd name="connsiteX8860" fmla="*/ 1872672 w 2792478"/>
                <a:gd name="connsiteY8860" fmla="*/ 262805 h 4235290"/>
                <a:gd name="connsiteX8861" fmla="*/ 1872241 w 2792478"/>
                <a:gd name="connsiteY8861" fmla="*/ 265663 h 4235290"/>
                <a:gd name="connsiteX8862" fmla="*/ 1865342 w 2792478"/>
                <a:gd name="connsiteY8862" fmla="*/ 272253 h 4235290"/>
                <a:gd name="connsiteX8863" fmla="*/ 1862479 w 2792478"/>
                <a:gd name="connsiteY8863" fmla="*/ 272625 h 4235290"/>
                <a:gd name="connsiteX8864" fmla="*/ 1860310 w 2792478"/>
                <a:gd name="connsiteY8864" fmla="*/ 271322 h 4235290"/>
                <a:gd name="connsiteX8865" fmla="*/ 1857076 w 2792478"/>
                <a:gd name="connsiteY8865" fmla="*/ 271135 h 4235290"/>
                <a:gd name="connsiteX8866" fmla="*/ 1854960 w 2792478"/>
                <a:gd name="connsiteY8866" fmla="*/ 271938 h 4235290"/>
                <a:gd name="connsiteX8867" fmla="*/ 1852724 w 2792478"/>
                <a:gd name="connsiteY8867" fmla="*/ 274238 h 4235290"/>
                <a:gd name="connsiteX8868" fmla="*/ 1851976 w 2792478"/>
                <a:gd name="connsiteY8868" fmla="*/ 276852 h 4235290"/>
                <a:gd name="connsiteX8869" fmla="*/ 1849618 w 2792478"/>
                <a:gd name="connsiteY8869" fmla="*/ 278592 h 4235290"/>
                <a:gd name="connsiteX8870" fmla="*/ 1840044 w 2792478"/>
                <a:gd name="connsiteY8870" fmla="*/ 278406 h 4235290"/>
                <a:gd name="connsiteX8871" fmla="*/ 1837808 w 2792478"/>
                <a:gd name="connsiteY8871" fmla="*/ 276601 h 4235290"/>
                <a:gd name="connsiteX8872" fmla="*/ 1837128 w 2792478"/>
                <a:gd name="connsiteY8872" fmla="*/ 273929 h 4235290"/>
                <a:gd name="connsiteX8873" fmla="*/ 1835012 w 2792478"/>
                <a:gd name="connsiteY8873" fmla="*/ 271566 h 4235290"/>
                <a:gd name="connsiteX8874" fmla="*/ 1832715 w 2792478"/>
                <a:gd name="connsiteY8874" fmla="*/ 270576 h 4235290"/>
                <a:gd name="connsiteX8875" fmla="*/ 1829541 w 2792478"/>
                <a:gd name="connsiteY8875" fmla="*/ 270576 h 4235290"/>
                <a:gd name="connsiteX8876" fmla="*/ 1827433 w 2792478"/>
                <a:gd name="connsiteY8876" fmla="*/ 271752 h 4235290"/>
                <a:gd name="connsiteX8877" fmla="*/ 1824569 w 2792478"/>
                <a:gd name="connsiteY8877" fmla="*/ 271322 h 4235290"/>
                <a:gd name="connsiteX8878" fmla="*/ 1817988 w 2792478"/>
                <a:gd name="connsiteY8878" fmla="*/ 264423 h 4235290"/>
                <a:gd name="connsiteX8879" fmla="*/ 1817610 w 2792478"/>
                <a:gd name="connsiteY8879" fmla="*/ 261565 h 4235290"/>
                <a:gd name="connsiteX8880" fmla="*/ 1818918 w 2792478"/>
                <a:gd name="connsiteY8880" fmla="*/ 259388 h 4235290"/>
                <a:gd name="connsiteX8881" fmla="*/ 1819106 w 2792478"/>
                <a:gd name="connsiteY8881" fmla="*/ 256157 h 4235290"/>
                <a:gd name="connsiteX8882" fmla="*/ 1818358 w 2792478"/>
                <a:gd name="connsiteY8882" fmla="*/ 254230 h 4235290"/>
                <a:gd name="connsiteX8883" fmla="*/ 1815993 w 2792478"/>
                <a:gd name="connsiteY8883" fmla="*/ 251994 h 4235290"/>
                <a:gd name="connsiteX8884" fmla="*/ 1813326 w 2792478"/>
                <a:gd name="connsiteY8884" fmla="*/ 251186 h 4235290"/>
                <a:gd name="connsiteX8885" fmla="*/ 1811648 w 2792478"/>
                <a:gd name="connsiteY8885" fmla="*/ 248886 h 4235290"/>
                <a:gd name="connsiteX8886" fmla="*/ 1811830 w 2792478"/>
                <a:gd name="connsiteY8886" fmla="*/ 239316 h 4235290"/>
                <a:gd name="connsiteX8887" fmla="*/ 1813575 w 2792478"/>
                <a:gd name="connsiteY8887" fmla="*/ 237081 h 4235290"/>
                <a:gd name="connsiteX8888" fmla="*/ 1816311 w 2792478"/>
                <a:gd name="connsiteY8888" fmla="*/ 236393 h 4235290"/>
                <a:gd name="connsiteX8889" fmla="*/ 1819416 w 2792478"/>
                <a:gd name="connsiteY8889" fmla="*/ 232540 h 4235290"/>
                <a:gd name="connsiteX8890" fmla="*/ 1819356 w 2792478"/>
                <a:gd name="connsiteY8890" fmla="*/ 229373 h 4235290"/>
                <a:gd name="connsiteX8891" fmla="*/ 1818049 w 2792478"/>
                <a:gd name="connsiteY8891" fmla="*/ 226951 h 4235290"/>
                <a:gd name="connsiteX8892" fmla="*/ 1818479 w 2792478"/>
                <a:gd name="connsiteY8892" fmla="*/ 224093 h 4235290"/>
                <a:gd name="connsiteX8893" fmla="*/ 1825378 w 2792478"/>
                <a:gd name="connsiteY8893" fmla="*/ 217503 h 4235290"/>
                <a:gd name="connsiteX8894" fmla="*/ 1828242 w 2792478"/>
                <a:gd name="connsiteY8894" fmla="*/ 217131 h 4235290"/>
                <a:gd name="connsiteX8895" fmla="*/ 1830350 w 2792478"/>
                <a:gd name="connsiteY8895" fmla="*/ 218435 h 4235290"/>
                <a:gd name="connsiteX8896" fmla="*/ 1833584 w 2792478"/>
                <a:gd name="connsiteY8896" fmla="*/ 218557 h 4235290"/>
                <a:gd name="connsiteX8897" fmla="*/ 1836009 w 2792478"/>
                <a:gd name="connsiteY8897" fmla="*/ 217567 h 4235290"/>
                <a:gd name="connsiteX8898" fmla="*/ 1838246 w 2792478"/>
                <a:gd name="connsiteY8898" fmla="*/ 215268 h 4235290"/>
                <a:gd name="connsiteX8899" fmla="*/ 1839055 w 2792478"/>
                <a:gd name="connsiteY8899" fmla="*/ 212468 h 4235290"/>
                <a:gd name="connsiteX8900" fmla="*/ 1841412 w 2792478"/>
                <a:gd name="connsiteY8900" fmla="*/ 210791 h 4235290"/>
                <a:gd name="connsiteX8901" fmla="*/ 746313 w 2792478"/>
                <a:gd name="connsiteY8901" fmla="*/ 198862 h 4235290"/>
                <a:gd name="connsiteX8902" fmla="*/ 747742 w 2792478"/>
                <a:gd name="connsiteY8902" fmla="*/ 199422 h 4235290"/>
                <a:gd name="connsiteX8903" fmla="*/ 747742 w 2792478"/>
                <a:gd name="connsiteY8903" fmla="*/ 202283 h 4235290"/>
                <a:gd name="connsiteX8904" fmla="*/ 741215 w 2792478"/>
                <a:gd name="connsiteY8904" fmla="*/ 208808 h 4235290"/>
                <a:gd name="connsiteX8905" fmla="*/ 739786 w 2792478"/>
                <a:gd name="connsiteY8905" fmla="*/ 209362 h 4235290"/>
                <a:gd name="connsiteX8906" fmla="*/ 738358 w 2792478"/>
                <a:gd name="connsiteY8906" fmla="*/ 208808 h 4235290"/>
                <a:gd name="connsiteX8907" fmla="*/ 738358 w 2792478"/>
                <a:gd name="connsiteY8907" fmla="*/ 205952 h 4235290"/>
                <a:gd name="connsiteX8908" fmla="*/ 744885 w 2792478"/>
                <a:gd name="connsiteY8908" fmla="*/ 199422 h 4235290"/>
                <a:gd name="connsiteX8909" fmla="*/ 746313 w 2792478"/>
                <a:gd name="connsiteY8909" fmla="*/ 198862 h 4235290"/>
                <a:gd name="connsiteX8910" fmla="*/ 664218 w 2792478"/>
                <a:gd name="connsiteY8910" fmla="*/ 198862 h 4235290"/>
                <a:gd name="connsiteX8911" fmla="*/ 665655 w 2792478"/>
                <a:gd name="connsiteY8911" fmla="*/ 199422 h 4235290"/>
                <a:gd name="connsiteX8912" fmla="*/ 672173 w 2792478"/>
                <a:gd name="connsiteY8912" fmla="*/ 205952 h 4235290"/>
                <a:gd name="connsiteX8913" fmla="*/ 672173 w 2792478"/>
                <a:gd name="connsiteY8913" fmla="*/ 208808 h 4235290"/>
                <a:gd name="connsiteX8914" fmla="*/ 670744 w 2792478"/>
                <a:gd name="connsiteY8914" fmla="*/ 209426 h 4235290"/>
                <a:gd name="connsiteX8915" fmla="*/ 669316 w 2792478"/>
                <a:gd name="connsiteY8915" fmla="*/ 208808 h 4235290"/>
                <a:gd name="connsiteX8916" fmla="*/ 662789 w 2792478"/>
                <a:gd name="connsiteY8916" fmla="*/ 202283 h 4235290"/>
                <a:gd name="connsiteX8917" fmla="*/ 662789 w 2792478"/>
                <a:gd name="connsiteY8917" fmla="*/ 199422 h 4235290"/>
                <a:gd name="connsiteX8918" fmla="*/ 664218 w 2792478"/>
                <a:gd name="connsiteY8918" fmla="*/ 198862 h 4235290"/>
                <a:gd name="connsiteX8919" fmla="*/ 733947 w 2792478"/>
                <a:gd name="connsiteY8919" fmla="*/ 190975 h 4235290"/>
                <a:gd name="connsiteX8920" fmla="*/ 735438 w 2792478"/>
                <a:gd name="connsiteY8920" fmla="*/ 191155 h 4235290"/>
                <a:gd name="connsiteX8921" fmla="*/ 736179 w 2792478"/>
                <a:gd name="connsiteY8921" fmla="*/ 193894 h 4235290"/>
                <a:gd name="connsiteX8922" fmla="*/ 731581 w 2792478"/>
                <a:gd name="connsiteY8922" fmla="*/ 201905 h 4235290"/>
                <a:gd name="connsiteX8923" fmla="*/ 729849 w 2792478"/>
                <a:gd name="connsiteY8923" fmla="*/ 202904 h 4235290"/>
                <a:gd name="connsiteX8924" fmla="*/ 728849 w 2792478"/>
                <a:gd name="connsiteY8924" fmla="*/ 202653 h 4235290"/>
                <a:gd name="connsiteX8925" fmla="*/ 728108 w 2792478"/>
                <a:gd name="connsiteY8925" fmla="*/ 199858 h 4235290"/>
                <a:gd name="connsiteX8926" fmla="*/ 732706 w 2792478"/>
                <a:gd name="connsiteY8926" fmla="*/ 191905 h 4235290"/>
                <a:gd name="connsiteX8927" fmla="*/ 733947 w 2792478"/>
                <a:gd name="connsiteY8927" fmla="*/ 190975 h 4235290"/>
                <a:gd name="connsiteX8928" fmla="*/ 676646 w 2792478"/>
                <a:gd name="connsiteY8928" fmla="*/ 190975 h 4235290"/>
                <a:gd name="connsiteX8929" fmla="*/ 677896 w 2792478"/>
                <a:gd name="connsiteY8929" fmla="*/ 191905 h 4235290"/>
                <a:gd name="connsiteX8930" fmla="*/ 682556 w 2792478"/>
                <a:gd name="connsiteY8930" fmla="*/ 199922 h 4235290"/>
                <a:gd name="connsiteX8931" fmla="*/ 681744 w 2792478"/>
                <a:gd name="connsiteY8931" fmla="*/ 202653 h 4235290"/>
                <a:gd name="connsiteX8932" fmla="*/ 680753 w 2792478"/>
                <a:gd name="connsiteY8932" fmla="*/ 202904 h 4235290"/>
                <a:gd name="connsiteX8933" fmla="*/ 679012 w 2792478"/>
                <a:gd name="connsiteY8933" fmla="*/ 201905 h 4235290"/>
                <a:gd name="connsiteX8934" fmla="*/ 674414 w 2792478"/>
                <a:gd name="connsiteY8934" fmla="*/ 193958 h 4235290"/>
                <a:gd name="connsiteX8935" fmla="*/ 675155 w 2792478"/>
                <a:gd name="connsiteY8935" fmla="*/ 191155 h 4235290"/>
                <a:gd name="connsiteX8936" fmla="*/ 676646 w 2792478"/>
                <a:gd name="connsiteY8936" fmla="*/ 190975 h 4235290"/>
                <a:gd name="connsiteX8937" fmla="*/ 1228184 w 2792478"/>
                <a:gd name="connsiteY8937" fmla="*/ 185608 h 4235290"/>
                <a:gd name="connsiteX8938" fmla="*/ 1208687 w 2792478"/>
                <a:gd name="connsiteY8938" fmla="*/ 205113 h 4235290"/>
                <a:gd name="connsiteX8939" fmla="*/ 1237733 w 2792478"/>
                <a:gd name="connsiteY8939" fmla="*/ 212735 h 4235290"/>
                <a:gd name="connsiteX8940" fmla="*/ 1228184 w 2792478"/>
                <a:gd name="connsiteY8940" fmla="*/ 185608 h 4235290"/>
                <a:gd name="connsiteX8941" fmla="*/ 1858265 w 2792478"/>
                <a:gd name="connsiteY8941" fmla="*/ 185246 h 4235290"/>
                <a:gd name="connsiteX8942" fmla="*/ 1870203 w 2792478"/>
                <a:gd name="connsiteY8942" fmla="*/ 190233 h 4235290"/>
                <a:gd name="connsiteX8943" fmla="*/ 1870204 w 2792478"/>
                <a:gd name="connsiteY8943" fmla="*/ 190240 h 4235290"/>
                <a:gd name="connsiteX8944" fmla="*/ 1861661 w 2792478"/>
                <a:gd name="connsiteY8944" fmla="*/ 186667 h 4235290"/>
                <a:gd name="connsiteX8945" fmla="*/ 720832 w 2792478"/>
                <a:gd name="connsiteY8945" fmla="*/ 185013 h 4235290"/>
                <a:gd name="connsiteX8946" fmla="*/ 722260 w 2792478"/>
                <a:gd name="connsiteY8946" fmla="*/ 187489 h 4235290"/>
                <a:gd name="connsiteX8947" fmla="*/ 719841 w 2792478"/>
                <a:gd name="connsiteY8947" fmla="*/ 196380 h 4235290"/>
                <a:gd name="connsiteX8948" fmla="*/ 717912 w 2792478"/>
                <a:gd name="connsiteY8948" fmla="*/ 197872 h 4235290"/>
                <a:gd name="connsiteX8949" fmla="*/ 717412 w 2792478"/>
                <a:gd name="connsiteY8949" fmla="*/ 197808 h 4235290"/>
                <a:gd name="connsiteX8950" fmla="*/ 715984 w 2792478"/>
                <a:gd name="connsiteY8950" fmla="*/ 195322 h 4235290"/>
                <a:gd name="connsiteX8951" fmla="*/ 718350 w 2792478"/>
                <a:gd name="connsiteY8951" fmla="*/ 186441 h 4235290"/>
                <a:gd name="connsiteX8952" fmla="*/ 720832 w 2792478"/>
                <a:gd name="connsiteY8952" fmla="*/ 185013 h 4235290"/>
                <a:gd name="connsiteX8953" fmla="*/ 689574 w 2792478"/>
                <a:gd name="connsiteY8953" fmla="*/ 185013 h 4235290"/>
                <a:gd name="connsiteX8954" fmla="*/ 692002 w 2792478"/>
                <a:gd name="connsiteY8954" fmla="*/ 186441 h 4235290"/>
                <a:gd name="connsiteX8955" fmla="*/ 694422 w 2792478"/>
                <a:gd name="connsiteY8955" fmla="*/ 195322 h 4235290"/>
                <a:gd name="connsiteX8956" fmla="*/ 692993 w 2792478"/>
                <a:gd name="connsiteY8956" fmla="*/ 197808 h 4235290"/>
                <a:gd name="connsiteX8957" fmla="*/ 692431 w 2792478"/>
                <a:gd name="connsiteY8957" fmla="*/ 197872 h 4235290"/>
                <a:gd name="connsiteX8958" fmla="*/ 690511 w 2792478"/>
                <a:gd name="connsiteY8958" fmla="*/ 196380 h 4235290"/>
                <a:gd name="connsiteX8959" fmla="*/ 688145 w 2792478"/>
                <a:gd name="connsiteY8959" fmla="*/ 187431 h 4235290"/>
                <a:gd name="connsiteX8960" fmla="*/ 689574 w 2792478"/>
                <a:gd name="connsiteY8960" fmla="*/ 185013 h 4235290"/>
                <a:gd name="connsiteX8961" fmla="*/ 703993 w 2792478"/>
                <a:gd name="connsiteY8961" fmla="*/ 182954 h 4235290"/>
                <a:gd name="connsiteX8962" fmla="*/ 705984 w 2792478"/>
                <a:gd name="connsiteY8962" fmla="*/ 184949 h 4235290"/>
                <a:gd name="connsiteX8963" fmla="*/ 705984 w 2792478"/>
                <a:gd name="connsiteY8963" fmla="*/ 194197 h 4235290"/>
                <a:gd name="connsiteX8964" fmla="*/ 703993 w 2792478"/>
                <a:gd name="connsiteY8964" fmla="*/ 196189 h 4235290"/>
                <a:gd name="connsiteX8965" fmla="*/ 702002 w 2792478"/>
                <a:gd name="connsiteY8965" fmla="*/ 194197 h 4235290"/>
                <a:gd name="connsiteX8966" fmla="*/ 702002 w 2792478"/>
                <a:gd name="connsiteY8966" fmla="*/ 184949 h 4235290"/>
                <a:gd name="connsiteX8967" fmla="*/ 703993 w 2792478"/>
                <a:gd name="connsiteY8967" fmla="*/ 182954 h 4235290"/>
                <a:gd name="connsiteX8968" fmla="*/ 704430 w 2792478"/>
                <a:gd name="connsiteY8968" fmla="*/ 173072 h 4235290"/>
                <a:gd name="connsiteX8969" fmla="*/ 634451 w 2792478"/>
                <a:gd name="connsiteY8969" fmla="*/ 243045 h 4235290"/>
                <a:gd name="connsiteX8970" fmla="*/ 639674 w 2792478"/>
                <a:gd name="connsiteY8970" fmla="*/ 269640 h 4235290"/>
                <a:gd name="connsiteX8971" fmla="*/ 702002 w 2792478"/>
                <a:gd name="connsiteY8971" fmla="*/ 242675 h 4235290"/>
                <a:gd name="connsiteX8972" fmla="*/ 702002 w 2792478"/>
                <a:gd name="connsiteY8972" fmla="*/ 208873 h 4235290"/>
                <a:gd name="connsiteX8973" fmla="*/ 706047 w 2792478"/>
                <a:gd name="connsiteY8973" fmla="*/ 204824 h 4235290"/>
                <a:gd name="connsiteX8974" fmla="*/ 710020 w 2792478"/>
                <a:gd name="connsiteY8974" fmla="*/ 208873 h 4235290"/>
                <a:gd name="connsiteX8975" fmla="*/ 710020 w 2792478"/>
                <a:gd name="connsiteY8975" fmla="*/ 242922 h 4235290"/>
                <a:gd name="connsiteX8976" fmla="*/ 768500 w 2792478"/>
                <a:gd name="connsiteY8976" fmla="*/ 270956 h 4235290"/>
                <a:gd name="connsiteX8977" fmla="*/ 774401 w 2792478"/>
                <a:gd name="connsiteY8977" fmla="*/ 243045 h 4235290"/>
                <a:gd name="connsiteX8978" fmla="*/ 753956 w 2792478"/>
                <a:gd name="connsiteY8978" fmla="*/ 193584 h 4235290"/>
                <a:gd name="connsiteX8979" fmla="*/ 704430 w 2792478"/>
                <a:gd name="connsiteY8979" fmla="*/ 173072 h 4235290"/>
                <a:gd name="connsiteX8980" fmla="*/ 1865943 w 2792478"/>
                <a:gd name="connsiteY8980" fmla="*/ 171322 h 4235290"/>
                <a:gd name="connsiteX8981" fmla="*/ 1868562 w 2792478"/>
                <a:gd name="connsiteY8981" fmla="*/ 188133 h 4235290"/>
                <a:gd name="connsiteX8982" fmla="*/ 1854175 w 2792478"/>
                <a:gd name="connsiteY8982" fmla="*/ 182127 h 4235290"/>
                <a:gd name="connsiteX8983" fmla="*/ 1867096 w 2792478"/>
                <a:gd name="connsiteY8983" fmla="*/ 170284 h 4235290"/>
                <a:gd name="connsiteX8984" fmla="*/ 1870204 w 2792478"/>
                <a:gd name="connsiteY8984" fmla="*/ 190233 h 4235290"/>
                <a:gd name="connsiteX8985" fmla="*/ 1870203 w 2792478"/>
                <a:gd name="connsiteY8985" fmla="*/ 190233 h 4235290"/>
                <a:gd name="connsiteX8986" fmla="*/ 2013362 w 2792478"/>
                <a:gd name="connsiteY8986" fmla="*/ 166361 h 4235290"/>
                <a:gd name="connsiteX8987" fmla="*/ 2004042 w 2792478"/>
                <a:gd name="connsiteY8987" fmla="*/ 175681 h 4235290"/>
                <a:gd name="connsiteX8988" fmla="*/ 2004042 w 2792478"/>
                <a:gd name="connsiteY8988" fmla="*/ 258020 h 4235290"/>
                <a:gd name="connsiteX8989" fmla="*/ 2013362 w 2792478"/>
                <a:gd name="connsiteY8989" fmla="*/ 267341 h 4235290"/>
                <a:gd name="connsiteX8990" fmla="*/ 2022750 w 2792478"/>
                <a:gd name="connsiteY8990" fmla="*/ 258020 h 4235290"/>
                <a:gd name="connsiteX8991" fmla="*/ 2022750 w 2792478"/>
                <a:gd name="connsiteY8991" fmla="*/ 189046 h 4235290"/>
                <a:gd name="connsiteX8992" fmla="*/ 2022750 w 2792478"/>
                <a:gd name="connsiteY8992" fmla="*/ 175681 h 4235290"/>
                <a:gd name="connsiteX8993" fmla="*/ 2013362 w 2792478"/>
                <a:gd name="connsiteY8993" fmla="*/ 166361 h 4235290"/>
                <a:gd name="connsiteX8994" fmla="*/ 1985459 w 2792478"/>
                <a:gd name="connsiteY8994" fmla="*/ 166361 h 4235290"/>
                <a:gd name="connsiteX8995" fmla="*/ 1976139 w 2792478"/>
                <a:gd name="connsiteY8995" fmla="*/ 175681 h 4235290"/>
                <a:gd name="connsiteX8996" fmla="*/ 1976139 w 2792478"/>
                <a:gd name="connsiteY8996" fmla="*/ 258020 h 4235290"/>
                <a:gd name="connsiteX8997" fmla="*/ 1985459 w 2792478"/>
                <a:gd name="connsiteY8997" fmla="*/ 267341 h 4235290"/>
                <a:gd name="connsiteX8998" fmla="*/ 1994785 w 2792478"/>
                <a:gd name="connsiteY8998" fmla="*/ 258020 h 4235290"/>
                <a:gd name="connsiteX8999" fmla="*/ 1994785 w 2792478"/>
                <a:gd name="connsiteY8999" fmla="*/ 175681 h 4235290"/>
                <a:gd name="connsiteX9000" fmla="*/ 1985459 w 2792478"/>
                <a:gd name="connsiteY9000" fmla="*/ 166361 h 4235290"/>
                <a:gd name="connsiteX9001" fmla="*/ 1957556 w 2792478"/>
                <a:gd name="connsiteY9001" fmla="*/ 166361 h 4235290"/>
                <a:gd name="connsiteX9002" fmla="*/ 1948236 w 2792478"/>
                <a:gd name="connsiteY9002" fmla="*/ 175681 h 4235290"/>
                <a:gd name="connsiteX9003" fmla="*/ 1948236 w 2792478"/>
                <a:gd name="connsiteY9003" fmla="*/ 258020 h 4235290"/>
                <a:gd name="connsiteX9004" fmla="*/ 1957556 w 2792478"/>
                <a:gd name="connsiteY9004" fmla="*/ 267341 h 4235290"/>
                <a:gd name="connsiteX9005" fmla="*/ 1966882 w 2792478"/>
                <a:gd name="connsiteY9005" fmla="*/ 258020 h 4235290"/>
                <a:gd name="connsiteX9006" fmla="*/ 1966882 w 2792478"/>
                <a:gd name="connsiteY9006" fmla="*/ 175681 h 4235290"/>
                <a:gd name="connsiteX9007" fmla="*/ 1957556 w 2792478"/>
                <a:gd name="connsiteY9007" fmla="*/ 166361 h 4235290"/>
                <a:gd name="connsiteX9008" fmla="*/ 1929659 w 2792478"/>
                <a:gd name="connsiteY9008" fmla="*/ 166361 h 4235290"/>
                <a:gd name="connsiteX9009" fmla="*/ 1920333 w 2792478"/>
                <a:gd name="connsiteY9009" fmla="*/ 175681 h 4235290"/>
                <a:gd name="connsiteX9010" fmla="*/ 1920333 w 2792478"/>
                <a:gd name="connsiteY9010" fmla="*/ 258020 h 4235290"/>
                <a:gd name="connsiteX9011" fmla="*/ 1929659 w 2792478"/>
                <a:gd name="connsiteY9011" fmla="*/ 267341 h 4235290"/>
                <a:gd name="connsiteX9012" fmla="*/ 1938979 w 2792478"/>
                <a:gd name="connsiteY9012" fmla="*/ 258020 h 4235290"/>
                <a:gd name="connsiteX9013" fmla="*/ 1938979 w 2792478"/>
                <a:gd name="connsiteY9013" fmla="*/ 175681 h 4235290"/>
                <a:gd name="connsiteX9014" fmla="*/ 1929659 w 2792478"/>
                <a:gd name="connsiteY9014" fmla="*/ 166361 h 4235290"/>
                <a:gd name="connsiteX9015" fmla="*/ 1573016 w 2792478"/>
                <a:gd name="connsiteY9015" fmla="*/ 165063 h 4235290"/>
                <a:gd name="connsiteX9016" fmla="*/ 1589796 w 2792478"/>
                <a:gd name="connsiteY9016" fmla="*/ 165063 h 4235290"/>
                <a:gd name="connsiteX9017" fmla="*/ 1589796 w 2792478"/>
                <a:gd name="connsiteY9017" fmla="*/ 176424 h 4235290"/>
                <a:gd name="connsiteX9018" fmla="*/ 1573016 w 2792478"/>
                <a:gd name="connsiteY9018" fmla="*/ 176424 h 4235290"/>
                <a:gd name="connsiteX9019" fmla="*/ 1573016 w 2792478"/>
                <a:gd name="connsiteY9019" fmla="*/ 165063 h 4235290"/>
                <a:gd name="connsiteX9020" fmla="*/ 704430 w 2792478"/>
                <a:gd name="connsiteY9020" fmla="*/ 165057 h 4235290"/>
                <a:gd name="connsiteX9021" fmla="*/ 759607 w 2792478"/>
                <a:gd name="connsiteY9021" fmla="*/ 187868 h 4235290"/>
                <a:gd name="connsiteX9022" fmla="*/ 782482 w 2792478"/>
                <a:gd name="connsiteY9022" fmla="*/ 243045 h 4235290"/>
                <a:gd name="connsiteX9023" fmla="*/ 759607 w 2792478"/>
                <a:gd name="connsiteY9023" fmla="*/ 298230 h 4235290"/>
                <a:gd name="connsiteX9024" fmla="*/ 704493 w 2792478"/>
                <a:gd name="connsiteY9024" fmla="*/ 321100 h 4235290"/>
                <a:gd name="connsiteX9025" fmla="*/ 649245 w 2792478"/>
                <a:gd name="connsiteY9025" fmla="*/ 298230 h 4235290"/>
                <a:gd name="connsiteX9026" fmla="*/ 636129 w 2792478"/>
                <a:gd name="connsiteY9026" fmla="*/ 280079 h 4235290"/>
                <a:gd name="connsiteX9027" fmla="*/ 635826 w 2792478"/>
                <a:gd name="connsiteY9027" fmla="*/ 279966 h 4235290"/>
                <a:gd name="connsiteX9028" fmla="*/ 634451 w 2792478"/>
                <a:gd name="connsiteY9028" fmla="*/ 276982 h 4235290"/>
                <a:gd name="connsiteX9029" fmla="*/ 626442 w 2792478"/>
                <a:gd name="connsiteY9029" fmla="*/ 243045 h 4235290"/>
                <a:gd name="connsiteX9030" fmla="*/ 704430 w 2792478"/>
                <a:gd name="connsiteY9030" fmla="*/ 165057 h 4235290"/>
                <a:gd name="connsiteX9031" fmla="*/ 1482778 w 2792478"/>
                <a:gd name="connsiteY9031" fmla="*/ 165057 h 4235290"/>
                <a:gd name="connsiteX9032" fmla="*/ 1488378 w 2792478"/>
                <a:gd name="connsiteY9032" fmla="*/ 166555 h 4235290"/>
                <a:gd name="connsiteX9033" fmla="*/ 1510311 w 2792478"/>
                <a:gd name="connsiteY9033" fmla="*/ 179162 h 4235290"/>
                <a:gd name="connsiteX9034" fmla="*/ 1515528 w 2792478"/>
                <a:gd name="connsiteY9034" fmla="*/ 186003 h 4235290"/>
                <a:gd name="connsiteX9035" fmla="*/ 1514415 w 2792478"/>
                <a:gd name="connsiteY9035" fmla="*/ 194509 h 4235290"/>
                <a:gd name="connsiteX9036" fmla="*/ 1504651 w 2792478"/>
                <a:gd name="connsiteY9036" fmla="*/ 200108 h 4235290"/>
                <a:gd name="connsiteX9037" fmla="*/ 1499063 w 2792478"/>
                <a:gd name="connsiteY9037" fmla="*/ 198609 h 4235290"/>
                <a:gd name="connsiteX9038" fmla="*/ 1477190 w 2792478"/>
                <a:gd name="connsiteY9038" fmla="*/ 185939 h 4235290"/>
                <a:gd name="connsiteX9039" fmla="*/ 1471973 w 2792478"/>
                <a:gd name="connsiteY9039" fmla="*/ 179162 h 4235290"/>
                <a:gd name="connsiteX9040" fmla="*/ 1473086 w 2792478"/>
                <a:gd name="connsiteY9040" fmla="*/ 170656 h 4235290"/>
                <a:gd name="connsiteX9041" fmla="*/ 1482778 w 2792478"/>
                <a:gd name="connsiteY9041" fmla="*/ 165057 h 4235290"/>
                <a:gd name="connsiteX9042" fmla="*/ 1321709 w 2792478"/>
                <a:gd name="connsiteY9042" fmla="*/ 165057 h 4235290"/>
                <a:gd name="connsiteX9043" fmla="*/ 1331401 w 2792478"/>
                <a:gd name="connsiteY9043" fmla="*/ 170656 h 4235290"/>
                <a:gd name="connsiteX9044" fmla="*/ 1332514 w 2792478"/>
                <a:gd name="connsiteY9044" fmla="*/ 179162 h 4235290"/>
                <a:gd name="connsiteX9045" fmla="*/ 1327297 w 2792478"/>
                <a:gd name="connsiteY9045" fmla="*/ 185939 h 4235290"/>
                <a:gd name="connsiteX9046" fmla="*/ 1305424 w 2792478"/>
                <a:gd name="connsiteY9046" fmla="*/ 198545 h 4235290"/>
                <a:gd name="connsiteX9047" fmla="*/ 1299824 w 2792478"/>
                <a:gd name="connsiteY9047" fmla="*/ 200108 h 4235290"/>
                <a:gd name="connsiteX9048" fmla="*/ 1290132 w 2792478"/>
                <a:gd name="connsiteY9048" fmla="*/ 194509 h 4235290"/>
                <a:gd name="connsiteX9049" fmla="*/ 1294176 w 2792478"/>
                <a:gd name="connsiteY9049" fmla="*/ 179162 h 4235290"/>
                <a:gd name="connsiteX9050" fmla="*/ 1316049 w 2792478"/>
                <a:gd name="connsiteY9050" fmla="*/ 166555 h 4235290"/>
                <a:gd name="connsiteX9051" fmla="*/ 1321709 w 2792478"/>
                <a:gd name="connsiteY9051" fmla="*/ 165057 h 4235290"/>
                <a:gd name="connsiteX9052" fmla="*/ 1929659 w 2792478"/>
                <a:gd name="connsiteY9052" fmla="*/ 157096 h 4235290"/>
                <a:gd name="connsiteX9053" fmla="*/ 1943580 w 2792478"/>
                <a:gd name="connsiteY9053" fmla="*/ 163442 h 4235290"/>
                <a:gd name="connsiteX9054" fmla="*/ 1957556 w 2792478"/>
                <a:gd name="connsiteY9054" fmla="*/ 157096 h 4235290"/>
                <a:gd name="connsiteX9055" fmla="*/ 1971538 w 2792478"/>
                <a:gd name="connsiteY9055" fmla="*/ 163442 h 4235290"/>
                <a:gd name="connsiteX9056" fmla="*/ 1985459 w 2792478"/>
                <a:gd name="connsiteY9056" fmla="*/ 157096 h 4235290"/>
                <a:gd name="connsiteX9057" fmla="*/ 1999441 w 2792478"/>
                <a:gd name="connsiteY9057" fmla="*/ 163442 h 4235290"/>
                <a:gd name="connsiteX9058" fmla="*/ 2013362 w 2792478"/>
                <a:gd name="connsiteY9058" fmla="*/ 157096 h 4235290"/>
                <a:gd name="connsiteX9059" fmla="*/ 2031945 w 2792478"/>
                <a:gd name="connsiteY9059" fmla="*/ 175681 h 4235290"/>
                <a:gd name="connsiteX9060" fmla="*/ 2031945 w 2792478"/>
                <a:gd name="connsiteY9060" fmla="*/ 179782 h 4235290"/>
                <a:gd name="connsiteX9061" fmla="*/ 2037099 w 2792478"/>
                <a:gd name="connsiteY9061" fmla="*/ 179782 h 4235290"/>
                <a:gd name="connsiteX9062" fmla="*/ 2037099 w 2792478"/>
                <a:gd name="connsiteY9062" fmla="*/ 161700 h 4235290"/>
                <a:gd name="connsiteX9063" fmla="*/ 2041762 w 2792478"/>
                <a:gd name="connsiteY9063" fmla="*/ 157096 h 4235290"/>
                <a:gd name="connsiteX9064" fmla="*/ 2046363 w 2792478"/>
                <a:gd name="connsiteY9064" fmla="*/ 161700 h 4235290"/>
                <a:gd name="connsiteX9065" fmla="*/ 2046363 w 2792478"/>
                <a:gd name="connsiteY9065" fmla="*/ 184445 h 4235290"/>
                <a:gd name="connsiteX9066" fmla="*/ 2041762 w 2792478"/>
                <a:gd name="connsiteY9066" fmla="*/ 189046 h 4235290"/>
                <a:gd name="connsiteX9067" fmla="*/ 2031945 w 2792478"/>
                <a:gd name="connsiteY9067" fmla="*/ 189046 h 4235290"/>
                <a:gd name="connsiteX9068" fmla="*/ 2031945 w 2792478"/>
                <a:gd name="connsiteY9068" fmla="*/ 258020 h 4235290"/>
                <a:gd name="connsiteX9069" fmla="*/ 2013362 w 2792478"/>
                <a:gd name="connsiteY9069" fmla="*/ 276607 h 4235290"/>
                <a:gd name="connsiteX9070" fmla="*/ 1999441 w 2792478"/>
                <a:gd name="connsiteY9070" fmla="*/ 270203 h 4235290"/>
                <a:gd name="connsiteX9071" fmla="*/ 1985459 w 2792478"/>
                <a:gd name="connsiteY9071" fmla="*/ 276607 h 4235290"/>
                <a:gd name="connsiteX9072" fmla="*/ 1971538 w 2792478"/>
                <a:gd name="connsiteY9072" fmla="*/ 270203 h 4235290"/>
                <a:gd name="connsiteX9073" fmla="*/ 1957556 w 2792478"/>
                <a:gd name="connsiteY9073" fmla="*/ 276607 h 4235290"/>
                <a:gd name="connsiteX9074" fmla="*/ 1943580 w 2792478"/>
                <a:gd name="connsiteY9074" fmla="*/ 270203 h 4235290"/>
                <a:gd name="connsiteX9075" fmla="*/ 1929659 w 2792478"/>
                <a:gd name="connsiteY9075" fmla="*/ 276607 h 4235290"/>
                <a:gd name="connsiteX9076" fmla="*/ 1911076 w 2792478"/>
                <a:gd name="connsiteY9076" fmla="*/ 258020 h 4235290"/>
                <a:gd name="connsiteX9077" fmla="*/ 1911076 w 2792478"/>
                <a:gd name="connsiteY9077" fmla="*/ 189046 h 4235290"/>
                <a:gd name="connsiteX9078" fmla="*/ 1901756 w 2792478"/>
                <a:gd name="connsiteY9078" fmla="*/ 189046 h 4235290"/>
                <a:gd name="connsiteX9079" fmla="*/ 1897155 w 2792478"/>
                <a:gd name="connsiteY9079" fmla="*/ 184387 h 4235290"/>
                <a:gd name="connsiteX9080" fmla="*/ 1901756 w 2792478"/>
                <a:gd name="connsiteY9080" fmla="*/ 179782 h 4235290"/>
                <a:gd name="connsiteX9081" fmla="*/ 1911076 w 2792478"/>
                <a:gd name="connsiteY9081" fmla="*/ 179782 h 4235290"/>
                <a:gd name="connsiteX9082" fmla="*/ 1911076 w 2792478"/>
                <a:gd name="connsiteY9082" fmla="*/ 175681 h 4235290"/>
                <a:gd name="connsiteX9083" fmla="*/ 1929659 w 2792478"/>
                <a:gd name="connsiteY9083" fmla="*/ 157096 h 4235290"/>
                <a:gd name="connsiteX9084" fmla="*/ 2130650 w 2792478"/>
                <a:gd name="connsiteY9084" fmla="*/ 157094 h 4235290"/>
                <a:gd name="connsiteX9085" fmla="*/ 2165734 w 2792478"/>
                <a:gd name="connsiteY9085" fmla="*/ 171356 h 4235290"/>
                <a:gd name="connsiteX9086" fmla="*/ 2168116 w 2792478"/>
                <a:gd name="connsiteY9086" fmla="*/ 241500 h 4235290"/>
                <a:gd name="connsiteX9087" fmla="*/ 2162069 w 2792478"/>
                <a:gd name="connsiteY9087" fmla="*/ 241811 h 4235290"/>
                <a:gd name="connsiteX9088" fmla="*/ 2161754 w 2792478"/>
                <a:gd name="connsiteY9088" fmla="*/ 235758 h 4235290"/>
                <a:gd name="connsiteX9089" fmla="*/ 2159770 w 2792478"/>
                <a:gd name="connsiteY9089" fmla="*/ 177522 h 4235290"/>
                <a:gd name="connsiteX9090" fmla="*/ 2101513 w 2792478"/>
                <a:gd name="connsiteY9090" fmla="*/ 177522 h 4235290"/>
                <a:gd name="connsiteX9091" fmla="*/ 2099528 w 2792478"/>
                <a:gd name="connsiteY9091" fmla="*/ 235758 h 4235290"/>
                <a:gd name="connsiteX9092" fmla="*/ 2099228 w 2792478"/>
                <a:gd name="connsiteY9092" fmla="*/ 241811 h 4235290"/>
                <a:gd name="connsiteX9093" fmla="*/ 2096345 w 2792478"/>
                <a:gd name="connsiteY9093" fmla="*/ 242908 h 4235290"/>
                <a:gd name="connsiteX9094" fmla="*/ 2093166 w 2792478"/>
                <a:gd name="connsiteY9094" fmla="*/ 241500 h 4235290"/>
                <a:gd name="connsiteX9095" fmla="*/ 2095554 w 2792478"/>
                <a:gd name="connsiteY9095" fmla="*/ 171356 h 4235290"/>
                <a:gd name="connsiteX9096" fmla="*/ 2130650 w 2792478"/>
                <a:gd name="connsiteY9096" fmla="*/ 157094 h 4235290"/>
                <a:gd name="connsiteX9097" fmla="*/ 704984 w 2792478"/>
                <a:gd name="connsiteY9097" fmla="*/ 153253 h 4235290"/>
                <a:gd name="connsiteX9098" fmla="*/ 616558 w 2792478"/>
                <a:gd name="connsiteY9098" fmla="*/ 241617 h 4235290"/>
                <a:gd name="connsiteX9099" fmla="*/ 704922 w 2792478"/>
                <a:gd name="connsiteY9099" fmla="*/ 329981 h 4235290"/>
                <a:gd name="connsiteX9100" fmla="*/ 704984 w 2792478"/>
                <a:gd name="connsiteY9100" fmla="*/ 329981 h 4235290"/>
                <a:gd name="connsiteX9101" fmla="*/ 767500 w 2792478"/>
                <a:gd name="connsiteY9101" fmla="*/ 304075 h 4235290"/>
                <a:gd name="connsiteX9102" fmla="*/ 793356 w 2792478"/>
                <a:gd name="connsiteY9102" fmla="*/ 241558 h 4235290"/>
                <a:gd name="connsiteX9103" fmla="*/ 767437 w 2792478"/>
                <a:gd name="connsiteY9103" fmla="*/ 179098 h 4235290"/>
                <a:gd name="connsiteX9104" fmla="*/ 704984 w 2792478"/>
                <a:gd name="connsiteY9104" fmla="*/ 153253 h 4235290"/>
                <a:gd name="connsiteX9105" fmla="*/ 704984 w 2792478"/>
                <a:gd name="connsiteY9105" fmla="*/ 145171 h 4235290"/>
                <a:gd name="connsiteX9106" fmla="*/ 773160 w 2792478"/>
                <a:gd name="connsiteY9106" fmla="*/ 173382 h 4235290"/>
                <a:gd name="connsiteX9107" fmla="*/ 801374 w 2792478"/>
                <a:gd name="connsiteY9107" fmla="*/ 241558 h 4235290"/>
                <a:gd name="connsiteX9108" fmla="*/ 773223 w 2792478"/>
                <a:gd name="connsiteY9108" fmla="*/ 309791 h 4235290"/>
                <a:gd name="connsiteX9109" fmla="*/ 704984 w 2792478"/>
                <a:gd name="connsiteY9109" fmla="*/ 338066 h 4235290"/>
                <a:gd name="connsiteX9110" fmla="*/ 704922 w 2792478"/>
                <a:gd name="connsiteY9110" fmla="*/ 338066 h 4235290"/>
                <a:gd name="connsiteX9111" fmla="*/ 608541 w 2792478"/>
                <a:gd name="connsiteY9111" fmla="*/ 241617 h 4235290"/>
                <a:gd name="connsiteX9112" fmla="*/ 704984 w 2792478"/>
                <a:gd name="connsiteY9112" fmla="*/ 145171 h 4235290"/>
                <a:gd name="connsiteX9113" fmla="*/ 1037396 w 2792478"/>
                <a:gd name="connsiteY9113" fmla="*/ 141316 h 4235290"/>
                <a:gd name="connsiteX9114" fmla="*/ 1023788 w 2792478"/>
                <a:gd name="connsiteY9114" fmla="*/ 149455 h 4235290"/>
                <a:gd name="connsiteX9115" fmla="*/ 1037396 w 2792478"/>
                <a:gd name="connsiteY9115" fmla="*/ 163064 h 4235290"/>
                <a:gd name="connsiteX9116" fmla="*/ 1051007 w 2792478"/>
                <a:gd name="connsiteY9116" fmla="*/ 149455 h 4235290"/>
                <a:gd name="connsiteX9117" fmla="*/ 1037396 w 2792478"/>
                <a:gd name="connsiteY9117" fmla="*/ 141316 h 4235290"/>
                <a:gd name="connsiteX9118" fmla="*/ 994145 w 2792478"/>
                <a:gd name="connsiteY9118" fmla="*/ 141316 h 4235290"/>
                <a:gd name="connsiteX9119" fmla="*/ 980534 w 2792478"/>
                <a:gd name="connsiteY9119" fmla="*/ 149455 h 4235290"/>
                <a:gd name="connsiteX9120" fmla="*/ 994145 w 2792478"/>
                <a:gd name="connsiteY9120" fmla="*/ 163064 h 4235290"/>
                <a:gd name="connsiteX9121" fmla="*/ 1007753 w 2792478"/>
                <a:gd name="connsiteY9121" fmla="*/ 149455 h 4235290"/>
                <a:gd name="connsiteX9122" fmla="*/ 994145 w 2792478"/>
                <a:gd name="connsiteY9122" fmla="*/ 141316 h 4235290"/>
                <a:gd name="connsiteX9123" fmla="*/ 1185365 w 2792478"/>
                <a:gd name="connsiteY9123" fmla="*/ 137673 h 4235290"/>
                <a:gd name="connsiteX9124" fmla="*/ 1160134 w 2792478"/>
                <a:gd name="connsiteY9124" fmla="*/ 162926 h 4235290"/>
                <a:gd name="connsiteX9125" fmla="*/ 1197786 w 2792478"/>
                <a:gd name="connsiteY9125" fmla="*/ 200578 h 4235290"/>
                <a:gd name="connsiteX9126" fmla="*/ 1223006 w 2792478"/>
                <a:gd name="connsiteY9126" fmla="*/ 175326 h 4235290"/>
                <a:gd name="connsiteX9127" fmla="*/ 1185365 w 2792478"/>
                <a:gd name="connsiteY9127" fmla="*/ 137673 h 4235290"/>
                <a:gd name="connsiteX9128" fmla="*/ 994145 w 2792478"/>
                <a:gd name="connsiteY9128" fmla="*/ 137214 h 4235290"/>
                <a:gd name="connsiteX9129" fmla="*/ 1005081 w 2792478"/>
                <a:gd name="connsiteY9129" fmla="*/ 138767 h 4235290"/>
                <a:gd name="connsiteX9130" fmla="*/ 1015768 w 2792478"/>
                <a:gd name="connsiteY9130" fmla="*/ 140386 h 4235290"/>
                <a:gd name="connsiteX9131" fmla="*/ 1026460 w 2792478"/>
                <a:gd name="connsiteY9131" fmla="*/ 138767 h 4235290"/>
                <a:gd name="connsiteX9132" fmla="*/ 1037396 w 2792478"/>
                <a:gd name="connsiteY9132" fmla="*/ 137214 h 4235290"/>
                <a:gd name="connsiteX9133" fmla="*/ 1055170 w 2792478"/>
                <a:gd name="connsiteY9133" fmla="*/ 149455 h 4235290"/>
                <a:gd name="connsiteX9134" fmla="*/ 1037396 w 2792478"/>
                <a:gd name="connsiteY9134" fmla="*/ 167169 h 4235290"/>
                <a:gd name="connsiteX9135" fmla="*/ 1019621 w 2792478"/>
                <a:gd name="connsiteY9135" fmla="*/ 149455 h 4235290"/>
                <a:gd name="connsiteX9136" fmla="*/ 1019749 w 2792478"/>
                <a:gd name="connsiteY9136" fmla="*/ 147406 h 4235290"/>
                <a:gd name="connsiteX9137" fmla="*/ 1015583 w 2792478"/>
                <a:gd name="connsiteY9137" fmla="*/ 146472 h 4235290"/>
                <a:gd name="connsiteX9138" fmla="*/ 1011791 w 2792478"/>
                <a:gd name="connsiteY9138" fmla="*/ 147219 h 4235290"/>
                <a:gd name="connsiteX9139" fmla="*/ 1011915 w 2792478"/>
                <a:gd name="connsiteY9139" fmla="*/ 149455 h 4235290"/>
                <a:gd name="connsiteX9140" fmla="*/ 994145 w 2792478"/>
                <a:gd name="connsiteY9140" fmla="*/ 167169 h 4235290"/>
                <a:gd name="connsiteX9141" fmla="*/ 976433 w 2792478"/>
                <a:gd name="connsiteY9141" fmla="*/ 149455 h 4235290"/>
                <a:gd name="connsiteX9142" fmla="*/ 994145 w 2792478"/>
                <a:gd name="connsiteY9142" fmla="*/ 137214 h 4235290"/>
                <a:gd name="connsiteX9143" fmla="*/ 1040068 w 2792478"/>
                <a:gd name="connsiteY9143" fmla="*/ 125286 h 4235290"/>
                <a:gd name="connsiteX9144" fmla="*/ 1049640 w 2792478"/>
                <a:gd name="connsiteY9144" fmla="*/ 125286 h 4235290"/>
                <a:gd name="connsiteX9145" fmla="*/ 1049640 w 2792478"/>
                <a:gd name="connsiteY9145" fmla="*/ 137650 h 4235290"/>
                <a:gd name="connsiteX9146" fmla="*/ 1040068 w 2792478"/>
                <a:gd name="connsiteY9146" fmla="*/ 135910 h 4235290"/>
                <a:gd name="connsiteX9147" fmla="*/ 982400 w 2792478"/>
                <a:gd name="connsiteY9147" fmla="*/ 123296 h 4235290"/>
                <a:gd name="connsiteX9148" fmla="*/ 991969 w 2792478"/>
                <a:gd name="connsiteY9148" fmla="*/ 123296 h 4235290"/>
                <a:gd name="connsiteX9149" fmla="*/ 991969 w 2792478"/>
                <a:gd name="connsiteY9149" fmla="*/ 135974 h 4235290"/>
                <a:gd name="connsiteX9150" fmla="*/ 982400 w 2792478"/>
                <a:gd name="connsiteY9150" fmla="*/ 137712 h 4235290"/>
                <a:gd name="connsiteX9151" fmla="*/ 1494708 w 2792478"/>
                <a:gd name="connsiteY9151" fmla="*/ 117329 h 4235290"/>
                <a:gd name="connsiteX9152" fmla="*/ 1519943 w 2792478"/>
                <a:gd name="connsiteY9152" fmla="*/ 117329 h 4235290"/>
                <a:gd name="connsiteX9153" fmla="*/ 1531191 w 2792478"/>
                <a:gd name="connsiteY9153" fmla="*/ 128515 h 4235290"/>
                <a:gd name="connsiteX9154" fmla="*/ 1519943 w 2792478"/>
                <a:gd name="connsiteY9154" fmla="*/ 139701 h 4235290"/>
                <a:gd name="connsiteX9155" fmla="*/ 1494708 w 2792478"/>
                <a:gd name="connsiteY9155" fmla="*/ 139701 h 4235290"/>
                <a:gd name="connsiteX9156" fmla="*/ 1483532 w 2792478"/>
                <a:gd name="connsiteY9156" fmla="*/ 128515 h 4235290"/>
                <a:gd name="connsiteX9157" fmla="*/ 1494708 w 2792478"/>
                <a:gd name="connsiteY9157" fmla="*/ 117329 h 4235290"/>
                <a:gd name="connsiteX9158" fmla="*/ 1283922 w 2792478"/>
                <a:gd name="connsiteY9158" fmla="*/ 117329 h 4235290"/>
                <a:gd name="connsiteX9159" fmla="*/ 1309217 w 2792478"/>
                <a:gd name="connsiteY9159" fmla="*/ 117329 h 4235290"/>
                <a:gd name="connsiteX9160" fmla="*/ 1320393 w 2792478"/>
                <a:gd name="connsiteY9160" fmla="*/ 128515 h 4235290"/>
                <a:gd name="connsiteX9161" fmla="*/ 1309217 w 2792478"/>
                <a:gd name="connsiteY9161" fmla="*/ 139701 h 4235290"/>
                <a:gd name="connsiteX9162" fmla="*/ 1283922 w 2792478"/>
                <a:gd name="connsiteY9162" fmla="*/ 139701 h 4235290"/>
                <a:gd name="connsiteX9163" fmla="*/ 1272734 w 2792478"/>
                <a:gd name="connsiteY9163" fmla="*/ 128515 h 4235290"/>
                <a:gd name="connsiteX9164" fmla="*/ 1283922 w 2792478"/>
                <a:gd name="connsiteY9164" fmla="*/ 117329 h 4235290"/>
                <a:gd name="connsiteX9165" fmla="*/ 996317 w 2792478"/>
                <a:gd name="connsiteY9165" fmla="*/ 113350 h 4235290"/>
                <a:gd name="connsiteX9166" fmla="*/ 1005828 w 2792478"/>
                <a:gd name="connsiteY9166" fmla="*/ 113350 h 4235290"/>
                <a:gd name="connsiteX9167" fmla="*/ 1005828 w 2792478"/>
                <a:gd name="connsiteY9167" fmla="*/ 137214 h 4235290"/>
                <a:gd name="connsiteX9168" fmla="*/ 996317 w 2792478"/>
                <a:gd name="connsiteY9168" fmla="*/ 135477 h 4235290"/>
                <a:gd name="connsiteX9169" fmla="*/ 1024160 w 2792478"/>
                <a:gd name="connsiteY9169" fmla="*/ 107383 h 4235290"/>
                <a:gd name="connsiteX9170" fmla="*/ 1033729 w 2792478"/>
                <a:gd name="connsiteY9170" fmla="*/ 107383 h 4235290"/>
                <a:gd name="connsiteX9171" fmla="*/ 1033729 w 2792478"/>
                <a:gd name="connsiteY9171" fmla="*/ 134728 h 4235290"/>
                <a:gd name="connsiteX9172" fmla="*/ 1024408 w 2792478"/>
                <a:gd name="connsiteY9172" fmla="*/ 136407 h 4235290"/>
                <a:gd name="connsiteX9173" fmla="*/ 1024160 w 2792478"/>
                <a:gd name="connsiteY9173" fmla="*/ 136468 h 4235290"/>
                <a:gd name="connsiteX9174" fmla="*/ 1638634 w 2792478"/>
                <a:gd name="connsiteY9174" fmla="*/ 105400 h 4235290"/>
                <a:gd name="connsiteX9175" fmla="*/ 1638821 w 2792478"/>
                <a:gd name="connsiteY9175" fmla="*/ 105400 h 4235290"/>
                <a:gd name="connsiteX9176" fmla="*/ 1705008 w 2792478"/>
                <a:gd name="connsiteY9176" fmla="*/ 171516 h 4235290"/>
                <a:gd name="connsiteX9177" fmla="*/ 1704942 w 2792478"/>
                <a:gd name="connsiteY9177" fmla="*/ 172453 h 4235290"/>
                <a:gd name="connsiteX9178" fmla="*/ 1638634 w 2792478"/>
                <a:gd name="connsiteY9178" fmla="*/ 172453 h 4235290"/>
                <a:gd name="connsiteX9179" fmla="*/ 1998446 w 2792478"/>
                <a:gd name="connsiteY9179" fmla="*/ 99427 h 4235290"/>
                <a:gd name="connsiteX9180" fmla="*/ 2001804 w 2792478"/>
                <a:gd name="connsiteY9180" fmla="*/ 107508 h 4235290"/>
                <a:gd name="connsiteX9181" fmla="*/ 2005099 w 2792478"/>
                <a:gd name="connsiteY9181" fmla="*/ 125156 h 4235290"/>
                <a:gd name="connsiteX9182" fmla="*/ 2001307 w 2792478"/>
                <a:gd name="connsiteY9182" fmla="*/ 142439 h 4235290"/>
                <a:gd name="connsiteX9183" fmla="*/ 1994785 w 2792478"/>
                <a:gd name="connsiteY9183" fmla="*/ 135905 h 4235290"/>
                <a:gd name="connsiteX9184" fmla="*/ 1991490 w 2792478"/>
                <a:gd name="connsiteY9184" fmla="*/ 117512 h 4235290"/>
                <a:gd name="connsiteX9185" fmla="*/ 1995282 w 2792478"/>
                <a:gd name="connsiteY9185" fmla="*/ 100989 h 4235290"/>
                <a:gd name="connsiteX9186" fmla="*/ 1998446 w 2792478"/>
                <a:gd name="connsiteY9186" fmla="*/ 99427 h 4235290"/>
                <a:gd name="connsiteX9187" fmla="*/ 1970606 w 2792478"/>
                <a:gd name="connsiteY9187" fmla="*/ 99427 h 4235290"/>
                <a:gd name="connsiteX9188" fmla="*/ 1973963 w 2792478"/>
                <a:gd name="connsiteY9188" fmla="*/ 107508 h 4235290"/>
                <a:gd name="connsiteX9189" fmla="*/ 1977258 w 2792478"/>
                <a:gd name="connsiteY9189" fmla="*/ 125156 h 4235290"/>
                <a:gd name="connsiteX9190" fmla="*/ 1973466 w 2792478"/>
                <a:gd name="connsiteY9190" fmla="*/ 142439 h 4235290"/>
                <a:gd name="connsiteX9191" fmla="*/ 1966882 w 2792478"/>
                <a:gd name="connsiteY9191" fmla="*/ 135905 h 4235290"/>
                <a:gd name="connsiteX9192" fmla="*/ 1963649 w 2792478"/>
                <a:gd name="connsiteY9192" fmla="*/ 117512 h 4235290"/>
                <a:gd name="connsiteX9193" fmla="*/ 1967441 w 2792478"/>
                <a:gd name="connsiteY9193" fmla="*/ 100989 h 4235290"/>
                <a:gd name="connsiteX9194" fmla="*/ 1970606 w 2792478"/>
                <a:gd name="connsiteY9194" fmla="*/ 99427 h 4235290"/>
                <a:gd name="connsiteX9195" fmla="*/ 1942772 w 2792478"/>
                <a:gd name="connsiteY9195" fmla="*/ 99427 h 4235290"/>
                <a:gd name="connsiteX9196" fmla="*/ 1946122 w 2792478"/>
                <a:gd name="connsiteY9196" fmla="*/ 107508 h 4235290"/>
                <a:gd name="connsiteX9197" fmla="*/ 1949417 w 2792478"/>
                <a:gd name="connsiteY9197" fmla="*/ 125156 h 4235290"/>
                <a:gd name="connsiteX9198" fmla="*/ 1945625 w 2792478"/>
                <a:gd name="connsiteY9198" fmla="*/ 142439 h 4235290"/>
                <a:gd name="connsiteX9199" fmla="*/ 1939103 w 2792478"/>
                <a:gd name="connsiteY9199" fmla="*/ 135905 h 4235290"/>
                <a:gd name="connsiteX9200" fmla="*/ 1935808 w 2792478"/>
                <a:gd name="connsiteY9200" fmla="*/ 117512 h 4235290"/>
                <a:gd name="connsiteX9201" fmla="*/ 1939601 w 2792478"/>
                <a:gd name="connsiteY9201" fmla="*/ 100989 h 4235290"/>
                <a:gd name="connsiteX9202" fmla="*/ 1942772 w 2792478"/>
                <a:gd name="connsiteY9202" fmla="*/ 99427 h 4235290"/>
                <a:gd name="connsiteX9203" fmla="*/ 1010239 w 2792478"/>
                <a:gd name="connsiteY9203" fmla="*/ 97443 h 4235290"/>
                <a:gd name="connsiteX9204" fmla="*/ 1019749 w 2792478"/>
                <a:gd name="connsiteY9204" fmla="*/ 97443 h 4235290"/>
                <a:gd name="connsiteX9205" fmla="*/ 1019749 w 2792478"/>
                <a:gd name="connsiteY9205" fmla="*/ 138457 h 4235290"/>
                <a:gd name="connsiteX9206" fmla="*/ 1015025 w 2792478"/>
                <a:gd name="connsiteY9206" fmla="*/ 138829 h 4235290"/>
                <a:gd name="connsiteX9207" fmla="*/ 1010239 w 2792478"/>
                <a:gd name="connsiteY9207" fmla="*/ 138457 h 4235290"/>
                <a:gd name="connsiteX9208" fmla="*/ 1637953 w 2792478"/>
                <a:gd name="connsiteY9208" fmla="*/ 88363 h 4235290"/>
                <a:gd name="connsiteX9209" fmla="*/ 1555238 w 2792478"/>
                <a:gd name="connsiteY9209" fmla="*/ 171076 h 4235290"/>
                <a:gd name="connsiteX9210" fmla="*/ 1637953 w 2792478"/>
                <a:gd name="connsiteY9210" fmla="*/ 253732 h 4235290"/>
                <a:gd name="connsiteX9211" fmla="*/ 1720603 w 2792478"/>
                <a:gd name="connsiteY9211" fmla="*/ 171076 h 4235290"/>
                <a:gd name="connsiteX9212" fmla="*/ 1637953 w 2792478"/>
                <a:gd name="connsiteY9212" fmla="*/ 88363 h 4235290"/>
                <a:gd name="connsiteX9213" fmla="*/ 1402800 w 2792478"/>
                <a:gd name="connsiteY9213" fmla="*/ 83519 h 4235290"/>
                <a:gd name="connsiteX9214" fmla="*/ 1421263 w 2792478"/>
                <a:gd name="connsiteY9214" fmla="*/ 83519 h 4235290"/>
                <a:gd name="connsiteX9215" fmla="*/ 1423991 w 2792478"/>
                <a:gd name="connsiteY9215" fmla="*/ 87441 h 4235290"/>
                <a:gd name="connsiteX9216" fmla="*/ 1413365 w 2792478"/>
                <a:gd name="connsiteY9216" fmla="*/ 116463 h 4235290"/>
                <a:gd name="connsiteX9217" fmla="*/ 1416106 w 2792478"/>
                <a:gd name="connsiteY9217" fmla="*/ 120377 h 4235290"/>
                <a:gd name="connsiteX9218" fmla="*/ 1422627 w 2792478"/>
                <a:gd name="connsiteY9218" fmla="*/ 120377 h 4235290"/>
                <a:gd name="connsiteX9219" fmla="*/ 1424302 w 2792478"/>
                <a:gd name="connsiteY9219" fmla="*/ 123729 h 4235290"/>
                <a:gd name="connsiteX9220" fmla="*/ 1388441 w 2792478"/>
                <a:gd name="connsiteY9220" fmla="*/ 171020 h 4235290"/>
                <a:gd name="connsiteX9221" fmla="*/ 1386455 w 2792478"/>
                <a:gd name="connsiteY9221" fmla="*/ 170207 h 4235290"/>
                <a:gd name="connsiteX9222" fmla="*/ 1390248 w 2792478"/>
                <a:gd name="connsiteY9222" fmla="*/ 141628 h 4235290"/>
                <a:gd name="connsiteX9223" fmla="*/ 1386586 w 2792478"/>
                <a:gd name="connsiteY9223" fmla="*/ 137466 h 4235290"/>
                <a:gd name="connsiteX9224" fmla="*/ 1383104 w 2792478"/>
                <a:gd name="connsiteY9224" fmla="*/ 137466 h 4235290"/>
                <a:gd name="connsiteX9225" fmla="*/ 1380305 w 2792478"/>
                <a:gd name="connsiteY9225" fmla="*/ 133553 h 4235290"/>
                <a:gd name="connsiteX9226" fmla="*/ 1397212 w 2792478"/>
                <a:gd name="connsiteY9226" fmla="*/ 87441 h 4235290"/>
                <a:gd name="connsiteX9227" fmla="*/ 1402800 w 2792478"/>
                <a:gd name="connsiteY9227" fmla="*/ 83519 h 4235290"/>
                <a:gd name="connsiteX9228" fmla="*/ 890590 w 2792478"/>
                <a:gd name="connsiteY9228" fmla="*/ 82866 h 4235290"/>
                <a:gd name="connsiteX9229" fmla="*/ 832563 w 2792478"/>
                <a:gd name="connsiteY9229" fmla="*/ 140876 h 4235290"/>
                <a:gd name="connsiteX9230" fmla="*/ 855138 w 2792478"/>
                <a:gd name="connsiteY9230" fmla="*/ 210508 h 4235290"/>
                <a:gd name="connsiteX9231" fmla="*/ 855151 w 2792478"/>
                <a:gd name="connsiteY9231" fmla="*/ 210508 h 4235290"/>
                <a:gd name="connsiteX9232" fmla="*/ 860953 w 2792478"/>
                <a:gd name="connsiteY9232" fmla="*/ 216305 h 4235290"/>
                <a:gd name="connsiteX9233" fmla="*/ 920220 w 2792478"/>
                <a:gd name="connsiteY9233" fmla="*/ 216305 h 4235290"/>
                <a:gd name="connsiteX9234" fmla="*/ 926022 w 2792478"/>
                <a:gd name="connsiteY9234" fmla="*/ 210508 h 4235290"/>
                <a:gd name="connsiteX9235" fmla="*/ 948616 w 2792478"/>
                <a:gd name="connsiteY9235" fmla="*/ 140876 h 4235290"/>
                <a:gd name="connsiteX9236" fmla="*/ 890590 w 2792478"/>
                <a:gd name="connsiteY9236" fmla="*/ 82866 h 4235290"/>
                <a:gd name="connsiteX9237" fmla="*/ 1818637 w 2792478"/>
                <a:gd name="connsiteY9237" fmla="*/ 75815 h 4235290"/>
                <a:gd name="connsiteX9238" fmla="*/ 1819808 w 2792478"/>
                <a:gd name="connsiteY9238" fmla="*/ 77366 h 4235290"/>
                <a:gd name="connsiteX9239" fmla="*/ 1818328 w 2792478"/>
                <a:gd name="connsiteY9239" fmla="*/ 78113 h 4235290"/>
                <a:gd name="connsiteX9240" fmla="*/ 1792054 w 2792478"/>
                <a:gd name="connsiteY9240" fmla="*/ 86549 h 4235290"/>
                <a:gd name="connsiteX9241" fmla="*/ 1829278 w 2792478"/>
                <a:gd name="connsiteY9241" fmla="*/ 136510 h 4235290"/>
                <a:gd name="connsiteX9242" fmla="*/ 1861124 w 2792478"/>
                <a:gd name="connsiteY9242" fmla="*/ 135686 h 4235290"/>
                <a:gd name="connsiteX9243" fmla="*/ 1861698 w 2792478"/>
                <a:gd name="connsiteY9243" fmla="*/ 135633 h 4235290"/>
                <a:gd name="connsiteX9244" fmla="*/ 1867093 w 2792478"/>
                <a:gd name="connsiteY9244" fmla="*/ 170265 h 4235290"/>
                <a:gd name="connsiteX9245" fmla="*/ 1865943 w 2792478"/>
                <a:gd name="connsiteY9245" fmla="*/ 171322 h 4235290"/>
                <a:gd name="connsiteX9246" fmla="*/ 1860895 w 2792478"/>
                <a:gd name="connsiteY9246" fmla="*/ 138922 h 4235290"/>
                <a:gd name="connsiteX9247" fmla="*/ 1829967 w 2792478"/>
                <a:gd name="connsiteY9247" fmla="*/ 139878 h 4235290"/>
                <a:gd name="connsiteX9248" fmla="*/ 1830879 w 2792478"/>
                <a:gd name="connsiteY9248" fmla="*/ 147421 h 4235290"/>
                <a:gd name="connsiteX9249" fmla="*/ 1822540 w 2792478"/>
                <a:gd name="connsiteY9249" fmla="*/ 168913 h 4235290"/>
                <a:gd name="connsiteX9250" fmla="*/ 1854175 w 2792478"/>
                <a:gd name="connsiteY9250" fmla="*/ 182127 h 4235290"/>
                <a:gd name="connsiteX9251" fmla="*/ 1853118 w 2792478"/>
                <a:gd name="connsiteY9251" fmla="*/ 183095 h 4235290"/>
                <a:gd name="connsiteX9252" fmla="*/ 1858265 w 2792478"/>
                <a:gd name="connsiteY9252" fmla="*/ 185246 h 4235290"/>
                <a:gd name="connsiteX9253" fmla="*/ 1819227 w 2792478"/>
                <a:gd name="connsiteY9253" fmla="*/ 168941 h 4235290"/>
                <a:gd name="connsiteX9254" fmla="*/ 1819378 w 2792478"/>
                <a:gd name="connsiteY9254" fmla="*/ 168454 h 4235290"/>
                <a:gd name="connsiteX9255" fmla="*/ 1828285 w 2792478"/>
                <a:gd name="connsiteY9255" fmla="*/ 147421 h 4235290"/>
                <a:gd name="connsiteX9256" fmla="*/ 1826569 w 2792478"/>
                <a:gd name="connsiteY9256" fmla="*/ 137540 h 4235290"/>
                <a:gd name="connsiteX9257" fmla="*/ 1826494 w 2792478"/>
                <a:gd name="connsiteY9257" fmla="*/ 137125 h 4235290"/>
                <a:gd name="connsiteX9258" fmla="*/ 1790051 w 2792478"/>
                <a:gd name="connsiteY9258" fmla="*/ 88208 h 4235290"/>
                <a:gd name="connsiteX9259" fmla="*/ 1776581 w 2792478"/>
                <a:gd name="connsiteY9259" fmla="*/ 113234 h 4235290"/>
                <a:gd name="connsiteX9260" fmla="*/ 1776198 w 2792478"/>
                <a:gd name="connsiteY9260" fmla="*/ 113686 h 4235290"/>
                <a:gd name="connsiteX9261" fmla="*/ 1774555 w 2792478"/>
                <a:gd name="connsiteY9261" fmla="*/ 111504 h 4235290"/>
                <a:gd name="connsiteX9262" fmla="*/ 1778599 w 2792478"/>
                <a:gd name="connsiteY9262" fmla="*/ 97433 h 4235290"/>
                <a:gd name="connsiteX9263" fmla="*/ 1790252 w 2792478"/>
                <a:gd name="connsiteY9263" fmla="*/ 84664 h 4235290"/>
                <a:gd name="connsiteX9264" fmla="*/ 1402991 w 2792478"/>
                <a:gd name="connsiteY9264" fmla="*/ 72158 h 4235290"/>
                <a:gd name="connsiteX9265" fmla="*/ 1346813 w 2792478"/>
                <a:gd name="connsiteY9265" fmla="*/ 128271 h 4235290"/>
                <a:gd name="connsiteX9266" fmla="*/ 1378067 w 2792478"/>
                <a:gd name="connsiteY9266" fmla="*/ 178297 h 4235290"/>
                <a:gd name="connsiteX9267" fmla="*/ 1387388 w 2792478"/>
                <a:gd name="connsiteY9267" fmla="*/ 182954 h 4235290"/>
                <a:gd name="connsiteX9268" fmla="*/ 1388944 w 2792478"/>
                <a:gd name="connsiteY9268" fmla="*/ 183703 h 4235290"/>
                <a:gd name="connsiteX9269" fmla="*/ 1388944 w 2792478"/>
                <a:gd name="connsiteY9269" fmla="*/ 201289 h 4235290"/>
                <a:gd name="connsiteX9270" fmla="*/ 1417027 w 2792478"/>
                <a:gd name="connsiteY9270" fmla="*/ 201289 h 4235290"/>
                <a:gd name="connsiteX9271" fmla="*/ 1417027 w 2792478"/>
                <a:gd name="connsiteY9271" fmla="*/ 183703 h 4235290"/>
                <a:gd name="connsiteX9272" fmla="*/ 1427904 w 2792478"/>
                <a:gd name="connsiteY9272" fmla="*/ 178297 h 4235290"/>
                <a:gd name="connsiteX9273" fmla="*/ 1459170 w 2792478"/>
                <a:gd name="connsiteY9273" fmla="*/ 128271 h 4235290"/>
                <a:gd name="connsiteX9274" fmla="*/ 1402991 w 2792478"/>
                <a:gd name="connsiteY9274" fmla="*/ 72158 h 4235290"/>
                <a:gd name="connsiteX9275" fmla="*/ 890590 w 2792478"/>
                <a:gd name="connsiteY9275" fmla="*/ 69594 h 4235290"/>
                <a:gd name="connsiteX9276" fmla="*/ 961877 w 2792478"/>
                <a:gd name="connsiteY9276" fmla="*/ 140876 h 4235290"/>
                <a:gd name="connsiteX9277" fmla="*/ 949738 w 2792478"/>
                <a:gd name="connsiteY9277" fmla="*/ 181962 h 4235290"/>
                <a:gd name="connsiteX9278" fmla="*/ 939256 w 2792478"/>
                <a:gd name="connsiteY9278" fmla="*/ 211411 h 4235290"/>
                <a:gd name="connsiteX9279" fmla="*/ 936854 w 2792478"/>
                <a:gd name="connsiteY9279" fmla="*/ 219820 h 4235290"/>
                <a:gd name="connsiteX9280" fmla="*/ 938669 w 2792478"/>
                <a:gd name="connsiteY9280" fmla="*/ 227904 h 4235290"/>
                <a:gd name="connsiteX9281" fmla="*/ 936550 w 2792478"/>
                <a:gd name="connsiteY9281" fmla="*/ 236610 h 4235290"/>
                <a:gd name="connsiteX9282" fmla="*/ 938669 w 2792478"/>
                <a:gd name="connsiteY9282" fmla="*/ 245316 h 4235290"/>
                <a:gd name="connsiteX9283" fmla="*/ 926253 w 2792478"/>
                <a:gd name="connsiteY9283" fmla="*/ 263176 h 4235290"/>
                <a:gd name="connsiteX9284" fmla="*/ 902194 w 2792478"/>
                <a:gd name="connsiteY9284" fmla="*/ 281789 h 4235290"/>
                <a:gd name="connsiteX9285" fmla="*/ 878986 w 2792478"/>
                <a:gd name="connsiteY9285" fmla="*/ 281789 h 4235290"/>
                <a:gd name="connsiteX9286" fmla="*/ 854920 w 2792478"/>
                <a:gd name="connsiteY9286" fmla="*/ 263176 h 4235290"/>
                <a:gd name="connsiteX9287" fmla="*/ 842511 w 2792478"/>
                <a:gd name="connsiteY9287" fmla="*/ 245316 h 4235290"/>
                <a:gd name="connsiteX9288" fmla="*/ 844610 w 2792478"/>
                <a:gd name="connsiteY9288" fmla="*/ 236610 h 4235290"/>
                <a:gd name="connsiteX9289" fmla="*/ 842511 w 2792478"/>
                <a:gd name="connsiteY9289" fmla="*/ 227904 h 4235290"/>
                <a:gd name="connsiteX9290" fmla="*/ 844326 w 2792478"/>
                <a:gd name="connsiteY9290" fmla="*/ 219800 h 4235290"/>
                <a:gd name="connsiteX9291" fmla="*/ 841903 w 2792478"/>
                <a:gd name="connsiteY9291" fmla="*/ 211430 h 4235290"/>
                <a:gd name="connsiteX9292" fmla="*/ 831422 w 2792478"/>
                <a:gd name="connsiteY9292" fmla="*/ 181962 h 4235290"/>
                <a:gd name="connsiteX9293" fmla="*/ 819303 w 2792478"/>
                <a:gd name="connsiteY9293" fmla="*/ 140876 h 4235290"/>
                <a:gd name="connsiteX9294" fmla="*/ 890590 w 2792478"/>
                <a:gd name="connsiteY9294" fmla="*/ 69594 h 4235290"/>
                <a:gd name="connsiteX9295" fmla="*/ 1110491 w 2792478"/>
                <a:gd name="connsiteY9295" fmla="*/ 62807 h 4235290"/>
                <a:gd name="connsiteX9296" fmla="*/ 1085271 w 2792478"/>
                <a:gd name="connsiteY9296" fmla="*/ 88040 h 4235290"/>
                <a:gd name="connsiteX9297" fmla="*/ 1119442 w 2792478"/>
                <a:gd name="connsiteY9297" fmla="*/ 122224 h 4235290"/>
                <a:gd name="connsiteX9298" fmla="*/ 1144673 w 2792478"/>
                <a:gd name="connsiteY9298" fmla="*/ 96979 h 4235290"/>
                <a:gd name="connsiteX9299" fmla="*/ 1808137 w 2792478"/>
                <a:gd name="connsiteY9299" fmla="*/ 61915 h 4235290"/>
                <a:gd name="connsiteX9300" fmla="*/ 1809373 w 2792478"/>
                <a:gd name="connsiteY9300" fmla="*/ 63549 h 4235290"/>
                <a:gd name="connsiteX9301" fmla="*/ 1808399 w 2792478"/>
                <a:gd name="connsiteY9301" fmla="*/ 64047 h 4235290"/>
                <a:gd name="connsiteX9302" fmla="*/ 1781930 w 2792478"/>
                <a:gd name="connsiteY9302" fmla="*/ 72630 h 4235290"/>
                <a:gd name="connsiteX9303" fmla="*/ 1766641 w 2792478"/>
                <a:gd name="connsiteY9303" fmla="*/ 99161 h 4235290"/>
                <a:gd name="connsiteX9304" fmla="*/ 1765917 w 2792478"/>
                <a:gd name="connsiteY9304" fmla="*/ 100016 h 4235290"/>
                <a:gd name="connsiteX9305" fmla="*/ 1764435 w 2792478"/>
                <a:gd name="connsiteY9305" fmla="*/ 98050 h 4235290"/>
                <a:gd name="connsiteX9306" fmla="*/ 1768660 w 2792478"/>
                <a:gd name="connsiteY9306" fmla="*/ 83367 h 4235290"/>
                <a:gd name="connsiteX9307" fmla="*/ 1780317 w 2792478"/>
                <a:gd name="connsiteY9307" fmla="*/ 70589 h 4235290"/>
                <a:gd name="connsiteX9308" fmla="*/ 1504651 w 2792478"/>
                <a:gd name="connsiteY9308" fmla="*/ 59661 h 4235290"/>
                <a:gd name="connsiteX9309" fmla="*/ 1514355 w 2792478"/>
                <a:gd name="connsiteY9309" fmla="*/ 65248 h 4235290"/>
                <a:gd name="connsiteX9310" fmla="*/ 1515468 w 2792478"/>
                <a:gd name="connsiteY9310" fmla="*/ 73767 h 4235290"/>
                <a:gd name="connsiteX9311" fmla="*/ 1510251 w 2792478"/>
                <a:gd name="connsiteY9311" fmla="*/ 80600 h 4235290"/>
                <a:gd name="connsiteX9312" fmla="*/ 1488378 w 2792478"/>
                <a:gd name="connsiteY9312" fmla="*/ 93219 h 4235290"/>
                <a:gd name="connsiteX9313" fmla="*/ 1482778 w 2792478"/>
                <a:gd name="connsiteY9313" fmla="*/ 94705 h 4235290"/>
                <a:gd name="connsiteX9314" fmla="*/ 1473086 w 2792478"/>
                <a:gd name="connsiteY9314" fmla="*/ 89118 h 4235290"/>
                <a:gd name="connsiteX9315" fmla="*/ 1471973 w 2792478"/>
                <a:gd name="connsiteY9315" fmla="*/ 80600 h 4235290"/>
                <a:gd name="connsiteX9316" fmla="*/ 1477190 w 2792478"/>
                <a:gd name="connsiteY9316" fmla="*/ 73767 h 4235290"/>
                <a:gd name="connsiteX9317" fmla="*/ 1499063 w 2792478"/>
                <a:gd name="connsiteY9317" fmla="*/ 61147 h 4235290"/>
                <a:gd name="connsiteX9318" fmla="*/ 1504651 w 2792478"/>
                <a:gd name="connsiteY9318" fmla="*/ 59661 h 4235290"/>
                <a:gd name="connsiteX9319" fmla="*/ 1299824 w 2792478"/>
                <a:gd name="connsiteY9319" fmla="*/ 59661 h 4235290"/>
                <a:gd name="connsiteX9320" fmla="*/ 1305424 w 2792478"/>
                <a:gd name="connsiteY9320" fmla="*/ 61147 h 4235290"/>
                <a:gd name="connsiteX9321" fmla="*/ 1327297 w 2792478"/>
                <a:gd name="connsiteY9321" fmla="*/ 73831 h 4235290"/>
                <a:gd name="connsiteX9322" fmla="*/ 1332574 w 2792478"/>
                <a:gd name="connsiteY9322" fmla="*/ 80600 h 4235290"/>
                <a:gd name="connsiteX9323" fmla="*/ 1331461 w 2792478"/>
                <a:gd name="connsiteY9323" fmla="*/ 89118 h 4235290"/>
                <a:gd name="connsiteX9324" fmla="*/ 1321709 w 2792478"/>
                <a:gd name="connsiteY9324" fmla="*/ 94705 h 4235290"/>
                <a:gd name="connsiteX9325" fmla="*/ 1316109 w 2792478"/>
                <a:gd name="connsiteY9325" fmla="*/ 93219 h 4235290"/>
                <a:gd name="connsiteX9326" fmla="*/ 1294176 w 2792478"/>
                <a:gd name="connsiteY9326" fmla="*/ 80535 h 4235290"/>
                <a:gd name="connsiteX9327" fmla="*/ 1290132 w 2792478"/>
                <a:gd name="connsiteY9327" fmla="*/ 65248 h 4235290"/>
                <a:gd name="connsiteX9328" fmla="*/ 1299824 w 2792478"/>
                <a:gd name="connsiteY9328" fmla="*/ 59661 h 4235290"/>
                <a:gd name="connsiteX9329" fmla="*/ 1794872 w 2792478"/>
                <a:gd name="connsiteY9329" fmla="*/ 52907 h 4235290"/>
                <a:gd name="connsiteX9330" fmla="*/ 1761143 w 2792478"/>
                <a:gd name="connsiteY9330" fmla="*/ 93671 h 4235290"/>
                <a:gd name="connsiteX9331" fmla="*/ 1764435 w 2792478"/>
                <a:gd name="connsiteY9331" fmla="*/ 98050 h 4235290"/>
                <a:gd name="connsiteX9332" fmla="*/ 1764052 w 2792478"/>
                <a:gd name="connsiteY9332" fmla="*/ 99381 h 4235290"/>
                <a:gd name="connsiteX9333" fmla="*/ 1765349 w 2792478"/>
                <a:gd name="connsiteY9333" fmla="*/ 100569 h 4235290"/>
                <a:gd name="connsiteX9334" fmla="*/ 1765458 w 2792478"/>
                <a:gd name="connsiteY9334" fmla="*/ 100563 h 4235290"/>
                <a:gd name="connsiteX9335" fmla="*/ 1765917 w 2792478"/>
                <a:gd name="connsiteY9335" fmla="*/ 100016 h 4235290"/>
                <a:gd name="connsiteX9336" fmla="*/ 1774555 w 2792478"/>
                <a:gd name="connsiteY9336" fmla="*/ 111504 h 4235290"/>
                <a:gd name="connsiteX9337" fmla="*/ 1773993 w 2792478"/>
                <a:gd name="connsiteY9337" fmla="*/ 113460 h 4235290"/>
                <a:gd name="connsiteX9338" fmla="*/ 1775393 w 2792478"/>
                <a:gd name="connsiteY9338" fmla="*/ 114649 h 4235290"/>
                <a:gd name="connsiteX9339" fmla="*/ 1776198 w 2792478"/>
                <a:gd name="connsiteY9339" fmla="*/ 113686 h 4235290"/>
                <a:gd name="connsiteX9340" fmla="*/ 1817076 w 2792478"/>
                <a:gd name="connsiteY9340" fmla="*/ 168047 h 4235290"/>
                <a:gd name="connsiteX9341" fmla="*/ 1819227 w 2792478"/>
                <a:gd name="connsiteY9341" fmla="*/ 168941 h 4235290"/>
                <a:gd name="connsiteX9342" fmla="*/ 1819016 w 2792478"/>
                <a:gd name="connsiteY9342" fmla="*/ 169623 h 4235290"/>
                <a:gd name="connsiteX9343" fmla="*/ 1819785 w 2792478"/>
                <a:gd name="connsiteY9343" fmla="*/ 170582 h 4235290"/>
                <a:gd name="connsiteX9344" fmla="*/ 1869705 w 2792478"/>
                <a:gd name="connsiteY9344" fmla="*/ 191428 h 4235290"/>
                <a:gd name="connsiteX9345" fmla="*/ 1870204 w 2792478"/>
                <a:gd name="connsiteY9345" fmla="*/ 191525 h 4235290"/>
                <a:gd name="connsiteX9346" fmla="*/ 1870996 w 2792478"/>
                <a:gd name="connsiteY9346" fmla="*/ 191252 h 4235290"/>
                <a:gd name="connsiteX9347" fmla="*/ 1871484 w 2792478"/>
                <a:gd name="connsiteY9347" fmla="*/ 190033 h 4235290"/>
                <a:gd name="connsiteX9348" fmla="*/ 1863156 w 2792478"/>
                <a:gd name="connsiteY9348" fmla="*/ 136556 h 4235290"/>
                <a:gd name="connsiteX9349" fmla="*/ 1862376 w 2792478"/>
                <a:gd name="connsiteY9349" fmla="*/ 135569 h 4235290"/>
                <a:gd name="connsiteX9350" fmla="*/ 1861698 w 2792478"/>
                <a:gd name="connsiteY9350" fmla="*/ 135633 h 4235290"/>
                <a:gd name="connsiteX9351" fmla="*/ 1861147 w 2792478"/>
                <a:gd name="connsiteY9351" fmla="*/ 132099 h 4235290"/>
                <a:gd name="connsiteX9352" fmla="*/ 1819808 w 2792478"/>
                <a:gd name="connsiteY9352" fmla="*/ 77366 h 4235290"/>
                <a:gd name="connsiteX9353" fmla="*/ 1819969 w 2792478"/>
                <a:gd name="connsiteY9353" fmla="*/ 77286 h 4235290"/>
                <a:gd name="connsiteX9354" fmla="*/ 1819143 w 2792478"/>
                <a:gd name="connsiteY9354" fmla="*/ 75659 h 4235290"/>
                <a:gd name="connsiteX9355" fmla="*/ 1818637 w 2792478"/>
                <a:gd name="connsiteY9355" fmla="*/ 75815 h 4235290"/>
                <a:gd name="connsiteX9356" fmla="*/ 1809373 w 2792478"/>
                <a:gd name="connsiteY9356" fmla="*/ 63549 h 4235290"/>
                <a:gd name="connsiteX9357" fmla="*/ 1810035 w 2792478"/>
                <a:gd name="connsiteY9357" fmla="*/ 63213 h 4235290"/>
                <a:gd name="connsiteX9358" fmla="*/ 1809214 w 2792478"/>
                <a:gd name="connsiteY9358" fmla="*/ 61581 h 4235290"/>
                <a:gd name="connsiteX9359" fmla="*/ 1808137 w 2792478"/>
                <a:gd name="connsiteY9359" fmla="*/ 61915 h 4235290"/>
                <a:gd name="connsiteX9360" fmla="*/ 1805208 w 2792478"/>
                <a:gd name="connsiteY9360" fmla="*/ 58040 h 4235290"/>
                <a:gd name="connsiteX9361" fmla="*/ 1794872 w 2792478"/>
                <a:gd name="connsiteY9361" fmla="*/ 52907 h 4235290"/>
                <a:gd name="connsiteX9362" fmla="*/ 1402991 w 2792478"/>
                <a:gd name="connsiteY9362" fmla="*/ 49722 h 4235290"/>
                <a:gd name="connsiteX9363" fmla="*/ 1481534 w 2792478"/>
                <a:gd name="connsiteY9363" fmla="*/ 128271 h 4235290"/>
                <a:gd name="connsiteX9364" fmla="*/ 1439462 w 2792478"/>
                <a:gd name="connsiteY9364" fmla="*/ 197558 h 4235290"/>
                <a:gd name="connsiteX9365" fmla="*/ 1439462 w 2792478"/>
                <a:gd name="connsiteY9365" fmla="*/ 237766 h 4235290"/>
                <a:gd name="connsiteX9366" fmla="*/ 1422435 w 2792478"/>
                <a:gd name="connsiteY9366" fmla="*/ 257215 h 4235290"/>
                <a:gd name="connsiteX9367" fmla="*/ 1402991 w 2792478"/>
                <a:gd name="connsiteY9367" fmla="*/ 274244 h 4235290"/>
                <a:gd name="connsiteX9368" fmla="*/ 1383535 w 2792478"/>
                <a:gd name="connsiteY9368" fmla="*/ 257215 h 4235290"/>
                <a:gd name="connsiteX9369" fmla="*/ 1366508 w 2792478"/>
                <a:gd name="connsiteY9369" fmla="*/ 237766 h 4235290"/>
                <a:gd name="connsiteX9370" fmla="*/ 1366508 w 2792478"/>
                <a:gd name="connsiteY9370" fmla="*/ 197558 h 4235290"/>
                <a:gd name="connsiteX9371" fmla="*/ 1324437 w 2792478"/>
                <a:gd name="connsiteY9371" fmla="*/ 128271 h 4235290"/>
                <a:gd name="connsiteX9372" fmla="*/ 1402991 w 2792478"/>
                <a:gd name="connsiteY9372" fmla="*/ 49722 h 4235290"/>
                <a:gd name="connsiteX9373" fmla="*/ 1794872 w 2792478"/>
                <a:gd name="connsiteY9373" fmla="*/ 47720 h 4235290"/>
                <a:gd name="connsiteX9374" fmla="*/ 1809449 w 2792478"/>
                <a:gd name="connsiteY9374" fmla="*/ 55037 h 4235290"/>
                <a:gd name="connsiteX9375" fmla="*/ 1865280 w 2792478"/>
                <a:gd name="connsiteY9375" fmla="*/ 128973 h 4235290"/>
                <a:gd name="connsiteX9376" fmla="*/ 1866267 w 2792478"/>
                <a:gd name="connsiteY9376" fmla="*/ 131305 h 4235290"/>
                <a:gd name="connsiteX9377" fmla="*/ 1875335 w 2792478"/>
                <a:gd name="connsiteY9377" fmla="*/ 189425 h 4235290"/>
                <a:gd name="connsiteX9378" fmla="*/ 1873406 w 2792478"/>
                <a:gd name="connsiteY9378" fmla="*/ 194314 h 4235290"/>
                <a:gd name="connsiteX9379" fmla="*/ 1870204 w 2792478"/>
                <a:gd name="connsiteY9379" fmla="*/ 195418 h 4235290"/>
                <a:gd name="connsiteX9380" fmla="*/ 1868201 w 2792478"/>
                <a:gd name="connsiteY9380" fmla="*/ 195018 h 4235290"/>
                <a:gd name="connsiteX9381" fmla="*/ 1815079 w 2792478"/>
                <a:gd name="connsiteY9381" fmla="*/ 172839 h 4235290"/>
                <a:gd name="connsiteX9382" fmla="*/ 1812933 w 2792478"/>
                <a:gd name="connsiteY9382" fmla="*/ 171154 h 4235290"/>
                <a:gd name="connsiteX9383" fmla="*/ 1756993 w 2792478"/>
                <a:gd name="connsiteY9383" fmla="*/ 96785 h 4235290"/>
                <a:gd name="connsiteX9384" fmla="*/ 1756620 w 2792478"/>
                <a:gd name="connsiteY9384" fmla="*/ 96219 h 4235290"/>
                <a:gd name="connsiteX9385" fmla="*/ 1758239 w 2792478"/>
                <a:gd name="connsiteY9385" fmla="*/ 71514 h 4235290"/>
                <a:gd name="connsiteX9386" fmla="*/ 1794872 w 2792478"/>
                <a:gd name="connsiteY9386" fmla="*/ 47720 h 4235290"/>
                <a:gd name="connsiteX9387" fmla="*/ 1081350 w 2792478"/>
                <a:gd name="connsiteY9387" fmla="*/ 33666 h 4235290"/>
                <a:gd name="connsiteX9388" fmla="*/ 1056099 w 2792478"/>
                <a:gd name="connsiteY9388" fmla="*/ 58899 h 4235290"/>
                <a:gd name="connsiteX9389" fmla="*/ 1077524 w 2792478"/>
                <a:gd name="connsiteY9389" fmla="*/ 80324 h 4235290"/>
                <a:gd name="connsiteX9390" fmla="*/ 1102776 w 2792478"/>
                <a:gd name="connsiteY9390" fmla="*/ 55095 h 4235290"/>
                <a:gd name="connsiteX9391" fmla="*/ 1223771 w 2792478"/>
                <a:gd name="connsiteY9391" fmla="*/ 33353 h 4235290"/>
                <a:gd name="connsiteX9392" fmla="*/ 1196874 w 2792478"/>
                <a:gd name="connsiteY9392" fmla="*/ 60249 h 4235290"/>
                <a:gd name="connsiteX9393" fmla="*/ 1212157 w 2792478"/>
                <a:gd name="connsiteY9393" fmla="*/ 75523 h 4235290"/>
                <a:gd name="connsiteX9394" fmla="*/ 1212157 w 2792478"/>
                <a:gd name="connsiteY9394" fmla="*/ 83257 h 4235290"/>
                <a:gd name="connsiteX9395" fmla="*/ 1204421 w 2792478"/>
                <a:gd name="connsiteY9395" fmla="*/ 83257 h 4235290"/>
                <a:gd name="connsiteX9396" fmla="*/ 1189149 w 2792478"/>
                <a:gd name="connsiteY9396" fmla="*/ 67986 h 4235290"/>
                <a:gd name="connsiteX9397" fmla="*/ 1170113 w 2792478"/>
                <a:gd name="connsiteY9397" fmla="*/ 87019 h 4235290"/>
                <a:gd name="connsiteX9398" fmla="*/ 1184631 w 2792478"/>
                <a:gd name="connsiteY9398" fmla="*/ 101539 h 4235290"/>
                <a:gd name="connsiteX9399" fmla="*/ 1184631 w 2792478"/>
                <a:gd name="connsiteY9399" fmla="*/ 109269 h 4235290"/>
                <a:gd name="connsiteX9400" fmla="*/ 1176895 w 2792478"/>
                <a:gd name="connsiteY9400" fmla="*/ 109269 h 4235290"/>
                <a:gd name="connsiteX9401" fmla="*/ 1162377 w 2792478"/>
                <a:gd name="connsiteY9401" fmla="*/ 94747 h 4235290"/>
                <a:gd name="connsiteX9402" fmla="*/ 1140952 w 2792478"/>
                <a:gd name="connsiteY9402" fmla="*/ 116173 h 4235290"/>
                <a:gd name="connsiteX9403" fmla="*/ 1155470 w 2792478"/>
                <a:gd name="connsiteY9403" fmla="*/ 130691 h 4235290"/>
                <a:gd name="connsiteX9404" fmla="*/ 1155470 w 2792478"/>
                <a:gd name="connsiteY9404" fmla="*/ 138424 h 4235290"/>
                <a:gd name="connsiteX9405" fmla="*/ 1147755 w 2792478"/>
                <a:gd name="connsiteY9405" fmla="*/ 138424 h 4235290"/>
                <a:gd name="connsiteX9406" fmla="*/ 1133226 w 2792478"/>
                <a:gd name="connsiteY9406" fmla="*/ 123898 h 4235290"/>
                <a:gd name="connsiteX9407" fmla="*/ 1113824 w 2792478"/>
                <a:gd name="connsiteY9407" fmla="*/ 143301 h 4235290"/>
                <a:gd name="connsiteX9408" fmla="*/ 1128342 w 2792478"/>
                <a:gd name="connsiteY9408" fmla="*/ 157843 h 4235290"/>
                <a:gd name="connsiteX9409" fmla="*/ 1128342 w 2792478"/>
                <a:gd name="connsiteY9409" fmla="*/ 165563 h 4235290"/>
                <a:gd name="connsiteX9410" fmla="*/ 1120616 w 2792478"/>
                <a:gd name="connsiteY9410" fmla="*/ 165563 h 4235290"/>
                <a:gd name="connsiteX9411" fmla="*/ 1106088 w 2792478"/>
                <a:gd name="connsiteY9411" fmla="*/ 151048 h 4235290"/>
                <a:gd name="connsiteX9412" fmla="*/ 1086298 w 2792478"/>
                <a:gd name="connsiteY9412" fmla="*/ 170831 h 4235290"/>
                <a:gd name="connsiteX9413" fmla="*/ 1100816 w 2792478"/>
                <a:gd name="connsiteY9413" fmla="*/ 185349 h 4235290"/>
                <a:gd name="connsiteX9414" fmla="*/ 1100816 w 2792478"/>
                <a:gd name="connsiteY9414" fmla="*/ 193082 h 4235290"/>
                <a:gd name="connsiteX9415" fmla="*/ 1093101 w 2792478"/>
                <a:gd name="connsiteY9415" fmla="*/ 193082 h 4235290"/>
                <a:gd name="connsiteX9416" fmla="*/ 1078573 w 2792478"/>
                <a:gd name="connsiteY9416" fmla="*/ 178550 h 4235290"/>
                <a:gd name="connsiteX9417" fmla="*/ 1053510 w 2792478"/>
                <a:gd name="connsiteY9417" fmla="*/ 203627 h 4235290"/>
                <a:gd name="connsiteX9418" fmla="*/ 1078740 w 2792478"/>
                <a:gd name="connsiteY9418" fmla="*/ 228868 h 4235290"/>
                <a:gd name="connsiteX9419" fmla="*/ 1144673 w 2792478"/>
                <a:gd name="connsiteY9419" fmla="*/ 162926 h 4235290"/>
                <a:gd name="connsiteX9420" fmla="*/ 1152398 w 2792478"/>
                <a:gd name="connsiteY9420" fmla="*/ 155188 h 4235290"/>
                <a:gd name="connsiteX9421" fmla="*/ 1177639 w 2792478"/>
                <a:gd name="connsiteY9421" fmla="*/ 129968 h 4235290"/>
                <a:gd name="connsiteX9422" fmla="*/ 1185365 w 2792478"/>
                <a:gd name="connsiteY9422" fmla="*/ 122224 h 4235290"/>
                <a:gd name="connsiteX9423" fmla="*/ 1249023 w 2792478"/>
                <a:gd name="connsiteY9423" fmla="*/ 58584 h 4235290"/>
                <a:gd name="connsiteX9424" fmla="*/ 1604645 w 2792478"/>
                <a:gd name="connsiteY9424" fmla="*/ 21876 h 4235290"/>
                <a:gd name="connsiteX9425" fmla="*/ 1671196 w 2792478"/>
                <a:gd name="connsiteY9425" fmla="*/ 21876 h 4235290"/>
                <a:gd name="connsiteX9426" fmla="*/ 1678966 w 2792478"/>
                <a:gd name="connsiteY9426" fmla="*/ 29642 h 4235290"/>
                <a:gd name="connsiteX9427" fmla="*/ 1678966 w 2792478"/>
                <a:gd name="connsiteY9427" fmla="*/ 47726 h 4235290"/>
                <a:gd name="connsiteX9428" fmla="*/ 1671196 w 2792478"/>
                <a:gd name="connsiteY9428" fmla="*/ 55431 h 4235290"/>
                <a:gd name="connsiteX9429" fmla="*/ 1655974 w 2792478"/>
                <a:gd name="connsiteY9429" fmla="*/ 55431 h 4235290"/>
                <a:gd name="connsiteX9430" fmla="*/ 1655974 w 2792478"/>
                <a:gd name="connsiteY9430" fmla="*/ 71971 h 4235290"/>
                <a:gd name="connsiteX9431" fmla="*/ 1689160 w 2792478"/>
                <a:gd name="connsiteY9431" fmla="*/ 84327 h 4235290"/>
                <a:gd name="connsiteX9432" fmla="*/ 1701958 w 2792478"/>
                <a:gd name="connsiteY9432" fmla="*/ 70847 h 4235290"/>
                <a:gd name="connsiteX9433" fmla="*/ 1712899 w 2792478"/>
                <a:gd name="connsiteY9433" fmla="*/ 70592 h 4235290"/>
                <a:gd name="connsiteX9434" fmla="*/ 1722282 w 2792478"/>
                <a:gd name="connsiteY9434" fmla="*/ 79477 h 4235290"/>
                <a:gd name="connsiteX9435" fmla="*/ 1722590 w 2792478"/>
                <a:gd name="connsiteY9435" fmla="*/ 90425 h 4235290"/>
                <a:gd name="connsiteX9436" fmla="*/ 1711406 w 2792478"/>
                <a:gd name="connsiteY9436" fmla="*/ 102229 h 4235290"/>
                <a:gd name="connsiteX9437" fmla="*/ 1738689 w 2792478"/>
                <a:gd name="connsiteY9437" fmla="*/ 171076 h 4235290"/>
                <a:gd name="connsiteX9438" fmla="*/ 1637953 w 2792478"/>
                <a:gd name="connsiteY9438" fmla="*/ 271817 h 4235290"/>
                <a:gd name="connsiteX9439" fmla="*/ 1537218 w 2792478"/>
                <a:gd name="connsiteY9439" fmla="*/ 171076 h 4235290"/>
                <a:gd name="connsiteX9440" fmla="*/ 1563875 w 2792478"/>
                <a:gd name="connsiteY9440" fmla="*/ 102851 h 4235290"/>
                <a:gd name="connsiteX9441" fmla="*/ 1551759 w 2792478"/>
                <a:gd name="connsiteY9441" fmla="*/ 91349 h 4235290"/>
                <a:gd name="connsiteX9442" fmla="*/ 1551451 w 2792478"/>
                <a:gd name="connsiteY9442" fmla="*/ 80357 h 4235290"/>
                <a:gd name="connsiteX9443" fmla="*/ 1560331 w 2792478"/>
                <a:gd name="connsiteY9443" fmla="*/ 70972 h 4235290"/>
                <a:gd name="connsiteX9444" fmla="*/ 1571272 w 2792478"/>
                <a:gd name="connsiteY9444" fmla="*/ 70718 h 4235290"/>
                <a:gd name="connsiteX9445" fmla="*/ 1585813 w 2792478"/>
                <a:gd name="connsiteY9445" fmla="*/ 84455 h 4235290"/>
                <a:gd name="connsiteX9446" fmla="*/ 1586065 w 2792478"/>
                <a:gd name="connsiteY9446" fmla="*/ 84709 h 4235290"/>
                <a:gd name="connsiteX9447" fmla="*/ 1619681 w 2792478"/>
                <a:gd name="connsiteY9447" fmla="*/ 71971 h 4235290"/>
                <a:gd name="connsiteX9448" fmla="*/ 1619681 w 2792478"/>
                <a:gd name="connsiteY9448" fmla="*/ 55431 h 4235290"/>
                <a:gd name="connsiteX9449" fmla="*/ 1604645 w 2792478"/>
                <a:gd name="connsiteY9449" fmla="*/ 55431 h 4235290"/>
                <a:gd name="connsiteX9450" fmla="*/ 1596941 w 2792478"/>
                <a:gd name="connsiteY9450" fmla="*/ 47726 h 4235290"/>
                <a:gd name="connsiteX9451" fmla="*/ 1596941 w 2792478"/>
                <a:gd name="connsiteY9451" fmla="*/ 29642 h 4235290"/>
                <a:gd name="connsiteX9452" fmla="*/ 1604645 w 2792478"/>
                <a:gd name="connsiteY9452" fmla="*/ 21876 h 4235290"/>
                <a:gd name="connsiteX9453" fmla="*/ 1223771 w 2792478"/>
                <a:gd name="connsiteY9453" fmla="*/ 17888 h 4235290"/>
                <a:gd name="connsiteX9454" fmla="*/ 1264463 w 2792478"/>
                <a:gd name="connsiteY9454" fmla="*/ 58584 h 4235290"/>
                <a:gd name="connsiteX9455" fmla="*/ 1193100 w 2792478"/>
                <a:gd name="connsiteY9455" fmla="*/ 129968 h 4235290"/>
                <a:gd name="connsiteX9456" fmla="*/ 1234945 w 2792478"/>
                <a:gd name="connsiteY9456" fmla="*/ 171802 h 4235290"/>
                <a:gd name="connsiteX9457" fmla="*/ 1254861 w 2792478"/>
                <a:gd name="connsiteY9457" fmla="*/ 228563 h 4235290"/>
                <a:gd name="connsiteX9458" fmla="*/ 1194421 w 2792478"/>
                <a:gd name="connsiteY9458" fmla="*/ 212670 h 4235290"/>
                <a:gd name="connsiteX9459" fmla="*/ 1152398 w 2792478"/>
                <a:gd name="connsiteY9459" fmla="*/ 170650 h 4235290"/>
                <a:gd name="connsiteX9460" fmla="*/ 1078740 w 2792478"/>
                <a:gd name="connsiteY9460" fmla="*/ 244309 h 4235290"/>
                <a:gd name="connsiteX9461" fmla="*/ 1038049 w 2792478"/>
                <a:gd name="connsiteY9461" fmla="*/ 203627 h 4235290"/>
                <a:gd name="connsiteX9462" fmla="*/ 1111707 w 2792478"/>
                <a:gd name="connsiteY9462" fmla="*/ 129968 h 4235290"/>
                <a:gd name="connsiteX9463" fmla="*/ 1040648 w 2792478"/>
                <a:gd name="connsiteY9463" fmla="*/ 58899 h 4235290"/>
                <a:gd name="connsiteX9464" fmla="*/ 1081350 w 2792478"/>
                <a:gd name="connsiteY9464" fmla="*/ 18213 h 4235290"/>
                <a:gd name="connsiteX9465" fmla="*/ 1152398 w 2792478"/>
                <a:gd name="connsiteY9465" fmla="*/ 89267 h 4235290"/>
                <a:gd name="connsiteX9466" fmla="*/ 1223771 w 2792478"/>
                <a:gd name="connsiteY9466" fmla="*/ 17888 h 4235290"/>
                <a:gd name="connsiteX9467" fmla="*/ 1461587 w 2792478"/>
                <a:gd name="connsiteY9467" fmla="*/ 15912 h 4235290"/>
                <a:gd name="connsiteX9468" fmla="*/ 1467187 w 2792478"/>
                <a:gd name="connsiteY9468" fmla="*/ 17410 h 4235290"/>
                <a:gd name="connsiteX9469" fmla="*/ 1472404 w 2792478"/>
                <a:gd name="connsiteY9469" fmla="*/ 24174 h 4235290"/>
                <a:gd name="connsiteX9470" fmla="*/ 1471279 w 2792478"/>
                <a:gd name="connsiteY9470" fmla="*/ 32693 h 4235290"/>
                <a:gd name="connsiteX9471" fmla="*/ 1458667 w 2792478"/>
                <a:gd name="connsiteY9471" fmla="*/ 54559 h 4235290"/>
                <a:gd name="connsiteX9472" fmla="*/ 1448975 w 2792478"/>
                <a:gd name="connsiteY9472" fmla="*/ 60155 h 4235290"/>
                <a:gd name="connsiteX9473" fmla="*/ 1443387 w 2792478"/>
                <a:gd name="connsiteY9473" fmla="*/ 58670 h 4235290"/>
                <a:gd name="connsiteX9474" fmla="*/ 1438158 w 2792478"/>
                <a:gd name="connsiteY9474" fmla="*/ 51892 h 4235290"/>
                <a:gd name="connsiteX9475" fmla="*/ 1439283 w 2792478"/>
                <a:gd name="connsiteY9475" fmla="*/ 43373 h 4235290"/>
                <a:gd name="connsiteX9476" fmla="*/ 1451895 w 2792478"/>
                <a:gd name="connsiteY9476" fmla="*/ 21508 h 4235290"/>
                <a:gd name="connsiteX9477" fmla="*/ 1461587 w 2792478"/>
                <a:gd name="connsiteY9477" fmla="*/ 15912 h 4235290"/>
                <a:gd name="connsiteX9478" fmla="*/ 1343582 w 2792478"/>
                <a:gd name="connsiteY9478" fmla="*/ 15912 h 4235290"/>
                <a:gd name="connsiteX9479" fmla="*/ 1353274 w 2792478"/>
                <a:gd name="connsiteY9479" fmla="*/ 21508 h 4235290"/>
                <a:gd name="connsiteX9480" fmla="*/ 1365886 w 2792478"/>
                <a:gd name="connsiteY9480" fmla="*/ 43321 h 4235290"/>
                <a:gd name="connsiteX9481" fmla="*/ 1367011 w 2792478"/>
                <a:gd name="connsiteY9481" fmla="*/ 51892 h 4235290"/>
                <a:gd name="connsiteX9482" fmla="*/ 1361782 w 2792478"/>
                <a:gd name="connsiteY9482" fmla="*/ 58670 h 4235290"/>
                <a:gd name="connsiteX9483" fmla="*/ 1356194 w 2792478"/>
                <a:gd name="connsiteY9483" fmla="*/ 60155 h 4235290"/>
                <a:gd name="connsiteX9484" fmla="*/ 1346502 w 2792478"/>
                <a:gd name="connsiteY9484" fmla="*/ 54559 h 4235290"/>
                <a:gd name="connsiteX9485" fmla="*/ 1333878 w 2792478"/>
                <a:gd name="connsiteY9485" fmla="*/ 32693 h 4235290"/>
                <a:gd name="connsiteX9486" fmla="*/ 1332765 w 2792478"/>
                <a:gd name="connsiteY9486" fmla="*/ 24237 h 4235290"/>
                <a:gd name="connsiteX9487" fmla="*/ 1337982 w 2792478"/>
                <a:gd name="connsiteY9487" fmla="*/ 17410 h 4235290"/>
                <a:gd name="connsiteX9488" fmla="*/ 1343582 w 2792478"/>
                <a:gd name="connsiteY9488" fmla="*/ 15912 h 4235290"/>
                <a:gd name="connsiteX9489" fmla="*/ 1403231 w 2792478"/>
                <a:gd name="connsiteY9489" fmla="*/ 0 h 4235290"/>
                <a:gd name="connsiteX9490" fmla="*/ 1414418 w 2792478"/>
                <a:gd name="connsiteY9490" fmla="*/ 11185 h 4235290"/>
                <a:gd name="connsiteX9491" fmla="*/ 1414418 w 2792478"/>
                <a:gd name="connsiteY9491" fmla="*/ 36482 h 4235290"/>
                <a:gd name="connsiteX9492" fmla="*/ 1403231 w 2792478"/>
                <a:gd name="connsiteY9492" fmla="*/ 47668 h 4235290"/>
                <a:gd name="connsiteX9493" fmla="*/ 1392055 w 2792478"/>
                <a:gd name="connsiteY9493" fmla="*/ 36482 h 4235290"/>
                <a:gd name="connsiteX9494" fmla="*/ 1392055 w 2792478"/>
                <a:gd name="connsiteY9494" fmla="*/ 11185 h 4235290"/>
                <a:gd name="connsiteX9495" fmla="*/ 1403231 w 2792478"/>
                <a:gd name="connsiteY9495" fmla="*/ 0 h 4235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  <a:cxn ang="0">
                  <a:pos x="connsiteX7172" y="connsiteY7172"/>
                </a:cxn>
                <a:cxn ang="0">
                  <a:pos x="connsiteX7173" y="connsiteY7173"/>
                </a:cxn>
                <a:cxn ang="0">
                  <a:pos x="connsiteX7174" y="connsiteY7174"/>
                </a:cxn>
                <a:cxn ang="0">
                  <a:pos x="connsiteX7175" y="connsiteY7175"/>
                </a:cxn>
                <a:cxn ang="0">
                  <a:pos x="connsiteX7176" y="connsiteY7176"/>
                </a:cxn>
                <a:cxn ang="0">
                  <a:pos x="connsiteX7177" y="connsiteY7177"/>
                </a:cxn>
                <a:cxn ang="0">
                  <a:pos x="connsiteX7178" y="connsiteY7178"/>
                </a:cxn>
                <a:cxn ang="0">
                  <a:pos x="connsiteX7179" y="connsiteY7179"/>
                </a:cxn>
                <a:cxn ang="0">
                  <a:pos x="connsiteX7180" y="connsiteY7180"/>
                </a:cxn>
                <a:cxn ang="0">
                  <a:pos x="connsiteX7181" y="connsiteY7181"/>
                </a:cxn>
                <a:cxn ang="0">
                  <a:pos x="connsiteX7182" y="connsiteY7182"/>
                </a:cxn>
                <a:cxn ang="0">
                  <a:pos x="connsiteX7183" y="connsiteY7183"/>
                </a:cxn>
                <a:cxn ang="0">
                  <a:pos x="connsiteX7184" y="connsiteY7184"/>
                </a:cxn>
                <a:cxn ang="0">
                  <a:pos x="connsiteX7185" y="connsiteY7185"/>
                </a:cxn>
                <a:cxn ang="0">
                  <a:pos x="connsiteX7186" y="connsiteY7186"/>
                </a:cxn>
                <a:cxn ang="0">
                  <a:pos x="connsiteX7187" y="connsiteY7187"/>
                </a:cxn>
                <a:cxn ang="0">
                  <a:pos x="connsiteX7188" y="connsiteY7188"/>
                </a:cxn>
                <a:cxn ang="0">
                  <a:pos x="connsiteX7189" y="connsiteY7189"/>
                </a:cxn>
                <a:cxn ang="0">
                  <a:pos x="connsiteX7190" y="connsiteY7190"/>
                </a:cxn>
                <a:cxn ang="0">
                  <a:pos x="connsiteX7191" y="connsiteY7191"/>
                </a:cxn>
                <a:cxn ang="0">
                  <a:pos x="connsiteX7192" y="connsiteY7192"/>
                </a:cxn>
                <a:cxn ang="0">
                  <a:pos x="connsiteX7193" y="connsiteY7193"/>
                </a:cxn>
                <a:cxn ang="0">
                  <a:pos x="connsiteX7194" y="connsiteY7194"/>
                </a:cxn>
                <a:cxn ang="0">
                  <a:pos x="connsiteX7195" y="connsiteY7195"/>
                </a:cxn>
                <a:cxn ang="0">
                  <a:pos x="connsiteX7196" y="connsiteY7196"/>
                </a:cxn>
                <a:cxn ang="0">
                  <a:pos x="connsiteX7197" y="connsiteY7197"/>
                </a:cxn>
                <a:cxn ang="0">
                  <a:pos x="connsiteX7198" y="connsiteY7198"/>
                </a:cxn>
                <a:cxn ang="0">
                  <a:pos x="connsiteX7199" y="connsiteY7199"/>
                </a:cxn>
                <a:cxn ang="0">
                  <a:pos x="connsiteX7200" y="connsiteY7200"/>
                </a:cxn>
                <a:cxn ang="0">
                  <a:pos x="connsiteX7201" y="connsiteY7201"/>
                </a:cxn>
                <a:cxn ang="0">
                  <a:pos x="connsiteX7202" y="connsiteY7202"/>
                </a:cxn>
                <a:cxn ang="0">
                  <a:pos x="connsiteX7203" y="connsiteY7203"/>
                </a:cxn>
                <a:cxn ang="0">
                  <a:pos x="connsiteX7204" y="connsiteY7204"/>
                </a:cxn>
                <a:cxn ang="0">
                  <a:pos x="connsiteX7205" y="connsiteY7205"/>
                </a:cxn>
                <a:cxn ang="0">
                  <a:pos x="connsiteX7206" y="connsiteY7206"/>
                </a:cxn>
                <a:cxn ang="0">
                  <a:pos x="connsiteX7207" y="connsiteY7207"/>
                </a:cxn>
                <a:cxn ang="0">
                  <a:pos x="connsiteX7208" y="connsiteY7208"/>
                </a:cxn>
                <a:cxn ang="0">
                  <a:pos x="connsiteX7209" y="connsiteY7209"/>
                </a:cxn>
                <a:cxn ang="0">
                  <a:pos x="connsiteX7210" y="connsiteY7210"/>
                </a:cxn>
                <a:cxn ang="0">
                  <a:pos x="connsiteX7211" y="connsiteY7211"/>
                </a:cxn>
                <a:cxn ang="0">
                  <a:pos x="connsiteX7212" y="connsiteY7212"/>
                </a:cxn>
                <a:cxn ang="0">
                  <a:pos x="connsiteX7213" y="connsiteY7213"/>
                </a:cxn>
                <a:cxn ang="0">
                  <a:pos x="connsiteX7214" y="connsiteY7214"/>
                </a:cxn>
                <a:cxn ang="0">
                  <a:pos x="connsiteX7215" y="connsiteY7215"/>
                </a:cxn>
                <a:cxn ang="0">
                  <a:pos x="connsiteX7216" y="connsiteY7216"/>
                </a:cxn>
                <a:cxn ang="0">
                  <a:pos x="connsiteX7217" y="connsiteY7217"/>
                </a:cxn>
                <a:cxn ang="0">
                  <a:pos x="connsiteX7218" y="connsiteY7218"/>
                </a:cxn>
                <a:cxn ang="0">
                  <a:pos x="connsiteX7219" y="connsiteY7219"/>
                </a:cxn>
                <a:cxn ang="0">
                  <a:pos x="connsiteX7220" y="connsiteY7220"/>
                </a:cxn>
                <a:cxn ang="0">
                  <a:pos x="connsiteX7221" y="connsiteY7221"/>
                </a:cxn>
                <a:cxn ang="0">
                  <a:pos x="connsiteX7222" y="connsiteY7222"/>
                </a:cxn>
                <a:cxn ang="0">
                  <a:pos x="connsiteX7223" y="connsiteY7223"/>
                </a:cxn>
                <a:cxn ang="0">
                  <a:pos x="connsiteX7224" y="connsiteY7224"/>
                </a:cxn>
                <a:cxn ang="0">
                  <a:pos x="connsiteX7225" y="connsiteY7225"/>
                </a:cxn>
                <a:cxn ang="0">
                  <a:pos x="connsiteX7226" y="connsiteY7226"/>
                </a:cxn>
                <a:cxn ang="0">
                  <a:pos x="connsiteX7227" y="connsiteY7227"/>
                </a:cxn>
                <a:cxn ang="0">
                  <a:pos x="connsiteX7228" y="connsiteY7228"/>
                </a:cxn>
                <a:cxn ang="0">
                  <a:pos x="connsiteX7229" y="connsiteY7229"/>
                </a:cxn>
                <a:cxn ang="0">
                  <a:pos x="connsiteX7230" y="connsiteY7230"/>
                </a:cxn>
                <a:cxn ang="0">
                  <a:pos x="connsiteX7231" y="connsiteY7231"/>
                </a:cxn>
                <a:cxn ang="0">
                  <a:pos x="connsiteX7232" y="connsiteY7232"/>
                </a:cxn>
                <a:cxn ang="0">
                  <a:pos x="connsiteX7233" y="connsiteY7233"/>
                </a:cxn>
                <a:cxn ang="0">
                  <a:pos x="connsiteX7234" y="connsiteY7234"/>
                </a:cxn>
                <a:cxn ang="0">
                  <a:pos x="connsiteX7235" y="connsiteY7235"/>
                </a:cxn>
                <a:cxn ang="0">
                  <a:pos x="connsiteX7236" y="connsiteY7236"/>
                </a:cxn>
                <a:cxn ang="0">
                  <a:pos x="connsiteX7237" y="connsiteY7237"/>
                </a:cxn>
                <a:cxn ang="0">
                  <a:pos x="connsiteX7238" y="connsiteY7238"/>
                </a:cxn>
                <a:cxn ang="0">
                  <a:pos x="connsiteX7239" y="connsiteY7239"/>
                </a:cxn>
                <a:cxn ang="0">
                  <a:pos x="connsiteX7240" y="connsiteY7240"/>
                </a:cxn>
                <a:cxn ang="0">
                  <a:pos x="connsiteX7241" y="connsiteY7241"/>
                </a:cxn>
                <a:cxn ang="0">
                  <a:pos x="connsiteX7242" y="connsiteY7242"/>
                </a:cxn>
                <a:cxn ang="0">
                  <a:pos x="connsiteX7243" y="connsiteY7243"/>
                </a:cxn>
                <a:cxn ang="0">
                  <a:pos x="connsiteX7244" y="connsiteY7244"/>
                </a:cxn>
                <a:cxn ang="0">
                  <a:pos x="connsiteX7245" y="connsiteY7245"/>
                </a:cxn>
                <a:cxn ang="0">
                  <a:pos x="connsiteX7246" y="connsiteY7246"/>
                </a:cxn>
                <a:cxn ang="0">
                  <a:pos x="connsiteX7247" y="connsiteY7247"/>
                </a:cxn>
                <a:cxn ang="0">
                  <a:pos x="connsiteX7248" y="connsiteY7248"/>
                </a:cxn>
                <a:cxn ang="0">
                  <a:pos x="connsiteX7249" y="connsiteY7249"/>
                </a:cxn>
                <a:cxn ang="0">
                  <a:pos x="connsiteX7250" y="connsiteY7250"/>
                </a:cxn>
                <a:cxn ang="0">
                  <a:pos x="connsiteX7251" y="connsiteY7251"/>
                </a:cxn>
                <a:cxn ang="0">
                  <a:pos x="connsiteX7252" y="connsiteY7252"/>
                </a:cxn>
                <a:cxn ang="0">
                  <a:pos x="connsiteX7253" y="connsiteY7253"/>
                </a:cxn>
                <a:cxn ang="0">
                  <a:pos x="connsiteX7254" y="connsiteY7254"/>
                </a:cxn>
                <a:cxn ang="0">
                  <a:pos x="connsiteX7255" y="connsiteY7255"/>
                </a:cxn>
                <a:cxn ang="0">
                  <a:pos x="connsiteX7256" y="connsiteY7256"/>
                </a:cxn>
                <a:cxn ang="0">
                  <a:pos x="connsiteX7257" y="connsiteY7257"/>
                </a:cxn>
                <a:cxn ang="0">
                  <a:pos x="connsiteX7258" y="connsiteY7258"/>
                </a:cxn>
                <a:cxn ang="0">
                  <a:pos x="connsiteX7259" y="connsiteY7259"/>
                </a:cxn>
                <a:cxn ang="0">
                  <a:pos x="connsiteX7260" y="connsiteY7260"/>
                </a:cxn>
                <a:cxn ang="0">
                  <a:pos x="connsiteX7261" y="connsiteY7261"/>
                </a:cxn>
                <a:cxn ang="0">
                  <a:pos x="connsiteX7262" y="connsiteY7262"/>
                </a:cxn>
                <a:cxn ang="0">
                  <a:pos x="connsiteX7263" y="connsiteY7263"/>
                </a:cxn>
                <a:cxn ang="0">
                  <a:pos x="connsiteX7264" y="connsiteY7264"/>
                </a:cxn>
                <a:cxn ang="0">
                  <a:pos x="connsiteX7265" y="connsiteY7265"/>
                </a:cxn>
                <a:cxn ang="0">
                  <a:pos x="connsiteX7266" y="connsiteY7266"/>
                </a:cxn>
                <a:cxn ang="0">
                  <a:pos x="connsiteX7267" y="connsiteY7267"/>
                </a:cxn>
                <a:cxn ang="0">
                  <a:pos x="connsiteX7268" y="connsiteY7268"/>
                </a:cxn>
                <a:cxn ang="0">
                  <a:pos x="connsiteX7269" y="connsiteY7269"/>
                </a:cxn>
                <a:cxn ang="0">
                  <a:pos x="connsiteX7270" y="connsiteY7270"/>
                </a:cxn>
                <a:cxn ang="0">
                  <a:pos x="connsiteX7271" y="connsiteY7271"/>
                </a:cxn>
                <a:cxn ang="0">
                  <a:pos x="connsiteX7272" y="connsiteY7272"/>
                </a:cxn>
                <a:cxn ang="0">
                  <a:pos x="connsiteX7273" y="connsiteY7273"/>
                </a:cxn>
                <a:cxn ang="0">
                  <a:pos x="connsiteX7274" y="connsiteY7274"/>
                </a:cxn>
                <a:cxn ang="0">
                  <a:pos x="connsiteX7275" y="connsiteY7275"/>
                </a:cxn>
                <a:cxn ang="0">
                  <a:pos x="connsiteX7276" y="connsiteY7276"/>
                </a:cxn>
                <a:cxn ang="0">
                  <a:pos x="connsiteX7277" y="connsiteY7277"/>
                </a:cxn>
                <a:cxn ang="0">
                  <a:pos x="connsiteX7278" y="connsiteY7278"/>
                </a:cxn>
                <a:cxn ang="0">
                  <a:pos x="connsiteX7279" y="connsiteY7279"/>
                </a:cxn>
                <a:cxn ang="0">
                  <a:pos x="connsiteX7280" y="connsiteY7280"/>
                </a:cxn>
                <a:cxn ang="0">
                  <a:pos x="connsiteX7281" y="connsiteY7281"/>
                </a:cxn>
                <a:cxn ang="0">
                  <a:pos x="connsiteX7282" y="connsiteY7282"/>
                </a:cxn>
                <a:cxn ang="0">
                  <a:pos x="connsiteX7283" y="connsiteY7283"/>
                </a:cxn>
                <a:cxn ang="0">
                  <a:pos x="connsiteX7284" y="connsiteY7284"/>
                </a:cxn>
                <a:cxn ang="0">
                  <a:pos x="connsiteX7285" y="connsiteY7285"/>
                </a:cxn>
                <a:cxn ang="0">
                  <a:pos x="connsiteX7286" y="connsiteY7286"/>
                </a:cxn>
                <a:cxn ang="0">
                  <a:pos x="connsiteX7287" y="connsiteY7287"/>
                </a:cxn>
                <a:cxn ang="0">
                  <a:pos x="connsiteX7288" y="connsiteY7288"/>
                </a:cxn>
                <a:cxn ang="0">
                  <a:pos x="connsiteX7289" y="connsiteY7289"/>
                </a:cxn>
                <a:cxn ang="0">
                  <a:pos x="connsiteX7290" y="connsiteY7290"/>
                </a:cxn>
                <a:cxn ang="0">
                  <a:pos x="connsiteX7291" y="connsiteY7291"/>
                </a:cxn>
                <a:cxn ang="0">
                  <a:pos x="connsiteX7292" y="connsiteY7292"/>
                </a:cxn>
                <a:cxn ang="0">
                  <a:pos x="connsiteX7293" y="connsiteY7293"/>
                </a:cxn>
                <a:cxn ang="0">
                  <a:pos x="connsiteX7294" y="connsiteY7294"/>
                </a:cxn>
                <a:cxn ang="0">
                  <a:pos x="connsiteX7295" y="connsiteY7295"/>
                </a:cxn>
                <a:cxn ang="0">
                  <a:pos x="connsiteX7296" y="connsiteY7296"/>
                </a:cxn>
                <a:cxn ang="0">
                  <a:pos x="connsiteX7297" y="connsiteY7297"/>
                </a:cxn>
                <a:cxn ang="0">
                  <a:pos x="connsiteX7298" y="connsiteY7298"/>
                </a:cxn>
                <a:cxn ang="0">
                  <a:pos x="connsiteX7299" y="connsiteY7299"/>
                </a:cxn>
                <a:cxn ang="0">
                  <a:pos x="connsiteX7300" y="connsiteY7300"/>
                </a:cxn>
                <a:cxn ang="0">
                  <a:pos x="connsiteX7301" y="connsiteY7301"/>
                </a:cxn>
                <a:cxn ang="0">
                  <a:pos x="connsiteX7302" y="connsiteY7302"/>
                </a:cxn>
                <a:cxn ang="0">
                  <a:pos x="connsiteX7303" y="connsiteY7303"/>
                </a:cxn>
                <a:cxn ang="0">
                  <a:pos x="connsiteX7304" y="connsiteY7304"/>
                </a:cxn>
                <a:cxn ang="0">
                  <a:pos x="connsiteX7305" y="connsiteY7305"/>
                </a:cxn>
                <a:cxn ang="0">
                  <a:pos x="connsiteX7306" y="connsiteY7306"/>
                </a:cxn>
                <a:cxn ang="0">
                  <a:pos x="connsiteX7307" y="connsiteY7307"/>
                </a:cxn>
                <a:cxn ang="0">
                  <a:pos x="connsiteX7308" y="connsiteY7308"/>
                </a:cxn>
                <a:cxn ang="0">
                  <a:pos x="connsiteX7309" y="connsiteY7309"/>
                </a:cxn>
                <a:cxn ang="0">
                  <a:pos x="connsiteX7310" y="connsiteY7310"/>
                </a:cxn>
                <a:cxn ang="0">
                  <a:pos x="connsiteX7311" y="connsiteY7311"/>
                </a:cxn>
                <a:cxn ang="0">
                  <a:pos x="connsiteX7312" y="connsiteY7312"/>
                </a:cxn>
                <a:cxn ang="0">
                  <a:pos x="connsiteX7313" y="connsiteY7313"/>
                </a:cxn>
                <a:cxn ang="0">
                  <a:pos x="connsiteX7314" y="connsiteY7314"/>
                </a:cxn>
                <a:cxn ang="0">
                  <a:pos x="connsiteX7315" y="connsiteY7315"/>
                </a:cxn>
                <a:cxn ang="0">
                  <a:pos x="connsiteX7316" y="connsiteY7316"/>
                </a:cxn>
                <a:cxn ang="0">
                  <a:pos x="connsiteX7317" y="connsiteY7317"/>
                </a:cxn>
                <a:cxn ang="0">
                  <a:pos x="connsiteX7318" y="connsiteY7318"/>
                </a:cxn>
                <a:cxn ang="0">
                  <a:pos x="connsiteX7319" y="connsiteY7319"/>
                </a:cxn>
                <a:cxn ang="0">
                  <a:pos x="connsiteX7320" y="connsiteY7320"/>
                </a:cxn>
                <a:cxn ang="0">
                  <a:pos x="connsiteX7321" y="connsiteY7321"/>
                </a:cxn>
                <a:cxn ang="0">
                  <a:pos x="connsiteX7322" y="connsiteY7322"/>
                </a:cxn>
                <a:cxn ang="0">
                  <a:pos x="connsiteX7323" y="connsiteY7323"/>
                </a:cxn>
                <a:cxn ang="0">
                  <a:pos x="connsiteX7324" y="connsiteY7324"/>
                </a:cxn>
                <a:cxn ang="0">
                  <a:pos x="connsiteX7325" y="connsiteY7325"/>
                </a:cxn>
                <a:cxn ang="0">
                  <a:pos x="connsiteX7326" y="connsiteY7326"/>
                </a:cxn>
                <a:cxn ang="0">
                  <a:pos x="connsiteX7327" y="connsiteY7327"/>
                </a:cxn>
                <a:cxn ang="0">
                  <a:pos x="connsiteX7328" y="connsiteY7328"/>
                </a:cxn>
                <a:cxn ang="0">
                  <a:pos x="connsiteX7329" y="connsiteY7329"/>
                </a:cxn>
                <a:cxn ang="0">
                  <a:pos x="connsiteX7330" y="connsiteY7330"/>
                </a:cxn>
                <a:cxn ang="0">
                  <a:pos x="connsiteX7331" y="connsiteY7331"/>
                </a:cxn>
                <a:cxn ang="0">
                  <a:pos x="connsiteX7332" y="connsiteY7332"/>
                </a:cxn>
                <a:cxn ang="0">
                  <a:pos x="connsiteX7333" y="connsiteY7333"/>
                </a:cxn>
                <a:cxn ang="0">
                  <a:pos x="connsiteX7334" y="connsiteY7334"/>
                </a:cxn>
                <a:cxn ang="0">
                  <a:pos x="connsiteX7335" y="connsiteY7335"/>
                </a:cxn>
                <a:cxn ang="0">
                  <a:pos x="connsiteX7336" y="connsiteY7336"/>
                </a:cxn>
                <a:cxn ang="0">
                  <a:pos x="connsiteX7337" y="connsiteY7337"/>
                </a:cxn>
                <a:cxn ang="0">
                  <a:pos x="connsiteX7338" y="connsiteY7338"/>
                </a:cxn>
                <a:cxn ang="0">
                  <a:pos x="connsiteX7339" y="connsiteY7339"/>
                </a:cxn>
                <a:cxn ang="0">
                  <a:pos x="connsiteX7340" y="connsiteY7340"/>
                </a:cxn>
                <a:cxn ang="0">
                  <a:pos x="connsiteX7341" y="connsiteY7341"/>
                </a:cxn>
                <a:cxn ang="0">
                  <a:pos x="connsiteX7342" y="connsiteY7342"/>
                </a:cxn>
                <a:cxn ang="0">
                  <a:pos x="connsiteX7343" y="connsiteY7343"/>
                </a:cxn>
                <a:cxn ang="0">
                  <a:pos x="connsiteX7344" y="connsiteY7344"/>
                </a:cxn>
                <a:cxn ang="0">
                  <a:pos x="connsiteX7345" y="connsiteY7345"/>
                </a:cxn>
                <a:cxn ang="0">
                  <a:pos x="connsiteX7346" y="connsiteY7346"/>
                </a:cxn>
                <a:cxn ang="0">
                  <a:pos x="connsiteX7347" y="connsiteY7347"/>
                </a:cxn>
                <a:cxn ang="0">
                  <a:pos x="connsiteX7348" y="connsiteY7348"/>
                </a:cxn>
                <a:cxn ang="0">
                  <a:pos x="connsiteX7349" y="connsiteY7349"/>
                </a:cxn>
                <a:cxn ang="0">
                  <a:pos x="connsiteX7350" y="connsiteY7350"/>
                </a:cxn>
                <a:cxn ang="0">
                  <a:pos x="connsiteX7351" y="connsiteY7351"/>
                </a:cxn>
                <a:cxn ang="0">
                  <a:pos x="connsiteX7352" y="connsiteY7352"/>
                </a:cxn>
                <a:cxn ang="0">
                  <a:pos x="connsiteX7353" y="connsiteY7353"/>
                </a:cxn>
                <a:cxn ang="0">
                  <a:pos x="connsiteX7354" y="connsiteY7354"/>
                </a:cxn>
                <a:cxn ang="0">
                  <a:pos x="connsiteX7355" y="connsiteY7355"/>
                </a:cxn>
                <a:cxn ang="0">
                  <a:pos x="connsiteX7356" y="connsiteY7356"/>
                </a:cxn>
                <a:cxn ang="0">
                  <a:pos x="connsiteX7357" y="connsiteY7357"/>
                </a:cxn>
                <a:cxn ang="0">
                  <a:pos x="connsiteX7358" y="connsiteY7358"/>
                </a:cxn>
                <a:cxn ang="0">
                  <a:pos x="connsiteX7359" y="connsiteY7359"/>
                </a:cxn>
                <a:cxn ang="0">
                  <a:pos x="connsiteX7360" y="connsiteY7360"/>
                </a:cxn>
                <a:cxn ang="0">
                  <a:pos x="connsiteX7361" y="connsiteY7361"/>
                </a:cxn>
                <a:cxn ang="0">
                  <a:pos x="connsiteX7362" y="connsiteY7362"/>
                </a:cxn>
                <a:cxn ang="0">
                  <a:pos x="connsiteX7363" y="connsiteY7363"/>
                </a:cxn>
                <a:cxn ang="0">
                  <a:pos x="connsiteX7364" y="connsiteY7364"/>
                </a:cxn>
                <a:cxn ang="0">
                  <a:pos x="connsiteX7365" y="connsiteY7365"/>
                </a:cxn>
                <a:cxn ang="0">
                  <a:pos x="connsiteX7366" y="connsiteY7366"/>
                </a:cxn>
                <a:cxn ang="0">
                  <a:pos x="connsiteX7367" y="connsiteY7367"/>
                </a:cxn>
                <a:cxn ang="0">
                  <a:pos x="connsiteX7368" y="connsiteY7368"/>
                </a:cxn>
                <a:cxn ang="0">
                  <a:pos x="connsiteX7369" y="connsiteY7369"/>
                </a:cxn>
                <a:cxn ang="0">
                  <a:pos x="connsiteX7370" y="connsiteY7370"/>
                </a:cxn>
                <a:cxn ang="0">
                  <a:pos x="connsiteX7371" y="connsiteY7371"/>
                </a:cxn>
                <a:cxn ang="0">
                  <a:pos x="connsiteX7372" y="connsiteY7372"/>
                </a:cxn>
                <a:cxn ang="0">
                  <a:pos x="connsiteX7373" y="connsiteY7373"/>
                </a:cxn>
                <a:cxn ang="0">
                  <a:pos x="connsiteX7374" y="connsiteY7374"/>
                </a:cxn>
                <a:cxn ang="0">
                  <a:pos x="connsiteX7375" y="connsiteY7375"/>
                </a:cxn>
                <a:cxn ang="0">
                  <a:pos x="connsiteX7376" y="connsiteY7376"/>
                </a:cxn>
                <a:cxn ang="0">
                  <a:pos x="connsiteX7377" y="connsiteY7377"/>
                </a:cxn>
                <a:cxn ang="0">
                  <a:pos x="connsiteX7378" y="connsiteY7378"/>
                </a:cxn>
                <a:cxn ang="0">
                  <a:pos x="connsiteX7379" y="connsiteY7379"/>
                </a:cxn>
                <a:cxn ang="0">
                  <a:pos x="connsiteX7380" y="connsiteY7380"/>
                </a:cxn>
                <a:cxn ang="0">
                  <a:pos x="connsiteX7381" y="connsiteY7381"/>
                </a:cxn>
                <a:cxn ang="0">
                  <a:pos x="connsiteX7382" y="connsiteY7382"/>
                </a:cxn>
                <a:cxn ang="0">
                  <a:pos x="connsiteX7383" y="connsiteY7383"/>
                </a:cxn>
                <a:cxn ang="0">
                  <a:pos x="connsiteX7384" y="connsiteY7384"/>
                </a:cxn>
                <a:cxn ang="0">
                  <a:pos x="connsiteX7385" y="connsiteY7385"/>
                </a:cxn>
                <a:cxn ang="0">
                  <a:pos x="connsiteX7386" y="connsiteY7386"/>
                </a:cxn>
                <a:cxn ang="0">
                  <a:pos x="connsiteX7387" y="connsiteY7387"/>
                </a:cxn>
                <a:cxn ang="0">
                  <a:pos x="connsiteX7388" y="connsiteY7388"/>
                </a:cxn>
                <a:cxn ang="0">
                  <a:pos x="connsiteX7389" y="connsiteY7389"/>
                </a:cxn>
                <a:cxn ang="0">
                  <a:pos x="connsiteX7390" y="connsiteY7390"/>
                </a:cxn>
                <a:cxn ang="0">
                  <a:pos x="connsiteX7391" y="connsiteY7391"/>
                </a:cxn>
                <a:cxn ang="0">
                  <a:pos x="connsiteX7392" y="connsiteY7392"/>
                </a:cxn>
                <a:cxn ang="0">
                  <a:pos x="connsiteX7393" y="connsiteY7393"/>
                </a:cxn>
                <a:cxn ang="0">
                  <a:pos x="connsiteX7394" y="connsiteY7394"/>
                </a:cxn>
                <a:cxn ang="0">
                  <a:pos x="connsiteX7395" y="connsiteY7395"/>
                </a:cxn>
                <a:cxn ang="0">
                  <a:pos x="connsiteX7396" y="connsiteY7396"/>
                </a:cxn>
                <a:cxn ang="0">
                  <a:pos x="connsiteX7397" y="connsiteY7397"/>
                </a:cxn>
                <a:cxn ang="0">
                  <a:pos x="connsiteX7398" y="connsiteY7398"/>
                </a:cxn>
                <a:cxn ang="0">
                  <a:pos x="connsiteX7399" y="connsiteY7399"/>
                </a:cxn>
                <a:cxn ang="0">
                  <a:pos x="connsiteX7400" y="connsiteY7400"/>
                </a:cxn>
                <a:cxn ang="0">
                  <a:pos x="connsiteX7401" y="connsiteY7401"/>
                </a:cxn>
                <a:cxn ang="0">
                  <a:pos x="connsiteX7402" y="connsiteY7402"/>
                </a:cxn>
                <a:cxn ang="0">
                  <a:pos x="connsiteX7403" y="connsiteY7403"/>
                </a:cxn>
                <a:cxn ang="0">
                  <a:pos x="connsiteX7404" y="connsiteY7404"/>
                </a:cxn>
                <a:cxn ang="0">
                  <a:pos x="connsiteX7405" y="connsiteY7405"/>
                </a:cxn>
                <a:cxn ang="0">
                  <a:pos x="connsiteX7406" y="connsiteY7406"/>
                </a:cxn>
                <a:cxn ang="0">
                  <a:pos x="connsiteX7407" y="connsiteY7407"/>
                </a:cxn>
                <a:cxn ang="0">
                  <a:pos x="connsiteX7408" y="connsiteY7408"/>
                </a:cxn>
                <a:cxn ang="0">
                  <a:pos x="connsiteX7409" y="connsiteY7409"/>
                </a:cxn>
                <a:cxn ang="0">
                  <a:pos x="connsiteX7410" y="connsiteY7410"/>
                </a:cxn>
                <a:cxn ang="0">
                  <a:pos x="connsiteX7411" y="connsiteY7411"/>
                </a:cxn>
                <a:cxn ang="0">
                  <a:pos x="connsiteX7412" y="connsiteY7412"/>
                </a:cxn>
                <a:cxn ang="0">
                  <a:pos x="connsiteX7413" y="connsiteY7413"/>
                </a:cxn>
                <a:cxn ang="0">
                  <a:pos x="connsiteX7414" y="connsiteY7414"/>
                </a:cxn>
                <a:cxn ang="0">
                  <a:pos x="connsiteX7415" y="connsiteY7415"/>
                </a:cxn>
                <a:cxn ang="0">
                  <a:pos x="connsiteX7416" y="connsiteY7416"/>
                </a:cxn>
                <a:cxn ang="0">
                  <a:pos x="connsiteX7417" y="connsiteY7417"/>
                </a:cxn>
                <a:cxn ang="0">
                  <a:pos x="connsiteX7418" y="connsiteY7418"/>
                </a:cxn>
                <a:cxn ang="0">
                  <a:pos x="connsiteX7419" y="connsiteY7419"/>
                </a:cxn>
                <a:cxn ang="0">
                  <a:pos x="connsiteX7420" y="connsiteY7420"/>
                </a:cxn>
                <a:cxn ang="0">
                  <a:pos x="connsiteX7421" y="connsiteY7421"/>
                </a:cxn>
                <a:cxn ang="0">
                  <a:pos x="connsiteX7422" y="connsiteY7422"/>
                </a:cxn>
                <a:cxn ang="0">
                  <a:pos x="connsiteX7423" y="connsiteY7423"/>
                </a:cxn>
                <a:cxn ang="0">
                  <a:pos x="connsiteX7424" y="connsiteY7424"/>
                </a:cxn>
                <a:cxn ang="0">
                  <a:pos x="connsiteX7425" y="connsiteY7425"/>
                </a:cxn>
                <a:cxn ang="0">
                  <a:pos x="connsiteX7426" y="connsiteY7426"/>
                </a:cxn>
                <a:cxn ang="0">
                  <a:pos x="connsiteX7427" y="connsiteY7427"/>
                </a:cxn>
                <a:cxn ang="0">
                  <a:pos x="connsiteX7428" y="connsiteY7428"/>
                </a:cxn>
                <a:cxn ang="0">
                  <a:pos x="connsiteX7429" y="connsiteY7429"/>
                </a:cxn>
                <a:cxn ang="0">
                  <a:pos x="connsiteX7430" y="connsiteY7430"/>
                </a:cxn>
                <a:cxn ang="0">
                  <a:pos x="connsiteX7431" y="connsiteY7431"/>
                </a:cxn>
                <a:cxn ang="0">
                  <a:pos x="connsiteX7432" y="connsiteY7432"/>
                </a:cxn>
                <a:cxn ang="0">
                  <a:pos x="connsiteX7433" y="connsiteY7433"/>
                </a:cxn>
                <a:cxn ang="0">
                  <a:pos x="connsiteX7434" y="connsiteY7434"/>
                </a:cxn>
                <a:cxn ang="0">
                  <a:pos x="connsiteX7435" y="connsiteY7435"/>
                </a:cxn>
                <a:cxn ang="0">
                  <a:pos x="connsiteX7436" y="connsiteY7436"/>
                </a:cxn>
                <a:cxn ang="0">
                  <a:pos x="connsiteX7437" y="connsiteY7437"/>
                </a:cxn>
                <a:cxn ang="0">
                  <a:pos x="connsiteX7438" y="connsiteY7438"/>
                </a:cxn>
                <a:cxn ang="0">
                  <a:pos x="connsiteX7439" y="connsiteY7439"/>
                </a:cxn>
                <a:cxn ang="0">
                  <a:pos x="connsiteX7440" y="connsiteY7440"/>
                </a:cxn>
                <a:cxn ang="0">
                  <a:pos x="connsiteX7441" y="connsiteY7441"/>
                </a:cxn>
                <a:cxn ang="0">
                  <a:pos x="connsiteX7442" y="connsiteY7442"/>
                </a:cxn>
                <a:cxn ang="0">
                  <a:pos x="connsiteX7443" y="connsiteY7443"/>
                </a:cxn>
                <a:cxn ang="0">
                  <a:pos x="connsiteX7444" y="connsiteY7444"/>
                </a:cxn>
                <a:cxn ang="0">
                  <a:pos x="connsiteX7445" y="connsiteY7445"/>
                </a:cxn>
                <a:cxn ang="0">
                  <a:pos x="connsiteX7446" y="connsiteY7446"/>
                </a:cxn>
                <a:cxn ang="0">
                  <a:pos x="connsiteX7447" y="connsiteY7447"/>
                </a:cxn>
                <a:cxn ang="0">
                  <a:pos x="connsiteX7448" y="connsiteY7448"/>
                </a:cxn>
                <a:cxn ang="0">
                  <a:pos x="connsiteX7449" y="connsiteY7449"/>
                </a:cxn>
                <a:cxn ang="0">
                  <a:pos x="connsiteX7450" y="connsiteY7450"/>
                </a:cxn>
                <a:cxn ang="0">
                  <a:pos x="connsiteX7451" y="connsiteY7451"/>
                </a:cxn>
                <a:cxn ang="0">
                  <a:pos x="connsiteX7452" y="connsiteY7452"/>
                </a:cxn>
                <a:cxn ang="0">
                  <a:pos x="connsiteX7453" y="connsiteY7453"/>
                </a:cxn>
                <a:cxn ang="0">
                  <a:pos x="connsiteX7454" y="connsiteY7454"/>
                </a:cxn>
                <a:cxn ang="0">
                  <a:pos x="connsiteX7455" y="connsiteY7455"/>
                </a:cxn>
                <a:cxn ang="0">
                  <a:pos x="connsiteX7456" y="connsiteY7456"/>
                </a:cxn>
                <a:cxn ang="0">
                  <a:pos x="connsiteX7457" y="connsiteY7457"/>
                </a:cxn>
                <a:cxn ang="0">
                  <a:pos x="connsiteX7458" y="connsiteY7458"/>
                </a:cxn>
                <a:cxn ang="0">
                  <a:pos x="connsiteX7459" y="connsiteY7459"/>
                </a:cxn>
                <a:cxn ang="0">
                  <a:pos x="connsiteX7460" y="connsiteY7460"/>
                </a:cxn>
                <a:cxn ang="0">
                  <a:pos x="connsiteX7461" y="connsiteY7461"/>
                </a:cxn>
                <a:cxn ang="0">
                  <a:pos x="connsiteX7462" y="connsiteY7462"/>
                </a:cxn>
                <a:cxn ang="0">
                  <a:pos x="connsiteX7463" y="connsiteY7463"/>
                </a:cxn>
                <a:cxn ang="0">
                  <a:pos x="connsiteX7464" y="connsiteY7464"/>
                </a:cxn>
                <a:cxn ang="0">
                  <a:pos x="connsiteX7465" y="connsiteY7465"/>
                </a:cxn>
                <a:cxn ang="0">
                  <a:pos x="connsiteX7466" y="connsiteY7466"/>
                </a:cxn>
                <a:cxn ang="0">
                  <a:pos x="connsiteX7467" y="connsiteY7467"/>
                </a:cxn>
                <a:cxn ang="0">
                  <a:pos x="connsiteX7468" y="connsiteY7468"/>
                </a:cxn>
                <a:cxn ang="0">
                  <a:pos x="connsiteX7469" y="connsiteY7469"/>
                </a:cxn>
                <a:cxn ang="0">
                  <a:pos x="connsiteX7470" y="connsiteY7470"/>
                </a:cxn>
                <a:cxn ang="0">
                  <a:pos x="connsiteX7471" y="connsiteY7471"/>
                </a:cxn>
                <a:cxn ang="0">
                  <a:pos x="connsiteX7472" y="connsiteY7472"/>
                </a:cxn>
                <a:cxn ang="0">
                  <a:pos x="connsiteX7473" y="connsiteY7473"/>
                </a:cxn>
                <a:cxn ang="0">
                  <a:pos x="connsiteX7474" y="connsiteY7474"/>
                </a:cxn>
                <a:cxn ang="0">
                  <a:pos x="connsiteX7475" y="connsiteY7475"/>
                </a:cxn>
                <a:cxn ang="0">
                  <a:pos x="connsiteX7476" y="connsiteY7476"/>
                </a:cxn>
                <a:cxn ang="0">
                  <a:pos x="connsiteX7477" y="connsiteY7477"/>
                </a:cxn>
                <a:cxn ang="0">
                  <a:pos x="connsiteX7478" y="connsiteY7478"/>
                </a:cxn>
                <a:cxn ang="0">
                  <a:pos x="connsiteX7479" y="connsiteY7479"/>
                </a:cxn>
                <a:cxn ang="0">
                  <a:pos x="connsiteX7480" y="connsiteY7480"/>
                </a:cxn>
                <a:cxn ang="0">
                  <a:pos x="connsiteX7481" y="connsiteY7481"/>
                </a:cxn>
                <a:cxn ang="0">
                  <a:pos x="connsiteX7482" y="connsiteY7482"/>
                </a:cxn>
                <a:cxn ang="0">
                  <a:pos x="connsiteX7483" y="connsiteY7483"/>
                </a:cxn>
                <a:cxn ang="0">
                  <a:pos x="connsiteX7484" y="connsiteY7484"/>
                </a:cxn>
                <a:cxn ang="0">
                  <a:pos x="connsiteX7485" y="connsiteY7485"/>
                </a:cxn>
                <a:cxn ang="0">
                  <a:pos x="connsiteX7486" y="connsiteY7486"/>
                </a:cxn>
                <a:cxn ang="0">
                  <a:pos x="connsiteX7487" y="connsiteY7487"/>
                </a:cxn>
                <a:cxn ang="0">
                  <a:pos x="connsiteX7488" y="connsiteY7488"/>
                </a:cxn>
                <a:cxn ang="0">
                  <a:pos x="connsiteX7489" y="connsiteY7489"/>
                </a:cxn>
                <a:cxn ang="0">
                  <a:pos x="connsiteX7490" y="connsiteY7490"/>
                </a:cxn>
                <a:cxn ang="0">
                  <a:pos x="connsiteX7491" y="connsiteY7491"/>
                </a:cxn>
                <a:cxn ang="0">
                  <a:pos x="connsiteX7492" y="connsiteY7492"/>
                </a:cxn>
                <a:cxn ang="0">
                  <a:pos x="connsiteX7493" y="connsiteY7493"/>
                </a:cxn>
                <a:cxn ang="0">
                  <a:pos x="connsiteX7494" y="connsiteY7494"/>
                </a:cxn>
                <a:cxn ang="0">
                  <a:pos x="connsiteX7495" y="connsiteY7495"/>
                </a:cxn>
                <a:cxn ang="0">
                  <a:pos x="connsiteX7496" y="connsiteY7496"/>
                </a:cxn>
                <a:cxn ang="0">
                  <a:pos x="connsiteX7497" y="connsiteY7497"/>
                </a:cxn>
                <a:cxn ang="0">
                  <a:pos x="connsiteX7498" y="connsiteY7498"/>
                </a:cxn>
                <a:cxn ang="0">
                  <a:pos x="connsiteX7499" y="connsiteY7499"/>
                </a:cxn>
                <a:cxn ang="0">
                  <a:pos x="connsiteX7500" y="connsiteY7500"/>
                </a:cxn>
                <a:cxn ang="0">
                  <a:pos x="connsiteX7501" y="connsiteY7501"/>
                </a:cxn>
                <a:cxn ang="0">
                  <a:pos x="connsiteX7502" y="connsiteY7502"/>
                </a:cxn>
                <a:cxn ang="0">
                  <a:pos x="connsiteX7503" y="connsiteY7503"/>
                </a:cxn>
                <a:cxn ang="0">
                  <a:pos x="connsiteX7504" y="connsiteY7504"/>
                </a:cxn>
                <a:cxn ang="0">
                  <a:pos x="connsiteX7505" y="connsiteY7505"/>
                </a:cxn>
                <a:cxn ang="0">
                  <a:pos x="connsiteX7506" y="connsiteY7506"/>
                </a:cxn>
                <a:cxn ang="0">
                  <a:pos x="connsiteX7507" y="connsiteY7507"/>
                </a:cxn>
                <a:cxn ang="0">
                  <a:pos x="connsiteX7508" y="connsiteY7508"/>
                </a:cxn>
                <a:cxn ang="0">
                  <a:pos x="connsiteX7509" y="connsiteY7509"/>
                </a:cxn>
                <a:cxn ang="0">
                  <a:pos x="connsiteX7510" y="connsiteY7510"/>
                </a:cxn>
                <a:cxn ang="0">
                  <a:pos x="connsiteX7511" y="connsiteY7511"/>
                </a:cxn>
                <a:cxn ang="0">
                  <a:pos x="connsiteX7512" y="connsiteY7512"/>
                </a:cxn>
                <a:cxn ang="0">
                  <a:pos x="connsiteX7513" y="connsiteY7513"/>
                </a:cxn>
                <a:cxn ang="0">
                  <a:pos x="connsiteX7514" y="connsiteY7514"/>
                </a:cxn>
                <a:cxn ang="0">
                  <a:pos x="connsiteX7515" y="connsiteY7515"/>
                </a:cxn>
                <a:cxn ang="0">
                  <a:pos x="connsiteX7516" y="connsiteY7516"/>
                </a:cxn>
                <a:cxn ang="0">
                  <a:pos x="connsiteX7517" y="connsiteY7517"/>
                </a:cxn>
                <a:cxn ang="0">
                  <a:pos x="connsiteX7518" y="connsiteY7518"/>
                </a:cxn>
                <a:cxn ang="0">
                  <a:pos x="connsiteX7519" y="connsiteY7519"/>
                </a:cxn>
                <a:cxn ang="0">
                  <a:pos x="connsiteX7520" y="connsiteY7520"/>
                </a:cxn>
                <a:cxn ang="0">
                  <a:pos x="connsiteX7521" y="connsiteY7521"/>
                </a:cxn>
                <a:cxn ang="0">
                  <a:pos x="connsiteX7522" y="connsiteY7522"/>
                </a:cxn>
                <a:cxn ang="0">
                  <a:pos x="connsiteX7523" y="connsiteY7523"/>
                </a:cxn>
                <a:cxn ang="0">
                  <a:pos x="connsiteX7524" y="connsiteY7524"/>
                </a:cxn>
                <a:cxn ang="0">
                  <a:pos x="connsiteX7525" y="connsiteY7525"/>
                </a:cxn>
                <a:cxn ang="0">
                  <a:pos x="connsiteX7526" y="connsiteY7526"/>
                </a:cxn>
                <a:cxn ang="0">
                  <a:pos x="connsiteX7527" y="connsiteY7527"/>
                </a:cxn>
                <a:cxn ang="0">
                  <a:pos x="connsiteX7528" y="connsiteY7528"/>
                </a:cxn>
                <a:cxn ang="0">
                  <a:pos x="connsiteX7529" y="connsiteY7529"/>
                </a:cxn>
                <a:cxn ang="0">
                  <a:pos x="connsiteX7530" y="connsiteY7530"/>
                </a:cxn>
                <a:cxn ang="0">
                  <a:pos x="connsiteX7531" y="connsiteY7531"/>
                </a:cxn>
                <a:cxn ang="0">
                  <a:pos x="connsiteX7532" y="connsiteY7532"/>
                </a:cxn>
                <a:cxn ang="0">
                  <a:pos x="connsiteX7533" y="connsiteY7533"/>
                </a:cxn>
                <a:cxn ang="0">
                  <a:pos x="connsiteX7534" y="connsiteY7534"/>
                </a:cxn>
                <a:cxn ang="0">
                  <a:pos x="connsiteX7535" y="connsiteY7535"/>
                </a:cxn>
                <a:cxn ang="0">
                  <a:pos x="connsiteX7536" y="connsiteY7536"/>
                </a:cxn>
                <a:cxn ang="0">
                  <a:pos x="connsiteX7537" y="connsiteY7537"/>
                </a:cxn>
                <a:cxn ang="0">
                  <a:pos x="connsiteX7538" y="connsiteY7538"/>
                </a:cxn>
                <a:cxn ang="0">
                  <a:pos x="connsiteX7539" y="connsiteY7539"/>
                </a:cxn>
                <a:cxn ang="0">
                  <a:pos x="connsiteX7540" y="connsiteY7540"/>
                </a:cxn>
                <a:cxn ang="0">
                  <a:pos x="connsiteX7541" y="connsiteY7541"/>
                </a:cxn>
                <a:cxn ang="0">
                  <a:pos x="connsiteX7542" y="connsiteY7542"/>
                </a:cxn>
                <a:cxn ang="0">
                  <a:pos x="connsiteX7543" y="connsiteY7543"/>
                </a:cxn>
                <a:cxn ang="0">
                  <a:pos x="connsiteX7544" y="connsiteY7544"/>
                </a:cxn>
                <a:cxn ang="0">
                  <a:pos x="connsiteX7545" y="connsiteY7545"/>
                </a:cxn>
                <a:cxn ang="0">
                  <a:pos x="connsiteX7546" y="connsiteY7546"/>
                </a:cxn>
                <a:cxn ang="0">
                  <a:pos x="connsiteX7547" y="connsiteY7547"/>
                </a:cxn>
                <a:cxn ang="0">
                  <a:pos x="connsiteX7548" y="connsiteY7548"/>
                </a:cxn>
                <a:cxn ang="0">
                  <a:pos x="connsiteX7549" y="connsiteY7549"/>
                </a:cxn>
                <a:cxn ang="0">
                  <a:pos x="connsiteX7550" y="connsiteY7550"/>
                </a:cxn>
                <a:cxn ang="0">
                  <a:pos x="connsiteX7551" y="connsiteY7551"/>
                </a:cxn>
                <a:cxn ang="0">
                  <a:pos x="connsiteX7552" y="connsiteY7552"/>
                </a:cxn>
                <a:cxn ang="0">
                  <a:pos x="connsiteX7553" y="connsiteY7553"/>
                </a:cxn>
                <a:cxn ang="0">
                  <a:pos x="connsiteX7554" y="connsiteY7554"/>
                </a:cxn>
                <a:cxn ang="0">
                  <a:pos x="connsiteX7555" y="connsiteY7555"/>
                </a:cxn>
                <a:cxn ang="0">
                  <a:pos x="connsiteX7556" y="connsiteY7556"/>
                </a:cxn>
                <a:cxn ang="0">
                  <a:pos x="connsiteX7557" y="connsiteY7557"/>
                </a:cxn>
                <a:cxn ang="0">
                  <a:pos x="connsiteX7558" y="connsiteY7558"/>
                </a:cxn>
                <a:cxn ang="0">
                  <a:pos x="connsiteX7559" y="connsiteY7559"/>
                </a:cxn>
                <a:cxn ang="0">
                  <a:pos x="connsiteX7560" y="connsiteY7560"/>
                </a:cxn>
                <a:cxn ang="0">
                  <a:pos x="connsiteX7561" y="connsiteY7561"/>
                </a:cxn>
                <a:cxn ang="0">
                  <a:pos x="connsiteX7562" y="connsiteY7562"/>
                </a:cxn>
                <a:cxn ang="0">
                  <a:pos x="connsiteX7563" y="connsiteY7563"/>
                </a:cxn>
                <a:cxn ang="0">
                  <a:pos x="connsiteX7564" y="connsiteY7564"/>
                </a:cxn>
                <a:cxn ang="0">
                  <a:pos x="connsiteX7565" y="connsiteY7565"/>
                </a:cxn>
                <a:cxn ang="0">
                  <a:pos x="connsiteX7566" y="connsiteY7566"/>
                </a:cxn>
                <a:cxn ang="0">
                  <a:pos x="connsiteX7567" y="connsiteY7567"/>
                </a:cxn>
                <a:cxn ang="0">
                  <a:pos x="connsiteX7568" y="connsiteY7568"/>
                </a:cxn>
                <a:cxn ang="0">
                  <a:pos x="connsiteX7569" y="connsiteY7569"/>
                </a:cxn>
                <a:cxn ang="0">
                  <a:pos x="connsiteX7570" y="connsiteY7570"/>
                </a:cxn>
                <a:cxn ang="0">
                  <a:pos x="connsiteX7571" y="connsiteY7571"/>
                </a:cxn>
                <a:cxn ang="0">
                  <a:pos x="connsiteX7572" y="connsiteY7572"/>
                </a:cxn>
                <a:cxn ang="0">
                  <a:pos x="connsiteX7573" y="connsiteY7573"/>
                </a:cxn>
                <a:cxn ang="0">
                  <a:pos x="connsiteX7574" y="connsiteY7574"/>
                </a:cxn>
                <a:cxn ang="0">
                  <a:pos x="connsiteX7575" y="connsiteY7575"/>
                </a:cxn>
                <a:cxn ang="0">
                  <a:pos x="connsiteX7576" y="connsiteY7576"/>
                </a:cxn>
                <a:cxn ang="0">
                  <a:pos x="connsiteX7577" y="connsiteY7577"/>
                </a:cxn>
                <a:cxn ang="0">
                  <a:pos x="connsiteX7578" y="connsiteY7578"/>
                </a:cxn>
                <a:cxn ang="0">
                  <a:pos x="connsiteX7579" y="connsiteY7579"/>
                </a:cxn>
                <a:cxn ang="0">
                  <a:pos x="connsiteX7580" y="connsiteY7580"/>
                </a:cxn>
                <a:cxn ang="0">
                  <a:pos x="connsiteX7581" y="connsiteY7581"/>
                </a:cxn>
                <a:cxn ang="0">
                  <a:pos x="connsiteX7582" y="connsiteY7582"/>
                </a:cxn>
                <a:cxn ang="0">
                  <a:pos x="connsiteX7583" y="connsiteY7583"/>
                </a:cxn>
                <a:cxn ang="0">
                  <a:pos x="connsiteX7584" y="connsiteY7584"/>
                </a:cxn>
                <a:cxn ang="0">
                  <a:pos x="connsiteX7585" y="connsiteY7585"/>
                </a:cxn>
                <a:cxn ang="0">
                  <a:pos x="connsiteX7586" y="connsiteY7586"/>
                </a:cxn>
                <a:cxn ang="0">
                  <a:pos x="connsiteX7587" y="connsiteY7587"/>
                </a:cxn>
                <a:cxn ang="0">
                  <a:pos x="connsiteX7588" y="connsiteY7588"/>
                </a:cxn>
                <a:cxn ang="0">
                  <a:pos x="connsiteX7589" y="connsiteY7589"/>
                </a:cxn>
                <a:cxn ang="0">
                  <a:pos x="connsiteX7590" y="connsiteY7590"/>
                </a:cxn>
                <a:cxn ang="0">
                  <a:pos x="connsiteX7591" y="connsiteY7591"/>
                </a:cxn>
                <a:cxn ang="0">
                  <a:pos x="connsiteX7592" y="connsiteY7592"/>
                </a:cxn>
                <a:cxn ang="0">
                  <a:pos x="connsiteX7593" y="connsiteY7593"/>
                </a:cxn>
                <a:cxn ang="0">
                  <a:pos x="connsiteX7594" y="connsiteY7594"/>
                </a:cxn>
                <a:cxn ang="0">
                  <a:pos x="connsiteX7595" y="connsiteY7595"/>
                </a:cxn>
                <a:cxn ang="0">
                  <a:pos x="connsiteX7596" y="connsiteY7596"/>
                </a:cxn>
                <a:cxn ang="0">
                  <a:pos x="connsiteX7597" y="connsiteY7597"/>
                </a:cxn>
                <a:cxn ang="0">
                  <a:pos x="connsiteX7598" y="connsiteY7598"/>
                </a:cxn>
                <a:cxn ang="0">
                  <a:pos x="connsiteX7599" y="connsiteY7599"/>
                </a:cxn>
                <a:cxn ang="0">
                  <a:pos x="connsiteX7600" y="connsiteY7600"/>
                </a:cxn>
                <a:cxn ang="0">
                  <a:pos x="connsiteX7601" y="connsiteY7601"/>
                </a:cxn>
                <a:cxn ang="0">
                  <a:pos x="connsiteX7602" y="connsiteY7602"/>
                </a:cxn>
                <a:cxn ang="0">
                  <a:pos x="connsiteX7603" y="connsiteY7603"/>
                </a:cxn>
                <a:cxn ang="0">
                  <a:pos x="connsiteX7604" y="connsiteY7604"/>
                </a:cxn>
                <a:cxn ang="0">
                  <a:pos x="connsiteX7605" y="connsiteY7605"/>
                </a:cxn>
                <a:cxn ang="0">
                  <a:pos x="connsiteX7606" y="connsiteY7606"/>
                </a:cxn>
                <a:cxn ang="0">
                  <a:pos x="connsiteX7607" y="connsiteY7607"/>
                </a:cxn>
                <a:cxn ang="0">
                  <a:pos x="connsiteX7608" y="connsiteY7608"/>
                </a:cxn>
                <a:cxn ang="0">
                  <a:pos x="connsiteX7609" y="connsiteY7609"/>
                </a:cxn>
                <a:cxn ang="0">
                  <a:pos x="connsiteX7610" y="connsiteY7610"/>
                </a:cxn>
                <a:cxn ang="0">
                  <a:pos x="connsiteX7611" y="connsiteY7611"/>
                </a:cxn>
                <a:cxn ang="0">
                  <a:pos x="connsiteX7612" y="connsiteY7612"/>
                </a:cxn>
                <a:cxn ang="0">
                  <a:pos x="connsiteX7613" y="connsiteY7613"/>
                </a:cxn>
                <a:cxn ang="0">
                  <a:pos x="connsiteX7614" y="connsiteY7614"/>
                </a:cxn>
                <a:cxn ang="0">
                  <a:pos x="connsiteX7615" y="connsiteY7615"/>
                </a:cxn>
                <a:cxn ang="0">
                  <a:pos x="connsiteX7616" y="connsiteY7616"/>
                </a:cxn>
                <a:cxn ang="0">
                  <a:pos x="connsiteX7617" y="connsiteY7617"/>
                </a:cxn>
                <a:cxn ang="0">
                  <a:pos x="connsiteX7618" y="connsiteY7618"/>
                </a:cxn>
                <a:cxn ang="0">
                  <a:pos x="connsiteX7619" y="connsiteY7619"/>
                </a:cxn>
                <a:cxn ang="0">
                  <a:pos x="connsiteX7620" y="connsiteY7620"/>
                </a:cxn>
                <a:cxn ang="0">
                  <a:pos x="connsiteX7621" y="connsiteY7621"/>
                </a:cxn>
                <a:cxn ang="0">
                  <a:pos x="connsiteX7622" y="connsiteY7622"/>
                </a:cxn>
                <a:cxn ang="0">
                  <a:pos x="connsiteX7623" y="connsiteY7623"/>
                </a:cxn>
                <a:cxn ang="0">
                  <a:pos x="connsiteX7624" y="connsiteY7624"/>
                </a:cxn>
                <a:cxn ang="0">
                  <a:pos x="connsiteX7625" y="connsiteY7625"/>
                </a:cxn>
                <a:cxn ang="0">
                  <a:pos x="connsiteX7626" y="connsiteY7626"/>
                </a:cxn>
                <a:cxn ang="0">
                  <a:pos x="connsiteX7627" y="connsiteY7627"/>
                </a:cxn>
                <a:cxn ang="0">
                  <a:pos x="connsiteX7628" y="connsiteY7628"/>
                </a:cxn>
                <a:cxn ang="0">
                  <a:pos x="connsiteX7629" y="connsiteY7629"/>
                </a:cxn>
                <a:cxn ang="0">
                  <a:pos x="connsiteX7630" y="connsiteY7630"/>
                </a:cxn>
                <a:cxn ang="0">
                  <a:pos x="connsiteX7631" y="connsiteY7631"/>
                </a:cxn>
                <a:cxn ang="0">
                  <a:pos x="connsiteX7632" y="connsiteY7632"/>
                </a:cxn>
                <a:cxn ang="0">
                  <a:pos x="connsiteX7633" y="connsiteY7633"/>
                </a:cxn>
                <a:cxn ang="0">
                  <a:pos x="connsiteX7634" y="connsiteY7634"/>
                </a:cxn>
                <a:cxn ang="0">
                  <a:pos x="connsiteX7635" y="connsiteY7635"/>
                </a:cxn>
                <a:cxn ang="0">
                  <a:pos x="connsiteX7636" y="connsiteY7636"/>
                </a:cxn>
                <a:cxn ang="0">
                  <a:pos x="connsiteX7637" y="connsiteY7637"/>
                </a:cxn>
                <a:cxn ang="0">
                  <a:pos x="connsiteX7638" y="connsiteY7638"/>
                </a:cxn>
                <a:cxn ang="0">
                  <a:pos x="connsiteX7639" y="connsiteY7639"/>
                </a:cxn>
                <a:cxn ang="0">
                  <a:pos x="connsiteX7640" y="connsiteY7640"/>
                </a:cxn>
                <a:cxn ang="0">
                  <a:pos x="connsiteX7641" y="connsiteY7641"/>
                </a:cxn>
                <a:cxn ang="0">
                  <a:pos x="connsiteX7642" y="connsiteY7642"/>
                </a:cxn>
                <a:cxn ang="0">
                  <a:pos x="connsiteX7643" y="connsiteY7643"/>
                </a:cxn>
                <a:cxn ang="0">
                  <a:pos x="connsiteX7644" y="connsiteY7644"/>
                </a:cxn>
                <a:cxn ang="0">
                  <a:pos x="connsiteX7645" y="connsiteY7645"/>
                </a:cxn>
                <a:cxn ang="0">
                  <a:pos x="connsiteX7646" y="connsiteY7646"/>
                </a:cxn>
                <a:cxn ang="0">
                  <a:pos x="connsiteX7647" y="connsiteY7647"/>
                </a:cxn>
                <a:cxn ang="0">
                  <a:pos x="connsiteX7648" y="connsiteY7648"/>
                </a:cxn>
                <a:cxn ang="0">
                  <a:pos x="connsiteX7649" y="connsiteY7649"/>
                </a:cxn>
                <a:cxn ang="0">
                  <a:pos x="connsiteX7650" y="connsiteY7650"/>
                </a:cxn>
                <a:cxn ang="0">
                  <a:pos x="connsiteX7651" y="connsiteY7651"/>
                </a:cxn>
                <a:cxn ang="0">
                  <a:pos x="connsiteX7652" y="connsiteY7652"/>
                </a:cxn>
                <a:cxn ang="0">
                  <a:pos x="connsiteX7653" y="connsiteY7653"/>
                </a:cxn>
                <a:cxn ang="0">
                  <a:pos x="connsiteX7654" y="connsiteY7654"/>
                </a:cxn>
                <a:cxn ang="0">
                  <a:pos x="connsiteX7655" y="connsiteY7655"/>
                </a:cxn>
                <a:cxn ang="0">
                  <a:pos x="connsiteX7656" y="connsiteY7656"/>
                </a:cxn>
                <a:cxn ang="0">
                  <a:pos x="connsiteX7657" y="connsiteY7657"/>
                </a:cxn>
                <a:cxn ang="0">
                  <a:pos x="connsiteX7658" y="connsiteY7658"/>
                </a:cxn>
                <a:cxn ang="0">
                  <a:pos x="connsiteX7659" y="connsiteY7659"/>
                </a:cxn>
                <a:cxn ang="0">
                  <a:pos x="connsiteX7660" y="connsiteY7660"/>
                </a:cxn>
                <a:cxn ang="0">
                  <a:pos x="connsiteX7661" y="connsiteY7661"/>
                </a:cxn>
                <a:cxn ang="0">
                  <a:pos x="connsiteX7662" y="connsiteY7662"/>
                </a:cxn>
                <a:cxn ang="0">
                  <a:pos x="connsiteX7663" y="connsiteY7663"/>
                </a:cxn>
                <a:cxn ang="0">
                  <a:pos x="connsiteX7664" y="connsiteY7664"/>
                </a:cxn>
                <a:cxn ang="0">
                  <a:pos x="connsiteX7665" y="connsiteY7665"/>
                </a:cxn>
                <a:cxn ang="0">
                  <a:pos x="connsiteX7666" y="connsiteY7666"/>
                </a:cxn>
                <a:cxn ang="0">
                  <a:pos x="connsiteX7667" y="connsiteY7667"/>
                </a:cxn>
                <a:cxn ang="0">
                  <a:pos x="connsiteX7668" y="connsiteY7668"/>
                </a:cxn>
                <a:cxn ang="0">
                  <a:pos x="connsiteX7669" y="connsiteY7669"/>
                </a:cxn>
                <a:cxn ang="0">
                  <a:pos x="connsiteX7670" y="connsiteY7670"/>
                </a:cxn>
                <a:cxn ang="0">
                  <a:pos x="connsiteX7671" y="connsiteY7671"/>
                </a:cxn>
                <a:cxn ang="0">
                  <a:pos x="connsiteX7672" y="connsiteY7672"/>
                </a:cxn>
                <a:cxn ang="0">
                  <a:pos x="connsiteX7673" y="connsiteY7673"/>
                </a:cxn>
                <a:cxn ang="0">
                  <a:pos x="connsiteX7674" y="connsiteY7674"/>
                </a:cxn>
                <a:cxn ang="0">
                  <a:pos x="connsiteX7675" y="connsiteY7675"/>
                </a:cxn>
                <a:cxn ang="0">
                  <a:pos x="connsiteX7676" y="connsiteY7676"/>
                </a:cxn>
                <a:cxn ang="0">
                  <a:pos x="connsiteX7677" y="connsiteY7677"/>
                </a:cxn>
                <a:cxn ang="0">
                  <a:pos x="connsiteX7678" y="connsiteY7678"/>
                </a:cxn>
                <a:cxn ang="0">
                  <a:pos x="connsiteX7679" y="connsiteY7679"/>
                </a:cxn>
                <a:cxn ang="0">
                  <a:pos x="connsiteX7680" y="connsiteY7680"/>
                </a:cxn>
                <a:cxn ang="0">
                  <a:pos x="connsiteX7681" y="connsiteY7681"/>
                </a:cxn>
                <a:cxn ang="0">
                  <a:pos x="connsiteX7682" y="connsiteY7682"/>
                </a:cxn>
                <a:cxn ang="0">
                  <a:pos x="connsiteX7683" y="connsiteY7683"/>
                </a:cxn>
                <a:cxn ang="0">
                  <a:pos x="connsiteX7684" y="connsiteY7684"/>
                </a:cxn>
                <a:cxn ang="0">
                  <a:pos x="connsiteX7685" y="connsiteY7685"/>
                </a:cxn>
                <a:cxn ang="0">
                  <a:pos x="connsiteX7686" y="connsiteY7686"/>
                </a:cxn>
                <a:cxn ang="0">
                  <a:pos x="connsiteX7687" y="connsiteY7687"/>
                </a:cxn>
                <a:cxn ang="0">
                  <a:pos x="connsiteX7688" y="connsiteY7688"/>
                </a:cxn>
                <a:cxn ang="0">
                  <a:pos x="connsiteX7689" y="connsiteY7689"/>
                </a:cxn>
                <a:cxn ang="0">
                  <a:pos x="connsiteX7690" y="connsiteY7690"/>
                </a:cxn>
                <a:cxn ang="0">
                  <a:pos x="connsiteX7691" y="connsiteY7691"/>
                </a:cxn>
                <a:cxn ang="0">
                  <a:pos x="connsiteX7692" y="connsiteY7692"/>
                </a:cxn>
                <a:cxn ang="0">
                  <a:pos x="connsiteX7693" y="connsiteY7693"/>
                </a:cxn>
                <a:cxn ang="0">
                  <a:pos x="connsiteX7694" y="connsiteY7694"/>
                </a:cxn>
                <a:cxn ang="0">
                  <a:pos x="connsiteX7695" y="connsiteY7695"/>
                </a:cxn>
                <a:cxn ang="0">
                  <a:pos x="connsiteX7696" y="connsiteY7696"/>
                </a:cxn>
                <a:cxn ang="0">
                  <a:pos x="connsiteX7697" y="connsiteY7697"/>
                </a:cxn>
                <a:cxn ang="0">
                  <a:pos x="connsiteX7698" y="connsiteY7698"/>
                </a:cxn>
                <a:cxn ang="0">
                  <a:pos x="connsiteX7699" y="connsiteY7699"/>
                </a:cxn>
                <a:cxn ang="0">
                  <a:pos x="connsiteX7700" y="connsiteY7700"/>
                </a:cxn>
                <a:cxn ang="0">
                  <a:pos x="connsiteX7701" y="connsiteY7701"/>
                </a:cxn>
                <a:cxn ang="0">
                  <a:pos x="connsiteX7702" y="connsiteY7702"/>
                </a:cxn>
                <a:cxn ang="0">
                  <a:pos x="connsiteX7703" y="connsiteY7703"/>
                </a:cxn>
                <a:cxn ang="0">
                  <a:pos x="connsiteX7704" y="connsiteY7704"/>
                </a:cxn>
                <a:cxn ang="0">
                  <a:pos x="connsiteX7705" y="connsiteY7705"/>
                </a:cxn>
                <a:cxn ang="0">
                  <a:pos x="connsiteX7706" y="connsiteY7706"/>
                </a:cxn>
                <a:cxn ang="0">
                  <a:pos x="connsiteX7707" y="connsiteY7707"/>
                </a:cxn>
                <a:cxn ang="0">
                  <a:pos x="connsiteX7708" y="connsiteY7708"/>
                </a:cxn>
                <a:cxn ang="0">
                  <a:pos x="connsiteX7709" y="connsiteY7709"/>
                </a:cxn>
                <a:cxn ang="0">
                  <a:pos x="connsiteX7710" y="connsiteY7710"/>
                </a:cxn>
                <a:cxn ang="0">
                  <a:pos x="connsiteX7711" y="connsiteY7711"/>
                </a:cxn>
                <a:cxn ang="0">
                  <a:pos x="connsiteX7712" y="connsiteY7712"/>
                </a:cxn>
                <a:cxn ang="0">
                  <a:pos x="connsiteX7713" y="connsiteY7713"/>
                </a:cxn>
                <a:cxn ang="0">
                  <a:pos x="connsiteX7714" y="connsiteY7714"/>
                </a:cxn>
                <a:cxn ang="0">
                  <a:pos x="connsiteX7715" y="connsiteY7715"/>
                </a:cxn>
                <a:cxn ang="0">
                  <a:pos x="connsiteX7716" y="connsiteY7716"/>
                </a:cxn>
                <a:cxn ang="0">
                  <a:pos x="connsiteX7717" y="connsiteY7717"/>
                </a:cxn>
                <a:cxn ang="0">
                  <a:pos x="connsiteX7718" y="connsiteY7718"/>
                </a:cxn>
                <a:cxn ang="0">
                  <a:pos x="connsiteX7719" y="connsiteY7719"/>
                </a:cxn>
                <a:cxn ang="0">
                  <a:pos x="connsiteX7720" y="connsiteY7720"/>
                </a:cxn>
                <a:cxn ang="0">
                  <a:pos x="connsiteX7721" y="connsiteY7721"/>
                </a:cxn>
                <a:cxn ang="0">
                  <a:pos x="connsiteX7722" y="connsiteY7722"/>
                </a:cxn>
                <a:cxn ang="0">
                  <a:pos x="connsiteX7723" y="connsiteY7723"/>
                </a:cxn>
                <a:cxn ang="0">
                  <a:pos x="connsiteX7724" y="connsiteY7724"/>
                </a:cxn>
                <a:cxn ang="0">
                  <a:pos x="connsiteX7725" y="connsiteY7725"/>
                </a:cxn>
                <a:cxn ang="0">
                  <a:pos x="connsiteX7726" y="connsiteY7726"/>
                </a:cxn>
                <a:cxn ang="0">
                  <a:pos x="connsiteX7727" y="connsiteY7727"/>
                </a:cxn>
                <a:cxn ang="0">
                  <a:pos x="connsiteX7728" y="connsiteY7728"/>
                </a:cxn>
                <a:cxn ang="0">
                  <a:pos x="connsiteX7729" y="connsiteY7729"/>
                </a:cxn>
                <a:cxn ang="0">
                  <a:pos x="connsiteX7730" y="connsiteY7730"/>
                </a:cxn>
                <a:cxn ang="0">
                  <a:pos x="connsiteX7731" y="connsiteY7731"/>
                </a:cxn>
                <a:cxn ang="0">
                  <a:pos x="connsiteX7732" y="connsiteY7732"/>
                </a:cxn>
                <a:cxn ang="0">
                  <a:pos x="connsiteX7733" y="connsiteY7733"/>
                </a:cxn>
                <a:cxn ang="0">
                  <a:pos x="connsiteX7734" y="connsiteY7734"/>
                </a:cxn>
                <a:cxn ang="0">
                  <a:pos x="connsiteX7735" y="connsiteY7735"/>
                </a:cxn>
                <a:cxn ang="0">
                  <a:pos x="connsiteX7736" y="connsiteY7736"/>
                </a:cxn>
                <a:cxn ang="0">
                  <a:pos x="connsiteX7737" y="connsiteY7737"/>
                </a:cxn>
                <a:cxn ang="0">
                  <a:pos x="connsiteX7738" y="connsiteY7738"/>
                </a:cxn>
                <a:cxn ang="0">
                  <a:pos x="connsiteX7739" y="connsiteY7739"/>
                </a:cxn>
                <a:cxn ang="0">
                  <a:pos x="connsiteX7740" y="connsiteY7740"/>
                </a:cxn>
                <a:cxn ang="0">
                  <a:pos x="connsiteX7741" y="connsiteY7741"/>
                </a:cxn>
                <a:cxn ang="0">
                  <a:pos x="connsiteX7742" y="connsiteY7742"/>
                </a:cxn>
                <a:cxn ang="0">
                  <a:pos x="connsiteX7743" y="connsiteY7743"/>
                </a:cxn>
                <a:cxn ang="0">
                  <a:pos x="connsiteX7744" y="connsiteY7744"/>
                </a:cxn>
                <a:cxn ang="0">
                  <a:pos x="connsiteX7745" y="connsiteY7745"/>
                </a:cxn>
                <a:cxn ang="0">
                  <a:pos x="connsiteX7746" y="connsiteY7746"/>
                </a:cxn>
                <a:cxn ang="0">
                  <a:pos x="connsiteX7747" y="connsiteY7747"/>
                </a:cxn>
                <a:cxn ang="0">
                  <a:pos x="connsiteX7748" y="connsiteY7748"/>
                </a:cxn>
                <a:cxn ang="0">
                  <a:pos x="connsiteX7749" y="connsiteY7749"/>
                </a:cxn>
                <a:cxn ang="0">
                  <a:pos x="connsiteX7750" y="connsiteY7750"/>
                </a:cxn>
                <a:cxn ang="0">
                  <a:pos x="connsiteX7751" y="connsiteY7751"/>
                </a:cxn>
                <a:cxn ang="0">
                  <a:pos x="connsiteX7752" y="connsiteY7752"/>
                </a:cxn>
                <a:cxn ang="0">
                  <a:pos x="connsiteX7753" y="connsiteY7753"/>
                </a:cxn>
                <a:cxn ang="0">
                  <a:pos x="connsiteX7754" y="connsiteY7754"/>
                </a:cxn>
                <a:cxn ang="0">
                  <a:pos x="connsiteX7755" y="connsiteY7755"/>
                </a:cxn>
                <a:cxn ang="0">
                  <a:pos x="connsiteX7756" y="connsiteY7756"/>
                </a:cxn>
                <a:cxn ang="0">
                  <a:pos x="connsiteX7757" y="connsiteY7757"/>
                </a:cxn>
                <a:cxn ang="0">
                  <a:pos x="connsiteX7758" y="connsiteY7758"/>
                </a:cxn>
                <a:cxn ang="0">
                  <a:pos x="connsiteX7759" y="connsiteY7759"/>
                </a:cxn>
                <a:cxn ang="0">
                  <a:pos x="connsiteX7760" y="connsiteY7760"/>
                </a:cxn>
                <a:cxn ang="0">
                  <a:pos x="connsiteX7761" y="connsiteY7761"/>
                </a:cxn>
                <a:cxn ang="0">
                  <a:pos x="connsiteX7762" y="connsiteY7762"/>
                </a:cxn>
                <a:cxn ang="0">
                  <a:pos x="connsiteX7763" y="connsiteY7763"/>
                </a:cxn>
                <a:cxn ang="0">
                  <a:pos x="connsiteX7764" y="connsiteY7764"/>
                </a:cxn>
                <a:cxn ang="0">
                  <a:pos x="connsiteX7765" y="connsiteY7765"/>
                </a:cxn>
                <a:cxn ang="0">
                  <a:pos x="connsiteX7766" y="connsiteY7766"/>
                </a:cxn>
                <a:cxn ang="0">
                  <a:pos x="connsiteX7767" y="connsiteY7767"/>
                </a:cxn>
                <a:cxn ang="0">
                  <a:pos x="connsiteX7768" y="connsiteY7768"/>
                </a:cxn>
                <a:cxn ang="0">
                  <a:pos x="connsiteX7769" y="connsiteY7769"/>
                </a:cxn>
                <a:cxn ang="0">
                  <a:pos x="connsiteX7770" y="connsiteY7770"/>
                </a:cxn>
                <a:cxn ang="0">
                  <a:pos x="connsiteX7771" y="connsiteY7771"/>
                </a:cxn>
                <a:cxn ang="0">
                  <a:pos x="connsiteX7772" y="connsiteY7772"/>
                </a:cxn>
                <a:cxn ang="0">
                  <a:pos x="connsiteX7773" y="connsiteY7773"/>
                </a:cxn>
                <a:cxn ang="0">
                  <a:pos x="connsiteX7774" y="connsiteY7774"/>
                </a:cxn>
                <a:cxn ang="0">
                  <a:pos x="connsiteX7775" y="connsiteY7775"/>
                </a:cxn>
                <a:cxn ang="0">
                  <a:pos x="connsiteX7776" y="connsiteY7776"/>
                </a:cxn>
                <a:cxn ang="0">
                  <a:pos x="connsiteX7777" y="connsiteY7777"/>
                </a:cxn>
                <a:cxn ang="0">
                  <a:pos x="connsiteX7778" y="connsiteY7778"/>
                </a:cxn>
                <a:cxn ang="0">
                  <a:pos x="connsiteX7779" y="connsiteY7779"/>
                </a:cxn>
                <a:cxn ang="0">
                  <a:pos x="connsiteX7780" y="connsiteY7780"/>
                </a:cxn>
                <a:cxn ang="0">
                  <a:pos x="connsiteX7781" y="connsiteY7781"/>
                </a:cxn>
                <a:cxn ang="0">
                  <a:pos x="connsiteX7782" y="connsiteY7782"/>
                </a:cxn>
                <a:cxn ang="0">
                  <a:pos x="connsiteX7783" y="connsiteY7783"/>
                </a:cxn>
                <a:cxn ang="0">
                  <a:pos x="connsiteX7784" y="connsiteY7784"/>
                </a:cxn>
                <a:cxn ang="0">
                  <a:pos x="connsiteX7785" y="connsiteY7785"/>
                </a:cxn>
                <a:cxn ang="0">
                  <a:pos x="connsiteX7786" y="connsiteY7786"/>
                </a:cxn>
                <a:cxn ang="0">
                  <a:pos x="connsiteX7787" y="connsiteY7787"/>
                </a:cxn>
                <a:cxn ang="0">
                  <a:pos x="connsiteX7788" y="connsiteY7788"/>
                </a:cxn>
                <a:cxn ang="0">
                  <a:pos x="connsiteX7789" y="connsiteY7789"/>
                </a:cxn>
                <a:cxn ang="0">
                  <a:pos x="connsiteX7790" y="connsiteY7790"/>
                </a:cxn>
                <a:cxn ang="0">
                  <a:pos x="connsiteX7791" y="connsiteY7791"/>
                </a:cxn>
                <a:cxn ang="0">
                  <a:pos x="connsiteX7792" y="connsiteY7792"/>
                </a:cxn>
                <a:cxn ang="0">
                  <a:pos x="connsiteX7793" y="connsiteY7793"/>
                </a:cxn>
                <a:cxn ang="0">
                  <a:pos x="connsiteX7794" y="connsiteY7794"/>
                </a:cxn>
                <a:cxn ang="0">
                  <a:pos x="connsiteX7795" y="connsiteY7795"/>
                </a:cxn>
                <a:cxn ang="0">
                  <a:pos x="connsiteX7796" y="connsiteY7796"/>
                </a:cxn>
                <a:cxn ang="0">
                  <a:pos x="connsiteX7797" y="connsiteY7797"/>
                </a:cxn>
                <a:cxn ang="0">
                  <a:pos x="connsiteX7798" y="connsiteY7798"/>
                </a:cxn>
                <a:cxn ang="0">
                  <a:pos x="connsiteX7799" y="connsiteY7799"/>
                </a:cxn>
                <a:cxn ang="0">
                  <a:pos x="connsiteX7800" y="connsiteY7800"/>
                </a:cxn>
                <a:cxn ang="0">
                  <a:pos x="connsiteX7801" y="connsiteY7801"/>
                </a:cxn>
                <a:cxn ang="0">
                  <a:pos x="connsiteX7802" y="connsiteY7802"/>
                </a:cxn>
                <a:cxn ang="0">
                  <a:pos x="connsiteX7803" y="connsiteY7803"/>
                </a:cxn>
                <a:cxn ang="0">
                  <a:pos x="connsiteX7804" y="connsiteY7804"/>
                </a:cxn>
                <a:cxn ang="0">
                  <a:pos x="connsiteX7805" y="connsiteY7805"/>
                </a:cxn>
                <a:cxn ang="0">
                  <a:pos x="connsiteX7806" y="connsiteY7806"/>
                </a:cxn>
                <a:cxn ang="0">
                  <a:pos x="connsiteX7807" y="connsiteY7807"/>
                </a:cxn>
                <a:cxn ang="0">
                  <a:pos x="connsiteX7808" y="connsiteY7808"/>
                </a:cxn>
                <a:cxn ang="0">
                  <a:pos x="connsiteX7809" y="connsiteY7809"/>
                </a:cxn>
                <a:cxn ang="0">
                  <a:pos x="connsiteX7810" y="connsiteY7810"/>
                </a:cxn>
                <a:cxn ang="0">
                  <a:pos x="connsiteX7811" y="connsiteY7811"/>
                </a:cxn>
                <a:cxn ang="0">
                  <a:pos x="connsiteX7812" y="connsiteY7812"/>
                </a:cxn>
                <a:cxn ang="0">
                  <a:pos x="connsiteX7813" y="connsiteY7813"/>
                </a:cxn>
                <a:cxn ang="0">
                  <a:pos x="connsiteX7814" y="connsiteY7814"/>
                </a:cxn>
                <a:cxn ang="0">
                  <a:pos x="connsiteX7815" y="connsiteY7815"/>
                </a:cxn>
                <a:cxn ang="0">
                  <a:pos x="connsiteX7816" y="connsiteY7816"/>
                </a:cxn>
                <a:cxn ang="0">
                  <a:pos x="connsiteX7817" y="connsiteY7817"/>
                </a:cxn>
                <a:cxn ang="0">
                  <a:pos x="connsiteX7818" y="connsiteY7818"/>
                </a:cxn>
                <a:cxn ang="0">
                  <a:pos x="connsiteX7819" y="connsiteY7819"/>
                </a:cxn>
                <a:cxn ang="0">
                  <a:pos x="connsiteX7820" y="connsiteY7820"/>
                </a:cxn>
                <a:cxn ang="0">
                  <a:pos x="connsiteX7821" y="connsiteY7821"/>
                </a:cxn>
                <a:cxn ang="0">
                  <a:pos x="connsiteX7822" y="connsiteY7822"/>
                </a:cxn>
                <a:cxn ang="0">
                  <a:pos x="connsiteX7823" y="connsiteY7823"/>
                </a:cxn>
                <a:cxn ang="0">
                  <a:pos x="connsiteX7824" y="connsiteY7824"/>
                </a:cxn>
                <a:cxn ang="0">
                  <a:pos x="connsiteX7825" y="connsiteY7825"/>
                </a:cxn>
                <a:cxn ang="0">
                  <a:pos x="connsiteX7826" y="connsiteY7826"/>
                </a:cxn>
                <a:cxn ang="0">
                  <a:pos x="connsiteX7827" y="connsiteY7827"/>
                </a:cxn>
                <a:cxn ang="0">
                  <a:pos x="connsiteX7828" y="connsiteY7828"/>
                </a:cxn>
                <a:cxn ang="0">
                  <a:pos x="connsiteX7829" y="connsiteY7829"/>
                </a:cxn>
                <a:cxn ang="0">
                  <a:pos x="connsiteX7830" y="connsiteY7830"/>
                </a:cxn>
                <a:cxn ang="0">
                  <a:pos x="connsiteX7831" y="connsiteY7831"/>
                </a:cxn>
                <a:cxn ang="0">
                  <a:pos x="connsiteX7832" y="connsiteY7832"/>
                </a:cxn>
                <a:cxn ang="0">
                  <a:pos x="connsiteX7833" y="connsiteY7833"/>
                </a:cxn>
                <a:cxn ang="0">
                  <a:pos x="connsiteX7834" y="connsiteY7834"/>
                </a:cxn>
                <a:cxn ang="0">
                  <a:pos x="connsiteX7835" y="connsiteY7835"/>
                </a:cxn>
                <a:cxn ang="0">
                  <a:pos x="connsiteX7836" y="connsiteY7836"/>
                </a:cxn>
                <a:cxn ang="0">
                  <a:pos x="connsiteX7837" y="connsiteY7837"/>
                </a:cxn>
                <a:cxn ang="0">
                  <a:pos x="connsiteX7838" y="connsiteY7838"/>
                </a:cxn>
                <a:cxn ang="0">
                  <a:pos x="connsiteX7839" y="connsiteY7839"/>
                </a:cxn>
                <a:cxn ang="0">
                  <a:pos x="connsiteX7840" y="connsiteY7840"/>
                </a:cxn>
                <a:cxn ang="0">
                  <a:pos x="connsiteX7841" y="connsiteY7841"/>
                </a:cxn>
                <a:cxn ang="0">
                  <a:pos x="connsiteX7842" y="connsiteY7842"/>
                </a:cxn>
                <a:cxn ang="0">
                  <a:pos x="connsiteX7843" y="connsiteY7843"/>
                </a:cxn>
                <a:cxn ang="0">
                  <a:pos x="connsiteX7844" y="connsiteY7844"/>
                </a:cxn>
                <a:cxn ang="0">
                  <a:pos x="connsiteX7845" y="connsiteY7845"/>
                </a:cxn>
                <a:cxn ang="0">
                  <a:pos x="connsiteX7846" y="connsiteY7846"/>
                </a:cxn>
                <a:cxn ang="0">
                  <a:pos x="connsiteX7847" y="connsiteY7847"/>
                </a:cxn>
                <a:cxn ang="0">
                  <a:pos x="connsiteX7848" y="connsiteY7848"/>
                </a:cxn>
                <a:cxn ang="0">
                  <a:pos x="connsiteX7849" y="connsiteY7849"/>
                </a:cxn>
                <a:cxn ang="0">
                  <a:pos x="connsiteX7850" y="connsiteY7850"/>
                </a:cxn>
                <a:cxn ang="0">
                  <a:pos x="connsiteX7851" y="connsiteY7851"/>
                </a:cxn>
                <a:cxn ang="0">
                  <a:pos x="connsiteX7852" y="connsiteY7852"/>
                </a:cxn>
                <a:cxn ang="0">
                  <a:pos x="connsiteX7853" y="connsiteY7853"/>
                </a:cxn>
                <a:cxn ang="0">
                  <a:pos x="connsiteX7854" y="connsiteY7854"/>
                </a:cxn>
                <a:cxn ang="0">
                  <a:pos x="connsiteX7855" y="connsiteY7855"/>
                </a:cxn>
                <a:cxn ang="0">
                  <a:pos x="connsiteX7856" y="connsiteY7856"/>
                </a:cxn>
                <a:cxn ang="0">
                  <a:pos x="connsiteX7857" y="connsiteY7857"/>
                </a:cxn>
                <a:cxn ang="0">
                  <a:pos x="connsiteX7858" y="connsiteY7858"/>
                </a:cxn>
                <a:cxn ang="0">
                  <a:pos x="connsiteX7859" y="connsiteY7859"/>
                </a:cxn>
                <a:cxn ang="0">
                  <a:pos x="connsiteX7860" y="connsiteY7860"/>
                </a:cxn>
                <a:cxn ang="0">
                  <a:pos x="connsiteX7861" y="connsiteY7861"/>
                </a:cxn>
                <a:cxn ang="0">
                  <a:pos x="connsiteX7862" y="connsiteY7862"/>
                </a:cxn>
                <a:cxn ang="0">
                  <a:pos x="connsiteX7863" y="connsiteY7863"/>
                </a:cxn>
                <a:cxn ang="0">
                  <a:pos x="connsiteX7864" y="connsiteY7864"/>
                </a:cxn>
                <a:cxn ang="0">
                  <a:pos x="connsiteX7865" y="connsiteY7865"/>
                </a:cxn>
                <a:cxn ang="0">
                  <a:pos x="connsiteX7866" y="connsiteY7866"/>
                </a:cxn>
                <a:cxn ang="0">
                  <a:pos x="connsiteX7867" y="connsiteY7867"/>
                </a:cxn>
                <a:cxn ang="0">
                  <a:pos x="connsiteX7868" y="connsiteY7868"/>
                </a:cxn>
                <a:cxn ang="0">
                  <a:pos x="connsiteX7869" y="connsiteY7869"/>
                </a:cxn>
                <a:cxn ang="0">
                  <a:pos x="connsiteX7870" y="connsiteY7870"/>
                </a:cxn>
                <a:cxn ang="0">
                  <a:pos x="connsiteX7871" y="connsiteY7871"/>
                </a:cxn>
                <a:cxn ang="0">
                  <a:pos x="connsiteX7872" y="connsiteY7872"/>
                </a:cxn>
                <a:cxn ang="0">
                  <a:pos x="connsiteX7873" y="connsiteY7873"/>
                </a:cxn>
                <a:cxn ang="0">
                  <a:pos x="connsiteX7874" y="connsiteY7874"/>
                </a:cxn>
                <a:cxn ang="0">
                  <a:pos x="connsiteX7875" y="connsiteY7875"/>
                </a:cxn>
                <a:cxn ang="0">
                  <a:pos x="connsiteX7876" y="connsiteY7876"/>
                </a:cxn>
                <a:cxn ang="0">
                  <a:pos x="connsiteX7877" y="connsiteY7877"/>
                </a:cxn>
                <a:cxn ang="0">
                  <a:pos x="connsiteX7878" y="connsiteY7878"/>
                </a:cxn>
                <a:cxn ang="0">
                  <a:pos x="connsiteX7879" y="connsiteY7879"/>
                </a:cxn>
                <a:cxn ang="0">
                  <a:pos x="connsiteX7880" y="connsiteY7880"/>
                </a:cxn>
                <a:cxn ang="0">
                  <a:pos x="connsiteX7881" y="connsiteY7881"/>
                </a:cxn>
                <a:cxn ang="0">
                  <a:pos x="connsiteX7882" y="connsiteY7882"/>
                </a:cxn>
                <a:cxn ang="0">
                  <a:pos x="connsiteX7883" y="connsiteY7883"/>
                </a:cxn>
                <a:cxn ang="0">
                  <a:pos x="connsiteX7884" y="connsiteY7884"/>
                </a:cxn>
                <a:cxn ang="0">
                  <a:pos x="connsiteX7885" y="connsiteY7885"/>
                </a:cxn>
                <a:cxn ang="0">
                  <a:pos x="connsiteX7886" y="connsiteY7886"/>
                </a:cxn>
                <a:cxn ang="0">
                  <a:pos x="connsiteX7887" y="connsiteY7887"/>
                </a:cxn>
                <a:cxn ang="0">
                  <a:pos x="connsiteX7888" y="connsiteY7888"/>
                </a:cxn>
                <a:cxn ang="0">
                  <a:pos x="connsiteX7889" y="connsiteY7889"/>
                </a:cxn>
                <a:cxn ang="0">
                  <a:pos x="connsiteX7890" y="connsiteY7890"/>
                </a:cxn>
                <a:cxn ang="0">
                  <a:pos x="connsiteX7891" y="connsiteY7891"/>
                </a:cxn>
                <a:cxn ang="0">
                  <a:pos x="connsiteX7892" y="connsiteY7892"/>
                </a:cxn>
                <a:cxn ang="0">
                  <a:pos x="connsiteX7893" y="connsiteY7893"/>
                </a:cxn>
                <a:cxn ang="0">
                  <a:pos x="connsiteX7894" y="connsiteY7894"/>
                </a:cxn>
                <a:cxn ang="0">
                  <a:pos x="connsiteX7895" y="connsiteY7895"/>
                </a:cxn>
                <a:cxn ang="0">
                  <a:pos x="connsiteX7896" y="connsiteY7896"/>
                </a:cxn>
                <a:cxn ang="0">
                  <a:pos x="connsiteX7897" y="connsiteY7897"/>
                </a:cxn>
                <a:cxn ang="0">
                  <a:pos x="connsiteX7898" y="connsiteY7898"/>
                </a:cxn>
                <a:cxn ang="0">
                  <a:pos x="connsiteX7899" y="connsiteY7899"/>
                </a:cxn>
                <a:cxn ang="0">
                  <a:pos x="connsiteX7900" y="connsiteY7900"/>
                </a:cxn>
                <a:cxn ang="0">
                  <a:pos x="connsiteX7901" y="connsiteY7901"/>
                </a:cxn>
                <a:cxn ang="0">
                  <a:pos x="connsiteX7902" y="connsiteY7902"/>
                </a:cxn>
                <a:cxn ang="0">
                  <a:pos x="connsiteX7903" y="connsiteY7903"/>
                </a:cxn>
                <a:cxn ang="0">
                  <a:pos x="connsiteX7904" y="connsiteY7904"/>
                </a:cxn>
                <a:cxn ang="0">
                  <a:pos x="connsiteX7905" y="connsiteY7905"/>
                </a:cxn>
                <a:cxn ang="0">
                  <a:pos x="connsiteX7906" y="connsiteY7906"/>
                </a:cxn>
                <a:cxn ang="0">
                  <a:pos x="connsiteX7907" y="connsiteY7907"/>
                </a:cxn>
                <a:cxn ang="0">
                  <a:pos x="connsiteX7908" y="connsiteY7908"/>
                </a:cxn>
                <a:cxn ang="0">
                  <a:pos x="connsiteX7909" y="connsiteY7909"/>
                </a:cxn>
                <a:cxn ang="0">
                  <a:pos x="connsiteX7910" y="connsiteY7910"/>
                </a:cxn>
                <a:cxn ang="0">
                  <a:pos x="connsiteX7911" y="connsiteY7911"/>
                </a:cxn>
                <a:cxn ang="0">
                  <a:pos x="connsiteX7912" y="connsiteY7912"/>
                </a:cxn>
                <a:cxn ang="0">
                  <a:pos x="connsiteX7913" y="connsiteY7913"/>
                </a:cxn>
                <a:cxn ang="0">
                  <a:pos x="connsiteX7914" y="connsiteY7914"/>
                </a:cxn>
                <a:cxn ang="0">
                  <a:pos x="connsiteX7915" y="connsiteY7915"/>
                </a:cxn>
                <a:cxn ang="0">
                  <a:pos x="connsiteX7916" y="connsiteY7916"/>
                </a:cxn>
                <a:cxn ang="0">
                  <a:pos x="connsiteX7917" y="connsiteY7917"/>
                </a:cxn>
                <a:cxn ang="0">
                  <a:pos x="connsiteX7918" y="connsiteY7918"/>
                </a:cxn>
                <a:cxn ang="0">
                  <a:pos x="connsiteX7919" y="connsiteY7919"/>
                </a:cxn>
                <a:cxn ang="0">
                  <a:pos x="connsiteX7920" y="connsiteY7920"/>
                </a:cxn>
                <a:cxn ang="0">
                  <a:pos x="connsiteX7921" y="connsiteY7921"/>
                </a:cxn>
                <a:cxn ang="0">
                  <a:pos x="connsiteX7922" y="connsiteY7922"/>
                </a:cxn>
                <a:cxn ang="0">
                  <a:pos x="connsiteX7923" y="connsiteY7923"/>
                </a:cxn>
                <a:cxn ang="0">
                  <a:pos x="connsiteX7924" y="connsiteY7924"/>
                </a:cxn>
                <a:cxn ang="0">
                  <a:pos x="connsiteX7925" y="connsiteY7925"/>
                </a:cxn>
                <a:cxn ang="0">
                  <a:pos x="connsiteX7926" y="connsiteY7926"/>
                </a:cxn>
                <a:cxn ang="0">
                  <a:pos x="connsiteX7927" y="connsiteY7927"/>
                </a:cxn>
                <a:cxn ang="0">
                  <a:pos x="connsiteX7928" y="connsiteY7928"/>
                </a:cxn>
                <a:cxn ang="0">
                  <a:pos x="connsiteX7929" y="connsiteY7929"/>
                </a:cxn>
                <a:cxn ang="0">
                  <a:pos x="connsiteX7930" y="connsiteY7930"/>
                </a:cxn>
                <a:cxn ang="0">
                  <a:pos x="connsiteX7931" y="connsiteY7931"/>
                </a:cxn>
                <a:cxn ang="0">
                  <a:pos x="connsiteX7932" y="connsiteY7932"/>
                </a:cxn>
                <a:cxn ang="0">
                  <a:pos x="connsiteX7933" y="connsiteY7933"/>
                </a:cxn>
                <a:cxn ang="0">
                  <a:pos x="connsiteX7934" y="connsiteY7934"/>
                </a:cxn>
                <a:cxn ang="0">
                  <a:pos x="connsiteX7935" y="connsiteY7935"/>
                </a:cxn>
                <a:cxn ang="0">
                  <a:pos x="connsiteX7936" y="connsiteY7936"/>
                </a:cxn>
                <a:cxn ang="0">
                  <a:pos x="connsiteX7937" y="connsiteY7937"/>
                </a:cxn>
                <a:cxn ang="0">
                  <a:pos x="connsiteX7938" y="connsiteY7938"/>
                </a:cxn>
                <a:cxn ang="0">
                  <a:pos x="connsiteX7939" y="connsiteY7939"/>
                </a:cxn>
                <a:cxn ang="0">
                  <a:pos x="connsiteX7940" y="connsiteY7940"/>
                </a:cxn>
                <a:cxn ang="0">
                  <a:pos x="connsiteX7941" y="connsiteY7941"/>
                </a:cxn>
                <a:cxn ang="0">
                  <a:pos x="connsiteX7942" y="connsiteY7942"/>
                </a:cxn>
                <a:cxn ang="0">
                  <a:pos x="connsiteX7943" y="connsiteY7943"/>
                </a:cxn>
                <a:cxn ang="0">
                  <a:pos x="connsiteX7944" y="connsiteY7944"/>
                </a:cxn>
                <a:cxn ang="0">
                  <a:pos x="connsiteX7945" y="connsiteY7945"/>
                </a:cxn>
                <a:cxn ang="0">
                  <a:pos x="connsiteX7946" y="connsiteY7946"/>
                </a:cxn>
                <a:cxn ang="0">
                  <a:pos x="connsiteX7947" y="connsiteY7947"/>
                </a:cxn>
                <a:cxn ang="0">
                  <a:pos x="connsiteX7948" y="connsiteY7948"/>
                </a:cxn>
                <a:cxn ang="0">
                  <a:pos x="connsiteX7949" y="connsiteY7949"/>
                </a:cxn>
                <a:cxn ang="0">
                  <a:pos x="connsiteX7950" y="connsiteY7950"/>
                </a:cxn>
                <a:cxn ang="0">
                  <a:pos x="connsiteX7951" y="connsiteY7951"/>
                </a:cxn>
                <a:cxn ang="0">
                  <a:pos x="connsiteX7952" y="connsiteY7952"/>
                </a:cxn>
                <a:cxn ang="0">
                  <a:pos x="connsiteX7953" y="connsiteY7953"/>
                </a:cxn>
                <a:cxn ang="0">
                  <a:pos x="connsiteX7954" y="connsiteY7954"/>
                </a:cxn>
                <a:cxn ang="0">
                  <a:pos x="connsiteX7955" y="connsiteY7955"/>
                </a:cxn>
                <a:cxn ang="0">
                  <a:pos x="connsiteX7956" y="connsiteY7956"/>
                </a:cxn>
                <a:cxn ang="0">
                  <a:pos x="connsiteX7957" y="connsiteY7957"/>
                </a:cxn>
                <a:cxn ang="0">
                  <a:pos x="connsiteX7958" y="connsiteY7958"/>
                </a:cxn>
                <a:cxn ang="0">
                  <a:pos x="connsiteX7959" y="connsiteY7959"/>
                </a:cxn>
                <a:cxn ang="0">
                  <a:pos x="connsiteX7960" y="connsiteY7960"/>
                </a:cxn>
                <a:cxn ang="0">
                  <a:pos x="connsiteX7961" y="connsiteY7961"/>
                </a:cxn>
                <a:cxn ang="0">
                  <a:pos x="connsiteX7962" y="connsiteY7962"/>
                </a:cxn>
                <a:cxn ang="0">
                  <a:pos x="connsiteX7963" y="connsiteY7963"/>
                </a:cxn>
                <a:cxn ang="0">
                  <a:pos x="connsiteX7964" y="connsiteY7964"/>
                </a:cxn>
                <a:cxn ang="0">
                  <a:pos x="connsiteX7965" y="connsiteY7965"/>
                </a:cxn>
                <a:cxn ang="0">
                  <a:pos x="connsiteX7966" y="connsiteY7966"/>
                </a:cxn>
                <a:cxn ang="0">
                  <a:pos x="connsiteX7967" y="connsiteY7967"/>
                </a:cxn>
                <a:cxn ang="0">
                  <a:pos x="connsiteX7968" y="connsiteY7968"/>
                </a:cxn>
                <a:cxn ang="0">
                  <a:pos x="connsiteX7969" y="connsiteY7969"/>
                </a:cxn>
                <a:cxn ang="0">
                  <a:pos x="connsiteX7970" y="connsiteY7970"/>
                </a:cxn>
                <a:cxn ang="0">
                  <a:pos x="connsiteX7971" y="connsiteY7971"/>
                </a:cxn>
                <a:cxn ang="0">
                  <a:pos x="connsiteX7972" y="connsiteY7972"/>
                </a:cxn>
                <a:cxn ang="0">
                  <a:pos x="connsiteX7973" y="connsiteY7973"/>
                </a:cxn>
                <a:cxn ang="0">
                  <a:pos x="connsiteX7974" y="connsiteY7974"/>
                </a:cxn>
                <a:cxn ang="0">
                  <a:pos x="connsiteX7975" y="connsiteY7975"/>
                </a:cxn>
                <a:cxn ang="0">
                  <a:pos x="connsiteX7976" y="connsiteY7976"/>
                </a:cxn>
                <a:cxn ang="0">
                  <a:pos x="connsiteX7977" y="connsiteY7977"/>
                </a:cxn>
                <a:cxn ang="0">
                  <a:pos x="connsiteX7978" y="connsiteY7978"/>
                </a:cxn>
                <a:cxn ang="0">
                  <a:pos x="connsiteX7979" y="connsiteY7979"/>
                </a:cxn>
                <a:cxn ang="0">
                  <a:pos x="connsiteX7980" y="connsiteY7980"/>
                </a:cxn>
                <a:cxn ang="0">
                  <a:pos x="connsiteX7981" y="connsiteY7981"/>
                </a:cxn>
                <a:cxn ang="0">
                  <a:pos x="connsiteX7982" y="connsiteY7982"/>
                </a:cxn>
                <a:cxn ang="0">
                  <a:pos x="connsiteX7983" y="connsiteY7983"/>
                </a:cxn>
                <a:cxn ang="0">
                  <a:pos x="connsiteX7984" y="connsiteY7984"/>
                </a:cxn>
                <a:cxn ang="0">
                  <a:pos x="connsiteX7985" y="connsiteY7985"/>
                </a:cxn>
                <a:cxn ang="0">
                  <a:pos x="connsiteX7986" y="connsiteY7986"/>
                </a:cxn>
                <a:cxn ang="0">
                  <a:pos x="connsiteX7987" y="connsiteY7987"/>
                </a:cxn>
                <a:cxn ang="0">
                  <a:pos x="connsiteX7988" y="connsiteY7988"/>
                </a:cxn>
                <a:cxn ang="0">
                  <a:pos x="connsiteX7989" y="connsiteY7989"/>
                </a:cxn>
                <a:cxn ang="0">
                  <a:pos x="connsiteX7990" y="connsiteY7990"/>
                </a:cxn>
                <a:cxn ang="0">
                  <a:pos x="connsiteX7991" y="connsiteY7991"/>
                </a:cxn>
                <a:cxn ang="0">
                  <a:pos x="connsiteX7992" y="connsiteY7992"/>
                </a:cxn>
                <a:cxn ang="0">
                  <a:pos x="connsiteX7993" y="connsiteY7993"/>
                </a:cxn>
                <a:cxn ang="0">
                  <a:pos x="connsiteX7994" y="connsiteY7994"/>
                </a:cxn>
                <a:cxn ang="0">
                  <a:pos x="connsiteX7995" y="connsiteY7995"/>
                </a:cxn>
                <a:cxn ang="0">
                  <a:pos x="connsiteX7996" y="connsiteY7996"/>
                </a:cxn>
                <a:cxn ang="0">
                  <a:pos x="connsiteX7997" y="connsiteY7997"/>
                </a:cxn>
                <a:cxn ang="0">
                  <a:pos x="connsiteX7998" y="connsiteY7998"/>
                </a:cxn>
                <a:cxn ang="0">
                  <a:pos x="connsiteX7999" y="connsiteY7999"/>
                </a:cxn>
                <a:cxn ang="0">
                  <a:pos x="connsiteX8000" y="connsiteY8000"/>
                </a:cxn>
                <a:cxn ang="0">
                  <a:pos x="connsiteX8001" y="connsiteY8001"/>
                </a:cxn>
                <a:cxn ang="0">
                  <a:pos x="connsiteX8002" y="connsiteY8002"/>
                </a:cxn>
                <a:cxn ang="0">
                  <a:pos x="connsiteX8003" y="connsiteY8003"/>
                </a:cxn>
                <a:cxn ang="0">
                  <a:pos x="connsiteX8004" y="connsiteY8004"/>
                </a:cxn>
                <a:cxn ang="0">
                  <a:pos x="connsiteX8005" y="connsiteY8005"/>
                </a:cxn>
                <a:cxn ang="0">
                  <a:pos x="connsiteX8006" y="connsiteY8006"/>
                </a:cxn>
                <a:cxn ang="0">
                  <a:pos x="connsiteX8007" y="connsiteY8007"/>
                </a:cxn>
                <a:cxn ang="0">
                  <a:pos x="connsiteX8008" y="connsiteY8008"/>
                </a:cxn>
                <a:cxn ang="0">
                  <a:pos x="connsiteX8009" y="connsiteY8009"/>
                </a:cxn>
                <a:cxn ang="0">
                  <a:pos x="connsiteX8010" y="connsiteY8010"/>
                </a:cxn>
                <a:cxn ang="0">
                  <a:pos x="connsiteX8011" y="connsiteY8011"/>
                </a:cxn>
                <a:cxn ang="0">
                  <a:pos x="connsiteX8012" y="connsiteY8012"/>
                </a:cxn>
                <a:cxn ang="0">
                  <a:pos x="connsiteX8013" y="connsiteY8013"/>
                </a:cxn>
                <a:cxn ang="0">
                  <a:pos x="connsiteX8014" y="connsiteY8014"/>
                </a:cxn>
                <a:cxn ang="0">
                  <a:pos x="connsiteX8015" y="connsiteY8015"/>
                </a:cxn>
                <a:cxn ang="0">
                  <a:pos x="connsiteX8016" y="connsiteY8016"/>
                </a:cxn>
                <a:cxn ang="0">
                  <a:pos x="connsiteX8017" y="connsiteY8017"/>
                </a:cxn>
                <a:cxn ang="0">
                  <a:pos x="connsiteX8018" y="connsiteY8018"/>
                </a:cxn>
                <a:cxn ang="0">
                  <a:pos x="connsiteX8019" y="connsiteY8019"/>
                </a:cxn>
                <a:cxn ang="0">
                  <a:pos x="connsiteX8020" y="connsiteY8020"/>
                </a:cxn>
                <a:cxn ang="0">
                  <a:pos x="connsiteX8021" y="connsiteY8021"/>
                </a:cxn>
                <a:cxn ang="0">
                  <a:pos x="connsiteX8022" y="connsiteY8022"/>
                </a:cxn>
                <a:cxn ang="0">
                  <a:pos x="connsiteX8023" y="connsiteY8023"/>
                </a:cxn>
                <a:cxn ang="0">
                  <a:pos x="connsiteX8024" y="connsiteY8024"/>
                </a:cxn>
                <a:cxn ang="0">
                  <a:pos x="connsiteX8025" y="connsiteY8025"/>
                </a:cxn>
                <a:cxn ang="0">
                  <a:pos x="connsiteX8026" y="connsiteY8026"/>
                </a:cxn>
                <a:cxn ang="0">
                  <a:pos x="connsiteX8027" y="connsiteY8027"/>
                </a:cxn>
                <a:cxn ang="0">
                  <a:pos x="connsiteX8028" y="connsiteY8028"/>
                </a:cxn>
                <a:cxn ang="0">
                  <a:pos x="connsiteX8029" y="connsiteY8029"/>
                </a:cxn>
                <a:cxn ang="0">
                  <a:pos x="connsiteX8030" y="connsiteY8030"/>
                </a:cxn>
                <a:cxn ang="0">
                  <a:pos x="connsiteX8031" y="connsiteY8031"/>
                </a:cxn>
                <a:cxn ang="0">
                  <a:pos x="connsiteX8032" y="connsiteY8032"/>
                </a:cxn>
                <a:cxn ang="0">
                  <a:pos x="connsiteX8033" y="connsiteY8033"/>
                </a:cxn>
                <a:cxn ang="0">
                  <a:pos x="connsiteX8034" y="connsiteY8034"/>
                </a:cxn>
                <a:cxn ang="0">
                  <a:pos x="connsiteX8035" y="connsiteY8035"/>
                </a:cxn>
                <a:cxn ang="0">
                  <a:pos x="connsiteX8036" y="connsiteY8036"/>
                </a:cxn>
                <a:cxn ang="0">
                  <a:pos x="connsiteX8037" y="connsiteY8037"/>
                </a:cxn>
                <a:cxn ang="0">
                  <a:pos x="connsiteX8038" y="connsiteY8038"/>
                </a:cxn>
                <a:cxn ang="0">
                  <a:pos x="connsiteX8039" y="connsiteY8039"/>
                </a:cxn>
                <a:cxn ang="0">
                  <a:pos x="connsiteX8040" y="connsiteY8040"/>
                </a:cxn>
                <a:cxn ang="0">
                  <a:pos x="connsiteX8041" y="connsiteY8041"/>
                </a:cxn>
                <a:cxn ang="0">
                  <a:pos x="connsiteX8042" y="connsiteY8042"/>
                </a:cxn>
                <a:cxn ang="0">
                  <a:pos x="connsiteX8043" y="connsiteY8043"/>
                </a:cxn>
                <a:cxn ang="0">
                  <a:pos x="connsiteX8044" y="connsiteY8044"/>
                </a:cxn>
                <a:cxn ang="0">
                  <a:pos x="connsiteX8045" y="connsiteY8045"/>
                </a:cxn>
                <a:cxn ang="0">
                  <a:pos x="connsiteX8046" y="connsiteY8046"/>
                </a:cxn>
                <a:cxn ang="0">
                  <a:pos x="connsiteX8047" y="connsiteY8047"/>
                </a:cxn>
                <a:cxn ang="0">
                  <a:pos x="connsiteX8048" y="connsiteY8048"/>
                </a:cxn>
                <a:cxn ang="0">
                  <a:pos x="connsiteX8049" y="connsiteY8049"/>
                </a:cxn>
                <a:cxn ang="0">
                  <a:pos x="connsiteX8050" y="connsiteY8050"/>
                </a:cxn>
                <a:cxn ang="0">
                  <a:pos x="connsiteX8051" y="connsiteY8051"/>
                </a:cxn>
                <a:cxn ang="0">
                  <a:pos x="connsiteX8052" y="connsiteY8052"/>
                </a:cxn>
                <a:cxn ang="0">
                  <a:pos x="connsiteX8053" y="connsiteY8053"/>
                </a:cxn>
                <a:cxn ang="0">
                  <a:pos x="connsiteX8054" y="connsiteY8054"/>
                </a:cxn>
                <a:cxn ang="0">
                  <a:pos x="connsiteX8055" y="connsiteY8055"/>
                </a:cxn>
                <a:cxn ang="0">
                  <a:pos x="connsiteX8056" y="connsiteY8056"/>
                </a:cxn>
                <a:cxn ang="0">
                  <a:pos x="connsiteX8057" y="connsiteY8057"/>
                </a:cxn>
                <a:cxn ang="0">
                  <a:pos x="connsiteX8058" y="connsiteY8058"/>
                </a:cxn>
                <a:cxn ang="0">
                  <a:pos x="connsiteX8059" y="connsiteY8059"/>
                </a:cxn>
                <a:cxn ang="0">
                  <a:pos x="connsiteX8060" y="connsiteY8060"/>
                </a:cxn>
                <a:cxn ang="0">
                  <a:pos x="connsiteX8061" y="connsiteY8061"/>
                </a:cxn>
                <a:cxn ang="0">
                  <a:pos x="connsiteX8062" y="connsiteY8062"/>
                </a:cxn>
                <a:cxn ang="0">
                  <a:pos x="connsiteX8063" y="connsiteY8063"/>
                </a:cxn>
                <a:cxn ang="0">
                  <a:pos x="connsiteX8064" y="connsiteY8064"/>
                </a:cxn>
                <a:cxn ang="0">
                  <a:pos x="connsiteX8065" y="connsiteY8065"/>
                </a:cxn>
                <a:cxn ang="0">
                  <a:pos x="connsiteX8066" y="connsiteY8066"/>
                </a:cxn>
                <a:cxn ang="0">
                  <a:pos x="connsiteX8067" y="connsiteY8067"/>
                </a:cxn>
                <a:cxn ang="0">
                  <a:pos x="connsiteX8068" y="connsiteY8068"/>
                </a:cxn>
                <a:cxn ang="0">
                  <a:pos x="connsiteX8069" y="connsiteY8069"/>
                </a:cxn>
                <a:cxn ang="0">
                  <a:pos x="connsiteX8070" y="connsiteY8070"/>
                </a:cxn>
                <a:cxn ang="0">
                  <a:pos x="connsiteX8071" y="connsiteY8071"/>
                </a:cxn>
                <a:cxn ang="0">
                  <a:pos x="connsiteX8072" y="connsiteY8072"/>
                </a:cxn>
                <a:cxn ang="0">
                  <a:pos x="connsiteX8073" y="connsiteY8073"/>
                </a:cxn>
                <a:cxn ang="0">
                  <a:pos x="connsiteX8074" y="connsiteY8074"/>
                </a:cxn>
                <a:cxn ang="0">
                  <a:pos x="connsiteX8075" y="connsiteY8075"/>
                </a:cxn>
                <a:cxn ang="0">
                  <a:pos x="connsiteX8076" y="connsiteY8076"/>
                </a:cxn>
                <a:cxn ang="0">
                  <a:pos x="connsiteX8077" y="connsiteY8077"/>
                </a:cxn>
                <a:cxn ang="0">
                  <a:pos x="connsiteX8078" y="connsiteY8078"/>
                </a:cxn>
                <a:cxn ang="0">
                  <a:pos x="connsiteX8079" y="connsiteY8079"/>
                </a:cxn>
                <a:cxn ang="0">
                  <a:pos x="connsiteX8080" y="connsiteY8080"/>
                </a:cxn>
                <a:cxn ang="0">
                  <a:pos x="connsiteX8081" y="connsiteY8081"/>
                </a:cxn>
                <a:cxn ang="0">
                  <a:pos x="connsiteX8082" y="connsiteY8082"/>
                </a:cxn>
                <a:cxn ang="0">
                  <a:pos x="connsiteX8083" y="connsiteY8083"/>
                </a:cxn>
                <a:cxn ang="0">
                  <a:pos x="connsiteX8084" y="connsiteY8084"/>
                </a:cxn>
                <a:cxn ang="0">
                  <a:pos x="connsiteX8085" y="connsiteY8085"/>
                </a:cxn>
                <a:cxn ang="0">
                  <a:pos x="connsiteX8086" y="connsiteY8086"/>
                </a:cxn>
                <a:cxn ang="0">
                  <a:pos x="connsiteX8087" y="connsiteY8087"/>
                </a:cxn>
                <a:cxn ang="0">
                  <a:pos x="connsiteX8088" y="connsiteY8088"/>
                </a:cxn>
                <a:cxn ang="0">
                  <a:pos x="connsiteX8089" y="connsiteY8089"/>
                </a:cxn>
                <a:cxn ang="0">
                  <a:pos x="connsiteX8090" y="connsiteY8090"/>
                </a:cxn>
                <a:cxn ang="0">
                  <a:pos x="connsiteX8091" y="connsiteY8091"/>
                </a:cxn>
                <a:cxn ang="0">
                  <a:pos x="connsiteX8092" y="connsiteY8092"/>
                </a:cxn>
                <a:cxn ang="0">
                  <a:pos x="connsiteX8093" y="connsiteY8093"/>
                </a:cxn>
                <a:cxn ang="0">
                  <a:pos x="connsiteX8094" y="connsiteY8094"/>
                </a:cxn>
                <a:cxn ang="0">
                  <a:pos x="connsiteX8095" y="connsiteY8095"/>
                </a:cxn>
                <a:cxn ang="0">
                  <a:pos x="connsiteX8096" y="connsiteY8096"/>
                </a:cxn>
                <a:cxn ang="0">
                  <a:pos x="connsiteX8097" y="connsiteY8097"/>
                </a:cxn>
                <a:cxn ang="0">
                  <a:pos x="connsiteX8098" y="connsiteY8098"/>
                </a:cxn>
                <a:cxn ang="0">
                  <a:pos x="connsiteX8099" y="connsiteY8099"/>
                </a:cxn>
                <a:cxn ang="0">
                  <a:pos x="connsiteX8100" y="connsiteY8100"/>
                </a:cxn>
                <a:cxn ang="0">
                  <a:pos x="connsiteX8101" y="connsiteY8101"/>
                </a:cxn>
                <a:cxn ang="0">
                  <a:pos x="connsiteX8102" y="connsiteY8102"/>
                </a:cxn>
                <a:cxn ang="0">
                  <a:pos x="connsiteX8103" y="connsiteY8103"/>
                </a:cxn>
                <a:cxn ang="0">
                  <a:pos x="connsiteX8104" y="connsiteY8104"/>
                </a:cxn>
                <a:cxn ang="0">
                  <a:pos x="connsiteX8105" y="connsiteY8105"/>
                </a:cxn>
                <a:cxn ang="0">
                  <a:pos x="connsiteX8106" y="connsiteY8106"/>
                </a:cxn>
                <a:cxn ang="0">
                  <a:pos x="connsiteX8107" y="connsiteY8107"/>
                </a:cxn>
                <a:cxn ang="0">
                  <a:pos x="connsiteX8108" y="connsiteY8108"/>
                </a:cxn>
                <a:cxn ang="0">
                  <a:pos x="connsiteX8109" y="connsiteY8109"/>
                </a:cxn>
                <a:cxn ang="0">
                  <a:pos x="connsiteX8110" y="connsiteY8110"/>
                </a:cxn>
                <a:cxn ang="0">
                  <a:pos x="connsiteX8111" y="connsiteY8111"/>
                </a:cxn>
                <a:cxn ang="0">
                  <a:pos x="connsiteX8112" y="connsiteY8112"/>
                </a:cxn>
                <a:cxn ang="0">
                  <a:pos x="connsiteX8113" y="connsiteY8113"/>
                </a:cxn>
                <a:cxn ang="0">
                  <a:pos x="connsiteX8114" y="connsiteY8114"/>
                </a:cxn>
                <a:cxn ang="0">
                  <a:pos x="connsiteX8115" y="connsiteY8115"/>
                </a:cxn>
                <a:cxn ang="0">
                  <a:pos x="connsiteX8116" y="connsiteY8116"/>
                </a:cxn>
                <a:cxn ang="0">
                  <a:pos x="connsiteX8117" y="connsiteY8117"/>
                </a:cxn>
                <a:cxn ang="0">
                  <a:pos x="connsiteX8118" y="connsiteY8118"/>
                </a:cxn>
                <a:cxn ang="0">
                  <a:pos x="connsiteX8119" y="connsiteY8119"/>
                </a:cxn>
                <a:cxn ang="0">
                  <a:pos x="connsiteX8120" y="connsiteY8120"/>
                </a:cxn>
                <a:cxn ang="0">
                  <a:pos x="connsiteX8121" y="connsiteY8121"/>
                </a:cxn>
                <a:cxn ang="0">
                  <a:pos x="connsiteX8122" y="connsiteY8122"/>
                </a:cxn>
                <a:cxn ang="0">
                  <a:pos x="connsiteX8123" y="connsiteY8123"/>
                </a:cxn>
                <a:cxn ang="0">
                  <a:pos x="connsiteX8124" y="connsiteY8124"/>
                </a:cxn>
                <a:cxn ang="0">
                  <a:pos x="connsiteX8125" y="connsiteY8125"/>
                </a:cxn>
                <a:cxn ang="0">
                  <a:pos x="connsiteX8126" y="connsiteY8126"/>
                </a:cxn>
                <a:cxn ang="0">
                  <a:pos x="connsiteX8127" y="connsiteY8127"/>
                </a:cxn>
                <a:cxn ang="0">
                  <a:pos x="connsiteX8128" y="connsiteY8128"/>
                </a:cxn>
                <a:cxn ang="0">
                  <a:pos x="connsiteX8129" y="connsiteY8129"/>
                </a:cxn>
                <a:cxn ang="0">
                  <a:pos x="connsiteX8130" y="connsiteY8130"/>
                </a:cxn>
                <a:cxn ang="0">
                  <a:pos x="connsiteX8131" y="connsiteY8131"/>
                </a:cxn>
                <a:cxn ang="0">
                  <a:pos x="connsiteX8132" y="connsiteY8132"/>
                </a:cxn>
                <a:cxn ang="0">
                  <a:pos x="connsiteX8133" y="connsiteY8133"/>
                </a:cxn>
                <a:cxn ang="0">
                  <a:pos x="connsiteX8134" y="connsiteY8134"/>
                </a:cxn>
                <a:cxn ang="0">
                  <a:pos x="connsiteX8135" y="connsiteY8135"/>
                </a:cxn>
                <a:cxn ang="0">
                  <a:pos x="connsiteX8136" y="connsiteY8136"/>
                </a:cxn>
                <a:cxn ang="0">
                  <a:pos x="connsiteX8137" y="connsiteY8137"/>
                </a:cxn>
                <a:cxn ang="0">
                  <a:pos x="connsiteX8138" y="connsiteY8138"/>
                </a:cxn>
                <a:cxn ang="0">
                  <a:pos x="connsiteX8139" y="connsiteY8139"/>
                </a:cxn>
                <a:cxn ang="0">
                  <a:pos x="connsiteX8140" y="connsiteY8140"/>
                </a:cxn>
                <a:cxn ang="0">
                  <a:pos x="connsiteX8141" y="connsiteY8141"/>
                </a:cxn>
                <a:cxn ang="0">
                  <a:pos x="connsiteX8142" y="connsiteY8142"/>
                </a:cxn>
                <a:cxn ang="0">
                  <a:pos x="connsiteX8143" y="connsiteY8143"/>
                </a:cxn>
                <a:cxn ang="0">
                  <a:pos x="connsiteX8144" y="connsiteY8144"/>
                </a:cxn>
                <a:cxn ang="0">
                  <a:pos x="connsiteX8145" y="connsiteY8145"/>
                </a:cxn>
                <a:cxn ang="0">
                  <a:pos x="connsiteX8146" y="connsiteY8146"/>
                </a:cxn>
                <a:cxn ang="0">
                  <a:pos x="connsiteX8147" y="connsiteY8147"/>
                </a:cxn>
                <a:cxn ang="0">
                  <a:pos x="connsiteX8148" y="connsiteY8148"/>
                </a:cxn>
                <a:cxn ang="0">
                  <a:pos x="connsiteX8149" y="connsiteY8149"/>
                </a:cxn>
                <a:cxn ang="0">
                  <a:pos x="connsiteX8150" y="connsiteY8150"/>
                </a:cxn>
                <a:cxn ang="0">
                  <a:pos x="connsiteX8151" y="connsiteY8151"/>
                </a:cxn>
                <a:cxn ang="0">
                  <a:pos x="connsiteX8152" y="connsiteY8152"/>
                </a:cxn>
                <a:cxn ang="0">
                  <a:pos x="connsiteX8153" y="connsiteY8153"/>
                </a:cxn>
                <a:cxn ang="0">
                  <a:pos x="connsiteX8154" y="connsiteY8154"/>
                </a:cxn>
                <a:cxn ang="0">
                  <a:pos x="connsiteX8155" y="connsiteY8155"/>
                </a:cxn>
                <a:cxn ang="0">
                  <a:pos x="connsiteX8156" y="connsiteY8156"/>
                </a:cxn>
                <a:cxn ang="0">
                  <a:pos x="connsiteX8157" y="connsiteY8157"/>
                </a:cxn>
                <a:cxn ang="0">
                  <a:pos x="connsiteX8158" y="connsiteY8158"/>
                </a:cxn>
                <a:cxn ang="0">
                  <a:pos x="connsiteX8159" y="connsiteY8159"/>
                </a:cxn>
                <a:cxn ang="0">
                  <a:pos x="connsiteX8160" y="connsiteY8160"/>
                </a:cxn>
                <a:cxn ang="0">
                  <a:pos x="connsiteX8161" y="connsiteY8161"/>
                </a:cxn>
                <a:cxn ang="0">
                  <a:pos x="connsiteX8162" y="connsiteY8162"/>
                </a:cxn>
                <a:cxn ang="0">
                  <a:pos x="connsiteX8163" y="connsiteY8163"/>
                </a:cxn>
                <a:cxn ang="0">
                  <a:pos x="connsiteX8164" y="connsiteY8164"/>
                </a:cxn>
                <a:cxn ang="0">
                  <a:pos x="connsiteX8165" y="connsiteY8165"/>
                </a:cxn>
                <a:cxn ang="0">
                  <a:pos x="connsiteX8166" y="connsiteY8166"/>
                </a:cxn>
                <a:cxn ang="0">
                  <a:pos x="connsiteX8167" y="connsiteY8167"/>
                </a:cxn>
                <a:cxn ang="0">
                  <a:pos x="connsiteX8168" y="connsiteY8168"/>
                </a:cxn>
                <a:cxn ang="0">
                  <a:pos x="connsiteX8169" y="connsiteY8169"/>
                </a:cxn>
                <a:cxn ang="0">
                  <a:pos x="connsiteX8170" y="connsiteY8170"/>
                </a:cxn>
                <a:cxn ang="0">
                  <a:pos x="connsiteX8171" y="connsiteY8171"/>
                </a:cxn>
                <a:cxn ang="0">
                  <a:pos x="connsiteX8172" y="connsiteY8172"/>
                </a:cxn>
                <a:cxn ang="0">
                  <a:pos x="connsiteX8173" y="connsiteY8173"/>
                </a:cxn>
                <a:cxn ang="0">
                  <a:pos x="connsiteX8174" y="connsiteY8174"/>
                </a:cxn>
                <a:cxn ang="0">
                  <a:pos x="connsiteX8175" y="connsiteY8175"/>
                </a:cxn>
                <a:cxn ang="0">
                  <a:pos x="connsiteX8176" y="connsiteY8176"/>
                </a:cxn>
                <a:cxn ang="0">
                  <a:pos x="connsiteX8177" y="connsiteY8177"/>
                </a:cxn>
                <a:cxn ang="0">
                  <a:pos x="connsiteX8178" y="connsiteY8178"/>
                </a:cxn>
                <a:cxn ang="0">
                  <a:pos x="connsiteX8179" y="connsiteY8179"/>
                </a:cxn>
                <a:cxn ang="0">
                  <a:pos x="connsiteX8180" y="connsiteY8180"/>
                </a:cxn>
                <a:cxn ang="0">
                  <a:pos x="connsiteX8181" y="connsiteY8181"/>
                </a:cxn>
                <a:cxn ang="0">
                  <a:pos x="connsiteX8182" y="connsiteY8182"/>
                </a:cxn>
                <a:cxn ang="0">
                  <a:pos x="connsiteX8183" y="connsiteY8183"/>
                </a:cxn>
                <a:cxn ang="0">
                  <a:pos x="connsiteX8184" y="connsiteY8184"/>
                </a:cxn>
                <a:cxn ang="0">
                  <a:pos x="connsiteX8185" y="connsiteY8185"/>
                </a:cxn>
                <a:cxn ang="0">
                  <a:pos x="connsiteX8186" y="connsiteY8186"/>
                </a:cxn>
                <a:cxn ang="0">
                  <a:pos x="connsiteX8187" y="connsiteY8187"/>
                </a:cxn>
                <a:cxn ang="0">
                  <a:pos x="connsiteX8188" y="connsiteY8188"/>
                </a:cxn>
                <a:cxn ang="0">
                  <a:pos x="connsiteX8189" y="connsiteY8189"/>
                </a:cxn>
                <a:cxn ang="0">
                  <a:pos x="connsiteX8190" y="connsiteY8190"/>
                </a:cxn>
                <a:cxn ang="0">
                  <a:pos x="connsiteX8191" y="connsiteY8191"/>
                </a:cxn>
                <a:cxn ang="0">
                  <a:pos x="connsiteX8192" y="connsiteY8192"/>
                </a:cxn>
                <a:cxn ang="0">
                  <a:pos x="connsiteX8193" y="connsiteY8193"/>
                </a:cxn>
                <a:cxn ang="0">
                  <a:pos x="connsiteX8194" y="connsiteY8194"/>
                </a:cxn>
                <a:cxn ang="0">
                  <a:pos x="connsiteX8195" y="connsiteY8195"/>
                </a:cxn>
                <a:cxn ang="0">
                  <a:pos x="connsiteX8196" y="connsiteY8196"/>
                </a:cxn>
                <a:cxn ang="0">
                  <a:pos x="connsiteX8197" y="connsiteY8197"/>
                </a:cxn>
                <a:cxn ang="0">
                  <a:pos x="connsiteX8198" y="connsiteY8198"/>
                </a:cxn>
                <a:cxn ang="0">
                  <a:pos x="connsiteX8199" y="connsiteY8199"/>
                </a:cxn>
                <a:cxn ang="0">
                  <a:pos x="connsiteX8200" y="connsiteY8200"/>
                </a:cxn>
                <a:cxn ang="0">
                  <a:pos x="connsiteX8201" y="connsiteY8201"/>
                </a:cxn>
                <a:cxn ang="0">
                  <a:pos x="connsiteX8202" y="connsiteY8202"/>
                </a:cxn>
                <a:cxn ang="0">
                  <a:pos x="connsiteX8203" y="connsiteY8203"/>
                </a:cxn>
                <a:cxn ang="0">
                  <a:pos x="connsiteX8204" y="connsiteY8204"/>
                </a:cxn>
                <a:cxn ang="0">
                  <a:pos x="connsiteX8205" y="connsiteY8205"/>
                </a:cxn>
                <a:cxn ang="0">
                  <a:pos x="connsiteX8206" y="connsiteY8206"/>
                </a:cxn>
                <a:cxn ang="0">
                  <a:pos x="connsiteX8207" y="connsiteY8207"/>
                </a:cxn>
                <a:cxn ang="0">
                  <a:pos x="connsiteX8208" y="connsiteY8208"/>
                </a:cxn>
                <a:cxn ang="0">
                  <a:pos x="connsiteX8209" y="connsiteY8209"/>
                </a:cxn>
                <a:cxn ang="0">
                  <a:pos x="connsiteX8210" y="connsiteY8210"/>
                </a:cxn>
                <a:cxn ang="0">
                  <a:pos x="connsiteX8211" y="connsiteY8211"/>
                </a:cxn>
                <a:cxn ang="0">
                  <a:pos x="connsiteX8212" y="connsiteY8212"/>
                </a:cxn>
                <a:cxn ang="0">
                  <a:pos x="connsiteX8213" y="connsiteY8213"/>
                </a:cxn>
                <a:cxn ang="0">
                  <a:pos x="connsiteX8214" y="connsiteY8214"/>
                </a:cxn>
                <a:cxn ang="0">
                  <a:pos x="connsiteX8215" y="connsiteY8215"/>
                </a:cxn>
                <a:cxn ang="0">
                  <a:pos x="connsiteX8216" y="connsiteY8216"/>
                </a:cxn>
                <a:cxn ang="0">
                  <a:pos x="connsiteX8217" y="connsiteY8217"/>
                </a:cxn>
                <a:cxn ang="0">
                  <a:pos x="connsiteX8218" y="connsiteY8218"/>
                </a:cxn>
                <a:cxn ang="0">
                  <a:pos x="connsiteX8219" y="connsiteY8219"/>
                </a:cxn>
                <a:cxn ang="0">
                  <a:pos x="connsiteX8220" y="connsiteY8220"/>
                </a:cxn>
                <a:cxn ang="0">
                  <a:pos x="connsiteX8221" y="connsiteY8221"/>
                </a:cxn>
                <a:cxn ang="0">
                  <a:pos x="connsiteX8222" y="connsiteY8222"/>
                </a:cxn>
                <a:cxn ang="0">
                  <a:pos x="connsiteX8223" y="connsiteY8223"/>
                </a:cxn>
                <a:cxn ang="0">
                  <a:pos x="connsiteX8224" y="connsiteY8224"/>
                </a:cxn>
                <a:cxn ang="0">
                  <a:pos x="connsiteX8225" y="connsiteY8225"/>
                </a:cxn>
                <a:cxn ang="0">
                  <a:pos x="connsiteX8226" y="connsiteY8226"/>
                </a:cxn>
                <a:cxn ang="0">
                  <a:pos x="connsiteX8227" y="connsiteY8227"/>
                </a:cxn>
                <a:cxn ang="0">
                  <a:pos x="connsiteX8228" y="connsiteY8228"/>
                </a:cxn>
                <a:cxn ang="0">
                  <a:pos x="connsiteX8229" y="connsiteY8229"/>
                </a:cxn>
                <a:cxn ang="0">
                  <a:pos x="connsiteX8230" y="connsiteY8230"/>
                </a:cxn>
                <a:cxn ang="0">
                  <a:pos x="connsiteX8231" y="connsiteY8231"/>
                </a:cxn>
                <a:cxn ang="0">
                  <a:pos x="connsiteX8232" y="connsiteY8232"/>
                </a:cxn>
                <a:cxn ang="0">
                  <a:pos x="connsiteX8233" y="connsiteY8233"/>
                </a:cxn>
                <a:cxn ang="0">
                  <a:pos x="connsiteX8234" y="connsiteY8234"/>
                </a:cxn>
                <a:cxn ang="0">
                  <a:pos x="connsiteX8235" y="connsiteY8235"/>
                </a:cxn>
                <a:cxn ang="0">
                  <a:pos x="connsiteX8236" y="connsiteY8236"/>
                </a:cxn>
                <a:cxn ang="0">
                  <a:pos x="connsiteX8237" y="connsiteY8237"/>
                </a:cxn>
                <a:cxn ang="0">
                  <a:pos x="connsiteX8238" y="connsiteY8238"/>
                </a:cxn>
                <a:cxn ang="0">
                  <a:pos x="connsiteX8239" y="connsiteY8239"/>
                </a:cxn>
                <a:cxn ang="0">
                  <a:pos x="connsiteX8240" y="connsiteY8240"/>
                </a:cxn>
                <a:cxn ang="0">
                  <a:pos x="connsiteX8241" y="connsiteY8241"/>
                </a:cxn>
                <a:cxn ang="0">
                  <a:pos x="connsiteX8242" y="connsiteY8242"/>
                </a:cxn>
                <a:cxn ang="0">
                  <a:pos x="connsiteX8243" y="connsiteY8243"/>
                </a:cxn>
                <a:cxn ang="0">
                  <a:pos x="connsiteX8244" y="connsiteY8244"/>
                </a:cxn>
                <a:cxn ang="0">
                  <a:pos x="connsiteX8245" y="connsiteY8245"/>
                </a:cxn>
                <a:cxn ang="0">
                  <a:pos x="connsiteX8246" y="connsiteY8246"/>
                </a:cxn>
                <a:cxn ang="0">
                  <a:pos x="connsiteX8247" y="connsiteY8247"/>
                </a:cxn>
                <a:cxn ang="0">
                  <a:pos x="connsiteX8248" y="connsiteY8248"/>
                </a:cxn>
                <a:cxn ang="0">
                  <a:pos x="connsiteX8249" y="connsiteY8249"/>
                </a:cxn>
                <a:cxn ang="0">
                  <a:pos x="connsiteX8250" y="connsiteY8250"/>
                </a:cxn>
                <a:cxn ang="0">
                  <a:pos x="connsiteX8251" y="connsiteY8251"/>
                </a:cxn>
                <a:cxn ang="0">
                  <a:pos x="connsiteX8252" y="connsiteY8252"/>
                </a:cxn>
                <a:cxn ang="0">
                  <a:pos x="connsiteX8253" y="connsiteY8253"/>
                </a:cxn>
                <a:cxn ang="0">
                  <a:pos x="connsiteX8254" y="connsiteY8254"/>
                </a:cxn>
                <a:cxn ang="0">
                  <a:pos x="connsiteX8255" y="connsiteY8255"/>
                </a:cxn>
                <a:cxn ang="0">
                  <a:pos x="connsiteX8256" y="connsiteY8256"/>
                </a:cxn>
                <a:cxn ang="0">
                  <a:pos x="connsiteX8257" y="connsiteY8257"/>
                </a:cxn>
                <a:cxn ang="0">
                  <a:pos x="connsiteX8258" y="connsiteY8258"/>
                </a:cxn>
                <a:cxn ang="0">
                  <a:pos x="connsiteX8259" y="connsiteY8259"/>
                </a:cxn>
                <a:cxn ang="0">
                  <a:pos x="connsiteX8260" y="connsiteY8260"/>
                </a:cxn>
                <a:cxn ang="0">
                  <a:pos x="connsiteX8261" y="connsiteY8261"/>
                </a:cxn>
                <a:cxn ang="0">
                  <a:pos x="connsiteX8262" y="connsiteY8262"/>
                </a:cxn>
                <a:cxn ang="0">
                  <a:pos x="connsiteX8263" y="connsiteY8263"/>
                </a:cxn>
                <a:cxn ang="0">
                  <a:pos x="connsiteX8264" y="connsiteY8264"/>
                </a:cxn>
                <a:cxn ang="0">
                  <a:pos x="connsiteX8265" y="connsiteY8265"/>
                </a:cxn>
                <a:cxn ang="0">
                  <a:pos x="connsiteX8266" y="connsiteY8266"/>
                </a:cxn>
                <a:cxn ang="0">
                  <a:pos x="connsiteX8267" y="connsiteY8267"/>
                </a:cxn>
                <a:cxn ang="0">
                  <a:pos x="connsiteX8268" y="connsiteY8268"/>
                </a:cxn>
                <a:cxn ang="0">
                  <a:pos x="connsiteX8269" y="connsiteY8269"/>
                </a:cxn>
                <a:cxn ang="0">
                  <a:pos x="connsiteX8270" y="connsiteY8270"/>
                </a:cxn>
                <a:cxn ang="0">
                  <a:pos x="connsiteX8271" y="connsiteY8271"/>
                </a:cxn>
                <a:cxn ang="0">
                  <a:pos x="connsiteX8272" y="connsiteY8272"/>
                </a:cxn>
                <a:cxn ang="0">
                  <a:pos x="connsiteX8273" y="connsiteY8273"/>
                </a:cxn>
                <a:cxn ang="0">
                  <a:pos x="connsiteX8274" y="connsiteY8274"/>
                </a:cxn>
                <a:cxn ang="0">
                  <a:pos x="connsiteX8275" y="connsiteY8275"/>
                </a:cxn>
                <a:cxn ang="0">
                  <a:pos x="connsiteX8276" y="connsiteY8276"/>
                </a:cxn>
                <a:cxn ang="0">
                  <a:pos x="connsiteX8277" y="connsiteY8277"/>
                </a:cxn>
                <a:cxn ang="0">
                  <a:pos x="connsiteX8278" y="connsiteY8278"/>
                </a:cxn>
                <a:cxn ang="0">
                  <a:pos x="connsiteX8279" y="connsiteY8279"/>
                </a:cxn>
                <a:cxn ang="0">
                  <a:pos x="connsiteX8280" y="connsiteY8280"/>
                </a:cxn>
                <a:cxn ang="0">
                  <a:pos x="connsiteX8281" y="connsiteY8281"/>
                </a:cxn>
                <a:cxn ang="0">
                  <a:pos x="connsiteX8282" y="connsiteY8282"/>
                </a:cxn>
                <a:cxn ang="0">
                  <a:pos x="connsiteX8283" y="connsiteY8283"/>
                </a:cxn>
                <a:cxn ang="0">
                  <a:pos x="connsiteX8284" y="connsiteY8284"/>
                </a:cxn>
                <a:cxn ang="0">
                  <a:pos x="connsiteX8285" y="connsiteY8285"/>
                </a:cxn>
                <a:cxn ang="0">
                  <a:pos x="connsiteX8286" y="connsiteY8286"/>
                </a:cxn>
                <a:cxn ang="0">
                  <a:pos x="connsiteX8287" y="connsiteY8287"/>
                </a:cxn>
                <a:cxn ang="0">
                  <a:pos x="connsiteX8288" y="connsiteY8288"/>
                </a:cxn>
                <a:cxn ang="0">
                  <a:pos x="connsiteX8289" y="connsiteY8289"/>
                </a:cxn>
                <a:cxn ang="0">
                  <a:pos x="connsiteX8290" y="connsiteY8290"/>
                </a:cxn>
                <a:cxn ang="0">
                  <a:pos x="connsiteX8291" y="connsiteY8291"/>
                </a:cxn>
                <a:cxn ang="0">
                  <a:pos x="connsiteX8292" y="connsiteY8292"/>
                </a:cxn>
                <a:cxn ang="0">
                  <a:pos x="connsiteX8293" y="connsiteY8293"/>
                </a:cxn>
                <a:cxn ang="0">
                  <a:pos x="connsiteX8294" y="connsiteY8294"/>
                </a:cxn>
                <a:cxn ang="0">
                  <a:pos x="connsiteX8295" y="connsiteY8295"/>
                </a:cxn>
                <a:cxn ang="0">
                  <a:pos x="connsiteX8296" y="connsiteY8296"/>
                </a:cxn>
                <a:cxn ang="0">
                  <a:pos x="connsiteX8297" y="connsiteY8297"/>
                </a:cxn>
                <a:cxn ang="0">
                  <a:pos x="connsiteX8298" y="connsiteY8298"/>
                </a:cxn>
                <a:cxn ang="0">
                  <a:pos x="connsiteX8299" y="connsiteY8299"/>
                </a:cxn>
                <a:cxn ang="0">
                  <a:pos x="connsiteX8300" y="connsiteY8300"/>
                </a:cxn>
                <a:cxn ang="0">
                  <a:pos x="connsiteX8301" y="connsiteY8301"/>
                </a:cxn>
                <a:cxn ang="0">
                  <a:pos x="connsiteX8302" y="connsiteY8302"/>
                </a:cxn>
                <a:cxn ang="0">
                  <a:pos x="connsiteX8303" y="connsiteY8303"/>
                </a:cxn>
                <a:cxn ang="0">
                  <a:pos x="connsiteX8304" y="connsiteY8304"/>
                </a:cxn>
                <a:cxn ang="0">
                  <a:pos x="connsiteX8305" y="connsiteY8305"/>
                </a:cxn>
                <a:cxn ang="0">
                  <a:pos x="connsiteX8306" y="connsiteY8306"/>
                </a:cxn>
                <a:cxn ang="0">
                  <a:pos x="connsiteX8307" y="connsiteY8307"/>
                </a:cxn>
                <a:cxn ang="0">
                  <a:pos x="connsiteX8308" y="connsiteY8308"/>
                </a:cxn>
                <a:cxn ang="0">
                  <a:pos x="connsiteX8309" y="connsiteY8309"/>
                </a:cxn>
                <a:cxn ang="0">
                  <a:pos x="connsiteX8310" y="connsiteY8310"/>
                </a:cxn>
                <a:cxn ang="0">
                  <a:pos x="connsiteX8311" y="connsiteY8311"/>
                </a:cxn>
                <a:cxn ang="0">
                  <a:pos x="connsiteX8312" y="connsiteY8312"/>
                </a:cxn>
                <a:cxn ang="0">
                  <a:pos x="connsiteX8313" y="connsiteY8313"/>
                </a:cxn>
                <a:cxn ang="0">
                  <a:pos x="connsiteX8314" y="connsiteY8314"/>
                </a:cxn>
                <a:cxn ang="0">
                  <a:pos x="connsiteX8315" y="connsiteY8315"/>
                </a:cxn>
                <a:cxn ang="0">
                  <a:pos x="connsiteX8316" y="connsiteY8316"/>
                </a:cxn>
                <a:cxn ang="0">
                  <a:pos x="connsiteX8317" y="connsiteY8317"/>
                </a:cxn>
                <a:cxn ang="0">
                  <a:pos x="connsiteX8318" y="connsiteY8318"/>
                </a:cxn>
                <a:cxn ang="0">
                  <a:pos x="connsiteX8319" y="connsiteY8319"/>
                </a:cxn>
                <a:cxn ang="0">
                  <a:pos x="connsiteX8320" y="connsiteY8320"/>
                </a:cxn>
                <a:cxn ang="0">
                  <a:pos x="connsiteX8321" y="connsiteY8321"/>
                </a:cxn>
                <a:cxn ang="0">
                  <a:pos x="connsiteX8322" y="connsiteY8322"/>
                </a:cxn>
                <a:cxn ang="0">
                  <a:pos x="connsiteX8323" y="connsiteY8323"/>
                </a:cxn>
                <a:cxn ang="0">
                  <a:pos x="connsiteX8324" y="connsiteY8324"/>
                </a:cxn>
                <a:cxn ang="0">
                  <a:pos x="connsiteX8325" y="connsiteY8325"/>
                </a:cxn>
                <a:cxn ang="0">
                  <a:pos x="connsiteX8326" y="connsiteY8326"/>
                </a:cxn>
                <a:cxn ang="0">
                  <a:pos x="connsiteX8327" y="connsiteY8327"/>
                </a:cxn>
                <a:cxn ang="0">
                  <a:pos x="connsiteX8328" y="connsiteY8328"/>
                </a:cxn>
                <a:cxn ang="0">
                  <a:pos x="connsiteX8329" y="connsiteY8329"/>
                </a:cxn>
                <a:cxn ang="0">
                  <a:pos x="connsiteX8330" y="connsiteY8330"/>
                </a:cxn>
                <a:cxn ang="0">
                  <a:pos x="connsiteX8331" y="connsiteY8331"/>
                </a:cxn>
                <a:cxn ang="0">
                  <a:pos x="connsiteX8332" y="connsiteY8332"/>
                </a:cxn>
                <a:cxn ang="0">
                  <a:pos x="connsiteX8333" y="connsiteY8333"/>
                </a:cxn>
                <a:cxn ang="0">
                  <a:pos x="connsiteX8334" y="connsiteY8334"/>
                </a:cxn>
                <a:cxn ang="0">
                  <a:pos x="connsiteX8335" y="connsiteY8335"/>
                </a:cxn>
                <a:cxn ang="0">
                  <a:pos x="connsiteX8336" y="connsiteY8336"/>
                </a:cxn>
                <a:cxn ang="0">
                  <a:pos x="connsiteX8337" y="connsiteY8337"/>
                </a:cxn>
                <a:cxn ang="0">
                  <a:pos x="connsiteX8338" y="connsiteY8338"/>
                </a:cxn>
                <a:cxn ang="0">
                  <a:pos x="connsiteX8339" y="connsiteY8339"/>
                </a:cxn>
                <a:cxn ang="0">
                  <a:pos x="connsiteX8340" y="connsiteY8340"/>
                </a:cxn>
                <a:cxn ang="0">
                  <a:pos x="connsiteX8341" y="connsiteY8341"/>
                </a:cxn>
                <a:cxn ang="0">
                  <a:pos x="connsiteX8342" y="connsiteY8342"/>
                </a:cxn>
                <a:cxn ang="0">
                  <a:pos x="connsiteX8343" y="connsiteY8343"/>
                </a:cxn>
                <a:cxn ang="0">
                  <a:pos x="connsiteX8344" y="connsiteY8344"/>
                </a:cxn>
                <a:cxn ang="0">
                  <a:pos x="connsiteX8345" y="connsiteY8345"/>
                </a:cxn>
                <a:cxn ang="0">
                  <a:pos x="connsiteX8346" y="connsiteY8346"/>
                </a:cxn>
                <a:cxn ang="0">
                  <a:pos x="connsiteX8347" y="connsiteY8347"/>
                </a:cxn>
                <a:cxn ang="0">
                  <a:pos x="connsiteX8348" y="connsiteY8348"/>
                </a:cxn>
                <a:cxn ang="0">
                  <a:pos x="connsiteX8349" y="connsiteY8349"/>
                </a:cxn>
                <a:cxn ang="0">
                  <a:pos x="connsiteX8350" y="connsiteY8350"/>
                </a:cxn>
                <a:cxn ang="0">
                  <a:pos x="connsiteX8351" y="connsiteY8351"/>
                </a:cxn>
                <a:cxn ang="0">
                  <a:pos x="connsiteX8352" y="connsiteY8352"/>
                </a:cxn>
                <a:cxn ang="0">
                  <a:pos x="connsiteX8353" y="connsiteY8353"/>
                </a:cxn>
                <a:cxn ang="0">
                  <a:pos x="connsiteX8354" y="connsiteY8354"/>
                </a:cxn>
                <a:cxn ang="0">
                  <a:pos x="connsiteX8355" y="connsiteY8355"/>
                </a:cxn>
                <a:cxn ang="0">
                  <a:pos x="connsiteX8356" y="connsiteY8356"/>
                </a:cxn>
                <a:cxn ang="0">
                  <a:pos x="connsiteX8357" y="connsiteY8357"/>
                </a:cxn>
                <a:cxn ang="0">
                  <a:pos x="connsiteX8358" y="connsiteY8358"/>
                </a:cxn>
                <a:cxn ang="0">
                  <a:pos x="connsiteX8359" y="connsiteY8359"/>
                </a:cxn>
                <a:cxn ang="0">
                  <a:pos x="connsiteX8360" y="connsiteY8360"/>
                </a:cxn>
                <a:cxn ang="0">
                  <a:pos x="connsiteX8361" y="connsiteY8361"/>
                </a:cxn>
                <a:cxn ang="0">
                  <a:pos x="connsiteX8362" y="connsiteY8362"/>
                </a:cxn>
                <a:cxn ang="0">
                  <a:pos x="connsiteX8363" y="connsiteY8363"/>
                </a:cxn>
                <a:cxn ang="0">
                  <a:pos x="connsiteX8364" y="connsiteY8364"/>
                </a:cxn>
                <a:cxn ang="0">
                  <a:pos x="connsiteX8365" y="connsiteY8365"/>
                </a:cxn>
                <a:cxn ang="0">
                  <a:pos x="connsiteX8366" y="connsiteY8366"/>
                </a:cxn>
                <a:cxn ang="0">
                  <a:pos x="connsiteX8367" y="connsiteY8367"/>
                </a:cxn>
                <a:cxn ang="0">
                  <a:pos x="connsiteX8368" y="connsiteY8368"/>
                </a:cxn>
                <a:cxn ang="0">
                  <a:pos x="connsiteX8369" y="connsiteY8369"/>
                </a:cxn>
                <a:cxn ang="0">
                  <a:pos x="connsiteX8370" y="connsiteY8370"/>
                </a:cxn>
                <a:cxn ang="0">
                  <a:pos x="connsiteX8371" y="connsiteY8371"/>
                </a:cxn>
                <a:cxn ang="0">
                  <a:pos x="connsiteX8372" y="connsiteY8372"/>
                </a:cxn>
                <a:cxn ang="0">
                  <a:pos x="connsiteX8373" y="connsiteY8373"/>
                </a:cxn>
                <a:cxn ang="0">
                  <a:pos x="connsiteX8374" y="connsiteY8374"/>
                </a:cxn>
                <a:cxn ang="0">
                  <a:pos x="connsiteX8375" y="connsiteY8375"/>
                </a:cxn>
                <a:cxn ang="0">
                  <a:pos x="connsiteX8376" y="connsiteY8376"/>
                </a:cxn>
                <a:cxn ang="0">
                  <a:pos x="connsiteX8377" y="connsiteY8377"/>
                </a:cxn>
                <a:cxn ang="0">
                  <a:pos x="connsiteX8378" y="connsiteY8378"/>
                </a:cxn>
                <a:cxn ang="0">
                  <a:pos x="connsiteX8379" y="connsiteY8379"/>
                </a:cxn>
                <a:cxn ang="0">
                  <a:pos x="connsiteX8380" y="connsiteY8380"/>
                </a:cxn>
                <a:cxn ang="0">
                  <a:pos x="connsiteX8381" y="connsiteY8381"/>
                </a:cxn>
                <a:cxn ang="0">
                  <a:pos x="connsiteX8382" y="connsiteY8382"/>
                </a:cxn>
                <a:cxn ang="0">
                  <a:pos x="connsiteX8383" y="connsiteY8383"/>
                </a:cxn>
                <a:cxn ang="0">
                  <a:pos x="connsiteX8384" y="connsiteY8384"/>
                </a:cxn>
                <a:cxn ang="0">
                  <a:pos x="connsiteX8385" y="connsiteY8385"/>
                </a:cxn>
                <a:cxn ang="0">
                  <a:pos x="connsiteX8386" y="connsiteY8386"/>
                </a:cxn>
                <a:cxn ang="0">
                  <a:pos x="connsiteX8387" y="connsiteY8387"/>
                </a:cxn>
                <a:cxn ang="0">
                  <a:pos x="connsiteX8388" y="connsiteY8388"/>
                </a:cxn>
                <a:cxn ang="0">
                  <a:pos x="connsiteX8389" y="connsiteY8389"/>
                </a:cxn>
                <a:cxn ang="0">
                  <a:pos x="connsiteX8390" y="connsiteY8390"/>
                </a:cxn>
                <a:cxn ang="0">
                  <a:pos x="connsiteX8391" y="connsiteY8391"/>
                </a:cxn>
                <a:cxn ang="0">
                  <a:pos x="connsiteX8392" y="connsiteY8392"/>
                </a:cxn>
                <a:cxn ang="0">
                  <a:pos x="connsiteX8393" y="connsiteY8393"/>
                </a:cxn>
                <a:cxn ang="0">
                  <a:pos x="connsiteX8394" y="connsiteY8394"/>
                </a:cxn>
                <a:cxn ang="0">
                  <a:pos x="connsiteX8395" y="connsiteY8395"/>
                </a:cxn>
                <a:cxn ang="0">
                  <a:pos x="connsiteX8396" y="connsiteY8396"/>
                </a:cxn>
                <a:cxn ang="0">
                  <a:pos x="connsiteX8397" y="connsiteY8397"/>
                </a:cxn>
                <a:cxn ang="0">
                  <a:pos x="connsiteX8398" y="connsiteY8398"/>
                </a:cxn>
                <a:cxn ang="0">
                  <a:pos x="connsiteX8399" y="connsiteY8399"/>
                </a:cxn>
                <a:cxn ang="0">
                  <a:pos x="connsiteX8400" y="connsiteY8400"/>
                </a:cxn>
                <a:cxn ang="0">
                  <a:pos x="connsiteX8401" y="connsiteY8401"/>
                </a:cxn>
                <a:cxn ang="0">
                  <a:pos x="connsiteX8402" y="connsiteY8402"/>
                </a:cxn>
                <a:cxn ang="0">
                  <a:pos x="connsiteX8403" y="connsiteY8403"/>
                </a:cxn>
                <a:cxn ang="0">
                  <a:pos x="connsiteX8404" y="connsiteY8404"/>
                </a:cxn>
                <a:cxn ang="0">
                  <a:pos x="connsiteX8405" y="connsiteY8405"/>
                </a:cxn>
                <a:cxn ang="0">
                  <a:pos x="connsiteX8406" y="connsiteY8406"/>
                </a:cxn>
                <a:cxn ang="0">
                  <a:pos x="connsiteX8407" y="connsiteY8407"/>
                </a:cxn>
                <a:cxn ang="0">
                  <a:pos x="connsiteX8408" y="connsiteY8408"/>
                </a:cxn>
                <a:cxn ang="0">
                  <a:pos x="connsiteX8409" y="connsiteY8409"/>
                </a:cxn>
                <a:cxn ang="0">
                  <a:pos x="connsiteX8410" y="connsiteY8410"/>
                </a:cxn>
                <a:cxn ang="0">
                  <a:pos x="connsiteX8411" y="connsiteY8411"/>
                </a:cxn>
                <a:cxn ang="0">
                  <a:pos x="connsiteX8412" y="connsiteY8412"/>
                </a:cxn>
                <a:cxn ang="0">
                  <a:pos x="connsiteX8413" y="connsiteY8413"/>
                </a:cxn>
                <a:cxn ang="0">
                  <a:pos x="connsiteX8414" y="connsiteY8414"/>
                </a:cxn>
                <a:cxn ang="0">
                  <a:pos x="connsiteX8415" y="connsiteY8415"/>
                </a:cxn>
                <a:cxn ang="0">
                  <a:pos x="connsiteX8416" y="connsiteY8416"/>
                </a:cxn>
                <a:cxn ang="0">
                  <a:pos x="connsiteX8417" y="connsiteY8417"/>
                </a:cxn>
                <a:cxn ang="0">
                  <a:pos x="connsiteX8418" y="connsiteY8418"/>
                </a:cxn>
                <a:cxn ang="0">
                  <a:pos x="connsiteX8419" y="connsiteY8419"/>
                </a:cxn>
                <a:cxn ang="0">
                  <a:pos x="connsiteX8420" y="connsiteY8420"/>
                </a:cxn>
                <a:cxn ang="0">
                  <a:pos x="connsiteX8421" y="connsiteY8421"/>
                </a:cxn>
                <a:cxn ang="0">
                  <a:pos x="connsiteX8422" y="connsiteY8422"/>
                </a:cxn>
                <a:cxn ang="0">
                  <a:pos x="connsiteX8423" y="connsiteY8423"/>
                </a:cxn>
                <a:cxn ang="0">
                  <a:pos x="connsiteX8424" y="connsiteY8424"/>
                </a:cxn>
                <a:cxn ang="0">
                  <a:pos x="connsiteX8425" y="connsiteY8425"/>
                </a:cxn>
                <a:cxn ang="0">
                  <a:pos x="connsiteX8426" y="connsiteY8426"/>
                </a:cxn>
                <a:cxn ang="0">
                  <a:pos x="connsiteX8427" y="connsiteY8427"/>
                </a:cxn>
                <a:cxn ang="0">
                  <a:pos x="connsiteX8428" y="connsiteY8428"/>
                </a:cxn>
                <a:cxn ang="0">
                  <a:pos x="connsiteX8429" y="connsiteY8429"/>
                </a:cxn>
                <a:cxn ang="0">
                  <a:pos x="connsiteX8430" y="connsiteY8430"/>
                </a:cxn>
                <a:cxn ang="0">
                  <a:pos x="connsiteX8431" y="connsiteY8431"/>
                </a:cxn>
                <a:cxn ang="0">
                  <a:pos x="connsiteX8432" y="connsiteY8432"/>
                </a:cxn>
                <a:cxn ang="0">
                  <a:pos x="connsiteX8433" y="connsiteY8433"/>
                </a:cxn>
                <a:cxn ang="0">
                  <a:pos x="connsiteX8434" y="connsiteY8434"/>
                </a:cxn>
                <a:cxn ang="0">
                  <a:pos x="connsiteX8435" y="connsiteY8435"/>
                </a:cxn>
                <a:cxn ang="0">
                  <a:pos x="connsiteX8436" y="connsiteY8436"/>
                </a:cxn>
                <a:cxn ang="0">
                  <a:pos x="connsiteX8437" y="connsiteY8437"/>
                </a:cxn>
                <a:cxn ang="0">
                  <a:pos x="connsiteX8438" y="connsiteY8438"/>
                </a:cxn>
                <a:cxn ang="0">
                  <a:pos x="connsiteX8439" y="connsiteY8439"/>
                </a:cxn>
                <a:cxn ang="0">
                  <a:pos x="connsiteX8440" y="connsiteY8440"/>
                </a:cxn>
                <a:cxn ang="0">
                  <a:pos x="connsiteX8441" y="connsiteY8441"/>
                </a:cxn>
                <a:cxn ang="0">
                  <a:pos x="connsiteX8442" y="connsiteY8442"/>
                </a:cxn>
                <a:cxn ang="0">
                  <a:pos x="connsiteX8443" y="connsiteY8443"/>
                </a:cxn>
                <a:cxn ang="0">
                  <a:pos x="connsiteX8444" y="connsiteY8444"/>
                </a:cxn>
                <a:cxn ang="0">
                  <a:pos x="connsiteX8445" y="connsiteY8445"/>
                </a:cxn>
                <a:cxn ang="0">
                  <a:pos x="connsiteX8446" y="connsiteY8446"/>
                </a:cxn>
                <a:cxn ang="0">
                  <a:pos x="connsiteX8447" y="connsiteY8447"/>
                </a:cxn>
                <a:cxn ang="0">
                  <a:pos x="connsiteX8448" y="connsiteY8448"/>
                </a:cxn>
                <a:cxn ang="0">
                  <a:pos x="connsiteX8449" y="connsiteY8449"/>
                </a:cxn>
                <a:cxn ang="0">
                  <a:pos x="connsiteX8450" y="connsiteY8450"/>
                </a:cxn>
                <a:cxn ang="0">
                  <a:pos x="connsiteX8451" y="connsiteY8451"/>
                </a:cxn>
                <a:cxn ang="0">
                  <a:pos x="connsiteX8452" y="connsiteY8452"/>
                </a:cxn>
                <a:cxn ang="0">
                  <a:pos x="connsiteX8453" y="connsiteY8453"/>
                </a:cxn>
                <a:cxn ang="0">
                  <a:pos x="connsiteX8454" y="connsiteY8454"/>
                </a:cxn>
                <a:cxn ang="0">
                  <a:pos x="connsiteX8455" y="connsiteY8455"/>
                </a:cxn>
                <a:cxn ang="0">
                  <a:pos x="connsiteX8456" y="connsiteY8456"/>
                </a:cxn>
                <a:cxn ang="0">
                  <a:pos x="connsiteX8457" y="connsiteY8457"/>
                </a:cxn>
                <a:cxn ang="0">
                  <a:pos x="connsiteX8458" y="connsiteY8458"/>
                </a:cxn>
                <a:cxn ang="0">
                  <a:pos x="connsiteX8459" y="connsiteY8459"/>
                </a:cxn>
                <a:cxn ang="0">
                  <a:pos x="connsiteX8460" y="connsiteY8460"/>
                </a:cxn>
                <a:cxn ang="0">
                  <a:pos x="connsiteX8461" y="connsiteY8461"/>
                </a:cxn>
                <a:cxn ang="0">
                  <a:pos x="connsiteX8462" y="connsiteY8462"/>
                </a:cxn>
                <a:cxn ang="0">
                  <a:pos x="connsiteX8463" y="connsiteY8463"/>
                </a:cxn>
                <a:cxn ang="0">
                  <a:pos x="connsiteX8464" y="connsiteY8464"/>
                </a:cxn>
                <a:cxn ang="0">
                  <a:pos x="connsiteX8465" y="connsiteY8465"/>
                </a:cxn>
                <a:cxn ang="0">
                  <a:pos x="connsiteX8466" y="connsiteY8466"/>
                </a:cxn>
                <a:cxn ang="0">
                  <a:pos x="connsiteX8467" y="connsiteY8467"/>
                </a:cxn>
                <a:cxn ang="0">
                  <a:pos x="connsiteX8468" y="connsiteY8468"/>
                </a:cxn>
                <a:cxn ang="0">
                  <a:pos x="connsiteX8469" y="connsiteY8469"/>
                </a:cxn>
                <a:cxn ang="0">
                  <a:pos x="connsiteX8470" y="connsiteY8470"/>
                </a:cxn>
                <a:cxn ang="0">
                  <a:pos x="connsiteX8471" y="connsiteY8471"/>
                </a:cxn>
                <a:cxn ang="0">
                  <a:pos x="connsiteX8472" y="connsiteY8472"/>
                </a:cxn>
                <a:cxn ang="0">
                  <a:pos x="connsiteX8473" y="connsiteY8473"/>
                </a:cxn>
                <a:cxn ang="0">
                  <a:pos x="connsiteX8474" y="connsiteY8474"/>
                </a:cxn>
                <a:cxn ang="0">
                  <a:pos x="connsiteX8475" y="connsiteY8475"/>
                </a:cxn>
                <a:cxn ang="0">
                  <a:pos x="connsiteX8476" y="connsiteY8476"/>
                </a:cxn>
                <a:cxn ang="0">
                  <a:pos x="connsiteX8477" y="connsiteY8477"/>
                </a:cxn>
                <a:cxn ang="0">
                  <a:pos x="connsiteX8478" y="connsiteY8478"/>
                </a:cxn>
                <a:cxn ang="0">
                  <a:pos x="connsiteX8479" y="connsiteY8479"/>
                </a:cxn>
                <a:cxn ang="0">
                  <a:pos x="connsiteX8480" y="connsiteY8480"/>
                </a:cxn>
                <a:cxn ang="0">
                  <a:pos x="connsiteX8481" y="connsiteY8481"/>
                </a:cxn>
                <a:cxn ang="0">
                  <a:pos x="connsiteX8482" y="connsiteY8482"/>
                </a:cxn>
                <a:cxn ang="0">
                  <a:pos x="connsiteX8483" y="connsiteY8483"/>
                </a:cxn>
                <a:cxn ang="0">
                  <a:pos x="connsiteX8484" y="connsiteY8484"/>
                </a:cxn>
                <a:cxn ang="0">
                  <a:pos x="connsiteX8485" y="connsiteY8485"/>
                </a:cxn>
                <a:cxn ang="0">
                  <a:pos x="connsiteX8486" y="connsiteY8486"/>
                </a:cxn>
                <a:cxn ang="0">
                  <a:pos x="connsiteX8487" y="connsiteY8487"/>
                </a:cxn>
                <a:cxn ang="0">
                  <a:pos x="connsiteX8488" y="connsiteY8488"/>
                </a:cxn>
                <a:cxn ang="0">
                  <a:pos x="connsiteX8489" y="connsiteY8489"/>
                </a:cxn>
                <a:cxn ang="0">
                  <a:pos x="connsiteX8490" y="connsiteY8490"/>
                </a:cxn>
                <a:cxn ang="0">
                  <a:pos x="connsiteX8491" y="connsiteY8491"/>
                </a:cxn>
                <a:cxn ang="0">
                  <a:pos x="connsiteX8492" y="connsiteY8492"/>
                </a:cxn>
                <a:cxn ang="0">
                  <a:pos x="connsiteX8493" y="connsiteY8493"/>
                </a:cxn>
                <a:cxn ang="0">
                  <a:pos x="connsiteX8494" y="connsiteY8494"/>
                </a:cxn>
                <a:cxn ang="0">
                  <a:pos x="connsiteX8495" y="connsiteY8495"/>
                </a:cxn>
                <a:cxn ang="0">
                  <a:pos x="connsiteX8496" y="connsiteY8496"/>
                </a:cxn>
                <a:cxn ang="0">
                  <a:pos x="connsiteX8497" y="connsiteY8497"/>
                </a:cxn>
                <a:cxn ang="0">
                  <a:pos x="connsiteX8498" y="connsiteY8498"/>
                </a:cxn>
                <a:cxn ang="0">
                  <a:pos x="connsiteX8499" y="connsiteY8499"/>
                </a:cxn>
                <a:cxn ang="0">
                  <a:pos x="connsiteX8500" y="connsiteY8500"/>
                </a:cxn>
                <a:cxn ang="0">
                  <a:pos x="connsiteX8501" y="connsiteY8501"/>
                </a:cxn>
                <a:cxn ang="0">
                  <a:pos x="connsiteX8502" y="connsiteY8502"/>
                </a:cxn>
                <a:cxn ang="0">
                  <a:pos x="connsiteX8503" y="connsiteY8503"/>
                </a:cxn>
                <a:cxn ang="0">
                  <a:pos x="connsiteX8504" y="connsiteY8504"/>
                </a:cxn>
                <a:cxn ang="0">
                  <a:pos x="connsiteX8505" y="connsiteY8505"/>
                </a:cxn>
                <a:cxn ang="0">
                  <a:pos x="connsiteX8506" y="connsiteY8506"/>
                </a:cxn>
                <a:cxn ang="0">
                  <a:pos x="connsiteX8507" y="connsiteY8507"/>
                </a:cxn>
                <a:cxn ang="0">
                  <a:pos x="connsiteX8508" y="connsiteY8508"/>
                </a:cxn>
                <a:cxn ang="0">
                  <a:pos x="connsiteX8509" y="connsiteY8509"/>
                </a:cxn>
                <a:cxn ang="0">
                  <a:pos x="connsiteX8510" y="connsiteY8510"/>
                </a:cxn>
                <a:cxn ang="0">
                  <a:pos x="connsiteX8511" y="connsiteY8511"/>
                </a:cxn>
                <a:cxn ang="0">
                  <a:pos x="connsiteX8512" y="connsiteY8512"/>
                </a:cxn>
                <a:cxn ang="0">
                  <a:pos x="connsiteX8513" y="connsiteY8513"/>
                </a:cxn>
                <a:cxn ang="0">
                  <a:pos x="connsiteX8514" y="connsiteY8514"/>
                </a:cxn>
                <a:cxn ang="0">
                  <a:pos x="connsiteX8515" y="connsiteY8515"/>
                </a:cxn>
                <a:cxn ang="0">
                  <a:pos x="connsiteX8516" y="connsiteY8516"/>
                </a:cxn>
                <a:cxn ang="0">
                  <a:pos x="connsiteX8517" y="connsiteY8517"/>
                </a:cxn>
                <a:cxn ang="0">
                  <a:pos x="connsiteX8518" y="connsiteY8518"/>
                </a:cxn>
                <a:cxn ang="0">
                  <a:pos x="connsiteX8519" y="connsiteY8519"/>
                </a:cxn>
                <a:cxn ang="0">
                  <a:pos x="connsiteX8520" y="connsiteY8520"/>
                </a:cxn>
                <a:cxn ang="0">
                  <a:pos x="connsiteX8521" y="connsiteY8521"/>
                </a:cxn>
                <a:cxn ang="0">
                  <a:pos x="connsiteX8522" y="connsiteY8522"/>
                </a:cxn>
                <a:cxn ang="0">
                  <a:pos x="connsiteX8523" y="connsiteY8523"/>
                </a:cxn>
                <a:cxn ang="0">
                  <a:pos x="connsiteX8524" y="connsiteY8524"/>
                </a:cxn>
                <a:cxn ang="0">
                  <a:pos x="connsiteX8525" y="connsiteY8525"/>
                </a:cxn>
                <a:cxn ang="0">
                  <a:pos x="connsiteX8526" y="connsiteY8526"/>
                </a:cxn>
                <a:cxn ang="0">
                  <a:pos x="connsiteX8527" y="connsiteY8527"/>
                </a:cxn>
                <a:cxn ang="0">
                  <a:pos x="connsiteX8528" y="connsiteY8528"/>
                </a:cxn>
                <a:cxn ang="0">
                  <a:pos x="connsiteX8529" y="connsiteY8529"/>
                </a:cxn>
                <a:cxn ang="0">
                  <a:pos x="connsiteX8530" y="connsiteY8530"/>
                </a:cxn>
                <a:cxn ang="0">
                  <a:pos x="connsiteX8531" y="connsiteY8531"/>
                </a:cxn>
                <a:cxn ang="0">
                  <a:pos x="connsiteX8532" y="connsiteY8532"/>
                </a:cxn>
                <a:cxn ang="0">
                  <a:pos x="connsiteX8533" y="connsiteY8533"/>
                </a:cxn>
                <a:cxn ang="0">
                  <a:pos x="connsiteX8534" y="connsiteY8534"/>
                </a:cxn>
                <a:cxn ang="0">
                  <a:pos x="connsiteX8535" y="connsiteY8535"/>
                </a:cxn>
                <a:cxn ang="0">
                  <a:pos x="connsiteX8536" y="connsiteY8536"/>
                </a:cxn>
                <a:cxn ang="0">
                  <a:pos x="connsiteX8537" y="connsiteY8537"/>
                </a:cxn>
                <a:cxn ang="0">
                  <a:pos x="connsiteX8538" y="connsiteY8538"/>
                </a:cxn>
                <a:cxn ang="0">
                  <a:pos x="connsiteX8539" y="connsiteY8539"/>
                </a:cxn>
                <a:cxn ang="0">
                  <a:pos x="connsiteX8540" y="connsiteY8540"/>
                </a:cxn>
                <a:cxn ang="0">
                  <a:pos x="connsiteX8541" y="connsiteY8541"/>
                </a:cxn>
                <a:cxn ang="0">
                  <a:pos x="connsiteX8542" y="connsiteY8542"/>
                </a:cxn>
                <a:cxn ang="0">
                  <a:pos x="connsiteX8543" y="connsiteY8543"/>
                </a:cxn>
                <a:cxn ang="0">
                  <a:pos x="connsiteX8544" y="connsiteY8544"/>
                </a:cxn>
                <a:cxn ang="0">
                  <a:pos x="connsiteX8545" y="connsiteY8545"/>
                </a:cxn>
                <a:cxn ang="0">
                  <a:pos x="connsiteX8546" y="connsiteY8546"/>
                </a:cxn>
                <a:cxn ang="0">
                  <a:pos x="connsiteX8547" y="connsiteY8547"/>
                </a:cxn>
                <a:cxn ang="0">
                  <a:pos x="connsiteX8548" y="connsiteY8548"/>
                </a:cxn>
                <a:cxn ang="0">
                  <a:pos x="connsiteX8549" y="connsiteY8549"/>
                </a:cxn>
                <a:cxn ang="0">
                  <a:pos x="connsiteX8550" y="connsiteY8550"/>
                </a:cxn>
                <a:cxn ang="0">
                  <a:pos x="connsiteX8551" y="connsiteY8551"/>
                </a:cxn>
                <a:cxn ang="0">
                  <a:pos x="connsiteX8552" y="connsiteY8552"/>
                </a:cxn>
                <a:cxn ang="0">
                  <a:pos x="connsiteX8553" y="connsiteY8553"/>
                </a:cxn>
                <a:cxn ang="0">
                  <a:pos x="connsiteX8554" y="connsiteY8554"/>
                </a:cxn>
                <a:cxn ang="0">
                  <a:pos x="connsiteX8555" y="connsiteY8555"/>
                </a:cxn>
                <a:cxn ang="0">
                  <a:pos x="connsiteX8556" y="connsiteY8556"/>
                </a:cxn>
                <a:cxn ang="0">
                  <a:pos x="connsiteX8557" y="connsiteY8557"/>
                </a:cxn>
                <a:cxn ang="0">
                  <a:pos x="connsiteX8558" y="connsiteY8558"/>
                </a:cxn>
                <a:cxn ang="0">
                  <a:pos x="connsiteX8559" y="connsiteY8559"/>
                </a:cxn>
                <a:cxn ang="0">
                  <a:pos x="connsiteX8560" y="connsiteY8560"/>
                </a:cxn>
                <a:cxn ang="0">
                  <a:pos x="connsiteX8561" y="connsiteY8561"/>
                </a:cxn>
                <a:cxn ang="0">
                  <a:pos x="connsiteX8562" y="connsiteY8562"/>
                </a:cxn>
                <a:cxn ang="0">
                  <a:pos x="connsiteX8563" y="connsiteY8563"/>
                </a:cxn>
                <a:cxn ang="0">
                  <a:pos x="connsiteX8564" y="connsiteY8564"/>
                </a:cxn>
                <a:cxn ang="0">
                  <a:pos x="connsiteX8565" y="connsiteY8565"/>
                </a:cxn>
                <a:cxn ang="0">
                  <a:pos x="connsiteX8566" y="connsiteY8566"/>
                </a:cxn>
                <a:cxn ang="0">
                  <a:pos x="connsiteX8567" y="connsiteY8567"/>
                </a:cxn>
                <a:cxn ang="0">
                  <a:pos x="connsiteX8568" y="connsiteY8568"/>
                </a:cxn>
                <a:cxn ang="0">
                  <a:pos x="connsiteX8569" y="connsiteY8569"/>
                </a:cxn>
                <a:cxn ang="0">
                  <a:pos x="connsiteX8570" y="connsiteY8570"/>
                </a:cxn>
                <a:cxn ang="0">
                  <a:pos x="connsiteX8571" y="connsiteY8571"/>
                </a:cxn>
                <a:cxn ang="0">
                  <a:pos x="connsiteX8572" y="connsiteY8572"/>
                </a:cxn>
                <a:cxn ang="0">
                  <a:pos x="connsiteX8573" y="connsiteY8573"/>
                </a:cxn>
                <a:cxn ang="0">
                  <a:pos x="connsiteX8574" y="connsiteY8574"/>
                </a:cxn>
                <a:cxn ang="0">
                  <a:pos x="connsiteX8575" y="connsiteY8575"/>
                </a:cxn>
                <a:cxn ang="0">
                  <a:pos x="connsiteX8576" y="connsiteY8576"/>
                </a:cxn>
                <a:cxn ang="0">
                  <a:pos x="connsiteX8577" y="connsiteY8577"/>
                </a:cxn>
                <a:cxn ang="0">
                  <a:pos x="connsiteX8578" y="connsiteY8578"/>
                </a:cxn>
                <a:cxn ang="0">
                  <a:pos x="connsiteX8579" y="connsiteY8579"/>
                </a:cxn>
                <a:cxn ang="0">
                  <a:pos x="connsiteX8580" y="connsiteY8580"/>
                </a:cxn>
                <a:cxn ang="0">
                  <a:pos x="connsiteX8581" y="connsiteY8581"/>
                </a:cxn>
                <a:cxn ang="0">
                  <a:pos x="connsiteX8582" y="connsiteY8582"/>
                </a:cxn>
                <a:cxn ang="0">
                  <a:pos x="connsiteX8583" y="connsiteY8583"/>
                </a:cxn>
                <a:cxn ang="0">
                  <a:pos x="connsiteX8584" y="connsiteY8584"/>
                </a:cxn>
                <a:cxn ang="0">
                  <a:pos x="connsiteX8585" y="connsiteY8585"/>
                </a:cxn>
                <a:cxn ang="0">
                  <a:pos x="connsiteX8586" y="connsiteY8586"/>
                </a:cxn>
                <a:cxn ang="0">
                  <a:pos x="connsiteX8587" y="connsiteY8587"/>
                </a:cxn>
                <a:cxn ang="0">
                  <a:pos x="connsiteX8588" y="connsiteY8588"/>
                </a:cxn>
                <a:cxn ang="0">
                  <a:pos x="connsiteX8589" y="connsiteY8589"/>
                </a:cxn>
                <a:cxn ang="0">
                  <a:pos x="connsiteX8590" y="connsiteY8590"/>
                </a:cxn>
                <a:cxn ang="0">
                  <a:pos x="connsiteX8591" y="connsiteY8591"/>
                </a:cxn>
                <a:cxn ang="0">
                  <a:pos x="connsiteX8592" y="connsiteY8592"/>
                </a:cxn>
                <a:cxn ang="0">
                  <a:pos x="connsiteX8593" y="connsiteY8593"/>
                </a:cxn>
                <a:cxn ang="0">
                  <a:pos x="connsiteX8594" y="connsiteY8594"/>
                </a:cxn>
                <a:cxn ang="0">
                  <a:pos x="connsiteX8595" y="connsiteY8595"/>
                </a:cxn>
                <a:cxn ang="0">
                  <a:pos x="connsiteX8596" y="connsiteY8596"/>
                </a:cxn>
                <a:cxn ang="0">
                  <a:pos x="connsiteX8597" y="connsiteY8597"/>
                </a:cxn>
                <a:cxn ang="0">
                  <a:pos x="connsiteX8598" y="connsiteY8598"/>
                </a:cxn>
                <a:cxn ang="0">
                  <a:pos x="connsiteX8599" y="connsiteY8599"/>
                </a:cxn>
                <a:cxn ang="0">
                  <a:pos x="connsiteX8600" y="connsiteY8600"/>
                </a:cxn>
                <a:cxn ang="0">
                  <a:pos x="connsiteX8601" y="connsiteY8601"/>
                </a:cxn>
                <a:cxn ang="0">
                  <a:pos x="connsiteX8602" y="connsiteY8602"/>
                </a:cxn>
                <a:cxn ang="0">
                  <a:pos x="connsiteX8603" y="connsiteY8603"/>
                </a:cxn>
                <a:cxn ang="0">
                  <a:pos x="connsiteX8604" y="connsiteY8604"/>
                </a:cxn>
                <a:cxn ang="0">
                  <a:pos x="connsiteX8605" y="connsiteY8605"/>
                </a:cxn>
                <a:cxn ang="0">
                  <a:pos x="connsiteX8606" y="connsiteY8606"/>
                </a:cxn>
                <a:cxn ang="0">
                  <a:pos x="connsiteX8607" y="connsiteY8607"/>
                </a:cxn>
                <a:cxn ang="0">
                  <a:pos x="connsiteX8608" y="connsiteY8608"/>
                </a:cxn>
                <a:cxn ang="0">
                  <a:pos x="connsiteX8609" y="connsiteY8609"/>
                </a:cxn>
                <a:cxn ang="0">
                  <a:pos x="connsiteX8610" y="connsiteY8610"/>
                </a:cxn>
                <a:cxn ang="0">
                  <a:pos x="connsiteX8611" y="connsiteY8611"/>
                </a:cxn>
                <a:cxn ang="0">
                  <a:pos x="connsiteX8612" y="connsiteY8612"/>
                </a:cxn>
                <a:cxn ang="0">
                  <a:pos x="connsiteX8613" y="connsiteY8613"/>
                </a:cxn>
                <a:cxn ang="0">
                  <a:pos x="connsiteX8614" y="connsiteY8614"/>
                </a:cxn>
                <a:cxn ang="0">
                  <a:pos x="connsiteX8615" y="connsiteY8615"/>
                </a:cxn>
                <a:cxn ang="0">
                  <a:pos x="connsiteX8616" y="connsiteY8616"/>
                </a:cxn>
                <a:cxn ang="0">
                  <a:pos x="connsiteX8617" y="connsiteY8617"/>
                </a:cxn>
                <a:cxn ang="0">
                  <a:pos x="connsiteX8618" y="connsiteY8618"/>
                </a:cxn>
                <a:cxn ang="0">
                  <a:pos x="connsiteX8619" y="connsiteY8619"/>
                </a:cxn>
                <a:cxn ang="0">
                  <a:pos x="connsiteX8620" y="connsiteY8620"/>
                </a:cxn>
                <a:cxn ang="0">
                  <a:pos x="connsiteX8621" y="connsiteY8621"/>
                </a:cxn>
                <a:cxn ang="0">
                  <a:pos x="connsiteX8622" y="connsiteY8622"/>
                </a:cxn>
                <a:cxn ang="0">
                  <a:pos x="connsiteX8623" y="connsiteY8623"/>
                </a:cxn>
                <a:cxn ang="0">
                  <a:pos x="connsiteX8624" y="connsiteY8624"/>
                </a:cxn>
                <a:cxn ang="0">
                  <a:pos x="connsiteX8625" y="connsiteY8625"/>
                </a:cxn>
                <a:cxn ang="0">
                  <a:pos x="connsiteX8626" y="connsiteY8626"/>
                </a:cxn>
                <a:cxn ang="0">
                  <a:pos x="connsiteX8627" y="connsiteY8627"/>
                </a:cxn>
                <a:cxn ang="0">
                  <a:pos x="connsiteX8628" y="connsiteY8628"/>
                </a:cxn>
                <a:cxn ang="0">
                  <a:pos x="connsiteX8629" y="connsiteY8629"/>
                </a:cxn>
                <a:cxn ang="0">
                  <a:pos x="connsiteX8630" y="connsiteY8630"/>
                </a:cxn>
                <a:cxn ang="0">
                  <a:pos x="connsiteX8631" y="connsiteY8631"/>
                </a:cxn>
                <a:cxn ang="0">
                  <a:pos x="connsiteX8632" y="connsiteY8632"/>
                </a:cxn>
                <a:cxn ang="0">
                  <a:pos x="connsiteX8633" y="connsiteY8633"/>
                </a:cxn>
                <a:cxn ang="0">
                  <a:pos x="connsiteX8634" y="connsiteY8634"/>
                </a:cxn>
                <a:cxn ang="0">
                  <a:pos x="connsiteX8635" y="connsiteY8635"/>
                </a:cxn>
                <a:cxn ang="0">
                  <a:pos x="connsiteX8636" y="connsiteY8636"/>
                </a:cxn>
                <a:cxn ang="0">
                  <a:pos x="connsiteX8637" y="connsiteY8637"/>
                </a:cxn>
                <a:cxn ang="0">
                  <a:pos x="connsiteX8638" y="connsiteY8638"/>
                </a:cxn>
                <a:cxn ang="0">
                  <a:pos x="connsiteX8639" y="connsiteY8639"/>
                </a:cxn>
                <a:cxn ang="0">
                  <a:pos x="connsiteX8640" y="connsiteY8640"/>
                </a:cxn>
                <a:cxn ang="0">
                  <a:pos x="connsiteX8641" y="connsiteY8641"/>
                </a:cxn>
                <a:cxn ang="0">
                  <a:pos x="connsiteX8642" y="connsiteY8642"/>
                </a:cxn>
                <a:cxn ang="0">
                  <a:pos x="connsiteX8643" y="connsiteY8643"/>
                </a:cxn>
                <a:cxn ang="0">
                  <a:pos x="connsiteX8644" y="connsiteY8644"/>
                </a:cxn>
                <a:cxn ang="0">
                  <a:pos x="connsiteX8645" y="connsiteY8645"/>
                </a:cxn>
                <a:cxn ang="0">
                  <a:pos x="connsiteX8646" y="connsiteY8646"/>
                </a:cxn>
                <a:cxn ang="0">
                  <a:pos x="connsiteX8647" y="connsiteY8647"/>
                </a:cxn>
                <a:cxn ang="0">
                  <a:pos x="connsiteX8648" y="connsiteY8648"/>
                </a:cxn>
                <a:cxn ang="0">
                  <a:pos x="connsiteX8649" y="connsiteY8649"/>
                </a:cxn>
                <a:cxn ang="0">
                  <a:pos x="connsiteX8650" y="connsiteY8650"/>
                </a:cxn>
                <a:cxn ang="0">
                  <a:pos x="connsiteX8651" y="connsiteY8651"/>
                </a:cxn>
                <a:cxn ang="0">
                  <a:pos x="connsiteX8652" y="connsiteY8652"/>
                </a:cxn>
                <a:cxn ang="0">
                  <a:pos x="connsiteX8653" y="connsiteY8653"/>
                </a:cxn>
                <a:cxn ang="0">
                  <a:pos x="connsiteX8654" y="connsiteY8654"/>
                </a:cxn>
                <a:cxn ang="0">
                  <a:pos x="connsiteX8655" y="connsiteY8655"/>
                </a:cxn>
                <a:cxn ang="0">
                  <a:pos x="connsiteX8656" y="connsiteY8656"/>
                </a:cxn>
                <a:cxn ang="0">
                  <a:pos x="connsiteX8657" y="connsiteY8657"/>
                </a:cxn>
                <a:cxn ang="0">
                  <a:pos x="connsiteX8658" y="connsiteY8658"/>
                </a:cxn>
                <a:cxn ang="0">
                  <a:pos x="connsiteX8659" y="connsiteY8659"/>
                </a:cxn>
                <a:cxn ang="0">
                  <a:pos x="connsiteX8660" y="connsiteY8660"/>
                </a:cxn>
                <a:cxn ang="0">
                  <a:pos x="connsiteX8661" y="connsiteY8661"/>
                </a:cxn>
                <a:cxn ang="0">
                  <a:pos x="connsiteX8662" y="connsiteY8662"/>
                </a:cxn>
                <a:cxn ang="0">
                  <a:pos x="connsiteX8663" y="connsiteY8663"/>
                </a:cxn>
                <a:cxn ang="0">
                  <a:pos x="connsiteX8664" y="connsiteY8664"/>
                </a:cxn>
                <a:cxn ang="0">
                  <a:pos x="connsiteX8665" y="connsiteY8665"/>
                </a:cxn>
                <a:cxn ang="0">
                  <a:pos x="connsiteX8666" y="connsiteY8666"/>
                </a:cxn>
                <a:cxn ang="0">
                  <a:pos x="connsiteX8667" y="connsiteY8667"/>
                </a:cxn>
                <a:cxn ang="0">
                  <a:pos x="connsiteX8668" y="connsiteY8668"/>
                </a:cxn>
                <a:cxn ang="0">
                  <a:pos x="connsiteX8669" y="connsiteY8669"/>
                </a:cxn>
                <a:cxn ang="0">
                  <a:pos x="connsiteX8670" y="connsiteY8670"/>
                </a:cxn>
                <a:cxn ang="0">
                  <a:pos x="connsiteX8671" y="connsiteY8671"/>
                </a:cxn>
                <a:cxn ang="0">
                  <a:pos x="connsiteX8672" y="connsiteY8672"/>
                </a:cxn>
                <a:cxn ang="0">
                  <a:pos x="connsiteX8673" y="connsiteY8673"/>
                </a:cxn>
                <a:cxn ang="0">
                  <a:pos x="connsiteX8674" y="connsiteY8674"/>
                </a:cxn>
                <a:cxn ang="0">
                  <a:pos x="connsiteX8675" y="connsiteY8675"/>
                </a:cxn>
                <a:cxn ang="0">
                  <a:pos x="connsiteX8676" y="connsiteY8676"/>
                </a:cxn>
                <a:cxn ang="0">
                  <a:pos x="connsiteX8677" y="connsiteY8677"/>
                </a:cxn>
                <a:cxn ang="0">
                  <a:pos x="connsiteX8678" y="connsiteY8678"/>
                </a:cxn>
                <a:cxn ang="0">
                  <a:pos x="connsiteX8679" y="connsiteY8679"/>
                </a:cxn>
                <a:cxn ang="0">
                  <a:pos x="connsiteX8680" y="connsiteY8680"/>
                </a:cxn>
                <a:cxn ang="0">
                  <a:pos x="connsiteX8681" y="connsiteY8681"/>
                </a:cxn>
                <a:cxn ang="0">
                  <a:pos x="connsiteX8682" y="connsiteY8682"/>
                </a:cxn>
                <a:cxn ang="0">
                  <a:pos x="connsiteX8683" y="connsiteY8683"/>
                </a:cxn>
                <a:cxn ang="0">
                  <a:pos x="connsiteX8684" y="connsiteY8684"/>
                </a:cxn>
                <a:cxn ang="0">
                  <a:pos x="connsiteX8685" y="connsiteY8685"/>
                </a:cxn>
                <a:cxn ang="0">
                  <a:pos x="connsiteX8686" y="connsiteY8686"/>
                </a:cxn>
                <a:cxn ang="0">
                  <a:pos x="connsiteX8687" y="connsiteY8687"/>
                </a:cxn>
                <a:cxn ang="0">
                  <a:pos x="connsiteX8688" y="connsiteY8688"/>
                </a:cxn>
                <a:cxn ang="0">
                  <a:pos x="connsiteX8689" y="connsiteY8689"/>
                </a:cxn>
                <a:cxn ang="0">
                  <a:pos x="connsiteX8690" y="connsiteY8690"/>
                </a:cxn>
                <a:cxn ang="0">
                  <a:pos x="connsiteX8691" y="connsiteY8691"/>
                </a:cxn>
                <a:cxn ang="0">
                  <a:pos x="connsiteX8692" y="connsiteY8692"/>
                </a:cxn>
                <a:cxn ang="0">
                  <a:pos x="connsiteX8693" y="connsiteY8693"/>
                </a:cxn>
                <a:cxn ang="0">
                  <a:pos x="connsiteX8694" y="connsiteY8694"/>
                </a:cxn>
                <a:cxn ang="0">
                  <a:pos x="connsiteX8695" y="connsiteY8695"/>
                </a:cxn>
                <a:cxn ang="0">
                  <a:pos x="connsiteX8696" y="connsiteY8696"/>
                </a:cxn>
                <a:cxn ang="0">
                  <a:pos x="connsiteX8697" y="connsiteY8697"/>
                </a:cxn>
                <a:cxn ang="0">
                  <a:pos x="connsiteX8698" y="connsiteY8698"/>
                </a:cxn>
                <a:cxn ang="0">
                  <a:pos x="connsiteX8699" y="connsiteY8699"/>
                </a:cxn>
                <a:cxn ang="0">
                  <a:pos x="connsiteX8700" y="connsiteY8700"/>
                </a:cxn>
                <a:cxn ang="0">
                  <a:pos x="connsiteX8701" y="connsiteY8701"/>
                </a:cxn>
                <a:cxn ang="0">
                  <a:pos x="connsiteX8702" y="connsiteY8702"/>
                </a:cxn>
                <a:cxn ang="0">
                  <a:pos x="connsiteX8703" y="connsiteY8703"/>
                </a:cxn>
                <a:cxn ang="0">
                  <a:pos x="connsiteX8704" y="connsiteY8704"/>
                </a:cxn>
                <a:cxn ang="0">
                  <a:pos x="connsiteX8705" y="connsiteY8705"/>
                </a:cxn>
                <a:cxn ang="0">
                  <a:pos x="connsiteX8706" y="connsiteY8706"/>
                </a:cxn>
                <a:cxn ang="0">
                  <a:pos x="connsiteX8707" y="connsiteY8707"/>
                </a:cxn>
                <a:cxn ang="0">
                  <a:pos x="connsiteX8708" y="connsiteY8708"/>
                </a:cxn>
                <a:cxn ang="0">
                  <a:pos x="connsiteX8709" y="connsiteY8709"/>
                </a:cxn>
                <a:cxn ang="0">
                  <a:pos x="connsiteX8710" y="connsiteY8710"/>
                </a:cxn>
                <a:cxn ang="0">
                  <a:pos x="connsiteX8711" y="connsiteY8711"/>
                </a:cxn>
                <a:cxn ang="0">
                  <a:pos x="connsiteX8712" y="connsiteY8712"/>
                </a:cxn>
                <a:cxn ang="0">
                  <a:pos x="connsiteX8713" y="connsiteY8713"/>
                </a:cxn>
                <a:cxn ang="0">
                  <a:pos x="connsiteX8714" y="connsiteY8714"/>
                </a:cxn>
                <a:cxn ang="0">
                  <a:pos x="connsiteX8715" y="connsiteY8715"/>
                </a:cxn>
                <a:cxn ang="0">
                  <a:pos x="connsiteX8716" y="connsiteY8716"/>
                </a:cxn>
                <a:cxn ang="0">
                  <a:pos x="connsiteX8717" y="connsiteY8717"/>
                </a:cxn>
                <a:cxn ang="0">
                  <a:pos x="connsiteX8718" y="connsiteY8718"/>
                </a:cxn>
                <a:cxn ang="0">
                  <a:pos x="connsiteX8719" y="connsiteY8719"/>
                </a:cxn>
                <a:cxn ang="0">
                  <a:pos x="connsiteX8720" y="connsiteY8720"/>
                </a:cxn>
                <a:cxn ang="0">
                  <a:pos x="connsiteX8721" y="connsiteY8721"/>
                </a:cxn>
                <a:cxn ang="0">
                  <a:pos x="connsiteX8722" y="connsiteY8722"/>
                </a:cxn>
                <a:cxn ang="0">
                  <a:pos x="connsiteX8723" y="connsiteY8723"/>
                </a:cxn>
                <a:cxn ang="0">
                  <a:pos x="connsiteX8724" y="connsiteY8724"/>
                </a:cxn>
                <a:cxn ang="0">
                  <a:pos x="connsiteX8725" y="connsiteY8725"/>
                </a:cxn>
                <a:cxn ang="0">
                  <a:pos x="connsiteX8726" y="connsiteY8726"/>
                </a:cxn>
                <a:cxn ang="0">
                  <a:pos x="connsiteX8727" y="connsiteY8727"/>
                </a:cxn>
                <a:cxn ang="0">
                  <a:pos x="connsiteX8728" y="connsiteY8728"/>
                </a:cxn>
                <a:cxn ang="0">
                  <a:pos x="connsiteX8729" y="connsiteY8729"/>
                </a:cxn>
                <a:cxn ang="0">
                  <a:pos x="connsiteX8730" y="connsiteY8730"/>
                </a:cxn>
                <a:cxn ang="0">
                  <a:pos x="connsiteX8731" y="connsiteY8731"/>
                </a:cxn>
                <a:cxn ang="0">
                  <a:pos x="connsiteX8732" y="connsiteY8732"/>
                </a:cxn>
                <a:cxn ang="0">
                  <a:pos x="connsiteX8733" y="connsiteY8733"/>
                </a:cxn>
                <a:cxn ang="0">
                  <a:pos x="connsiteX8734" y="connsiteY8734"/>
                </a:cxn>
                <a:cxn ang="0">
                  <a:pos x="connsiteX8735" y="connsiteY8735"/>
                </a:cxn>
                <a:cxn ang="0">
                  <a:pos x="connsiteX8736" y="connsiteY8736"/>
                </a:cxn>
                <a:cxn ang="0">
                  <a:pos x="connsiteX8737" y="connsiteY8737"/>
                </a:cxn>
                <a:cxn ang="0">
                  <a:pos x="connsiteX8738" y="connsiteY8738"/>
                </a:cxn>
                <a:cxn ang="0">
                  <a:pos x="connsiteX8739" y="connsiteY8739"/>
                </a:cxn>
                <a:cxn ang="0">
                  <a:pos x="connsiteX8740" y="connsiteY8740"/>
                </a:cxn>
                <a:cxn ang="0">
                  <a:pos x="connsiteX8741" y="connsiteY8741"/>
                </a:cxn>
                <a:cxn ang="0">
                  <a:pos x="connsiteX8742" y="connsiteY8742"/>
                </a:cxn>
                <a:cxn ang="0">
                  <a:pos x="connsiteX8743" y="connsiteY8743"/>
                </a:cxn>
                <a:cxn ang="0">
                  <a:pos x="connsiteX8744" y="connsiteY8744"/>
                </a:cxn>
                <a:cxn ang="0">
                  <a:pos x="connsiteX8745" y="connsiteY8745"/>
                </a:cxn>
                <a:cxn ang="0">
                  <a:pos x="connsiteX8746" y="connsiteY8746"/>
                </a:cxn>
                <a:cxn ang="0">
                  <a:pos x="connsiteX8747" y="connsiteY8747"/>
                </a:cxn>
                <a:cxn ang="0">
                  <a:pos x="connsiteX8748" y="connsiteY8748"/>
                </a:cxn>
                <a:cxn ang="0">
                  <a:pos x="connsiteX8749" y="connsiteY8749"/>
                </a:cxn>
                <a:cxn ang="0">
                  <a:pos x="connsiteX8750" y="connsiteY8750"/>
                </a:cxn>
                <a:cxn ang="0">
                  <a:pos x="connsiteX8751" y="connsiteY8751"/>
                </a:cxn>
                <a:cxn ang="0">
                  <a:pos x="connsiteX8752" y="connsiteY8752"/>
                </a:cxn>
                <a:cxn ang="0">
                  <a:pos x="connsiteX8753" y="connsiteY8753"/>
                </a:cxn>
                <a:cxn ang="0">
                  <a:pos x="connsiteX8754" y="connsiteY8754"/>
                </a:cxn>
                <a:cxn ang="0">
                  <a:pos x="connsiteX8755" y="connsiteY8755"/>
                </a:cxn>
                <a:cxn ang="0">
                  <a:pos x="connsiteX8756" y="connsiteY8756"/>
                </a:cxn>
                <a:cxn ang="0">
                  <a:pos x="connsiteX8757" y="connsiteY8757"/>
                </a:cxn>
                <a:cxn ang="0">
                  <a:pos x="connsiteX8758" y="connsiteY8758"/>
                </a:cxn>
                <a:cxn ang="0">
                  <a:pos x="connsiteX8759" y="connsiteY8759"/>
                </a:cxn>
                <a:cxn ang="0">
                  <a:pos x="connsiteX8760" y="connsiteY8760"/>
                </a:cxn>
                <a:cxn ang="0">
                  <a:pos x="connsiteX8761" y="connsiteY8761"/>
                </a:cxn>
                <a:cxn ang="0">
                  <a:pos x="connsiteX8762" y="connsiteY8762"/>
                </a:cxn>
                <a:cxn ang="0">
                  <a:pos x="connsiteX8763" y="connsiteY8763"/>
                </a:cxn>
                <a:cxn ang="0">
                  <a:pos x="connsiteX8764" y="connsiteY8764"/>
                </a:cxn>
                <a:cxn ang="0">
                  <a:pos x="connsiteX8765" y="connsiteY8765"/>
                </a:cxn>
                <a:cxn ang="0">
                  <a:pos x="connsiteX8766" y="connsiteY8766"/>
                </a:cxn>
                <a:cxn ang="0">
                  <a:pos x="connsiteX8767" y="connsiteY8767"/>
                </a:cxn>
                <a:cxn ang="0">
                  <a:pos x="connsiteX8768" y="connsiteY8768"/>
                </a:cxn>
                <a:cxn ang="0">
                  <a:pos x="connsiteX8769" y="connsiteY8769"/>
                </a:cxn>
                <a:cxn ang="0">
                  <a:pos x="connsiteX8770" y="connsiteY8770"/>
                </a:cxn>
                <a:cxn ang="0">
                  <a:pos x="connsiteX8771" y="connsiteY8771"/>
                </a:cxn>
                <a:cxn ang="0">
                  <a:pos x="connsiteX8772" y="connsiteY8772"/>
                </a:cxn>
                <a:cxn ang="0">
                  <a:pos x="connsiteX8773" y="connsiteY8773"/>
                </a:cxn>
                <a:cxn ang="0">
                  <a:pos x="connsiteX8774" y="connsiteY8774"/>
                </a:cxn>
                <a:cxn ang="0">
                  <a:pos x="connsiteX8775" y="connsiteY8775"/>
                </a:cxn>
                <a:cxn ang="0">
                  <a:pos x="connsiteX8776" y="connsiteY8776"/>
                </a:cxn>
                <a:cxn ang="0">
                  <a:pos x="connsiteX8777" y="connsiteY8777"/>
                </a:cxn>
                <a:cxn ang="0">
                  <a:pos x="connsiteX8778" y="connsiteY8778"/>
                </a:cxn>
                <a:cxn ang="0">
                  <a:pos x="connsiteX8779" y="connsiteY8779"/>
                </a:cxn>
                <a:cxn ang="0">
                  <a:pos x="connsiteX8780" y="connsiteY8780"/>
                </a:cxn>
                <a:cxn ang="0">
                  <a:pos x="connsiteX8781" y="connsiteY8781"/>
                </a:cxn>
                <a:cxn ang="0">
                  <a:pos x="connsiteX8782" y="connsiteY8782"/>
                </a:cxn>
                <a:cxn ang="0">
                  <a:pos x="connsiteX8783" y="connsiteY8783"/>
                </a:cxn>
                <a:cxn ang="0">
                  <a:pos x="connsiteX8784" y="connsiteY8784"/>
                </a:cxn>
                <a:cxn ang="0">
                  <a:pos x="connsiteX8785" y="connsiteY8785"/>
                </a:cxn>
                <a:cxn ang="0">
                  <a:pos x="connsiteX8786" y="connsiteY8786"/>
                </a:cxn>
                <a:cxn ang="0">
                  <a:pos x="connsiteX8787" y="connsiteY8787"/>
                </a:cxn>
                <a:cxn ang="0">
                  <a:pos x="connsiteX8788" y="connsiteY8788"/>
                </a:cxn>
                <a:cxn ang="0">
                  <a:pos x="connsiteX8789" y="connsiteY8789"/>
                </a:cxn>
                <a:cxn ang="0">
                  <a:pos x="connsiteX8790" y="connsiteY8790"/>
                </a:cxn>
                <a:cxn ang="0">
                  <a:pos x="connsiteX8791" y="connsiteY8791"/>
                </a:cxn>
                <a:cxn ang="0">
                  <a:pos x="connsiteX8792" y="connsiteY8792"/>
                </a:cxn>
                <a:cxn ang="0">
                  <a:pos x="connsiteX8793" y="connsiteY8793"/>
                </a:cxn>
                <a:cxn ang="0">
                  <a:pos x="connsiteX8794" y="connsiteY8794"/>
                </a:cxn>
                <a:cxn ang="0">
                  <a:pos x="connsiteX8795" y="connsiteY8795"/>
                </a:cxn>
                <a:cxn ang="0">
                  <a:pos x="connsiteX8796" y="connsiteY8796"/>
                </a:cxn>
                <a:cxn ang="0">
                  <a:pos x="connsiteX8797" y="connsiteY8797"/>
                </a:cxn>
                <a:cxn ang="0">
                  <a:pos x="connsiteX8798" y="connsiteY8798"/>
                </a:cxn>
                <a:cxn ang="0">
                  <a:pos x="connsiteX8799" y="connsiteY8799"/>
                </a:cxn>
                <a:cxn ang="0">
                  <a:pos x="connsiteX8800" y="connsiteY8800"/>
                </a:cxn>
                <a:cxn ang="0">
                  <a:pos x="connsiteX8801" y="connsiteY8801"/>
                </a:cxn>
                <a:cxn ang="0">
                  <a:pos x="connsiteX8802" y="connsiteY8802"/>
                </a:cxn>
                <a:cxn ang="0">
                  <a:pos x="connsiteX8803" y="connsiteY8803"/>
                </a:cxn>
                <a:cxn ang="0">
                  <a:pos x="connsiteX8804" y="connsiteY8804"/>
                </a:cxn>
                <a:cxn ang="0">
                  <a:pos x="connsiteX8805" y="connsiteY8805"/>
                </a:cxn>
                <a:cxn ang="0">
                  <a:pos x="connsiteX8806" y="connsiteY8806"/>
                </a:cxn>
                <a:cxn ang="0">
                  <a:pos x="connsiteX8807" y="connsiteY8807"/>
                </a:cxn>
                <a:cxn ang="0">
                  <a:pos x="connsiteX8808" y="connsiteY8808"/>
                </a:cxn>
                <a:cxn ang="0">
                  <a:pos x="connsiteX8809" y="connsiteY8809"/>
                </a:cxn>
                <a:cxn ang="0">
                  <a:pos x="connsiteX8810" y="connsiteY8810"/>
                </a:cxn>
                <a:cxn ang="0">
                  <a:pos x="connsiteX8811" y="connsiteY8811"/>
                </a:cxn>
                <a:cxn ang="0">
                  <a:pos x="connsiteX8812" y="connsiteY8812"/>
                </a:cxn>
                <a:cxn ang="0">
                  <a:pos x="connsiteX8813" y="connsiteY8813"/>
                </a:cxn>
                <a:cxn ang="0">
                  <a:pos x="connsiteX8814" y="connsiteY8814"/>
                </a:cxn>
                <a:cxn ang="0">
                  <a:pos x="connsiteX8815" y="connsiteY8815"/>
                </a:cxn>
                <a:cxn ang="0">
                  <a:pos x="connsiteX8816" y="connsiteY8816"/>
                </a:cxn>
                <a:cxn ang="0">
                  <a:pos x="connsiteX8817" y="connsiteY8817"/>
                </a:cxn>
                <a:cxn ang="0">
                  <a:pos x="connsiteX8818" y="connsiteY8818"/>
                </a:cxn>
                <a:cxn ang="0">
                  <a:pos x="connsiteX8819" y="connsiteY8819"/>
                </a:cxn>
                <a:cxn ang="0">
                  <a:pos x="connsiteX8820" y="connsiteY8820"/>
                </a:cxn>
                <a:cxn ang="0">
                  <a:pos x="connsiteX8821" y="connsiteY8821"/>
                </a:cxn>
                <a:cxn ang="0">
                  <a:pos x="connsiteX8822" y="connsiteY8822"/>
                </a:cxn>
                <a:cxn ang="0">
                  <a:pos x="connsiteX8823" y="connsiteY8823"/>
                </a:cxn>
                <a:cxn ang="0">
                  <a:pos x="connsiteX8824" y="connsiteY8824"/>
                </a:cxn>
                <a:cxn ang="0">
                  <a:pos x="connsiteX8825" y="connsiteY8825"/>
                </a:cxn>
                <a:cxn ang="0">
                  <a:pos x="connsiteX8826" y="connsiteY8826"/>
                </a:cxn>
                <a:cxn ang="0">
                  <a:pos x="connsiteX8827" y="connsiteY8827"/>
                </a:cxn>
                <a:cxn ang="0">
                  <a:pos x="connsiteX8828" y="connsiteY8828"/>
                </a:cxn>
                <a:cxn ang="0">
                  <a:pos x="connsiteX8829" y="connsiteY8829"/>
                </a:cxn>
                <a:cxn ang="0">
                  <a:pos x="connsiteX8830" y="connsiteY8830"/>
                </a:cxn>
                <a:cxn ang="0">
                  <a:pos x="connsiteX8831" y="connsiteY8831"/>
                </a:cxn>
                <a:cxn ang="0">
                  <a:pos x="connsiteX8832" y="connsiteY8832"/>
                </a:cxn>
                <a:cxn ang="0">
                  <a:pos x="connsiteX8833" y="connsiteY8833"/>
                </a:cxn>
                <a:cxn ang="0">
                  <a:pos x="connsiteX8834" y="connsiteY8834"/>
                </a:cxn>
                <a:cxn ang="0">
                  <a:pos x="connsiteX8835" y="connsiteY8835"/>
                </a:cxn>
                <a:cxn ang="0">
                  <a:pos x="connsiteX8836" y="connsiteY8836"/>
                </a:cxn>
                <a:cxn ang="0">
                  <a:pos x="connsiteX8837" y="connsiteY8837"/>
                </a:cxn>
                <a:cxn ang="0">
                  <a:pos x="connsiteX8838" y="connsiteY8838"/>
                </a:cxn>
                <a:cxn ang="0">
                  <a:pos x="connsiteX8839" y="connsiteY8839"/>
                </a:cxn>
                <a:cxn ang="0">
                  <a:pos x="connsiteX8840" y="connsiteY8840"/>
                </a:cxn>
                <a:cxn ang="0">
                  <a:pos x="connsiteX8841" y="connsiteY8841"/>
                </a:cxn>
                <a:cxn ang="0">
                  <a:pos x="connsiteX8842" y="connsiteY8842"/>
                </a:cxn>
                <a:cxn ang="0">
                  <a:pos x="connsiteX8843" y="connsiteY8843"/>
                </a:cxn>
                <a:cxn ang="0">
                  <a:pos x="connsiteX8844" y="connsiteY8844"/>
                </a:cxn>
                <a:cxn ang="0">
                  <a:pos x="connsiteX8845" y="connsiteY8845"/>
                </a:cxn>
                <a:cxn ang="0">
                  <a:pos x="connsiteX8846" y="connsiteY8846"/>
                </a:cxn>
                <a:cxn ang="0">
                  <a:pos x="connsiteX8847" y="connsiteY8847"/>
                </a:cxn>
                <a:cxn ang="0">
                  <a:pos x="connsiteX8848" y="connsiteY8848"/>
                </a:cxn>
                <a:cxn ang="0">
                  <a:pos x="connsiteX8849" y="connsiteY8849"/>
                </a:cxn>
                <a:cxn ang="0">
                  <a:pos x="connsiteX8850" y="connsiteY8850"/>
                </a:cxn>
                <a:cxn ang="0">
                  <a:pos x="connsiteX8851" y="connsiteY8851"/>
                </a:cxn>
                <a:cxn ang="0">
                  <a:pos x="connsiteX8852" y="connsiteY8852"/>
                </a:cxn>
                <a:cxn ang="0">
                  <a:pos x="connsiteX8853" y="connsiteY8853"/>
                </a:cxn>
                <a:cxn ang="0">
                  <a:pos x="connsiteX8854" y="connsiteY8854"/>
                </a:cxn>
                <a:cxn ang="0">
                  <a:pos x="connsiteX8855" y="connsiteY8855"/>
                </a:cxn>
                <a:cxn ang="0">
                  <a:pos x="connsiteX8856" y="connsiteY8856"/>
                </a:cxn>
                <a:cxn ang="0">
                  <a:pos x="connsiteX8857" y="connsiteY8857"/>
                </a:cxn>
                <a:cxn ang="0">
                  <a:pos x="connsiteX8858" y="connsiteY8858"/>
                </a:cxn>
                <a:cxn ang="0">
                  <a:pos x="connsiteX8859" y="connsiteY8859"/>
                </a:cxn>
                <a:cxn ang="0">
                  <a:pos x="connsiteX8860" y="connsiteY8860"/>
                </a:cxn>
                <a:cxn ang="0">
                  <a:pos x="connsiteX8861" y="connsiteY8861"/>
                </a:cxn>
                <a:cxn ang="0">
                  <a:pos x="connsiteX8862" y="connsiteY8862"/>
                </a:cxn>
                <a:cxn ang="0">
                  <a:pos x="connsiteX8863" y="connsiteY8863"/>
                </a:cxn>
                <a:cxn ang="0">
                  <a:pos x="connsiteX8864" y="connsiteY8864"/>
                </a:cxn>
                <a:cxn ang="0">
                  <a:pos x="connsiteX8865" y="connsiteY8865"/>
                </a:cxn>
                <a:cxn ang="0">
                  <a:pos x="connsiteX8866" y="connsiteY8866"/>
                </a:cxn>
                <a:cxn ang="0">
                  <a:pos x="connsiteX8867" y="connsiteY8867"/>
                </a:cxn>
                <a:cxn ang="0">
                  <a:pos x="connsiteX8868" y="connsiteY8868"/>
                </a:cxn>
                <a:cxn ang="0">
                  <a:pos x="connsiteX8869" y="connsiteY8869"/>
                </a:cxn>
                <a:cxn ang="0">
                  <a:pos x="connsiteX8870" y="connsiteY8870"/>
                </a:cxn>
                <a:cxn ang="0">
                  <a:pos x="connsiteX8871" y="connsiteY8871"/>
                </a:cxn>
                <a:cxn ang="0">
                  <a:pos x="connsiteX8872" y="connsiteY8872"/>
                </a:cxn>
                <a:cxn ang="0">
                  <a:pos x="connsiteX8873" y="connsiteY8873"/>
                </a:cxn>
                <a:cxn ang="0">
                  <a:pos x="connsiteX8874" y="connsiteY8874"/>
                </a:cxn>
                <a:cxn ang="0">
                  <a:pos x="connsiteX8875" y="connsiteY8875"/>
                </a:cxn>
                <a:cxn ang="0">
                  <a:pos x="connsiteX8876" y="connsiteY8876"/>
                </a:cxn>
                <a:cxn ang="0">
                  <a:pos x="connsiteX8877" y="connsiteY8877"/>
                </a:cxn>
                <a:cxn ang="0">
                  <a:pos x="connsiteX8878" y="connsiteY8878"/>
                </a:cxn>
                <a:cxn ang="0">
                  <a:pos x="connsiteX8879" y="connsiteY8879"/>
                </a:cxn>
                <a:cxn ang="0">
                  <a:pos x="connsiteX8880" y="connsiteY8880"/>
                </a:cxn>
                <a:cxn ang="0">
                  <a:pos x="connsiteX8881" y="connsiteY8881"/>
                </a:cxn>
                <a:cxn ang="0">
                  <a:pos x="connsiteX8882" y="connsiteY8882"/>
                </a:cxn>
                <a:cxn ang="0">
                  <a:pos x="connsiteX8883" y="connsiteY8883"/>
                </a:cxn>
                <a:cxn ang="0">
                  <a:pos x="connsiteX8884" y="connsiteY8884"/>
                </a:cxn>
                <a:cxn ang="0">
                  <a:pos x="connsiteX8885" y="connsiteY8885"/>
                </a:cxn>
                <a:cxn ang="0">
                  <a:pos x="connsiteX8886" y="connsiteY8886"/>
                </a:cxn>
                <a:cxn ang="0">
                  <a:pos x="connsiteX8887" y="connsiteY8887"/>
                </a:cxn>
                <a:cxn ang="0">
                  <a:pos x="connsiteX8888" y="connsiteY8888"/>
                </a:cxn>
                <a:cxn ang="0">
                  <a:pos x="connsiteX8889" y="connsiteY8889"/>
                </a:cxn>
                <a:cxn ang="0">
                  <a:pos x="connsiteX8890" y="connsiteY8890"/>
                </a:cxn>
                <a:cxn ang="0">
                  <a:pos x="connsiteX8891" y="connsiteY8891"/>
                </a:cxn>
                <a:cxn ang="0">
                  <a:pos x="connsiteX8892" y="connsiteY8892"/>
                </a:cxn>
                <a:cxn ang="0">
                  <a:pos x="connsiteX8893" y="connsiteY8893"/>
                </a:cxn>
                <a:cxn ang="0">
                  <a:pos x="connsiteX8894" y="connsiteY8894"/>
                </a:cxn>
                <a:cxn ang="0">
                  <a:pos x="connsiteX8895" y="connsiteY8895"/>
                </a:cxn>
                <a:cxn ang="0">
                  <a:pos x="connsiteX8896" y="connsiteY8896"/>
                </a:cxn>
                <a:cxn ang="0">
                  <a:pos x="connsiteX8897" y="connsiteY8897"/>
                </a:cxn>
                <a:cxn ang="0">
                  <a:pos x="connsiteX8898" y="connsiteY8898"/>
                </a:cxn>
                <a:cxn ang="0">
                  <a:pos x="connsiteX8899" y="connsiteY8899"/>
                </a:cxn>
                <a:cxn ang="0">
                  <a:pos x="connsiteX8900" y="connsiteY8900"/>
                </a:cxn>
                <a:cxn ang="0">
                  <a:pos x="connsiteX8901" y="connsiteY8901"/>
                </a:cxn>
                <a:cxn ang="0">
                  <a:pos x="connsiteX8902" y="connsiteY8902"/>
                </a:cxn>
                <a:cxn ang="0">
                  <a:pos x="connsiteX8903" y="connsiteY8903"/>
                </a:cxn>
                <a:cxn ang="0">
                  <a:pos x="connsiteX8904" y="connsiteY8904"/>
                </a:cxn>
                <a:cxn ang="0">
                  <a:pos x="connsiteX8905" y="connsiteY8905"/>
                </a:cxn>
                <a:cxn ang="0">
                  <a:pos x="connsiteX8906" y="connsiteY8906"/>
                </a:cxn>
                <a:cxn ang="0">
                  <a:pos x="connsiteX8907" y="connsiteY8907"/>
                </a:cxn>
                <a:cxn ang="0">
                  <a:pos x="connsiteX8908" y="connsiteY8908"/>
                </a:cxn>
                <a:cxn ang="0">
                  <a:pos x="connsiteX8909" y="connsiteY8909"/>
                </a:cxn>
                <a:cxn ang="0">
                  <a:pos x="connsiteX8910" y="connsiteY8910"/>
                </a:cxn>
                <a:cxn ang="0">
                  <a:pos x="connsiteX8911" y="connsiteY8911"/>
                </a:cxn>
                <a:cxn ang="0">
                  <a:pos x="connsiteX8912" y="connsiteY8912"/>
                </a:cxn>
                <a:cxn ang="0">
                  <a:pos x="connsiteX8913" y="connsiteY8913"/>
                </a:cxn>
                <a:cxn ang="0">
                  <a:pos x="connsiteX8914" y="connsiteY8914"/>
                </a:cxn>
                <a:cxn ang="0">
                  <a:pos x="connsiteX8915" y="connsiteY8915"/>
                </a:cxn>
                <a:cxn ang="0">
                  <a:pos x="connsiteX8916" y="connsiteY8916"/>
                </a:cxn>
                <a:cxn ang="0">
                  <a:pos x="connsiteX8917" y="connsiteY8917"/>
                </a:cxn>
                <a:cxn ang="0">
                  <a:pos x="connsiteX8918" y="connsiteY8918"/>
                </a:cxn>
                <a:cxn ang="0">
                  <a:pos x="connsiteX8919" y="connsiteY8919"/>
                </a:cxn>
                <a:cxn ang="0">
                  <a:pos x="connsiteX8920" y="connsiteY8920"/>
                </a:cxn>
                <a:cxn ang="0">
                  <a:pos x="connsiteX8921" y="connsiteY8921"/>
                </a:cxn>
                <a:cxn ang="0">
                  <a:pos x="connsiteX8922" y="connsiteY8922"/>
                </a:cxn>
                <a:cxn ang="0">
                  <a:pos x="connsiteX8923" y="connsiteY8923"/>
                </a:cxn>
                <a:cxn ang="0">
                  <a:pos x="connsiteX8924" y="connsiteY8924"/>
                </a:cxn>
                <a:cxn ang="0">
                  <a:pos x="connsiteX8925" y="connsiteY8925"/>
                </a:cxn>
                <a:cxn ang="0">
                  <a:pos x="connsiteX8926" y="connsiteY8926"/>
                </a:cxn>
                <a:cxn ang="0">
                  <a:pos x="connsiteX8927" y="connsiteY8927"/>
                </a:cxn>
                <a:cxn ang="0">
                  <a:pos x="connsiteX8928" y="connsiteY8928"/>
                </a:cxn>
                <a:cxn ang="0">
                  <a:pos x="connsiteX8929" y="connsiteY8929"/>
                </a:cxn>
                <a:cxn ang="0">
                  <a:pos x="connsiteX8930" y="connsiteY8930"/>
                </a:cxn>
                <a:cxn ang="0">
                  <a:pos x="connsiteX8931" y="connsiteY8931"/>
                </a:cxn>
                <a:cxn ang="0">
                  <a:pos x="connsiteX8932" y="connsiteY8932"/>
                </a:cxn>
                <a:cxn ang="0">
                  <a:pos x="connsiteX8933" y="connsiteY8933"/>
                </a:cxn>
                <a:cxn ang="0">
                  <a:pos x="connsiteX8934" y="connsiteY8934"/>
                </a:cxn>
                <a:cxn ang="0">
                  <a:pos x="connsiteX8935" y="connsiteY8935"/>
                </a:cxn>
                <a:cxn ang="0">
                  <a:pos x="connsiteX8936" y="connsiteY8936"/>
                </a:cxn>
                <a:cxn ang="0">
                  <a:pos x="connsiteX8937" y="connsiteY8937"/>
                </a:cxn>
                <a:cxn ang="0">
                  <a:pos x="connsiteX8938" y="connsiteY8938"/>
                </a:cxn>
                <a:cxn ang="0">
                  <a:pos x="connsiteX8939" y="connsiteY8939"/>
                </a:cxn>
                <a:cxn ang="0">
                  <a:pos x="connsiteX8940" y="connsiteY8940"/>
                </a:cxn>
                <a:cxn ang="0">
                  <a:pos x="connsiteX8941" y="connsiteY8941"/>
                </a:cxn>
                <a:cxn ang="0">
                  <a:pos x="connsiteX8942" y="connsiteY8942"/>
                </a:cxn>
                <a:cxn ang="0">
                  <a:pos x="connsiteX8943" y="connsiteY8943"/>
                </a:cxn>
                <a:cxn ang="0">
                  <a:pos x="connsiteX8944" y="connsiteY8944"/>
                </a:cxn>
                <a:cxn ang="0">
                  <a:pos x="connsiteX8945" y="connsiteY8945"/>
                </a:cxn>
                <a:cxn ang="0">
                  <a:pos x="connsiteX8946" y="connsiteY8946"/>
                </a:cxn>
                <a:cxn ang="0">
                  <a:pos x="connsiteX8947" y="connsiteY8947"/>
                </a:cxn>
                <a:cxn ang="0">
                  <a:pos x="connsiteX8948" y="connsiteY8948"/>
                </a:cxn>
                <a:cxn ang="0">
                  <a:pos x="connsiteX8949" y="connsiteY8949"/>
                </a:cxn>
                <a:cxn ang="0">
                  <a:pos x="connsiteX8950" y="connsiteY8950"/>
                </a:cxn>
                <a:cxn ang="0">
                  <a:pos x="connsiteX8951" y="connsiteY8951"/>
                </a:cxn>
                <a:cxn ang="0">
                  <a:pos x="connsiteX8952" y="connsiteY8952"/>
                </a:cxn>
                <a:cxn ang="0">
                  <a:pos x="connsiteX8953" y="connsiteY8953"/>
                </a:cxn>
                <a:cxn ang="0">
                  <a:pos x="connsiteX8954" y="connsiteY8954"/>
                </a:cxn>
                <a:cxn ang="0">
                  <a:pos x="connsiteX8955" y="connsiteY8955"/>
                </a:cxn>
                <a:cxn ang="0">
                  <a:pos x="connsiteX8956" y="connsiteY8956"/>
                </a:cxn>
                <a:cxn ang="0">
                  <a:pos x="connsiteX8957" y="connsiteY8957"/>
                </a:cxn>
                <a:cxn ang="0">
                  <a:pos x="connsiteX8958" y="connsiteY8958"/>
                </a:cxn>
                <a:cxn ang="0">
                  <a:pos x="connsiteX8959" y="connsiteY8959"/>
                </a:cxn>
                <a:cxn ang="0">
                  <a:pos x="connsiteX8960" y="connsiteY8960"/>
                </a:cxn>
                <a:cxn ang="0">
                  <a:pos x="connsiteX8961" y="connsiteY8961"/>
                </a:cxn>
                <a:cxn ang="0">
                  <a:pos x="connsiteX8962" y="connsiteY8962"/>
                </a:cxn>
                <a:cxn ang="0">
                  <a:pos x="connsiteX8963" y="connsiteY8963"/>
                </a:cxn>
                <a:cxn ang="0">
                  <a:pos x="connsiteX8964" y="connsiteY8964"/>
                </a:cxn>
                <a:cxn ang="0">
                  <a:pos x="connsiteX8965" y="connsiteY8965"/>
                </a:cxn>
                <a:cxn ang="0">
                  <a:pos x="connsiteX8966" y="connsiteY8966"/>
                </a:cxn>
                <a:cxn ang="0">
                  <a:pos x="connsiteX8967" y="connsiteY8967"/>
                </a:cxn>
                <a:cxn ang="0">
                  <a:pos x="connsiteX8968" y="connsiteY8968"/>
                </a:cxn>
                <a:cxn ang="0">
                  <a:pos x="connsiteX8969" y="connsiteY8969"/>
                </a:cxn>
                <a:cxn ang="0">
                  <a:pos x="connsiteX8970" y="connsiteY8970"/>
                </a:cxn>
                <a:cxn ang="0">
                  <a:pos x="connsiteX8971" y="connsiteY8971"/>
                </a:cxn>
                <a:cxn ang="0">
                  <a:pos x="connsiteX8972" y="connsiteY8972"/>
                </a:cxn>
                <a:cxn ang="0">
                  <a:pos x="connsiteX8973" y="connsiteY8973"/>
                </a:cxn>
                <a:cxn ang="0">
                  <a:pos x="connsiteX8974" y="connsiteY8974"/>
                </a:cxn>
                <a:cxn ang="0">
                  <a:pos x="connsiteX8975" y="connsiteY8975"/>
                </a:cxn>
                <a:cxn ang="0">
                  <a:pos x="connsiteX8976" y="connsiteY8976"/>
                </a:cxn>
                <a:cxn ang="0">
                  <a:pos x="connsiteX8977" y="connsiteY8977"/>
                </a:cxn>
                <a:cxn ang="0">
                  <a:pos x="connsiteX8978" y="connsiteY8978"/>
                </a:cxn>
                <a:cxn ang="0">
                  <a:pos x="connsiteX8979" y="connsiteY8979"/>
                </a:cxn>
                <a:cxn ang="0">
                  <a:pos x="connsiteX8980" y="connsiteY8980"/>
                </a:cxn>
                <a:cxn ang="0">
                  <a:pos x="connsiteX8981" y="connsiteY8981"/>
                </a:cxn>
                <a:cxn ang="0">
                  <a:pos x="connsiteX8982" y="connsiteY8982"/>
                </a:cxn>
                <a:cxn ang="0">
                  <a:pos x="connsiteX8983" y="connsiteY8983"/>
                </a:cxn>
                <a:cxn ang="0">
                  <a:pos x="connsiteX8984" y="connsiteY8984"/>
                </a:cxn>
                <a:cxn ang="0">
                  <a:pos x="connsiteX8985" y="connsiteY8985"/>
                </a:cxn>
                <a:cxn ang="0">
                  <a:pos x="connsiteX8986" y="connsiteY8986"/>
                </a:cxn>
                <a:cxn ang="0">
                  <a:pos x="connsiteX8987" y="connsiteY8987"/>
                </a:cxn>
                <a:cxn ang="0">
                  <a:pos x="connsiteX8988" y="connsiteY8988"/>
                </a:cxn>
                <a:cxn ang="0">
                  <a:pos x="connsiteX8989" y="connsiteY8989"/>
                </a:cxn>
                <a:cxn ang="0">
                  <a:pos x="connsiteX8990" y="connsiteY8990"/>
                </a:cxn>
                <a:cxn ang="0">
                  <a:pos x="connsiteX8991" y="connsiteY8991"/>
                </a:cxn>
                <a:cxn ang="0">
                  <a:pos x="connsiteX8992" y="connsiteY8992"/>
                </a:cxn>
                <a:cxn ang="0">
                  <a:pos x="connsiteX8993" y="connsiteY8993"/>
                </a:cxn>
                <a:cxn ang="0">
                  <a:pos x="connsiteX8994" y="connsiteY8994"/>
                </a:cxn>
                <a:cxn ang="0">
                  <a:pos x="connsiteX8995" y="connsiteY8995"/>
                </a:cxn>
                <a:cxn ang="0">
                  <a:pos x="connsiteX8996" y="connsiteY8996"/>
                </a:cxn>
                <a:cxn ang="0">
                  <a:pos x="connsiteX8997" y="connsiteY8997"/>
                </a:cxn>
                <a:cxn ang="0">
                  <a:pos x="connsiteX8998" y="connsiteY8998"/>
                </a:cxn>
                <a:cxn ang="0">
                  <a:pos x="connsiteX8999" y="connsiteY8999"/>
                </a:cxn>
                <a:cxn ang="0">
                  <a:pos x="connsiteX9000" y="connsiteY9000"/>
                </a:cxn>
                <a:cxn ang="0">
                  <a:pos x="connsiteX9001" y="connsiteY9001"/>
                </a:cxn>
                <a:cxn ang="0">
                  <a:pos x="connsiteX9002" y="connsiteY9002"/>
                </a:cxn>
                <a:cxn ang="0">
                  <a:pos x="connsiteX9003" y="connsiteY9003"/>
                </a:cxn>
                <a:cxn ang="0">
                  <a:pos x="connsiteX9004" y="connsiteY9004"/>
                </a:cxn>
                <a:cxn ang="0">
                  <a:pos x="connsiteX9005" y="connsiteY9005"/>
                </a:cxn>
                <a:cxn ang="0">
                  <a:pos x="connsiteX9006" y="connsiteY9006"/>
                </a:cxn>
                <a:cxn ang="0">
                  <a:pos x="connsiteX9007" y="connsiteY9007"/>
                </a:cxn>
                <a:cxn ang="0">
                  <a:pos x="connsiteX9008" y="connsiteY9008"/>
                </a:cxn>
                <a:cxn ang="0">
                  <a:pos x="connsiteX9009" y="connsiteY9009"/>
                </a:cxn>
                <a:cxn ang="0">
                  <a:pos x="connsiteX9010" y="connsiteY9010"/>
                </a:cxn>
                <a:cxn ang="0">
                  <a:pos x="connsiteX9011" y="connsiteY9011"/>
                </a:cxn>
                <a:cxn ang="0">
                  <a:pos x="connsiteX9012" y="connsiteY9012"/>
                </a:cxn>
                <a:cxn ang="0">
                  <a:pos x="connsiteX9013" y="connsiteY9013"/>
                </a:cxn>
                <a:cxn ang="0">
                  <a:pos x="connsiteX9014" y="connsiteY9014"/>
                </a:cxn>
                <a:cxn ang="0">
                  <a:pos x="connsiteX9015" y="connsiteY9015"/>
                </a:cxn>
                <a:cxn ang="0">
                  <a:pos x="connsiteX9016" y="connsiteY9016"/>
                </a:cxn>
                <a:cxn ang="0">
                  <a:pos x="connsiteX9017" y="connsiteY9017"/>
                </a:cxn>
                <a:cxn ang="0">
                  <a:pos x="connsiteX9018" y="connsiteY9018"/>
                </a:cxn>
                <a:cxn ang="0">
                  <a:pos x="connsiteX9019" y="connsiteY9019"/>
                </a:cxn>
                <a:cxn ang="0">
                  <a:pos x="connsiteX9020" y="connsiteY9020"/>
                </a:cxn>
                <a:cxn ang="0">
                  <a:pos x="connsiteX9021" y="connsiteY9021"/>
                </a:cxn>
                <a:cxn ang="0">
                  <a:pos x="connsiteX9022" y="connsiteY9022"/>
                </a:cxn>
                <a:cxn ang="0">
                  <a:pos x="connsiteX9023" y="connsiteY9023"/>
                </a:cxn>
                <a:cxn ang="0">
                  <a:pos x="connsiteX9024" y="connsiteY9024"/>
                </a:cxn>
                <a:cxn ang="0">
                  <a:pos x="connsiteX9025" y="connsiteY9025"/>
                </a:cxn>
                <a:cxn ang="0">
                  <a:pos x="connsiteX9026" y="connsiteY9026"/>
                </a:cxn>
                <a:cxn ang="0">
                  <a:pos x="connsiteX9027" y="connsiteY9027"/>
                </a:cxn>
                <a:cxn ang="0">
                  <a:pos x="connsiteX9028" y="connsiteY9028"/>
                </a:cxn>
                <a:cxn ang="0">
                  <a:pos x="connsiteX9029" y="connsiteY9029"/>
                </a:cxn>
                <a:cxn ang="0">
                  <a:pos x="connsiteX9030" y="connsiteY9030"/>
                </a:cxn>
                <a:cxn ang="0">
                  <a:pos x="connsiteX9031" y="connsiteY9031"/>
                </a:cxn>
                <a:cxn ang="0">
                  <a:pos x="connsiteX9032" y="connsiteY9032"/>
                </a:cxn>
                <a:cxn ang="0">
                  <a:pos x="connsiteX9033" y="connsiteY9033"/>
                </a:cxn>
                <a:cxn ang="0">
                  <a:pos x="connsiteX9034" y="connsiteY9034"/>
                </a:cxn>
                <a:cxn ang="0">
                  <a:pos x="connsiteX9035" y="connsiteY9035"/>
                </a:cxn>
                <a:cxn ang="0">
                  <a:pos x="connsiteX9036" y="connsiteY9036"/>
                </a:cxn>
                <a:cxn ang="0">
                  <a:pos x="connsiteX9037" y="connsiteY9037"/>
                </a:cxn>
                <a:cxn ang="0">
                  <a:pos x="connsiteX9038" y="connsiteY9038"/>
                </a:cxn>
                <a:cxn ang="0">
                  <a:pos x="connsiteX9039" y="connsiteY9039"/>
                </a:cxn>
                <a:cxn ang="0">
                  <a:pos x="connsiteX9040" y="connsiteY9040"/>
                </a:cxn>
                <a:cxn ang="0">
                  <a:pos x="connsiteX9041" y="connsiteY9041"/>
                </a:cxn>
                <a:cxn ang="0">
                  <a:pos x="connsiteX9042" y="connsiteY9042"/>
                </a:cxn>
                <a:cxn ang="0">
                  <a:pos x="connsiteX9043" y="connsiteY9043"/>
                </a:cxn>
                <a:cxn ang="0">
                  <a:pos x="connsiteX9044" y="connsiteY9044"/>
                </a:cxn>
                <a:cxn ang="0">
                  <a:pos x="connsiteX9045" y="connsiteY9045"/>
                </a:cxn>
                <a:cxn ang="0">
                  <a:pos x="connsiteX9046" y="connsiteY9046"/>
                </a:cxn>
                <a:cxn ang="0">
                  <a:pos x="connsiteX9047" y="connsiteY9047"/>
                </a:cxn>
                <a:cxn ang="0">
                  <a:pos x="connsiteX9048" y="connsiteY9048"/>
                </a:cxn>
                <a:cxn ang="0">
                  <a:pos x="connsiteX9049" y="connsiteY9049"/>
                </a:cxn>
                <a:cxn ang="0">
                  <a:pos x="connsiteX9050" y="connsiteY9050"/>
                </a:cxn>
                <a:cxn ang="0">
                  <a:pos x="connsiteX9051" y="connsiteY9051"/>
                </a:cxn>
                <a:cxn ang="0">
                  <a:pos x="connsiteX9052" y="connsiteY9052"/>
                </a:cxn>
                <a:cxn ang="0">
                  <a:pos x="connsiteX9053" y="connsiteY9053"/>
                </a:cxn>
                <a:cxn ang="0">
                  <a:pos x="connsiteX9054" y="connsiteY9054"/>
                </a:cxn>
                <a:cxn ang="0">
                  <a:pos x="connsiteX9055" y="connsiteY9055"/>
                </a:cxn>
                <a:cxn ang="0">
                  <a:pos x="connsiteX9056" y="connsiteY9056"/>
                </a:cxn>
                <a:cxn ang="0">
                  <a:pos x="connsiteX9057" y="connsiteY9057"/>
                </a:cxn>
                <a:cxn ang="0">
                  <a:pos x="connsiteX9058" y="connsiteY9058"/>
                </a:cxn>
                <a:cxn ang="0">
                  <a:pos x="connsiteX9059" y="connsiteY9059"/>
                </a:cxn>
                <a:cxn ang="0">
                  <a:pos x="connsiteX9060" y="connsiteY9060"/>
                </a:cxn>
                <a:cxn ang="0">
                  <a:pos x="connsiteX9061" y="connsiteY9061"/>
                </a:cxn>
                <a:cxn ang="0">
                  <a:pos x="connsiteX9062" y="connsiteY9062"/>
                </a:cxn>
                <a:cxn ang="0">
                  <a:pos x="connsiteX9063" y="connsiteY9063"/>
                </a:cxn>
                <a:cxn ang="0">
                  <a:pos x="connsiteX9064" y="connsiteY9064"/>
                </a:cxn>
                <a:cxn ang="0">
                  <a:pos x="connsiteX9065" y="connsiteY9065"/>
                </a:cxn>
                <a:cxn ang="0">
                  <a:pos x="connsiteX9066" y="connsiteY9066"/>
                </a:cxn>
                <a:cxn ang="0">
                  <a:pos x="connsiteX9067" y="connsiteY9067"/>
                </a:cxn>
                <a:cxn ang="0">
                  <a:pos x="connsiteX9068" y="connsiteY9068"/>
                </a:cxn>
                <a:cxn ang="0">
                  <a:pos x="connsiteX9069" y="connsiteY9069"/>
                </a:cxn>
                <a:cxn ang="0">
                  <a:pos x="connsiteX9070" y="connsiteY9070"/>
                </a:cxn>
                <a:cxn ang="0">
                  <a:pos x="connsiteX9071" y="connsiteY9071"/>
                </a:cxn>
                <a:cxn ang="0">
                  <a:pos x="connsiteX9072" y="connsiteY9072"/>
                </a:cxn>
                <a:cxn ang="0">
                  <a:pos x="connsiteX9073" y="connsiteY9073"/>
                </a:cxn>
                <a:cxn ang="0">
                  <a:pos x="connsiteX9074" y="connsiteY9074"/>
                </a:cxn>
                <a:cxn ang="0">
                  <a:pos x="connsiteX9075" y="connsiteY9075"/>
                </a:cxn>
                <a:cxn ang="0">
                  <a:pos x="connsiteX9076" y="connsiteY9076"/>
                </a:cxn>
                <a:cxn ang="0">
                  <a:pos x="connsiteX9077" y="connsiteY9077"/>
                </a:cxn>
                <a:cxn ang="0">
                  <a:pos x="connsiteX9078" y="connsiteY9078"/>
                </a:cxn>
                <a:cxn ang="0">
                  <a:pos x="connsiteX9079" y="connsiteY9079"/>
                </a:cxn>
                <a:cxn ang="0">
                  <a:pos x="connsiteX9080" y="connsiteY9080"/>
                </a:cxn>
                <a:cxn ang="0">
                  <a:pos x="connsiteX9081" y="connsiteY9081"/>
                </a:cxn>
                <a:cxn ang="0">
                  <a:pos x="connsiteX9082" y="connsiteY9082"/>
                </a:cxn>
                <a:cxn ang="0">
                  <a:pos x="connsiteX9083" y="connsiteY9083"/>
                </a:cxn>
                <a:cxn ang="0">
                  <a:pos x="connsiteX9084" y="connsiteY9084"/>
                </a:cxn>
                <a:cxn ang="0">
                  <a:pos x="connsiteX9085" y="connsiteY9085"/>
                </a:cxn>
                <a:cxn ang="0">
                  <a:pos x="connsiteX9086" y="connsiteY9086"/>
                </a:cxn>
                <a:cxn ang="0">
                  <a:pos x="connsiteX9087" y="connsiteY9087"/>
                </a:cxn>
                <a:cxn ang="0">
                  <a:pos x="connsiteX9088" y="connsiteY9088"/>
                </a:cxn>
                <a:cxn ang="0">
                  <a:pos x="connsiteX9089" y="connsiteY9089"/>
                </a:cxn>
                <a:cxn ang="0">
                  <a:pos x="connsiteX9090" y="connsiteY9090"/>
                </a:cxn>
                <a:cxn ang="0">
                  <a:pos x="connsiteX9091" y="connsiteY9091"/>
                </a:cxn>
                <a:cxn ang="0">
                  <a:pos x="connsiteX9092" y="connsiteY9092"/>
                </a:cxn>
                <a:cxn ang="0">
                  <a:pos x="connsiteX9093" y="connsiteY9093"/>
                </a:cxn>
                <a:cxn ang="0">
                  <a:pos x="connsiteX9094" y="connsiteY9094"/>
                </a:cxn>
                <a:cxn ang="0">
                  <a:pos x="connsiteX9095" y="connsiteY9095"/>
                </a:cxn>
                <a:cxn ang="0">
                  <a:pos x="connsiteX9096" y="connsiteY9096"/>
                </a:cxn>
                <a:cxn ang="0">
                  <a:pos x="connsiteX9097" y="connsiteY9097"/>
                </a:cxn>
                <a:cxn ang="0">
                  <a:pos x="connsiteX9098" y="connsiteY9098"/>
                </a:cxn>
                <a:cxn ang="0">
                  <a:pos x="connsiteX9099" y="connsiteY9099"/>
                </a:cxn>
                <a:cxn ang="0">
                  <a:pos x="connsiteX9100" y="connsiteY9100"/>
                </a:cxn>
                <a:cxn ang="0">
                  <a:pos x="connsiteX9101" y="connsiteY9101"/>
                </a:cxn>
                <a:cxn ang="0">
                  <a:pos x="connsiteX9102" y="connsiteY9102"/>
                </a:cxn>
                <a:cxn ang="0">
                  <a:pos x="connsiteX9103" y="connsiteY9103"/>
                </a:cxn>
                <a:cxn ang="0">
                  <a:pos x="connsiteX9104" y="connsiteY9104"/>
                </a:cxn>
                <a:cxn ang="0">
                  <a:pos x="connsiteX9105" y="connsiteY9105"/>
                </a:cxn>
                <a:cxn ang="0">
                  <a:pos x="connsiteX9106" y="connsiteY9106"/>
                </a:cxn>
                <a:cxn ang="0">
                  <a:pos x="connsiteX9107" y="connsiteY9107"/>
                </a:cxn>
                <a:cxn ang="0">
                  <a:pos x="connsiteX9108" y="connsiteY9108"/>
                </a:cxn>
                <a:cxn ang="0">
                  <a:pos x="connsiteX9109" y="connsiteY9109"/>
                </a:cxn>
                <a:cxn ang="0">
                  <a:pos x="connsiteX9110" y="connsiteY9110"/>
                </a:cxn>
                <a:cxn ang="0">
                  <a:pos x="connsiteX9111" y="connsiteY9111"/>
                </a:cxn>
                <a:cxn ang="0">
                  <a:pos x="connsiteX9112" y="connsiteY9112"/>
                </a:cxn>
                <a:cxn ang="0">
                  <a:pos x="connsiteX9113" y="connsiteY9113"/>
                </a:cxn>
                <a:cxn ang="0">
                  <a:pos x="connsiteX9114" y="connsiteY9114"/>
                </a:cxn>
                <a:cxn ang="0">
                  <a:pos x="connsiteX9115" y="connsiteY9115"/>
                </a:cxn>
                <a:cxn ang="0">
                  <a:pos x="connsiteX9116" y="connsiteY9116"/>
                </a:cxn>
                <a:cxn ang="0">
                  <a:pos x="connsiteX9117" y="connsiteY9117"/>
                </a:cxn>
                <a:cxn ang="0">
                  <a:pos x="connsiteX9118" y="connsiteY9118"/>
                </a:cxn>
                <a:cxn ang="0">
                  <a:pos x="connsiteX9119" y="connsiteY9119"/>
                </a:cxn>
                <a:cxn ang="0">
                  <a:pos x="connsiteX9120" y="connsiteY9120"/>
                </a:cxn>
                <a:cxn ang="0">
                  <a:pos x="connsiteX9121" y="connsiteY9121"/>
                </a:cxn>
                <a:cxn ang="0">
                  <a:pos x="connsiteX9122" y="connsiteY9122"/>
                </a:cxn>
                <a:cxn ang="0">
                  <a:pos x="connsiteX9123" y="connsiteY9123"/>
                </a:cxn>
                <a:cxn ang="0">
                  <a:pos x="connsiteX9124" y="connsiteY9124"/>
                </a:cxn>
                <a:cxn ang="0">
                  <a:pos x="connsiteX9125" y="connsiteY9125"/>
                </a:cxn>
                <a:cxn ang="0">
                  <a:pos x="connsiteX9126" y="connsiteY9126"/>
                </a:cxn>
                <a:cxn ang="0">
                  <a:pos x="connsiteX9127" y="connsiteY9127"/>
                </a:cxn>
                <a:cxn ang="0">
                  <a:pos x="connsiteX9128" y="connsiteY9128"/>
                </a:cxn>
                <a:cxn ang="0">
                  <a:pos x="connsiteX9129" y="connsiteY9129"/>
                </a:cxn>
                <a:cxn ang="0">
                  <a:pos x="connsiteX9130" y="connsiteY9130"/>
                </a:cxn>
                <a:cxn ang="0">
                  <a:pos x="connsiteX9131" y="connsiteY9131"/>
                </a:cxn>
                <a:cxn ang="0">
                  <a:pos x="connsiteX9132" y="connsiteY9132"/>
                </a:cxn>
                <a:cxn ang="0">
                  <a:pos x="connsiteX9133" y="connsiteY9133"/>
                </a:cxn>
                <a:cxn ang="0">
                  <a:pos x="connsiteX9134" y="connsiteY9134"/>
                </a:cxn>
                <a:cxn ang="0">
                  <a:pos x="connsiteX9135" y="connsiteY9135"/>
                </a:cxn>
                <a:cxn ang="0">
                  <a:pos x="connsiteX9136" y="connsiteY9136"/>
                </a:cxn>
                <a:cxn ang="0">
                  <a:pos x="connsiteX9137" y="connsiteY9137"/>
                </a:cxn>
                <a:cxn ang="0">
                  <a:pos x="connsiteX9138" y="connsiteY9138"/>
                </a:cxn>
                <a:cxn ang="0">
                  <a:pos x="connsiteX9139" y="connsiteY9139"/>
                </a:cxn>
                <a:cxn ang="0">
                  <a:pos x="connsiteX9140" y="connsiteY9140"/>
                </a:cxn>
                <a:cxn ang="0">
                  <a:pos x="connsiteX9141" y="connsiteY9141"/>
                </a:cxn>
                <a:cxn ang="0">
                  <a:pos x="connsiteX9142" y="connsiteY9142"/>
                </a:cxn>
                <a:cxn ang="0">
                  <a:pos x="connsiteX9143" y="connsiteY9143"/>
                </a:cxn>
                <a:cxn ang="0">
                  <a:pos x="connsiteX9144" y="connsiteY9144"/>
                </a:cxn>
                <a:cxn ang="0">
                  <a:pos x="connsiteX9145" y="connsiteY9145"/>
                </a:cxn>
                <a:cxn ang="0">
                  <a:pos x="connsiteX9146" y="connsiteY9146"/>
                </a:cxn>
                <a:cxn ang="0">
                  <a:pos x="connsiteX9147" y="connsiteY9147"/>
                </a:cxn>
                <a:cxn ang="0">
                  <a:pos x="connsiteX9148" y="connsiteY9148"/>
                </a:cxn>
                <a:cxn ang="0">
                  <a:pos x="connsiteX9149" y="connsiteY9149"/>
                </a:cxn>
                <a:cxn ang="0">
                  <a:pos x="connsiteX9150" y="connsiteY9150"/>
                </a:cxn>
                <a:cxn ang="0">
                  <a:pos x="connsiteX9151" y="connsiteY9151"/>
                </a:cxn>
                <a:cxn ang="0">
                  <a:pos x="connsiteX9152" y="connsiteY9152"/>
                </a:cxn>
                <a:cxn ang="0">
                  <a:pos x="connsiteX9153" y="connsiteY9153"/>
                </a:cxn>
                <a:cxn ang="0">
                  <a:pos x="connsiteX9154" y="connsiteY9154"/>
                </a:cxn>
                <a:cxn ang="0">
                  <a:pos x="connsiteX9155" y="connsiteY9155"/>
                </a:cxn>
                <a:cxn ang="0">
                  <a:pos x="connsiteX9156" y="connsiteY9156"/>
                </a:cxn>
                <a:cxn ang="0">
                  <a:pos x="connsiteX9157" y="connsiteY9157"/>
                </a:cxn>
                <a:cxn ang="0">
                  <a:pos x="connsiteX9158" y="connsiteY9158"/>
                </a:cxn>
                <a:cxn ang="0">
                  <a:pos x="connsiteX9159" y="connsiteY9159"/>
                </a:cxn>
                <a:cxn ang="0">
                  <a:pos x="connsiteX9160" y="connsiteY9160"/>
                </a:cxn>
                <a:cxn ang="0">
                  <a:pos x="connsiteX9161" y="connsiteY9161"/>
                </a:cxn>
                <a:cxn ang="0">
                  <a:pos x="connsiteX9162" y="connsiteY9162"/>
                </a:cxn>
                <a:cxn ang="0">
                  <a:pos x="connsiteX9163" y="connsiteY9163"/>
                </a:cxn>
                <a:cxn ang="0">
                  <a:pos x="connsiteX9164" y="connsiteY9164"/>
                </a:cxn>
                <a:cxn ang="0">
                  <a:pos x="connsiteX9165" y="connsiteY9165"/>
                </a:cxn>
                <a:cxn ang="0">
                  <a:pos x="connsiteX9166" y="connsiteY9166"/>
                </a:cxn>
                <a:cxn ang="0">
                  <a:pos x="connsiteX9167" y="connsiteY9167"/>
                </a:cxn>
                <a:cxn ang="0">
                  <a:pos x="connsiteX9168" y="connsiteY9168"/>
                </a:cxn>
                <a:cxn ang="0">
                  <a:pos x="connsiteX9169" y="connsiteY9169"/>
                </a:cxn>
                <a:cxn ang="0">
                  <a:pos x="connsiteX9170" y="connsiteY9170"/>
                </a:cxn>
                <a:cxn ang="0">
                  <a:pos x="connsiteX9171" y="connsiteY9171"/>
                </a:cxn>
                <a:cxn ang="0">
                  <a:pos x="connsiteX9172" y="connsiteY9172"/>
                </a:cxn>
                <a:cxn ang="0">
                  <a:pos x="connsiteX9173" y="connsiteY9173"/>
                </a:cxn>
                <a:cxn ang="0">
                  <a:pos x="connsiteX9174" y="connsiteY9174"/>
                </a:cxn>
                <a:cxn ang="0">
                  <a:pos x="connsiteX9175" y="connsiteY9175"/>
                </a:cxn>
                <a:cxn ang="0">
                  <a:pos x="connsiteX9176" y="connsiteY9176"/>
                </a:cxn>
                <a:cxn ang="0">
                  <a:pos x="connsiteX9177" y="connsiteY9177"/>
                </a:cxn>
                <a:cxn ang="0">
                  <a:pos x="connsiteX9178" y="connsiteY9178"/>
                </a:cxn>
                <a:cxn ang="0">
                  <a:pos x="connsiteX9179" y="connsiteY9179"/>
                </a:cxn>
                <a:cxn ang="0">
                  <a:pos x="connsiteX9180" y="connsiteY9180"/>
                </a:cxn>
                <a:cxn ang="0">
                  <a:pos x="connsiteX9181" y="connsiteY9181"/>
                </a:cxn>
                <a:cxn ang="0">
                  <a:pos x="connsiteX9182" y="connsiteY9182"/>
                </a:cxn>
                <a:cxn ang="0">
                  <a:pos x="connsiteX9183" y="connsiteY9183"/>
                </a:cxn>
                <a:cxn ang="0">
                  <a:pos x="connsiteX9184" y="connsiteY9184"/>
                </a:cxn>
                <a:cxn ang="0">
                  <a:pos x="connsiteX9185" y="connsiteY9185"/>
                </a:cxn>
                <a:cxn ang="0">
                  <a:pos x="connsiteX9186" y="connsiteY9186"/>
                </a:cxn>
                <a:cxn ang="0">
                  <a:pos x="connsiteX9187" y="connsiteY9187"/>
                </a:cxn>
                <a:cxn ang="0">
                  <a:pos x="connsiteX9188" y="connsiteY9188"/>
                </a:cxn>
                <a:cxn ang="0">
                  <a:pos x="connsiteX9189" y="connsiteY9189"/>
                </a:cxn>
                <a:cxn ang="0">
                  <a:pos x="connsiteX9190" y="connsiteY9190"/>
                </a:cxn>
                <a:cxn ang="0">
                  <a:pos x="connsiteX9191" y="connsiteY9191"/>
                </a:cxn>
                <a:cxn ang="0">
                  <a:pos x="connsiteX9192" y="connsiteY9192"/>
                </a:cxn>
                <a:cxn ang="0">
                  <a:pos x="connsiteX9193" y="connsiteY9193"/>
                </a:cxn>
                <a:cxn ang="0">
                  <a:pos x="connsiteX9194" y="connsiteY9194"/>
                </a:cxn>
                <a:cxn ang="0">
                  <a:pos x="connsiteX9195" y="connsiteY9195"/>
                </a:cxn>
                <a:cxn ang="0">
                  <a:pos x="connsiteX9196" y="connsiteY9196"/>
                </a:cxn>
                <a:cxn ang="0">
                  <a:pos x="connsiteX9197" y="connsiteY9197"/>
                </a:cxn>
                <a:cxn ang="0">
                  <a:pos x="connsiteX9198" y="connsiteY9198"/>
                </a:cxn>
                <a:cxn ang="0">
                  <a:pos x="connsiteX9199" y="connsiteY9199"/>
                </a:cxn>
                <a:cxn ang="0">
                  <a:pos x="connsiteX9200" y="connsiteY9200"/>
                </a:cxn>
                <a:cxn ang="0">
                  <a:pos x="connsiteX9201" y="connsiteY9201"/>
                </a:cxn>
                <a:cxn ang="0">
                  <a:pos x="connsiteX9202" y="connsiteY9202"/>
                </a:cxn>
                <a:cxn ang="0">
                  <a:pos x="connsiteX9203" y="connsiteY9203"/>
                </a:cxn>
                <a:cxn ang="0">
                  <a:pos x="connsiteX9204" y="connsiteY9204"/>
                </a:cxn>
                <a:cxn ang="0">
                  <a:pos x="connsiteX9205" y="connsiteY9205"/>
                </a:cxn>
                <a:cxn ang="0">
                  <a:pos x="connsiteX9206" y="connsiteY9206"/>
                </a:cxn>
                <a:cxn ang="0">
                  <a:pos x="connsiteX9207" y="connsiteY9207"/>
                </a:cxn>
                <a:cxn ang="0">
                  <a:pos x="connsiteX9208" y="connsiteY9208"/>
                </a:cxn>
                <a:cxn ang="0">
                  <a:pos x="connsiteX9209" y="connsiteY9209"/>
                </a:cxn>
                <a:cxn ang="0">
                  <a:pos x="connsiteX9210" y="connsiteY9210"/>
                </a:cxn>
                <a:cxn ang="0">
                  <a:pos x="connsiteX9211" y="connsiteY9211"/>
                </a:cxn>
                <a:cxn ang="0">
                  <a:pos x="connsiteX9212" y="connsiteY9212"/>
                </a:cxn>
                <a:cxn ang="0">
                  <a:pos x="connsiteX9213" y="connsiteY9213"/>
                </a:cxn>
                <a:cxn ang="0">
                  <a:pos x="connsiteX9214" y="connsiteY9214"/>
                </a:cxn>
                <a:cxn ang="0">
                  <a:pos x="connsiteX9215" y="connsiteY9215"/>
                </a:cxn>
                <a:cxn ang="0">
                  <a:pos x="connsiteX9216" y="connsiteY9216"/>
                </a:cxn>
                <a:cxn ang="0">
                  <a:pos x="connsiteX9217" y="connsiteY9217"/>
                </a:cxn>
                <a:cxn ang="0">
                  <a:pos x="connsiteX9218" y="connsiteY9218"/>
                </a:cxn>
                <a:cxn ang="0">
                  <a:pos x="connsiteX9219" y="connsiteY9219"/>
                </a:cxn>
                <a:cxn ang="0">
                  <a:pos x="connsiteX9220" y="connsiteY9220"/>
                </a:cxn>
                <a:cxn ang="0">
                  <a:pos x="connsiteX9221" y="connsiteY9221"/>
                </a:cxn>
                <a:cxn ang="0">
                  <a:pos x="connsiteX9222" y="connsiteY9222"/>
                </a:cxn>
                <a:cxn ang="0">
                  <a:pos x="connsiteX9223" y="connsiteY9223"/>
                </a:cxn>
                <a:cxn ang="0">
                  <a:pos x="connsiteX9224" y="connsiteY9224"/>
                </a:cxn>
                <a:cxn ang="0">
                  <a:pos x="connsiteX9225" y="connsiteY9225"/>
                </a:cxn>
                <a:cxn ang="0">
                  <a:pos x="connsiteX9226" y="connsiteY9226"/>
                </a:cxn>
                <a:cxn ang="0">
                  <a:pos x="connsiteX9227" y="connsiteY9227"/>
                </a:cxn>
                <a:cxn ang="0">
                  <a:pos x="connsiteX9228" y="connsiteY9228"/>
                </a:cxn>
                <a:cxn ang="0">
                  <a:pos x="connsiteX9229" y="connsiteY9229"/>
                </a:cxn>
                <a:cxn ang="0">
                  <a:pos x="connsiteX9230" y="connsiteY9230"/>
                </a:cxn>
                <a:cxn ang="0">
                  <a:pos x="connsiteX9231" y="connsiteY9231"/>
                </a:cxn>
                <a:cxn ang="0">
                  <a:pos x="connsiteX9232" y="connsiteY9232"/>
                </a:cxn>
                <a:cxn ang="0">
                  <a:pos x="connsiteX9233" y="connsiteY9233"/>
                </a:cxn>
                <a:cxn ang="0">
                  <a:pos x="connsiteX9234" y="connsiteY9234"/>
                </a:cxn>
                <a:cxn ang="0">
                  <a:pos x="connsiteX9235" y="connsiteY9235"/>
                </a:cxn>
                <a:cxn ang="0">
                  <a:pos x="connsiteX9236" y="connsiteY9236"/>
                </a:cxn>
                <a:cxn ang="0">
                  <a:pos x="connsiteX9237" y="connsiteY9237"/>
                </a:cxn>
                <a:cxn ang="0">
                  <a:pos x="connsiteX9238" y="connsiteY9238"/>
                </a:cxn>
                <a:cxn ang="0">
                  <a:pos x="connsiteX9239" y="connsiteY9239"/>
                </a:cxn>
                <a:cxn ang="0">
                  <a:pos x="connsiteX9240" y="connsiteY9240"/>
                </a:cxn>
                <a:cxn ang="0">
                  <a:pos x="connsiteX9241" y="connsiteY9241"/>
                </a:cxn>
                <a:cxn ang="0">
                  <a:pos x="connsiteX9242" y="connsiteY9242"/>
                </a:cxn>
                <a:cxn ang="0">
                  <a:pos x="connsiteX9243" y="connsiteY9243"/>
                </a:cxn>
                <a:cxn ang="0">
                  <a:pos x="connsiteX9244" y="connsiteY9244"/>
                </a:cxn>
                <a:cxn ang="0">
                  <a:pos x="connsiteX9245" y="connsiteY9245"/>
                </a:cxn>
                <a:cxn ang="0">
                  <a:pos x="connsiteX9246" y="connsiteY9246"/>
                </a:cxn>
                <a:cxn ang="0">
                  <a:pos x="connsiteX9247" y="connsiteY9247"/>
                </a:cxn>
                <a:cxn ang="0">
                  <a:pos x="connsiteX9248" y="connsiteY9248"/>
                </a:cxn>
                <a:cxn ang="0">
                  <a:pos x="connsiteX9249" y="connsiteY9249"/>
                </a:cxn>
                <a:cxn ang="0">
                  <a:pos x="connsiteX9250" y="connsiteY9250"/>
                </a:cxn>
                <a:cxn ang="0">
                  <a:pos x="connsiteX9251" y="connsiteY9251"/>
                </a:cxn>
                <a:cxn ang="0">
                  <a:pos x="connsiteX9252" y="connsiteY9252"/>
                </a:cxn>
                <a:cxn ang="0">
                  <a:pos x="connsiteX9253" y="connsiteY9253"/>
                </a:cxn>
                <a:cxn ang="0">
                  <a:pos x="connsiteX9254" y="connsiteY9254"/>
                </a:cxn>
                <a:cxn ang="0">
                  <a:pos x="connsiteX9255" y="connsiteY9255"/>
                </a:cxn>
                <a:cxn ang="0">
                  <a:pos x="connsiteX9256" y="connsiteY9256"/>
                </a:cxn>
                <a:cxn ang="0">
                  <a:pos x="connsiteX9257" y="connsiteY9257"/>
                </a:cxn>
                <a:cxn ang="0">
                  <a:pos x="connsiteX9258" y="connsiteY9258"/>
                </a:cxn>
                <a:cxn ang="0">
                  <a:pos x="connsiteX9259" y="connsiteY9259"/>
                </a:cxn>
                <a:cxn ang="0">
                  <a:pos x="connsiteX9260" y="connsiteY9260"/>
                </a:cxn>
                <a:cxn ang="0">
                  <a:pos x="connsiteX9261" y="connsiteY9261"/>
                </a:cxn>
                <a:cxn ang="0">
                  <a:pos x="connsiteX9262" y="connsiteY9262"/>
                </a:cxn>
                <a:cxn ang="0">
                  <a:pos x="connsiteX9263" y="connsiteY9263"/>
                </a:cxn>
                <a:cxn ang="0">
                  <a:pos x="connsiteX9264" y="connsiteY9264"/>
                </a:cxn>
                <a:cxn ang="0">
                  <a:pos x="connsiteX9265" y="connsiteY9265"/>
                </a:cxn>
                <a:cxn ang="0">
                  <a:pos x="connsiteX9266" y="connsiteY9266"/>
                </a:cxn>
                <a:cxn ang="0">
                  <a:pos x="connsiteX9267" y="connsiteY9267"/>
                </a:cxn>
                <a:cxn ang="0">
                  <a:pos x="connsiteX9268" y="connsiteY9268"/>
                </a:cxn>
                <a:cxn ang="0">
                  <a:pos x="connsiteX9269" y="connsiteY9269"/>
                </a:cxn>
                <a:cxn ang="0">
                  <a:pos x="connsiteX9270" y="connsiteY9270"/>
                </a:cxn>
                <a:cxn ang="0">
                  <a:pos x="connsiteX9271" y="connsiteY9271"/>
                </a:cxn>
                <a:cxn ang="0">
                  <a:pos x="connsiteX9272" y="connsiteY9272"/>
                </a:cxn>
                <a:cxn ang="0">
                  <a:pos x="connsiteX9273" y="connsiteY9273"/>
                </a:cxn>
                <a:cxn ang="0">
                  <a:pos x="connsiteX9274" y="connsiteY9274"/>
                </a:cxn>
                <a:cxn ang="0">
                  <a:pos x="connsiteX9275" y="connsiteY9275"/>
                </a:cxn>
                <a:cxn ang="0">
                  <a:pos x="connsiteX9276" y="connsiteY9276"/>
                </a:cxn>
                <a:cxn ang="0">
                  <a:pos x="connsiteX9277" y="connsiteY9277"/>
                </a:cxn>
                <a:cxn ang="0">
                  <a:pos x="connsiteX9278" y="connsiteY9278"/>
                </a:cxn>
                <a:cxn ang="0">
                  <a:pos x="connsiteX9279" y="connsiteY9279"/>
                </a:cxn>
                <a:cxn ang="0">
                  <a:pos x="connsiteX9280" y="connsiteY9280"/>
                </a:cxn>
                <a:cxn ang="0">
                  <a:pos x="connsiteX9281" y="connsiteY9281"/>
                </a:cxn>
                <a:cxn ang="0">
                  <a:pos x="connsiteX9282" y="connsiteY9282"/>
                </a:cxn>
                <a:cxn ang="0">
                  <a:pos x="connsiteX9283" y="connsiteY9283"/>
                </a:cxn>
                <a:cxn ang="0">
                  <a:pos x="connsiteX9284" y="connsiteY9284"/>
                </a:cxn>
                <a:cxn ang="0">
                  <a:pos x="connsiteX9285" y="connsiteY9285"/>
                </a:cxn>
                <a:cxn ang="0">
                  <a:pos x="connsiteX9286" y="connsiteY9286"/>
                </a:cxn>
                <a:cxn ang="0">
                  <a:pos x="connsiteX9287" y="connsiteY9287"/>
                </a:cxn>
                <a:cxn ang="0">
                  <a:pos x="connsiteX9288" y="connsiteY9288"/>
                </a:cxn>
                <a:cxn ang="0">
                  <a:pos x="connsiteX9289" y="connsiteY9289"/>
                </a:cxn>
                <a:cxn ang="0">
                  <a:pos x="connsiteX9290" y="connsiteY9290"/>
                </a:cxn>
                <a:cxn ang="0">
                  <a:pos x="connsiteX9291" y="connsiteY9291"/>
                </a:cxn>
                <a:cxn ang="0">
                  <a:pos x="connsiteX9292" y="connsiteY9292"/>
                </a:cxn>
                <a:cxn ang="0">
                  <a:pos x="connsiteX9293" y="connsiteY9293"/>
                </a:cxn>
                <a:cxn ang="0">
                  <a:pos x="connsiteX9294" y="connsiteY9294"/>
                </a:cxn>
                <a:cxn ang="0">
                  <a:pos x="connsiteX9295" y="connsiteY9295"/>
                </a:cxn>
                <a:cxn ang="0">
                  <a:pos x="connsiteX9296" y="connsiteY9296"/>
                </a:cxn>
                <a:cxn ang="0">
                  <a:pos x="connsiteX9297" y="connsiteY9297"/>
                </a:cxn>
                <a:cxn ang="0">
                  <a:pos x="connsiteX9298" y="connsiteY9298"/>
                </a:cxn>
                <a:cxn ang="0">
                  <a:pos x="connsiteX9299" y="connsiteY9299"/>
                </a:cxn>
                <a:cxn ang="0">
                  <a:pos x="connsiteX9300" y="connsiteY9300"/>
                </a:cxn>
                <a:cxn ang="0">
                  <a:pos x="connsiteX9301" y="connsiteY9301"/>
                </a:cxn>
                <a:cxn ang="0">
                  <a:pos x="connsiteX9302" y="connsiteY9302"/>
                </a:cxn>
                <a:cxn ang="0">
                  <a:pos x="connsiteX9303" y="connsiteY9303"/>
                </a:cxn>
                <a:cxn ang="0">
                  <a:pos x="connsiteX9304" y="connsiteY9304"/>
                </a:cxn>
                <a:cxn ang="0">
                  <a:pos x="connsiteX9305" y="connsiteY9305"/>
                </a:cxn>
                <a:cxn ang="0">
                  <a:pos x="connsiteX9306" y="connsiteY9306"/>
                </a:cxn>
                <a:cxn ang="0">
                  <a:pos x="connsiteX9307" y="connsiteY9307"/>
                </a:cxn>
                <a:cxn ang="0">
                  <a:pos x="connsiteX9308" y="connsiteY9308"/>
                </a:cxn>
                <a:cxn ang="0">
                  <a:pos x="connsiteX9309" y="connsiteY9309"/>
                </a:cxn>
                <a:cxn ang="0">
                  <a:pos x="connsiteX9310" y="connsiteY9310"/>
                </a:cxn>
                <a:cxn ang="0">
                  <a:pos x="connsiteX9311" y="connsiteY9311"/>
                </a:cxn>
                <a:cxn ang="0">
                  <a:pos x="connsiteX9312" y="connsiteY9312"/>
                </a:cxn>
                <a:cxn ang="0">
                  <a:pos x="connsiteX9313" y="connsiteY9313"/>
                </a:cxn>
                <a:cxn ang="0">
                  <a:pos x="connsiteX9314" y="connsiteY9314"/>
                </a:cxn>
                <a:cxn ang="0">
                  <a:pos x="connsiteX9315" y="connsiteY9315"/>
                </a:cxn>
                <a:cxn ang="0">
                  <a:pos x="connsiteX9316" y="connsiteY9316"/>
                </a:cxn>
                <a:cxn ang="0">
                  <a:pos x="connsiteX9317" y="connsiteY9317"/>
                </a:cxn>
                <a:cxn ang="0">
                  <a:pos x="connsiteX9318" y="connsiteY9318"/>
                </a:cxn>
                <a:cxn ang="0">
                  <a:pos x="connsiteX9319" y="connsiteY9319"/>
                </a:cxn>
                <a:cxn ang="0">
                  <a:pos x="connsiteX9320" y="connsiteY9320"/>
                </a:cxn>
                <a:cxn ang="0">
                  <a:pos x="connsiteX9321" y="connsiteY9321"/>
                </a:cxn>
                <a:cxn ang="0">
                  <a:pos x="connsiteX9322" y="connsiteY9322"/>
                </a:cxn>
                <a:cxn ang="0">
                  <a:pos x="connsiteX9323" y="connsiteY9323"/>
                </a:cxn>
                <a:cxn ang="0">
                  <a:pos x="connsiteX9324" y="connsiteY9324"/>
                </a:cxn>
                <a:cxn ang="0">
                  <a:pos x="connsiteX9325" y="connsiteY9325"/>
                </a:cxn>
                <a:cxn ang="0">
                  <a:pos x="connsiteX9326" y="connsiteY9326"/>
                </a:cxn>
                <a:cxn ang="0">
                  <a:pos x="connsiteX9327" y="connsiteY9327"/>
                </a:cxn>
                <a:cxn ang="0">
                  <a:pos x="connsiteX9328" y="connsiteY9328"/>
                </a:cxn>
                <a:cxn ang="0">
                  <a:pos x="connsiteX9329" y="connsiteY9329"/>
                </a:cxn>
                <a:cxn ang="0">
                  <a:pos x="connsiteX9330" y="connsiteY9330"/>
                </a:cxn>
                <a:cxn ang="0">
                  <a:pos x="connsiteX9331" y="connsiteY9331"/>
                </a:cxn>
                <a:cxn ang="0">
                  <a:pos x="connsiteX9332" y="connsiteY9332"/>
                </a:cxn>
                <a:cxn ang="0">
                  <a:pos x="connsiteX9333" y="connsiteY9333"/>
                </a:cxn>
                <a:cxn ang="0">
                  <a:pos x="connsiteX9334" y="connsiteY9334"/>
                </a:cxn>
                <a:cxn ang="0">
                  <a:pos x="connsiteX9335" y="connsiteY9335"/>
                </a:cxn>
                <a:cxn ang="0">
                  <a:pos x="connsiteX9336" y="connsiteY9336"/>
                </a:cxn>
                <a:cxn ang="0">
                  <a:pos x="connsiteX9337" y="connsiteY9337"/>
                </a:cxn>
                <a:cxn ang="0">
                  <a:pos x="connsiteX9338" y="connsiteY9338"/>
                </a:cxn>
                <a:cxn ang="0">
                  <a:pos x="connsiteX9339" y="connsiteY9339"/>
                </a:cxn>
                <a:cxn ang="0">
                  <a:pos x="connsiteX9340" y="connsiteY9340"/>
                </a:cxn>
                <a:cxn ang="0">
                  <a:pos x="connsiteX9341" y="connsiteY9341"/>
                </a:cxn>
                <a:cxn ang="0">
                  <a:pos x="connsiteX9342" y="connsiteY9342"/>
                </a:cxn>
                <a:cxn ang="0">
                  <a:pos x="connsiteX9343" y="connsiteY9343"/>
                </a:cxn>
                <a:cxn ang="0">
                  <a:pos x="connsiteX9344" y="connsiteY9344"/>
                </a:cxn>
                <a:cxn ang="0">
                  <a:pos x="connsiteX9345" y="connsiteY9345"/>
                </a:cxn>
                <a:cxn ang="0">
                  <a:pos x="connsiteX9346" y="connsiteY9346"/>
                </a:cxn>
                <a:cxn ang="0">
                  <a:pos x="connsiteX9347" y="connsiteY9347"/>
                </a:cxn>
                <a:cxn ang="0">
                  <a:pos x="connsiteX9348" y="connsiteY9348"/>
                </a:cxn>
                <a:cxn ang="0">
                  <a:pos x="connsiteX9349" y="connsiteY9349"/>
                </a:cxn>
                <a:cxn ang="0">
                  <a:pos x="connsiteX9350" y="connsiteY9350"/>
                </a:cxn>
                <a:cxn ang="0">
                  <a:pos x="connsiteX9351" y="connsiteY9351"/>
                </a:cxn>
                <a:cxn ang="0">
                  <a:pos x="connsiteX9352" y="connsiteY9352"/>
                </a:cxn>
                <a:cxn ang="0">
                  <a:pos x="connsiteX9353" y="connsiteY9353"/>
                </a:cxn>
                <a:cxn ang="0">
                  <a:pos x="connsiteX9354" y="connsiteY9354"/>
                </a:cxn>
                <a:cxn ang="0">
                  <a:pos x="connsiteX9355" y="connsiteY9355"/>
                </a:cxn>
                <a:cxn ang="0">
                  <a:pos x="connsiteX9356" y="connsiteY9356"/>
                </a:cxn>
                <a:cxn ang="0">
                  <a:pos x="connsiteX9357" y="connsiteY9357"/>
                </a:cxn>
                <a:cxn ang="0">
                  <a:pos x="connsiteX9358" y="connsiteY9358"/>
                </a:cxn>
                <a:cxn ang="0">
                  <a:pos x="connsiteX9359" y="connsiteY9359"/>
                </a:cxn>
                <a:cxn ang="0">
                  <a:pos x="connsiteX9360" y="connsiteY9360"/>
                </a:cxn>
                <a:cxn ang="0">
                  <a:pos x="connsiteX9361" y="connsiteY9361"/>
                </a:cxn>
                <a:cxn ang="0">
                  <a:pos x="connsiteX9362" y="connsiteY9362"/>
                </a:cxn>
                <a:cxn ang="0">
                  <a:pos x="connsiteX9363" y="connsiteY9363"/>
                </a:cxn>
                <a:cxn ang="0">
                  <a:pos x="connsiteX9364" y="connsiteY9364"/>
                </a:cxn>
                <a:cxn ang="0">
                  <a:pos x="connsiteX9365" y="connsiteY9365"/>
                </a:cxn>
                <a:cxn ang="0">
                  <a:pos x="connsiteX9366" y="connsiteY9366"/>
                </a:cxn>
                <a:cxn ang="0">
                  <a:pos x="connsiteX9367" y="connsiteY9367"/>
                </a:cxn>
                <a:cxn ang="0">
                  <a:pos x="connsiteX9368" y="connsiteY9368"/>
                </a:cxn>
                <a:cxn ang="0">
                  <a:pos x="connsiteX9369" y="connsiteY9369"/>
                </a:cxn>
                <a:cxn ang="0">
                  <a:pos x="connsiteX9370" y="connsiteY9370"/>
                </a:cxn>
                <a:cxn ang="0">
                  <a:pos x="connsiteX9371" y="connsiteY9371"/>
                </a:cxn>
                <a:cxn ang="0">
                  <a:pos x="connsiteX9372" y="connsiteY9372"/>
                </a:cxn>
                <a:cxn ang="0">
                  <a:pos x="connsiteX9373" y="connsiteY9373"/>
                </a:cxn>
                <a:cxn ang="0">
                  <a:pos x="connsiteX9374" y="connsiteY9374"/>
                </a:cxn>
                <a:cxn ang="0">
                  <a:pos x="connsiteX9375" y="connsiteY9375"/>
                </a:cxn>
                <a:cxn ang="0">
                  <a:pos x="connsiteX9376" y="connsiteY9376"/>
                </a:cxn>
                <a:cxn ang="0">
                  <a:pos x="connsiteX9377" y="connsiteY9377"/>
                </a:cxn>
                <a:cxn ang="0">
                  <a:pos x="connsiteX9378" y="connsiteY9378"/>
                </a:cxn>
                <a:cxn ang="0">
                  <a:pos x="connsiteX9379" y="connsiteY9379"/>
                </a:cxn>
                <a:cxn ang="0">
                  <a:pos x="connsiteX9380" y="connsiteY9380"/>
                </a:cxn>
                <a:cxn ang="0">
                  <a:pos x="connsiteX9381" y="connsiteY9381"/>
                </a:cxn>
                <a:cxn ang="0">
                  <a:pos x="connsiteX9382" y="connsiteY9382"/>
                </a:cxn>
                <a:cxn ang="0">
                  <a:pos x="connsiteX9383" y="connsiteY9383"/>
                </a:cxn>
                <a:cxn ang="0">
                  <a:pos x="connsiteX9384" y="connsiteY9384"/>
                </a:cxn>
                <a:cxn ang="0">
                  <a:pos x="connsiteX9385" y="connsiteY9385"/>
                </a:cxn>
                <a:cxn ang="0">
                  <a:pos x="connsiteX9386" y="connsiteY9386"/>
                </a:cxn>
                <a:cxn ang="0">
                  <a:pos x="connsiteX9387" y="connsiteY9387"/>
                </a:cxn>
                <a:cxn ang="0">
                  <a:pos x="connsiteX9388" y="connsiteY9388"/>
                </a:cxn>
                <a:cxn ang="0">
                  <a:pos x="connsiteX9389" y="connsiteY9389"/>
                </a:cxn>
                <a:cxn ang="0">
                  <a:pos x="connsiteX9390" y="connsiteY9390"/>
                </a:cxn>
                <a:cxn ang="0">
                  <a:pos x="connsiteX9391" y="connsiteY9391"/>
                </a:cxn>
                <a:cxn ang="0">
                  <a:pos x="connsiteX9392" y="connsiteY9392"/>
                </a:cxn>
                <a:cxn ang="0">
                  <a:pos x="connsiteX9393" y="connsiteY9393"/>
                </a:cxn>
                <a:cxn ang="0">
                  <a:pos x="connsiteX9394" y="connsiteY9394"/>
                </a:cxn>
                <a:cxn ang="0">
                  <a:pos x="connsiteX9395" y="connsiteY9395"/>
                </a:cxn>
                <a:cxn ang="0">
                  <a:pos x="connsiteX9396" y="connsiteY9396"/>
                </a:cxn>
                <a:cxn ang="0">
                  <a:pos x="connsiteX9397" y="connsiteY9397"/>
                </a:cxn>
                <a:cxn ang="0">
                  <a:pos x="connsiteX9398" y="connsiteY9398"/>
                </a:cxn>
                <a:cxn ang="0">
                  <a:pos x="connsiteX9399" y="connsiteY9399"/>
                </a:cxn>
                <a:cxn ang="0">
                  <a:pos x="connsiteX9400" y="connsiteY9400"/>
                </a:cxn>
                <a:cxn ang="0">
                  <a:pos x="connsiteX9401" y="connsiteY9401"/>
                </a:cxn>
                <a:cxn ang="0">
                  <a:pos x="connsiteX9402" y="connsiteY9402"/>
                </a:cxn>
                <a:cxn ang="0">
                  <a:pos x="connsiteX9403" y="connsiteY9403"/>
                </a:cxn>
                <a:cxn ang="0">
                  <a:pos x="connsiteX9404" y="connsiteY9404"/>
                </a:cxn>
                <a:cxn ang="0">
                  <a:pos x="connsiteX9405" y="connsiteY9405"/>
                </a:cxn>
                <a:cxn ang="0">
                  <a:pos x="connsiteX9406" y="connsiteY9406"/>
                </a:cxn>
                <a:cxn ang="0">
                  <a:pos x="connsiteX9407" y="connsiteY9407"/>
                </a:cxn>
                <a:cxn ang="0">
                  <a:pos x="connsiteX9408" y="connsiteY9408"/>
                </a:cxn>
                <a:cxn ang="0">
                  <a:pos x="connsiteX9409" y="connsiteY9409"/>
                </a:cxn>
                <a:cxn ang="0">
                  <a:pos x="connsiteX9410" y="connsiteY9410"/>
                </a:cxn>
                <a:cxn ang="0">
                  <a:pos x="connsiteX9411" y="connsiteY9411"/>
                </a:cxn>
                <a:cxn ang="0">
                  <a:pos x="connsiteX9412" y="connsiteY9412"/>
                </a:cxn>
                <a:cxn ang="0">
                  <a:pos x="connsiteX9413" y="connsiteY9413"/>
                </a:cxn>
                <a:cxn ang="0">
                  <a:pos x="connsiteX9414" y="connsiteY9414"/>
                </a:cxn>
                <a:cxn ang="0">
                  <a:pos x="connsiteX9415" y="connsiteY9415"/>
                </a:cxn>
                <a:cxn ang="0">
                  <a:pos x="connsiteX9416" y="connsiteY9416"/>
                </a:cxn>
                <a:cxn ang="0">
                  <a:pos x="connsiteX9417" y="connsiteY9417"/>
                </a:cxn>
                <a:cxn ang="0">
                  <a:pos x="connsiteX9418" y="connsiteY9418"/>
                </a:cxn>
                <a:cxn ang="0">
                  <a:pos x="connsiteX9419" y="connsiteY9419"/>
                </a:cxn>
                <a:cxn ang="0">
                  <a:pos x="connsiteX9420" y="connsiteY9420"/>
                </a:cxn>
                <a:cxn ang="0">
                  <a:pos x="connsiteX9421" y="connsiteY9421"/>
                </a:cxn>
                <a:cxn ang="0">
                  <a:pos x="connsiteX9422" y="connsiteY9422"/>
                </a:cxn>
                <a:cxn ang="0">
                  <a:pos x="connsiteX9423" y="connsiteY9423"/>
                </a:cxn>
                <a:cxn ang="0">
                  <a:pos x="connsiteX9424" y="connsiteY9424"/>
                </a:cxn>
                <a:cxn ang="0">
                  <a:pos x="connsiteX9425" y="connsiteY9425"/>
                </a:cxn>
                <a:cxn ang="0">
                  <a:pos x="connsiteX9426" y="connsiteY9426"/>
                </a:cxn>
                <a:cxn ang="0">
                  <a:pos x="connsiteX9427" y="connsiteY9427"/>
                </a:cxn>
                <a:cxn ang="0">
                  <a:pos x="connsiteX9428" y="connsiteY9428"/>
                </a:cxn>
                <a:cxn ang="0">
                  <a:pos x="connsiteX9429" y="connsiteY9429"/>
                </a:cxn>
                <a:cxn ang="0">
                  <a:pos x="connsiteX9430" y="connsiteY9430"/>
                </a:cxn>
                <a:cxn ang="0">
                  <a:pos x="connsiteX9431" y="connsiteY9431"/>
                </a:cxn>
                <a:cxn ang="0">
                  <a:pos x="connsiteX9432" y="connsiteY9432"/>
                </a:cxn>
                <a:cxn ang="0">
                  <a:pos x="connsiteX9433" y="connsiteY9433"/>
                </a:cxn>
                <a:cxn ang="0">
                  <a:pos x="connsiteX9434" y="connsiteY9434"/>
                </a:cxn>
                <a:cxn ang="0">
                  <a:pos x="connsiteX9435" y="connsiteY9435"/>
                </a:cxn>
                <a:cxn ang="0">
                  <a:pos x="connsiteX9436" y="connsiteY9436"/>
                </a:cxn>
                <a:cxn ang="0">
                  <a:pos x="connsiteX9437" y="connsiteY9437"/>
                </a:cxn>
                <a:cxn ang="0">
                  <a:pos x="connsiteX9438" y="connsiteY9438"/>
                </a:cxn>
                <a:cxn ang="0">
                  <a:pos x="connsiteX9439" y="connsiteY9439"/>
                </a:cxn>
                <a:cxn ang="0">
                  <a:pos x="connsiteX9440" y="connsiteY9440"/>
                </a:cxn>
                <a:cxn ang="0">
                  <a:pos x="connsiteX9441" y="connsiteY9441"/>
                </a:cxn>
                <a:cxn ang="0">
                  <a:pos x="connsiteX9442" y="connsiteY9442"/>
                </a:cxn>
                <a:cxn ang="0">
                  <a:pos x="connsiteX9443" y="connsiteY9443"/>
                </a:cxn>
                <a:cxn ang="0">
                  <a:pos x="connsiteX9444" y="connsiteY9444"/>
                </a:cxn>
                <a:cxn ang="0">
                  <a:pos x="connsiteX9445" y="connsiteY9445"/>
                </a:cxn>
                <a:cxn ang="0">
                  <a:pos x="connsiteX9446" y="connsiteY9446"/>
                </a:cxn>
                <a:cxn ang="0">
                  <a:pos x="connsiteX9447" y="connsiteY9447"/>
                </a:cxn>
                <a:cxn ang="0">
                  <a:pos x="connsiteX9448" y="connsiteY9448"/>
                </a:cxn>
                <a:cxn ang="0">
                  <a:pos x="connsiteX9449" y="connsiteY9449"/>
                </a:cxn>
                <a:cxn ang="0">
                  <a:pos x="connsiteX9450" y="connsiteY9450"/>
                </a:cxn>
                <a:cxn ang="0">
                  <a:pos x="connsiteX9451" y="connsiteY9451"/>
                </a:cxn>
                <a:cxn ang="0">
                  <a:pos x="connsiteX9452" y="connsiteY9452"/>
                </a:cxn>
                <a:cxn ang="0">
                  <a:pos x="connsiteX9453" y="connsiteY9453"/>
                </a:cxn>
                <a:cxn ang="0">
                  <a:pos x="connsiteX9454" y="connsiteY9454"/>
                </a:cxn>
                <a:cxn ang="0">
                  <a:pos x="connsiteX9455" y="connsiteY9455"/>
                </a:cxn>
                <a:cxn ang="0">
                  <a:pos x="connsiteX9456" y="connsiteY9456"/>
                </a:cxn>
                <a:cxn ang="0">
                  <a:pos x="connsiteX9457" y="connsiteY9457"/>
                </a:cxn>
                <a:cxn ang="0">
                  <a:pos x="connsiteX9458" y="connsiteY9458"/>
                </a:cxn>
                <a:cxn ang="0">
                  <a:pos x="connsiteX9459" y="connsiteY9459"/>
                </a:cxn>
                <a:cxn ang="0">
                  <a:pos x="connsiteX9460" y="connsiteY9460"/>
                </a:cxn>
                <a:cxn ang="0">
                  <a:pos x="connsiteX9461" y="connsiteY9461"/>
                </a:cxn>
                <a:cxn ang="0">
                  <a:pos x="connsiteX9462" y="connsiteY9462"/>
                </a:cxn>
                <a:cxn ang="0">
                  <a:pos x="connsiteX9463" y="connsiteY9463"/>
                </a:cxn>
                <a:cxn ang="0">
                  <a:pos x="connsiteX9464" y="connsiteY9464"/>
                </a:cxn>
                <a:cxn ang="0">
                  <a:pos x="connsiteX9465" y="connsiteY9465"/>
                </a:cxn>
                <a:cxn ang="0">
                  <a:pos x="connsiteX9466" y="connsiteY9466"/>
                </a:cxn>
                <a:cxn ang="0">
                  <a:pos x="connsiteX9467" y="connsiteY9467"/>
                </a:cxn>
                <a:cxn ang="0">
                  <a:pos x="connsiteX9468" y="connsiteY9468"/>
                </a:cxn>
                <a:cxn ang="0">
                  <a:pos x="connsiteX9469" y="connsiteY9469"/>
                </a:cxn>
                <a:cxn ang="0">
                  <a:pos x="connsiteX9470" y="connsiteY9470"/>
                </a:cxn>
                <a:cxn ang="0">
                  <a:pos x="connsiteX9471" y="connsiteY9471"/>
                </a:cxn>
                <a:cxn ang="0">
                  <a:pos x="connsiteX9472" y="connsiteY9472"/>
                </a:cxn>
                <a:cxn ang="0">
                  <a:pos x="connsiteX9473" y="connsiteY9473"/>
                </a:cxn>
                <a:cxn ang="0">
                  <a:pos x="connsiteX9474" y="connsiteY9474"/>
                </a:cxn>
                <a:cxn ang="0">
                  <a:pos x="connsiteX9475" y="connsiteY9475"/>
                </a:cxn>
                <a:cxn ang="0">
                  <a:pos x="connsiteX9476" y="connsiteY9476"/>
                </a:cxn>
                <a:cxn ang="0">
                  <a:pos x="connsiteX9477" y="connsiteY9477"/>
                </a:cxn>
                <a:cxn ang="0">
                  <a:pos x="connsiteX9478" y="connsiteY9478"/>
                </a:cxn>
                <a:cxn ang="0">
                  <a:pos x="connsiteX9479" y="connsiteY9479"/>
                </a:cxn>
                <a:cxn ang="0">
                  <a:pos x="connsiteX9480" y="connsiteY9480"/>
                </a:cxn>
                <a:cxn ang="0">
                  <a:pos x="connsiteX9481" y="connsiteY9481"/>
                </a:cxn>
                <a:cxn ang="0">
                  <a:pos x="connsiteX9482" y="connsiteY9482"/>
                </a:cxn>
                <a:cxn ang="0">
                  <a:pos x="connsiteX9483" y="connsiteY9483"/>
                </a:cxn>
                <a:cxn ang="0">
                  <a:pos x="connsiteX9484" y="connsiteY9484"/>
                </a:cxn>
                <a:cxn ang="0">
                  <a:pos x="connsiteX9485" y="connsiteY9485"/>
                </a:cxn>
                <a:cxn ang="0">
                  <a:pos x="connsiteX9486" y="connsiteY9486"/>
                </a:cxn>
                <a:cxn ang="0">
                  <a:pos x="connsiteX9487" y="connsiteY9487"/>
                </a:cxn>
                <a:cxn ang="0">
                  <a:pos x="connsiteX9488" y="connsiteY9488"/>
                </a:cxn>
                <a:cxn ang="0">
                  <a:pos x="connsiteX9489" y="connsiteY9489"/>
                </a:cxn>
                <a:cxn ang="0">
                  <a:pos x="connsiteX9490" y="connsiteY9490"/>
                </a:cxn>
                <a:cxn ang="0">
                  <a:pos x="connsiteX9491" y="connsiteY9491"/>
                </a:cxn>
                <a:cxn ang="0">
                  <a:pos x="connsiteX9492" y="connsiteY9492"/>
                </a:cxn>
                <a:cxn ang="0">
                  <a:pos x="connsiteX9493" y="connsiteY9493"/>
                </a:cxn>
                <a:cxn ang="0">
                  <a:pos x="connsiteX9494" y="connsiteY9494"/>
                </a:cxn>
                <a:cxn ang="0">
                  <a:pos x="connsiteX9495" y="connsiteY9495"/>
                </a:cxn>
              </a:cxnLst>
              <a:rect l="l" t="t" r="r" b="b"/>
              <a:pathLst>
                <a:path w="2792478" h="4235290">
                  <a:moveTo>
                    <a:pt x="1373324" y="4214037"/>
                  </a:moveTo>
                  <a:lnTo>
                    <a:pt x="1373324" y="4224598"/>
                  </a:lnTo>
                  <a:lnTo>
                    <a:pt x="1390727" y="4224598"/>
                  </a:lnTo>
                  <a:cubicBezTo>
                    <a:pt x="1390727" y="4224598"/>
                    <a:pt x="1390727" y="4214037"/>
                    <a:pt x="1390727" y="4214037"/>
                  </a:cubicBezTo>
                  <a:close/>
                  <a:moveTo>
                    <a:pt x="1202119" y="4213852"/>
                  </a:moveTo>
                  <a:cubicBezTo>
                    <a:pt x="1203773" y="4213852"/>
                    <a:pt x="1205104" y="4215169"/>
                    <a:pt x="1205104" y="4216829"/>
                  </a:cubicBezTo>
                  <a:lnTo>
                    <a:pt x="1205104" y="4222863"/>
                  </a:lnTo>
                  <a:lnTo>
                    <a:pt x="1218278" y="4228826"/>
                  </a:lnTo>
                  <a:lnTo>
                    <a:pt x="1231451" y="4222548"/>
                  </a:lnTo>
                  <a:lnTo>
                    <a:pt x="1231451" y="4216829"/>
                  </a:lnTo>
                  <a:cubicBezTo>
                    <a:pt x="1231451" y="4215169"/>
                    <a:pt x="1232782" y="4213852"/>
                    <a:pt x="1234436" y="4213852"/>
                  </a:cubicBezTo>
                  <a:cubicBezTo>
                    <a:pt x="1236105" y="4213852"/>
                    <a:pt x="1237483" y="4215169"/>
                    <a:pt x="1237483" y="4216829"/>
                  </a:cubicBezTo>
                  <a:lnTo>
                    <a:pt x="1237483" y="4224474"/>
                  </a:lnTo>
                  <a:cubicBezTo>
                    <a:pt x="1237483" y="4225641"/>
                    <a:pt x="1236790" y="4226707"/>
                    <a:pt x="1235743" y="4227208"/>
                  </a:cubicBezTo>
                  <a:lnTo>
                    <a:pt x="1219522" y="4234853"/>
                  </a:lnTo>
                  <a:cubicBezTo>
                    <a:pt x="1219128" y="4235039"/>
                    <a:pt x="1218718" y="4235103"/>
                    <a:pt x="1218278" y="4235103"/>
                  </a:cubicBezTo>
                  <a:cubicBezTo>
                    <a:pt x="1217852" y="4235103"/>
                    <a:pt x="1217435" y="4235025"/>
                    <a:pt x="1217033" y="4234853"/>
                  </a:cubicBezTo>
                  <a:lnTo>
                    <a:pt x="1200875" y="4227459"/>
                  </a:lnTo>
                  <a:cubicBezTo>
                    <a:pt x="1199804" y="4226972"/>
                    <a:pt x="1199135" y="4225898"/>
                    <a:pt x="1199135" y="4224724"/>
                  </a:cubicBezTo>
                  <a:lnTo>
                    <a:pt x="1199135" y="4216829"/>
                  </a:lnTo>
                  <a:cubicBezTo>
                    <a:pt x="1199135" y="4215169"/>
                    <a:pt x="1200466" y="4213852"/>
                    <a:pt x="1202119" y="4213852"/>
                  </a:cubicBezTo>
                  <a:close/>
                  <a:moveTo>
                    <a:pt x="1196528" y="4197940"/>
                  </a:moveTo>
                  <a:cubicBezTo>
                    <a:pt x="1195780" y="4197940"/>
                    <a:pt x="1195158" y="4198541"/>
                    <a:pt x="1195158" y="4199307"/>
                  </a:cubicBezTo>
                  <a:lnTo>
                    <a:pt x="1195158" y="4201855"/>
                  </a:lnTo>
                  <a:cubicBezTo>
                    <a:pt x="1195158" y="4202614"/>
                    <a:pt x="1195780" y="4203222"/>
                    <a:pt x="1196528" y="4203222"/>
                  </a:cubicBezTo>
                  <a:lnTo>
                    <a:pt x="1236924" y="4203222"/>
                  </a:lnTo>
                  <a:cubicBezTo>
                    <a:pt x="1237664" y="4203222"/>
                    <a:pt x="1238286" y="4202614"/>
                    <a:pt x="1238286" y="4201855"/>
                  </a:cubicBezTo>
                  <a:lnTo>
                    <a:pt x="1238286" y="4199307"/>
                  </a:lnTo>
                  <a:cubicBezTo>
                    <a:pt x="1238286" y="4198541"/>
                    <a:pt x="1237664" y="4197940"/>
                    <a:pt x="1236924" y="4197940"/>
                  </a:cubicBezTo>
                  <a:close/>
                  <a:moveTo>
                    <a:pt x="1196528" y="4191977"/>
                  </a:moveTo>
                  <a:lnTo>
                    <a:pt x="1236924" y="4191977"/>
                  </a:lnTo>
                  <a:cubicBezTo>
                    <a:pt x="1240987" y="4191977"/>
                    <a:pt x="1244318" y="4195234"/>
                    <a:pt x="1244318" y="4199307"/>
                  </a:cubicBezTo>
                  <a:lnTo>
                    <a:pt x="1244318" y="4201855"/>
                  </a:lnTo>
                  <a:cubicBezTo>
                    <a:pt x="1244318" y="4205906"/>
                    <a:pt x="1240972" y="4209249"/>
                    <a:pt x="1236924" y="4209249"/>
                  </a:cubicBezTo>
                  <a:lnTo>
                    <a:pt x="1196528" y="4209249"/>
                  </a:lnTo>
                  <a:cubicBezTo>
                    <a:pt x="1192473" y="4209249"/>
                    <a:pt x="1189197" y="4205906"/>
                    <a:pt x="1189197" y="4201855"/>
                  </a:cubicBezTo>
                  <a:lnTo>
                    <a:pt x="1189197" y="4199307"/>
                  </a:lnTo>
                  <a:cubicBezTo>
                    <a:pt x="1189197" y="4195234"/>
                    <a:pt x="1192473" y="4191977"/>
                    <a:pt x="1196528" y="4191977"/>
                  </a:cubicBezTo>
                  <a:close/>
                  <a:moveTo>
                    <a:pt x="1265319" y="4166123"/>
                  </a:moveTo>
                  <a:cubicBezTo>
                    <a:pt x="1266075" y="4166008"/>
                    <a:pt x="1266894" y="4166194"/>
                    <a:pt x="1267556" y="4166681"/>
                  </a:cubicBezTo>
                  <a:lnTo>
                    <a:pt x="1287880" y="4181655"/>
                  </a:lnTo>
                  <a:cubicBezTo>
                    <a:pt x="1289211" y="4182636"/>
                    <a:pt x="1289478" y="4184569"/>
                    <a:pt x="1288502" y="4185886"/>
                  </a:cubicBezTo>
                  <a:cubicBezTo>
                    <a:pt x="1287911" y="4186695"/>
                    <a:pt x="1286998" y="4187067"/>
                    <a:pt x="1286076" y="4187067"/>
                  </a:cubicBezTo>
                  <a:cubicBezTo>
                    <a:pt x="1285462" y="4187067"/>
                    <a:pt x="1284864" y="4186902"/>
                    <a:pt x="1284336" y="4186508"/>
                  </a:cubicBezTo>
                  <a:lnTo>
                    <a:pt x="1263957" y="4171527"/>
                  </a:lnTo>
                  <a:cubicBezTo>
                    <a:pt x="1262619" y="4170546"/>
                    <a:pt x="1262351" y="4168628"/>
                    <a:pt x="1263335" y="4167304"/>
                  </a:cubicBezTo>
                  <a:cubicBezTo>
                    <a:pt x="1263823" y="4166638"/>
                    <a:pt x="1264563" y="4166237"/>
                    <a:pt x="1265319" y="4166123"/>
                  </a:cubicBezTo>
                  <a:close/>
                  <a:moveTo>
                    <a:pt x="1172606" y="4164133"/>
                  </a:moveTo>
                  <a:cubicBezTo>
                    <a:pt x="1173362" y="4164248"/>
                    <a:pt x="1174039" y="4164648"/>
                    <a:pt x="1174527" y="4165314"/>
                  </a:cubicBezTo>
                  <a:cubicBezTo>
                    <a:pt x="1175519" y="4166653"/>
                    <a:pt x="1175244" y="4168564"/>
                    <a:pt x="1173905" y="4169537"/>
                  </a:cubicBezTo>
                  <a:lnTo>
                    <a:pt x="1152219" y="4185571"/>
                  </a:lnTo>
                  <a:cubicBezTo>
                    <a:pt x="1151691" y="4185972"/>
                    <a:pt x="1151030" y="4186136"/>
                    <a:pt x="1150416" y="4186136"/>
                  </a:cubicBezTo>
                  <a:cubicBezTo>
                    <a:pt x="1149494" y="4186136"/>
                    <a:pt x="1148581" y="4185700"/>
                    <a:pt x="1147990" y="4184891"/>
                  </a:cubicBezTo>
                  <a:cubicBezTo>
                    <a:pt x="1147014" y="4183574"/>
                    <a:pt x="1147289" y="4181706"/>
                    <a:pt x="1148612" y="4180725"/>
                  </a:cubicBezTo>
                  <a:lnTo>
                    <a:pt x="1170362" y="4164691"/>
                  </a:lnTo>
                  <a:cubicBezTo>
                    <a:pt x="1171031" y="4164205"/>
                    <a:pt x="1171842" y="4164018"/>
                    <a:pt x="1172606" y="4164133"/>
                  </a:cubicBezTo>
                  <a:close/>
                  <a:moveTo>
                    <a:pt x="1322613" y="4130518"/>
                  </a:moveTo>
                  <a:cubicBezTo>
                    <a:pt x="1322613" y="4130518"/>
                    <a:pt x="1322613" y="4203909"/>
                    <a:pt x="1322613" y="4203909"/>
                  </a:cubicBezTo>
                  <a:lnTo>
                    <a:pt x="1441438" y="4203909"/>
                  </a:lnTo>
                  <a:lnTo>
                    <a:pt x="1441438" y="4130518"/>
                  </a:lnTo>
                  <a:close/>
                  <a:moveTo>
                    <a:pt x="1275698" y="4130326"/>
                  </a:moveTo>
                  <a:lnTo>
                    <a:pt x="1298628" y="4130326"/>
                  </a:lnTo>
                  <a:cubicBezTo>
                    <a:pt x="1300282" y="4130326"/>
                    <a:pt x="1301613" y="4131658"/>
                    <a:pt x="1301613" y="4133311"/>
                  </a:cubicBezTo>
                  <a:cubicBezTo>
                    <a:pt x="1301613" y="4134965"/>
                    <a:pt x="1300282" y="4136289"/>
                    <a:pt x="1298628" y="4136289"/>
                  </a:cubicBezTo>
                  <a:lnTo>
                    <a:pt x="1275698" y="4136289"/>
                  </a:lnTo>
                  <a:cubicBezTo>
                    <a:pt x="1274029" y="4136296"/>
                    <a:pt x="1272714" y="4134965"/>
                    <a:pt x="1272714" y="4133311"/>
                  </a:cubicBezTo>
                  <a:cubicBezTo>
                    <a:pt x="1272714" y="4131658"/>
                    <a:pt x="1274029" y="4130326"/>
                    <a:pt x="1275698" y="4130326"/>
                  </a:cubicBezTo>
                  <a:close/>
                  <a:moveTo>
                    <a:pt x="1134509" y="4130326"/>
                  </a:moveTo>
                  <a:lnTo>
                    <a:pt x="1158188" y="4130326"/>
                  </a:lnTo>
                  <a:cubicBezTo>
                    <a:pt x="1159857" y="4130326"/>
                    <a:pt x="1161164" y="4131658"/>
                    <a:pt x="1161164" y="4133311"/>
                  </a:cubicBezTo>
                  <a:cubicBezTo>
                    <a:pt x="1161164" y="4134965"/>
                    <a:pt x="1159841" y="4136289"/>
                    <a:pt x="1158188" y="4136289"/>
                  </a:cubicBezTo>
                  <a:lnTo>
                    <a:pt x="1134509" y="4136289"/>
                  </a:lnTo>
                  <a:cubicBezTo>
                    <a:pt x="1132856" y="4136296"/>
                    <a:pt x="1131525" y="4134965"/>
                    <a:pt x="1131525" y="4133311"/>
                  </a:cubicBezTo>
                  <a:cubicBezTo>
                    <a:pt x="1131525" y="4131658"/>
                    <a:pt x="1132856" y="4130326"/>
                    <a:pt x="1134509" y="4130326"/>
                  </a:cubicBezTo>
                  <a:close/>
                  <a:moveTo>
                    <a:pt x="1317580" y="4120383"/>
                  </a:moveTo>
                  <a:lnTo>
                    <a:pt x="1446530" y="4120383"/>
                  </a:lnTo>
                  <a:cubicBezTo>
                    <a:pt x="1449344" y="4120383"/>
                    <a:pt x="1451631" y="4122621"/>
                    <a:pt x="1451631" y="4125416"/>
                  </a:cubicBezTo>
                  <a:lnTo>
                    <a:pt x="1451631" y="4209004"/>
                  </a:lnTo>
                  <a:cubicBezTo>
                    <a:pt x="1451631" y="4211806"/>
                    <a:pt x="1449344" y="4214037"/>
                    <a:pt x="1446530" y="4214037"/>
                  </a:cubicBezTo>
                  <a:lnTo>
                    <a:pt x="1400920" y="4214037"/>
                  </a:lnTo>
                  <a:lnTo>
                    <a:pt x="1400920" y="4225101"/>
                  </a:lnTo>
                  <a:lnTo>
                    <a:pt x="1409060" y="4225101"/>
                  </a:lnTo>
                  <a:cubicBezTo>
                    <a:pt x="1411866" y="4225101"/>
                    <a:pt x="1414152" y="4227393"/>
                    <a:pt x="1414152" y="4230196"/>
                  </a:cubicBezTo>
                  <a:cubicBezTo>
                    <a:pt x="1414152" y="4232998"/>
                    <a:pt x="1411866" y="4235290"/>
                    <a:pt x="1409060" y="4235290"/>
                  </a:cubicBezTo>
                  <a:lnTo>
                    <a:pt x="1354991" y="4235290"/>
                  </a:lnTo>
                  <a:cubicBezTo>
                    <a:pt x="1352194" y="4235290"/>
                    <a:pt x="1349899" y="4232998"/>
                    <a:pt x="1349899" y="4230196"/>
                  </a:cubicBezTo>
                  <a:cubicBezTo>
                    <a:pt x="1349899" y="4227393"/>
                    <a:pt x="1352194" y="4225101"/>
                    <a:pt x="1354991" y="4225101"/>
                  </a:cubicBezTo>
                  <a:lnTo>
                    <a:pt x="1363132" y="4225101"/>
                  </a:lnTo>
                  <a:lnTo>
                    <a:pt x="1363132" y="4214037"/>
                  </a:lnTo>
                  <a:lnTo>
                    <a:pt x="1317580" y="4214037"/>
                  </a:lnTo>
                  <a:cubicBezTo>
                    <a:pt x="1314783" y="4214037"/>
                    <a:pt x="1312488" y="4211806"/>
                    <a:pt x="1312488" y="4209004"/>
                  </a:cubicBezTo>
                  <a:lnTo>
                    <a:pt x="1312488" y="4125416"/>
                  </a:lnTo>
                  <a:cubicBezTo>
                    <a:pt x="1312488" y="4122621"/>
                    <a:pt x="1314783" y="4120383"/>
                    <a:pt x="1317580" y="4120383"/>
                  </a:cubicBezTo>
                  <a:close/>
                  <a:moveTo>
                    <a:pt x="1216600" y="4100500"/>
                  </a:moveTo>
                  <a:cubicBezTo>
                    <a:pt x="1218246" y="4100500"/>
                    <a:pt x="1219585" y="4101831"/>
                    <a:pt x="1219585" y="4103477"/>
                  </a:cubicBezTo>
                  <a:cubicBezTo>
                    <a:pt x="1219585" y="4105152"/>
                    <a:pt x="1218246" y="4106462"/>
                    <a:pt x="1216600" y="4106462"/>
                  </a:cubicBezTo>
                  <a:cubicBezTo>
                    <a:pt x="1202599" y="4106462"/>
                    <a:pt x="1191182" y="4117879"/>
                    <a:pt x="1191182" y="4131880"/>
                  </a:cubicBezTo>
                  <a:cubicBezTo>
                    <a:pt x="1191182" y="4133533"/>
                    <a:pt x="1189851" y="4134864"/>
                    <a:pt x="1188197" y="4134864"/>
                  </a:cubicBezTo>
                  <a:cubicBezTo>
                    <a:pt x="1186543" y="4134864"/>
                    <a:pt x="1185221" y="4133533"/>
                    <a:pt x="1185221" y="4131880"/>
                  </a:cubicBezTo>
                  <a:cubicBezTo>
                    <a:pt x="1185221" y="4114572"/>
                    <a:pt x="1199292" y="4100500"/>
                    <a:pt x="1216600" y="4100500"/>
                  </a:cubicBezTo>
                  <a:close/>
                  <a:moveTo>
                    <a:pt x="1359346" y="4086579"/>
                  </a:moveTo>
                  <a:lnTo>
                    <a:pt x="1488297" y="4086579"/>
                  </a:lnTo>
                  <a:cubicBezTo>
                    <a:pt x="1491102" y="4086579"/>
                    <a:pt x="1493389" y="4088865"/>
                    <a:pt x="1493389" y="4091674"/>
                  </a:cubicBezTo>
                  <a:lnTo>
                    <a:pt x="1493389" y="4175200"/>
                  </a:lnTo>
                  <a:cubicBezTo>
                    <a:pt x="1493389" y="4178002"/>
                    <a:pt x="1491102" y="4180295"/>
                    <a:pt x="1488297" y="4180295"/>
                  </a:cubicBezTo>
                  <a:lnTo>
                    <a:pt x="1467912" y="4180295"/>
                  </a:lnTo>
                  <a:cubicBezTo>
                    <a:pt x="1465106" y="4180295"/>
                    <a:pt x="1462811" y="4178002"/>
                    <a:pt x="1462811" y="4175200"/>
                  </a:cubicBezTo>
                  <a:cubicBezTo>
                    <a:pt x="1462811" y="4172391"/>
                    <a:pt x="1465106" y="4170098"/>
                    <a:pt x="1467912" y="4170098"/>
                  </a:cubicBezTo>
                  <a:lnTo>
                    <a:pt x="1483196" y="4170098"/>
                  </a:lnTo>
                  <a:lnTo>
                    <a:pt x="1483196" y="4096707"/>
                  </a:lnTo>
                  <a:lnTo>
                    <a:pt x="1364380" y="4096707"/>
                  </a:lnTo>
                  <a:lnTo>
                    <a:pt x="1364380" y="4111247"/>
                  </a:lnTo>
                  <a:cubicBezTo>
                    <a:pt x="1364380" y="4114056"/>
                    <a:pt x="1362143" y="4116349"/>
                    <a:pt x="1359346" y="4116349"/>
                  </a:cubicBezTo>
                  <a:cubicBezTo>
                    <a:pt x="1356540" y="4116349"/>
                    <a:pt x="1354246" y="4114056"/>
                    <a:pt x="1354246" y="4111247"/>
                  </a:cubicBezTo>
                  <a:lnTo>
                    <a:pt x="1354246" y="4091674"/>
                  </a:lnTo>
                  <a:cubicBezTo>
                    <a:pt x="1354246" y="4088865"/>
                    <a:pt x="1356540" y="4086579"/>
                    <a:pt x="1359346" y="4086579"/>
                  </a:cubicBezTo>
                  <a:close/>
                  <a:moveTo>
                    <a:pt x="1217222" y="4084588"/>
                  </a:moveTo>
                  <a:cubicBezTo>
                    <a:pt x="1242531" y="4084588"/>
                    <a:pt x="1263146" y="4105188"/>
                    <a:pt x="1263146" y="4130513"/>
                  </a:cubicBezTo>
                  <a:cubicBezTo>
                    <a:pt x="1263146" y="4140720"/>
                    <a:pt x="1259839" y="4150404"/>
                    <a:pt x="1253634" y="4158478"/>
                  </a:cubicBezTo>
                  <a:cubicBezTo>
                    <a:pt x="1240397" y="4176752"/>
                    <a:pt x="1243854" y="4185549"/>
                    <a:pt x="1243877" y="4185635"/>
                  </a:cubicBezTo>
                  <a:cubicBezTo>
                    <a:pt x="1244507" y="4187124"/>
                    <a:pt x="1243806" y="4188892"/>
                    <a:pt x="1242326" y="4189551"/>
                  </a:cubicBezTo>
                  <a:cubicBezTo>
                    <a:pt x="1240854" y="4190202"/>
                    <a:pt x="1239113" y="4189644"/>
                    <a:pt x="1238412" y="4188183"/>
                  </a:cubicBezTo>
                  <a:cubicBezTo>
                    <a:pt x="1237853" y="4187010"/>
                    <a:pt x="1233452" y="4176165"/>
                    <a:pt x="1248854" y="4154871"/>
                  </a:cubicBezTo>
                  <a:cubicBezTo>
                    <a:pt x="1254311" y="4147792"/>
                    <a:pt x="1257114" y="4139395"/>
                    <a:pt x="1257114" y="4130513"/>
                  </a:cubicBezTo>
                  <a:cubicBezTo>
                    <a:pt x="1257114" y="4108495"/>
                    <a:pt x="1239231" y="4090550"/>
                    <a:pt x="1217222" y="4090550"/>
                  </a:cubicBezTo>
                  <a:cubicBezTo>
                    <a:pt x="1195205" y="4090550"/>
                    <a:pt x="1177260" y="4108495"/>
                    <a:pt x="1177260" y="4130513"/>
                  </a:cubicBezTo>
                  <a:cubicBezTo>
                    <a:pt x="1177260" y="4139360"/>
                    <a:pt x="1180094" y="4147749"/>
                    <a:pt x="1185465" y="4154749"/>
                  </a:cubicBezTo>
                  <a:cubicBezTo>
                    <a:pt x="1185543" y="4154842"/>
                    <a:pt x="1185638" y="4154914"/>
                    <a:pt x="1185717" y="4155000"/>
                  </a:cubicBezTo>
                  <a:cubicBezTo>
                    <a:pt x="1201119" y="4176273"/>
                    <a:pt x="1196820" y="4186981"/>
                    <a:pt x="1196276" y="4188119"/>
                  </a:cubicBezTo>
                  <a:cubicBezTo>
                    <a:pt x="1195764" y="4189214"/>
                    <a:pt x="1194670" y="4189858"/>
                    <a:pt x="1193544" y="4189858"/>
                  </a:cubicBezTo>
                  <a:cubicBezTo>
                    <a:pt x="1193119" y="4189880"/>
                    <a:pt x="1192717" y="4189801"/>
                    <a:pt x="1192300" y="4189615"/>
                  </a:cubicBezTo>
                  <a:cubicBezTo>
                    <a:pt x="1190796" y="4188906"/>
                    <a:pt x="1190166" y="4187081"/>
                    <a:pt x="1190874" y="4185571"/>
                  </a:cubicBezTo>
                  <a:cubicBezTo>
                    <a:pt x="1190874" y="4185571"/>
                    <a:pt x="1194119" y="4176924"/>
                    <a:pt x="1180992" y="4158729"/>
                  </a:cubicBezTo>
                  <a:cubicBezTo>
                    <a:pt x="1180961" y="4158679"/>
                    <a:pt x="1180905" y="4158629"/>
                    <a:pt x="1180866" y="4158600"/>
                  </a:cubicBezTo>
                  <a:cubicBezTo>
                    <a:pt x="1174582" y="4150476"/>
                    <a:pt x="1171299" y="4140798"/>
                    <a:pt x="1171299" y="4130513"/>
                  </a:cubicBezTo>
                  <a:cubicBezTo>
                    <a:pt x="1171299" y="4105188"/>
                    <a:pt x="1191898" y="4084588"/>
                    <a:pt x="1217222" y="4084588"/>
                  </a:cubicBezTo>
                  <a:close/>
                  <a:moveTo>
                    <a:pt x="1285643" y="4080608"/>
                  </a:moveTo>
                  <a:cubicBezTo>
                    <a:pt x="1286399" y="4080730"/>
                    <a:pt x="1287140" y="4081123"/>
                    <a:pt x="1287628" y="4081789"/>
                  </a:cubicBezTo>
                  <a:cubicBezTo>
                    <a:pt x="1288620" y="4083113"/>
                    <a:pt x="1288273" y="4085031"/>
                    <a:pt x="1286951" y="4086019"/>
                  </a:cubicBezTo>
                  <a:lnTo>
                    <a:pt x="1267556" y="4100371"/>
                  </a:lnTo>
                  <a:cubicBezTo>
                    <a:pt x="1267036" y="4100757"/>
                    <a:pt x="1266375" y="4100929"/>
                    <a:pt x="1265753" y="4100929"/>
                  </a:cubicBezTo>
                  <a:cubicBezTo>
                    <a:pt x="1264839" y="4100929"/>
                    <a:pt x="1263918" y="4100492"/>
                    <a:pt x="1263335" y="4099691"/>
                  </a:cubicBezTo>
                  <a:cubicBezTo>
                    <a:pt x="1262351" y="4098352"/>
                    <a:pt x="1262619" y="4096506"/>
                    <a:pt x="1263957" y="4095525"/>
                  </a:cubicBezTo>
                  <a:cubicBezTo>
                    <a:pt x="1263957" y="4095525"/>
                    <a:pt x="1283407" y="4081166"/>
                    <a:pt x="1283407" y="4081166"/>
                  </a:cubicBezTo>
                  <a:cubicBezTo>
                    <a:pt x="1284068" y="4080679"/>
                    <a:pt x="1284887" y="4080493"/>
                    <a:pt x="1285643" y="4080608"/>
                  </a:cubicBezTo>
                  <a:close/>
                  <a:moveTo>
                    <a:pt x="1149982" y="4080608"/>
                  </a:moveTo>
                  <a:cubicBezTo>
                    <a:pt x="1150738" y="4080493"/>
                    <a:pt x="1151549" y="4080679"/>
                    <a:pt x="1152219" y="4081166"/>
                  </a:cubicBezTo>
                  <a:lnTo>
                    <a:pt x="1172976" y="4096520"/>
                  </a:lnTo>
                  <a:cubicBezTo>
                    <a:pt x="1174307" y="4097515"/>
                    <a:pt x="1174574" y="4099354"/>
                    <a:pt x="1173598" y="4100686"/>
                  </a:cubicBezTo>
                  <a:cubicBezTo>
                    <a:pt x="1173007" y="4101473"/>
                    <a:pt x="1172149" y="4101924"/>
                    <a:pt x="1171236" y="4101924"/>
                  </a:cubicBezTo>
                  <a:cubicBezTo>
                    <a:pt x="1170613" y="4101924"/>
                    <a:pt x="1169976" y="4101702"/>
                    <a:pt x="1169432" y="4101301"/>
                  </a:cubicBezTo>
                  <a:cubicBezTo>
                    <a:pt x="1169432" y="4101301"/>
                    <a:pt x="1148612" y="4086019"/>
                    <a:pt x="1148612" y="4086019"/>
                  </a:cubicBezTo>
                  <a:cubicBezTo>
                    <a:pt x="1147289" y="4085031"/>
                    <a:pt x="1146998" y="4083120"/>
                    <a:pt x="1147990" y="4081789"/>
                  </a:cubicBezTo>
                  <a:cubicBezTo>
                    <a:pt x="1148486" y="4081123"/>
                    <a:pt x="1149227" y="4080722"/>
                    <a:pt x="1149982" y="4080608"/>
                  </a:cubicBezTo>
                  <a:close/>
                  <a:moveTo>
                    <a:pt x="995432" y="4034008"/>
                  </a:moveTo>
                  <a:lnTo>
                    <a:pt x="995432" y="4098698"/>
                  </a:lnTo>
                  <a:cubicBezTo>
                    <a:pt x="995432" y="4098698"/>
                    <a:pt x="1100643" y="4098698"/>
                    <a:pt x="1100643" y="4098698"/>
                  </a:cubicBezTo>
                  <a:lnTo>
                    <a:pt x="1100643" y="4034008"/>
                  </a:lnTo>
                  <a:close/>
                  <a:moveTo>
                    <a:pt x="1599032" y="4028712"/>
                  </a:moveTo>
                  <a:cubicBezTo>
                    <a:pt x="1592119" y="4028712"/>
                    <a:pt x="1585643" y="4031387"/>
                    <a:pt x="1580754" y="4036276"/>
                  </a:cubicBezTo>
                  <a:lnTo>
                    <a:pt x="1536194" y="4080828"/>
                  </a:lnTo>
                  <a:cubicBezTo>
                    <a:pt x="1526125" y="4090898"/>
                    <a:pt x="1526125" y="4107327"/>
                    <a:pt x="1536194" y="4117396"/>
                  </a:cubicBezTo>
                  <a:lnTo>
                    <a:pt x="1556281" y="4137438"/>
                  </a:lnTo>
                  <a:cubicBezTo>
                    <a:pt x="1565755" y="4146957"/>
                    <a:pt x="1582059" y="4147159"/>
                    <a:pt x="1591962" y="4138189"/>
                  </a:cubicBezTo>
                  <a:lnTo>
                    <a:pt x="1573386" y="4119610"/>
                  </a:lnTo>
                  <a:cubicBezTo>
                    <a:pt x="1570776" y="4117008"/>
                    <a:pt x="1570776" y="4112798"/>
                    <a:pt x="1573386" y="4110196"/>
                  </a:cubicBezTo>
                  <a:cubicBezTo>
                    <a:pt x="1575996" y="4107585"/>
                    <a:pt x="1580225" y="4107585"/>
                    <a:pt x="1582835" y="4110196"/>
                  </a:cubicBezTo>
                  <a:lnTo>
                    <a:pt x="1601477" y="4128839"/>
                  </a:lnTo>
                  <a:lnTo>
                    <a:pt x="1612074" y="4118245"/>
                  </a:lnTo>
                  <a:lnTo>
                    <a:pt x="1593424" y="4099601"/>
                  </a:lnTo>
                  <a:cubicBezTo>
                    <a:pt x="1590814" y="4096991"/>
                    <a:pt x="1590814" y="4092789"/>
                    <a:pt x="1593424" y="4090178"/>
                  </a:cubicBezTo>
                  <a:cubicBezTo>
                    <a:pt x="1596034" y="4087544"/>
                    <a:pt x="1600238" y="4087544"/>
                    <a:pt x="1602840" y="4090178"/>
                  </a:cubicBezTo>
                  <a:lnTo>
                    <a:pt x="1621481" y="4108822"/>
                  </a:lnTo>
                  <a:lnTo>
                    <a:pt x="1632078" y="4098227"/>
                  </a:lnTo>
                  <a:lnTo>
                    <a:pt x="1613437" y="4079600"/>
                  </a:lnTo>
                  <a:cubicBezTo>
                    <a:pt x="1610827" y="4076982"/>
                    <a:pt x="1610827" y="4072747"/>
                    <a:pt x="1613437" y="4070137"/>
                  </a:cubicBezTo>
                  <a:cubicBezTo>
                    <a:pt x="1616047" y="4067535"/>
                    <a:pt x="1620284" y="4067535"/>
                    <a:pt x="1622886" y="4070137"/>
                  </a:cubicBezTo>
                  <a:lnTo>
                    <a:pt x="1641015" y="4088263"/>
                  </a:lnTo>
                  <a:cubicBezTo>
                    <a:pt x="1643551" y="4084214"/>
                    <a:pt x="1644988" y="4079560"/>
                    <a:pt x="1644988" y="4074638"/>
                  </a:cubicBezTo>
                  <a:cubicBezTo>
                    <a:pt x="1644988" y="4067729"/>
                    <a:pt x="1642287" y="4061239"/>
                    <a:pt x="1637389" y="4056342"/>
                  </a:cubicBezTo>
                  <a:lnTo>
                    <a:pt x="1617310" y="4036276"/>
                  </a:lnTo>
                  <a:cubicBezTo>
                    <a:pt x="1612462" y="4031387"/>
                    <a:pt x="1605945" y="4028712"/>
                    <a:pt x="1599032" y="4028712"/>
                  </a:cubicBezTo>
                  <a:close/>
                  <a:moveTo>
                    <a:pt x="984369" y="4022946"/>
                  </a:moveTo>
                  <a:lnTo>
                    <a:pt x="1111699" y="4022946"/>
                  </a:lnTo>
                  <a:lnTo>
                    <a:pt x="1111699" y="4109761"/>
                  </a:lnTo>
                  <a:cubicBezTo>
                    <a:pt x="1111699" y="4109761"/>
                    <a:pt x="1061492" y="4109761"/>
                    <a:pt x="1061492" y="4109761"/>
                  </a:cubicBezTo>
                  <a:lnTo>
                    <a:pt x="1061492" y="4117836"/>
                  </a:lnTo>
                  <a:lnTo>
                    <a:pt x="1072362" y="4117836"/>
                  </a:lnTo>
                  <a:lnTo>
                    <a:pt x="1072362" y="4130453"/>
                  </a:lnTo>
                  <a:lnTo>
                    <a:pt x="1023706" y="4130453"/>
                  </a:lnTo>
                  <a:lnTo>
                    <a:pt x="1023706" y="4117836"/>
                  </a:lnTo>
                  <a:lnTo>
                    <a:pt x="1034583" y="4117836"/>
                  </a:lnTo>
                  <a:lnTo>
                    <a:pt x="1034583" y="4109761"/>
                  </a:lnTo>
                  <a:lnTo>
                    <a:pt x="984369" y="4109761"/>
                  </a:lnTo>
                  <a:close/>
                  <a:moveTo>
                    <a:pt x="1599032" y="4015354"/>
                  </a:moveTo>
                  <a:cubicBezTo>
                    <a:pt x="1609530" y="4015354"/>
                    <a:pt x="1619367" y="4019427"/>
                    <a:pt x="1626768" y="4026854"/>
                  </a:cubicBezTo>
                  <a:cubicBezTo>
                    <a:pt x="1626768" y="4026854"/>
                    <a:pt x="1646838" y="4046903"/>
                    <a:pt x="1646838" y="4046903"/>
                  </a:cubicBezTo>
                  <a:cubicBezTo>
                    <a:pt x="1654239" y="4054322"/>
                    <a:pt x="1658319" y="4064173"/>
                    <a:pt x="1658319" y="4074638"/>
                  </a:cubicBezTo>
                  <a:cubicBezTo>
                    <a:pt x="1658319" y="4085095"/>
                    <a:pt x="1654239" y="4094938"/>
                    <a:pt x="1646838" y="4102373"/>
                  </a:cubicBezTo>
                  <a:lnTo>
                    <a:pt x="1602295" y="4146925"/>
                  </a:lnTo>
                  <a:cubicBezTo>
                    <a:pt x="1594894" y="4154319"/>
                    <a:pt x="1585016" y="4158392"/>
                    <a:pt x="1574551" y="4158392"/>
                  </a:cubicBezTo>
                  <a:cubicBezTo>
                    <a:pt x="1564094" y="4158392"/>
                    <a:pt x="1554249" y="4154287"/>
                    <a:pt x="1546816" y="4146893"/>
                  </a:cubicBezTo>
                  <a:lnTo>
                    <a:pt x="1526778" y="4126851"/>
                  </a:lnTo>
                  <a:cubicBezTo>
                    <a:pt x="1511490" y="4111561"/>
                    <a:pt x="1511490" y="4086663"/>
                    <a:pt x="1526778" y="4071373"/>
                  </a:cubicBezTo>
                  <a:lnTo>
                    <a:pt x="1571297" y="4026854"/>
                  </a:lnTo>
                  <a:cubicBezTo>
                    <a:pt x="1578730" y="4019427"/>
                    <a:pt x="1588567" y="4015354"/>
                    <a:pt x="1599032" y="4015354"/>
                  </a:cubicBezTo>
                  <a:close/>
                  <a:moveTo>
                    <a:pt x="1018178" y="3991126"/>
                  </a:moveTo>
                  <a:cubicBezTo>
                    <a:pt x="1018178" y="3991126"/>
                    <a:pt x="1145509" y="3991126"/>
                    <a:pt x="1145509" y="3991126"/>
                  </a:cubicBezTo>
                  <a:lnTo>
                    <a:pt x="1145509" y="4078006"/>
                  </a:lnTo>
                  <a:lnTo>
                    <a:pt x="1119532" y="4078006"/>
                  </a:lnTo>
                  <a:lnTo>
                    <a:pt x="1119532" y="4066879"/>
                  </a:lnTo>
                  <a:lnTo>
                    <a:pt x="1134445" y="4066879"/>
                  </a:lnTo>
                  <a:lnTo>
                    <a:pt x="1134445" y="4002189"/>
                  </a:lnTo>
                  <a:lnTo>
                    <a:pt x="1029234" y="4002189"/>
                  </a:lnTo>
                  <a:lnTo>
                    <a:pt x="1029234" y="4017037"/>
                  </a:lnTo>
                  <a:lnTo>
                    <a:pt x="1018178" y="4017037"/>
                  </a:lnTo>
                  <a:close/>
                  <a:moveTo>
                    <a:pt x="1669692" y="3987029"/>
                  </a:moveTo>
                  <a:cubicBezTo>
                    <a:pt x="1672856" y="3983837"/>
                    <a:pt x="1676795" y="3985009"/>
                    <a:pt x="1680025" y="3988201"/>
                  </a:cubicBezTo>
                  <a:lnTo>
                    <a:pt x="1685526" y="3993745"/>
                  </a:lnTo>
                  <a:cubicBezTo>
                    <a:pt x="1688697" y="3996904"/>
                    <a:pt x="1689895" y="4000880"/>
                    <a:pt x="1686699" y="4004040"/>
                  </a:cubicBezTo>
                  <a:cubicBezTo>
                    <a:pt x="1686699" y="4004040"/>
                    <a:pt x="1681619" y="4009123"/>
                    <a:pt x="1679430" y="4011313"/>
                  </a:cubicBezTo>
                  <a:cubicBezTo>
                    <a:pt x="1677250" y="4013487"/>
                    <a:pt x="1677745" y="4017827"/>
                    <a:pt x="1678596" y="4019233"/>
                  </a:cubicBezTo>
                  <a:cubicBezTo>
                    <a:pt x="1683733" y="4027508"/>
                    <a:pt x="1682759" y="4035161"/>
                    <a:pt x="1675102" y="4042790"/>
                  </a:cubicBezTo>
                  <a:lnTo>
                    <a:pt x="1667404" y="4050516"/>
                  </a:lnTo>
                  <a:cubicBezTo>
                    <a:pt x="1663985" y="4053942"/>
                    <a:pt x="1656138" y="4045691"/>
                    <a:pt x="1646227" y="4035800"/>
                  </a:cubicBezTo>
                  <a:lnTo>
                    <a:pt x="1637951" y="4027508"/>
                  </a:lnTo>
                  <a:cubicBezTo>
                    <a:pt x="1628040" y="4017601"/>
                    <a:pt x="1619499" y="4010037"/>
                    <a:pt x="1623216" y="4006327"/>
                  </a:cubicBezTo>
                  <a:lnTo>
                    <a:pt x="1630947" y="3998602"/>
                  </a:lnTo>
                  <a:cubicBezTo>
                    <a:pt x="1638504" y="3991037"/>
                    <a:pt x="1646037" y="3989963"/>
                    <a:pt x="1654272" y="3994981"/>
                  </a:cubicBezTo>
                  <a:cubicBezTo>
                    <a:pt x="1655742" y="3995894"/>
                    <a:pt x="1660243" y="3996476"/>
                    <a:pt x="1662416" y="3994262"/>
                  </a:cubicBezTo>
                  <a:cubicBezTo>
                    <a:pt x="1664613" y="3992088"/>
                    <a:pt x="1669692" y="3987029"/>
                    <a:pt x="1669692" y="3987029"/>
                  </a:cubicBezTo>
                  <a:close/>
                  <a:moveTo>
                    <a:pt x="1306582" y="3977204"/>
                  </a:moveTo>
                  <a:cubicBezTo>
                    <a:pt x="1308815" y="3977204"/>
                    <a:pt x="1310625" y="3979014"/>
                    <a:pt x="1310625" y="3981245"/>
                  </a:cubicBezTo>
                  <a:lnTo>
                    <a:pt x="1310625" y="4026733"/>
                  </a:lnTo>
                  <a:cubicBezTo>
                    <a:pt x="1310625" y="4028971"/>
                    <a:pt x="1308815" y="4030774"/>
                    <a:pt x="1306582" y="4030774"/>
                  </a:cubicBezTo>
                  <a:cubicBezTo>
                    <a:pt x="1304354" y="4030774"/>
                    <a:pt x="1302544" y="4028971"/>
                    <a:pt x="1302544" y="4026733"/>
                  </a:cubicBezTo>
                  <a:lnTo>
                    <a:pt x="1302544" y="3981245"/>
                  </a:lnTo>
                  <a:cubicBezTo>
                    <a:pt x="1302544" y="3979014"/>
                    <a:pt x="1304354" y="3977204"/>
                    <a:pt x="1306582" y="3977204"/>
                  </a:cubicBezTo>
                  <a:close/>
                  <a:moveTo>
                    <a:pt x="1284708" y="3977204"/>
                  </a:moveTo>
                  <a:cubicBezTo>
                    <a:pt x="1286942" y="3977204"/>
                    <a:pt x="1288751" y="3979014"/>
                    <a:pt x="1288751" y="3981245"/>
                  </a:cubicBezTo>
                  <a:lnTo>
                    <a:pt x="1288751" y="4026733"/>
                  </a:lnTo>
                  <a:cubicBezTo>
                    <a:pt x="1288751" y="4028971"/>
                    <a:pt x="1286942" y="4030774"/>
                    <a:pt x="1284708" y="4030774"/>
                  </a:cubicBezTo>
                  <a:cubicBezTo>
                    <a:pt x="1282474" y="4030774"/>
                    <a:pt x="1280670" y="4028971"/>
                    <a:pt x="1280670" y="4026733"/>
                  </a:cubicBezTo>
                  <a:lnTo>
                    <a:pt x="1280670" y="3981245"/>
                  </a:lnTo>
                  <a:cubicBezTo>
                    <a:pt x="1280670" y="3979014"/>
                    <a:pt x="1282474" y="3977204"/>
                    <a:pt x="1284708" y="3977204"/>
                  </a:cubicBezTo>
                  <a:close/>
                  <a:moveTo>
                    <a:pt x="1262834" y="3977204"/>
                  </a:moveTo>
                  <a:cubicBezTo>
                    <a:pt x="1265068" y="3977204"/>
                    <a:pt x="1266871" y="3979014"/>
                    <a:pt x="1266871" y="3981245"/>
                  </a:cubicBezTo>
                  <a:lnTo>
                    <a:pt x="1266871" y="4026733"/>
                  </a:lnTo>
                  <a:cubicBezTo>
                    <a:pt x="1266871" y="4028971"/>
                    <a:pt x="1265068" y="4030774"/>
                    <a:pt x="1262834" y="4030774"/>
                  </a:cubicBezTo>
                  <a:cubicBezTo>
                    <a:pt x="1260600" y="4030774"/>
                    <a:pt x="1258796" y="4028971"/>
                    <a:pt x="1258796" y="4026733"/>
                  </a:cubicBezTo>
                  <a:lnTo>
                    <a:pt x="1258796" y="3981245"/>
                  </a:lnTo>
                  <a:cubicBezTo>
                    <a:pt x="1258796" y="3979014"/>
                    <a:pt x="1260600" y="3977204"/>
                    <a:pt x="1262834" y="3977204"/>
                  </a:cubicBezTo>
                  <a:close/>
                  <a:moveTo>
                    <a:pt x="1556841" y="3971315"/>
                  </a:moveTo>
                  <a:lnTo>
                    <a:pt x="1567147" y="3971315"/>
                  </a:lnTo>
                  <a:cubicBezTo>
                    <a:pt x="1567147" y="3971315"/>
                    <a:pt x="1566854" y="3980776"/>
                    <a:pt x="1573741" y="3985643"/>
                  </a:cubicBezTo>
                  <a:cubicBezTo>
                    <a:pt x="1575740" y="3987068"/>
                    <a:pt x="1576609" y="3989077"/>
                    <a:pt x="1576609" y="3990514"/>
                  </a:cubicBezTo>
                  <a:cubicBezTo>
                    <a:pt x="1576886" y="3991661"/>
                    <a:pt x="1576310" y="3994235"/>
                    <a:pt x="1573162" y="3994235"/>
                  </a:cubicBezTo>
                  <a:lnTo>
                    <a:pt x="1566284" y="3994235"/>
                  </a:lnTo>
                  <a:cubicBezTo>
                    <a:pt x="1564279" y="3994235"/>
                    <a:pt x="1562560" y="3992504"/>
                    <a:pt x="1562560" y="3990514"/>
                  </a:cubicBezTo>
                  <a:cubicBezTo>
                    <a:pt x="1562560" y="3988215"/>
                    <a:pt x="1560272" y="3981054"/>
                    <a:pt x="1556841" y="3974177"/>
                  </a:cubicBezTo>
                  <a:close/>
                  <a:moveTo>
                    <a:pt x="1482825" y="3961294"/>
                  </a:moveTo>
                  <a:lnTo>
                    <a:pt x="1489533" y="3961294"/>
                  </a:lnTo>
                  <a:cubicBezTo>
                    <a:pt x="1490502" y="3961294"/>
                    <a:pt x="1491281" y="3961612"/>
                    <a:pt x="1491898" y="3962233"/>
                  </a:cubicBezTo>
                  <a:cubicBezTo>
                    <a:pt x="1492528" y="3962854"/>
                    <a:pt x="1492826" y="3963616"/>
                    <a:pt x="1492826" y="3964592"/>
                  </a:cubicBezTo>
                  <a:lnTo>
                    <a:pt x="1492826" y="4024498"/>
                  </a:lnTo>
                  <a:cubicBezTo>
                    <a:pt x="1492826" y="4025466"/>
                    <a:pt x="1492528" y="4026228"/>
                    <a:pt x="1491898" y="4026856"/>
                  </a:cubicBezTo>
                  <a:cubicBezTo>
                    <a:pt x="1491281" y="4027485"/>
                    <a:pt x="1490502" y="4027788"/>
                    <a:pt x="1489533" y="4027788"/>
                  </a:cubicBezTo>
                  <a:lnTo>
                    <a:pt x="1482825" y="4027788"/>
                  </a:lnTo>
                  <a:cubicBezTo>
                    <a:pt x="1481850" y="4027788"/>
                    <a:pt x="1481091" y="4027485"/>
                    <a:pt x="1480461" y="4026856"/>
                  </a:cubicBezTo>
                  <a:cubicBezTo>
                    <a:pt x="1479831" y="4026228"/>
                    <a:pt x="1479533" y="4025466"/>
                    <a:pt x="1479533" y="4024498"/>
                  </a:cubicBezTo>
                  <a:lnTo>
                    <a:pt x="1479533" y="3964592"/>
                  </a:lnTo>
                  <a:cubicBezTo>
                    <a:pt x="1479533" y="3963616"/>
                    <a:pt x="1479831" y="3962854"/>
                    <a:pt x="1480461" y="3962233"/>
                  </a:cubicBezTo>
                  <a:cubicBezTo>
                    <a:pt x="1481091" y="3961612"/>
                    <a:pt x="1481850" y="3961294"/>
                    <a:pt x="1482825" y="3961294"/>
                  </a:cubicBezTo>
                  <a:close/>
                  <a:moveTo>
                    <a:pt x="1454985" y="3961294"/>
                  </a:moveTo>
                  <a:lnTo>
                    <a:pt x="1461693" y="3961294"/>
                  </a:lnTo>
                  <a:cubicBezTo>
                    <a:pt x="1462662" y="3961294"/>
                    <a:pt x="1463427" y="3961612"/>
                    <a:pt x="1464058" y="3962233"/>
                  </a:cubicBezTo>
                  <a:cubicBezTo>
                    <a:pt x="1464688" y="3962854"/>
                    <a:pt x="1464986" y="3963616"/>
                    <a:pt x="1464986" y="3964592"/>
                  </a:cubicBezTo>
                  <a:lnTo>
                    <a:pt x="1464986" y="4024498"/>
                  </a:lnTo>
                  <a:cubicBezTo>
                    <a:pt x="1464986" y="4025466"/>
                    <a:pt x="1464688" y="4026228"/>
                    <a:pt x="1464058" y="4026856"/>
                  </a:cubicBezTo>
                  <a:cubicBezTo>
                    <a:pt x="1463427" y="4027485"/>
                    <a:pt x="1462662" y="4027788"/>
                    <a:pt x="1461693" y="4027788"/>
                  </a:cubicBezTo>
                  <a:lnTo>
                    <a:pt x="1454985" y="4027788"/>
                  </a:lnTo>
                  <a:cubicBezTo>
                    <a:pt x="1454010" y="4027788"/>
                    <a:pt x="1453244" y="4027485"/>
                    <a:pt x="1452621" y="4026856"/>
                  </a:cubicBezTo>
                  <a:cubicBezTo>
                    <a:pt x="1451997" y="4026228"/>
                    <a:pt x="1451692" y="4025466"/>
                    <a:pt x="1451692" y="4024498"/>
                  </a:cubicBezTo>
                  <a:lnTo>
                    <a:pt x="1451692" y="3964592"/>
                  </a:lnTo>
                  <a:cubicBezTo>
                    <a:pt x="1451692" y="3963616"/>
                    <a:pt x="1451997" y="3962854"/>
                    <a:pt x="1452621" y="3962233"/>
                  </a:cubicBezTo>
                  <a:cubicBezTo>
                    <a:pt x="1453244" y="3961612"/>
                    <a:pt x="1454010" y="3961294"/>
                    <a:pt x="1454985" y="3961294"/>
                  </a:cubicBezTo>
                  <a:close/>
                  <a:moveTo>
                    <a:pt x="1429130" y="3961294"/>
                  </a:moveTo>
                  <a:lnTo>
                    <a:pt x="1435784" y="3961294"/>
                  </a:lnTo>
                  <a:cubicBezTo>
                    <a:pt x="1436753" y="3961294"/>
                    <a:pt x="1437572" y="3961612"/>
                    <a:pt x="1438203" y="3962233"/>
                  </a:cubicBezTo>
                  <a:cubicBezTo>
                    <a:pt x="1438819" y="3962854"/>
                    <a:pt x="1439138" y="3963616"/>
                    <a:pt x="1439138" y="3964592"/>
                  </a:cubicBezTo>
                  <a:lnTo>
                    <a:pt x="1439138" y="4024498"/>
                  </a:lnTo>
                  <a:cubicBezTo>
                    <a:pt x="1439138" y="4025466"/>
                    <a:pt x="1438819" y="4026228"/>
                    <a:pt x="1438203" y="4026856"/>
                  </a:cubicBezTo>
                  <a:cubicBezTo>
                    <a:pt x="1437572" y="4027485"/>
                    <a:pt x="1436753" y="4027788"/>
                    <a:pt x="1435784" y="4027788"/>
                  </a:cubicBezTo>
                  <a:lnTo>
                    <a:pt x="1429130" y="4027788"/>
                  </a:lnTo>
                  <a:cubicBezTo>
                    <a:pt x="1428161" y="4027788"/>
                    <a:pt x="1427403" y="4027485"/>
                    <a:pt x="1426772" y="4026856"/>
                  </a:cubicBezTo>
                  <a:cubicBezTo>
                    <a:pt x="1426142" y="4026228"/>
                    <a:pt x="1425837" y="4025466"/>
                    <a:pt x="1425837" y="4024498"/>
                  </a:cubicBezTo>
                  <a:lnTo>
                    <a:pt x="1425837" y="3964592"/>
                  </a:lnTo>
                  <a:cubicBezTo>
                    <a:pt x="1425837" y="3963616"/>
                    <a:pt x="1426149" y="3962854"/>
                    <a:pt x="1426772" y="3962233"/>
                  </a:cubicBezTo>
                  <a:cubicBezTo>
                    <a:pt x="1427403" y="3961612"/>
                    <a:pt x="1428161" y="3961294"/>
                    <a:pt x="1429130" y="3961294"/>
                  </a:cubicBezTo>
                  <a:close/>
                  <a:moveTo>
                    <a:pt x="1006058" y="3957324"/>
                  </a:moveTo>
                  <a:cubicBezTo>
                    <a:pt x="1009258" y="3957324"/>
                    <a:pt x="1011838" y="3959898"/>
                    <a:pt x="1011838" y="3963097"/>
                  </a:cubicBezTo>
                  <a:cubicBezTo>
                    <a:pt x="1011838" y="3966295"/>
                    <a:pt x="1009258" y="3968879"/>
                    <a:pt x="1006058" y="3968879"/>
                  </a:cubicBezTo>
                  <a:cubicBezTo>
                    <a:pt x="1002867" y="3968879"/>
                    <a:pt x="1000278" y="3966295"/>
                    <a:pt x="1000278" y="3963097"/>
                  </a:cubicBezTo>
                  <a:cubicBezTo>
                    <a:pt x="1000278" y="3959898"/>
                    <a:pt x="1002867" y="3957324"/>
                    <a:pt x="1006058" y="3957324"/>
                  </a:cubicBezTo>
                  <a:close/>
                  <a:moveTo>
                    <a:pt x="1037883" y="3955334"/>
                  </a:moveTo>
                  <a:cubicBezTo>
                    <a:pt x="1041083" y="3955334"/>
                    <a:pt x="1043663" y="3957909"/>
                    <a:pt x="1043663" y="3961107"/>
                  </a:cubicBezTo>
                  <a:cubicBezTo>
                    <a:pt x="1043663" y="3964306"/>
                    <a:pt x="1041083" y="3966890"/>
                    <a:pt x="1037883" y="3966890"/>
                  </a:cubicBezTo>
                  <a:cubicBezTo>
                    <a:pt x="1034683" y="3966890"/>
                    <a:pt x="1032103" y="3964306"/>
                    <a:pt x="1032103" y="3961107"/>
                  </a:cubicBezTo>
                  <a:cubicBezTo>
                    <a:pt x="1032103" y="3957909"/>
                    <a:pt x="1034683" y="3955334"/>
                    <a:pt x="1037883" y="3955334"/>
                  </a:cubicBezTo>
                  <a:close/>
                  <a:moveTo>
                    <a:pt x="1243819" y="3952474"/>
                  </a:moveTo>
                  <a:lnTo>
                    <a:pt x="1243819" y="4031768"/>
                  </a:lnTo>
                  <a:cubicBezTo>
                    <a:pt x="1243819" y="4036701"/>
                    <a:pt x="1247890" y="4040776"/>
                    <a:pt x="1252827" y="4040776"/>
                  </a:cubicBezTo>
                  <a:lnTo>
                    <a:pt x="1317834" y="4040776"/>
                  </a:lnTo>
                  <a:cubicBezTo>
                    <a:pt x="1322771" y="4040776"/>
                    <a:pt x="1326780" y="4036701"/>
                    <a:pt x="1326780" y="4031768"/>
                  </a:cubicBezTo>
                  <a:cubicBezTo>
                    <a:pt x="1326780" y="4031768"/>
                    <a:pt x="1326780" y="3952474"/>
                    <a:pt x="1326780" y="3952474"/>
                  </a:cubicBezTo>
                  <a:close/>
                  <a:moveTo>
                    <a:pt x="1412666" y="3941537"/>
                  </a:moveTo>
                  <a:lnTo>
                    <a:pt x="1412666" y="4040099"/>
                  </a:lnTo>
                  <a:cubicBezTo>
                    <a:pt x="1412666" y="4041622"/>
                    <a:pt x="1412924" y="4043034"/>
                    <a:pt x="1413411" y="4044321"/>
                  </a:cubicBezTo>
                  <a:cubicBezTo>
                    <a:pt x="1413899" y="4045600"/>
                    <a:pt x="1414380" y="4046539"/>
                    <a:pt x="1414902" y="4047116"/>
                  </a:cubicBezTo>
                  <a:cubicBezTo>
                    <a:pt x="1415424" y="4047707"/>
                    <a:pt x="1415817" y="4047988"/>
                    <a:pt x="1416020" y="4047988"/>
                  </a:cubicBezTo>
                  <a:lnTo>
                    <a:pt x="1502522" y="4047988"/>
                  </a:lnTo>
                  <a:cubicBezTo>
                    <a:pt x="1502738" y="4047988"/>
                    <a:pt x="1503057" y="4047707"/>
                    <a:pt x="1503579" y="4047116"/>
                  </a:cubicBezTo>
                  <a:cubicBezTo>
                    <a:pt x="1504094" y="4046539"/>
                    <a:pt x="1504581" y="4045600"/>
                    <a:pt x="1505069" y="4044321"/>
                  </a:cubicBezTo>
                  <a:cubicBezTo>
                    <a:pt x="1505564" y="4043034"/>
                    <a:pt x="1505814" y="4041622"/>
                    <a:pt x="1505814" y="4040099"/>
                  </a:cubicBezTo>
                  <a:cubicBezTo>
                    <a:pt x="1505814" y="4040099"/>
                    <a:pt x="1505814" y="3941537"/>
                    <a:pt x="1505814" y="3941537"/>
                  </a:cubicBezTo>
                  <a:close/>
                  <a:moveTo>
                    <a:pt x="1140776" y="3939408"/>
                  </a:moveTo>
                  <a:lnTo>
                    <a:pt x="1165086" y="3959668"/>
                  </a:lnTo>
                  <a:cubicBezTo>
                    <a:pt x="1167791" y="3961920"/>
                    <a:pt x="1167969" y="3965805"/>
                    <a:pt x="1165479" y="3968291"/>
                  </a:cubicBezTo>
                  <a:lnTo>
                    <a:pt x="1156414" y="3977355"/>
                  </a:lnTo>
                  <a:cubicBezTo>
                    <a:pt x="1153928" y="3979845"/>
                    <a:pt x="1150044" y="3979662"/>
                    <a:pt x="1147788" y="3976958"/>
                  </a:cubicBezTo>
                  <a:lnTo>
                    <a:pt x="1127537" y="3952653"/>
                  </a:lnTo>
                  <a:cubicBezTo>
                    <a:pt x="1132823" y="3949220"/>
                    <a:pt x="1137340" y="3944699"/>
                    <a:pt x="1140776" y="3939408"/>
                  </a:cubicBezTo>
                  <a:close/>
                  <a:moveTo>
                    <a:pt x="1608395" y="3935926"/>
                  </a:moveTo>
                  <a:cubicBezTo>
                    <a:pt x="1602408" y="3941835"/>
                    <a:pt x="1591498" y="3950165"/>
                    <a:pt x="1576886" y="3951161"/>
                  </a:cubicBezTo>
                  <a:lnTo>
                    <a:pt x="1576886" y="3962832"/>
                  </a:lnTo>
                  <a:cubicBezTo>
                    <a:pt x="1591498" y="3963809"/>
                    <a:pt x="1602408" y="3972143"/>
                    <a:pt x="1608395" y="3978061"/>
                  </a:cubicBezTo>
                  <a:cubicBezTo>
                    <a:pt x="1608395" y="3978061"/>
                    <a:pt x="1608395" y="3935926"/>
                    <a:pt x="1608395" y="3935926"/>
                  </a:cubicBezTo>
                  <a:close/>
                  <a:moveTo>
                    <a:pt x="1612147" y="3925626"/>
                  </a:moveTo>
                  <a:cubicBezTo>
                    <a:pt x="1613322" y="3925999"/>
                    <a:pt x="1614130" y="3927108"/>
                    <a:pt x="1614130" y="3928353"/>
                  </a:cubicBezTo>
                  <a:lnTo>
                    <a:pt x="1614130" y="3951260"/>
                  </a:lnTo>
                  <a:cubicBezTo>
                    <a:pt x="1617278" y="3951260"/>
                    <a:pt x="1619856" y="3953838"/>
                    <a:pt x="1619856" y="3956994"/>
                  </a:cubicBezTo>
                  <a:cubicBezTo>
                    <a:pt x="1619856" y="3960140"/>
                    <a:pt x="1617278" y="3962717"/>
                    <a:pt x="1614130" y="3962717"/>
                  </a:cubicBezTo>
                  <a:lnTo>
                    <a:pt x="1614130" y="3985643"/>
                  </a:lnTo>
                  <a:cubicBezTo>
                    <a:pt x="1614130" y="3986886"/>
                    <a:pt x="1613322" y="3987978"/>
                    <a:pt x="1612147" y="3988355"/>
                  </a:cubicBezTo>
                  <a:cubicBezTo>
                    <a:pt x="1611854" y="3988448"/>
                    <a:pt x="1611565" y="3988496"/>
                    <a:pt x="1611266" y="3988496"/>
                  </a:cubicBezTo>
                  <a:cubicBezTo>
                    <a:pt x="1610355" y="3988496"/>
                    <a:pt x="1609490" y="3988058"/>
                    <a:pt x="1608942" y="3987308"/>
                  </a:cubicBezTo>
                  <a:cubicBezTo>
                    <a:pt x="1608802" y="3987129"/>
                    <a:pt x="1595139" y="3968447"/>
                    <a:pt x="1574018" y="3968447"/>
                  </a:cubicBezTo>
                  <a:lnTo>
                    <a:pt x="1556268" y="3968447"/>
                  </a:lnTo>
                  <a:cubicBezTo>
                    <a:pt x="1553397" y="3968447"/>
                    <a:pt x="1551109" y="3966160"/>
                    <a:pt x="1551109" y="3963295"/>
                  </a:cubicBezTo>
                  <a:lnTo>
                    <a:pt x="1551109" y="3950692"/>
                  </a:lnTo>
                  <a:cubicBezTo>
                    <a:pt x="1551109" y="3947824"/>
                    <a:pt x="1553397" y="3945527"/>
                    <a:pt x="1556268" y="3945527"/>
                  </a:cubicBezTo>
                  <a:lnTo>
                    <a:pt x="1574018" y="3945527"/>
                  </a:lnTo>
                  <a:cubicBezTo>
                    <a:pt x="1595139" y="3945527"/>
                    <a:pt x="1608802" y="3926868"/>
                    <a:pt x="1608942" y="3926676"/>
                  </a:cubicBezTo>
                  <a:cubicBezTo>
                    <a:pt x="1609674" y="3925661"/>
                    <a:pt x="1610970" y="3925246"/>
                    <a:pt x="1612147" y="3925626"/>
                  </a:cubicBezTo>
                  <a:close/>
                  <a:moveTo>
                    <a:pt x="1242015" y="3925623"/>
                  </a:moveTo>
                  <a:cubicBezTo>
                    <a:pt x="1237073" y="3925623"/>
                    <a:pt x="1233069" y="3929637"/>
                    <a:pt x="1233069" y="3934576"/>
                  </a:cubicBezTo>
                  <a:lnTo>
                    <a:pt x="1233069" y="3935446"/>
                  </a:lnTo>
                  <a:cubicBezTo>
                    <a:pt x="1233069" y="3940385"/>
                    <a:pt x="1237073" y="3944392"/>
                    <a:pt x="1242015" y="3944392"/>
                  </a:cubicBezTo>
                  <a:lnTo>
                    <a:pt x="1328584" y="3944392"/>
                  </a:lnTo>
                  <a:cubicBezTo>
                    <a:pt x="1333526" y="3944392"/>
                    <a:pt x="1337530" y="3940385"/>
                    <a:pt x="1337530" y="3935446"/>
                  </a:cubicBezTo>
                  <a:cubicBezTo>
                    <a:pt x="1337530" y="3935446"/>
                    <a:pt x="1337530" y="3934576"/>
                    <a:pt x="1337530" y="3934576"/>
                  </a:cubicBezTo>
                  <a:cubicBezTo>
                    <a:pt x="1337530" y="3929637"/>
                    <a:pt x="1333526" y="3925623"/>
                    <a:pt x="1328584" y="3925623"/>
                  </a:cubicBezTo>
                  <a:close/>
                  <a:moveTo>
                    <a:pt x="1031602" y="3925504"/>
                  </a:moveTo>
                  <a:cubicBezTo>
                    <a:pt x="1037937" y="3925504"/>
                    <a:pt x="1043097" y="3930604"/>
                    <a:pt x="1043097" y="3936933"/>
                  </a:cubicBezTo>
                  <a:cubicBezTo>
                    <a:pt x="1043097" y="3943262"/>
                    <a:pt x="1037937" y="3948372"/>
                    <a:pt x="1031602" y="3948372"/>
                  </a:cubicBezTo>
                  <a:cubicBezTo>
                    <a:pt x="1025275" y="3948372"/>
                    <a:pt x="1020170" y="3943262"/>
                    <a:pt x="1020170" y="3936933"/>
                  </a:cubicBezTo>
                  <a:cubicBezTo>
                    <a:pt x="1020170" y="3930604"/>
                    <a:pt x="1025275" y="3925504"/>
                    <a:pt x="1031602" y="3925504"/>
                  </a:cubicBezTo>
                  <a:close/>
                  <a:moveTo>
                    <a:pt x="1442803" y="3914941"/>
                  </a:moveTo>
                  <a:cubicBezTo>
                    <a:pt x="1442112" y="3915082"/>
                    <a:pt x="1441543" y="3915429"/>
                    <a:pt x="1441062" y="3916058"/>
                  </a:cubicBezTo>
                  <a:cubicBezTo>
                    <a:pt x="1441062" y="3916058"/>
                    <a:pt x="1435967" y="3928235"/>
                    <a:pt x="1435967" y="3928235"/>
                  </a:cubicBezTo>
                  <a:lnTo>
                    <a:pt x="1482514" y="3928235"/>
                  </a:lnTo>
                  <a:lnTo>
                    <a:pt x="1477541" y="3916058"/>
                  </a:lnTo>
                  <a:cubicBezTo>
                    <a:pt x="1477053" y="3915429"/>
                    <a:pt x="1476490" y="3915082"/>
                    <a:pt x="1475799" y="3914941"/>
                  </a:cubicBezTo>
                  <a:close/>
                  <a:moveTo>
                    <a:pt x="1285333" y="3907732"/>
                  </a:moveTo>
                  <a:cubicBezTo>
                    <a:pt x="1279436" y="3907732"/>
                    <a:pt x="1274488" y="3911912"/>
                    <a:pt x="1273399" y="3917486"/>
                  </a:cubicBezTo>
                  <a:lnTo>
                    <a:pt x="1297200" y="3917486"/>
                  </a:lnTo>
                  <a:cubicBezTo>
                    <a:pt x="1296111" y="3911912"/>
                    <a:pt x="1291225" y="3907732"/>
                    <a:pt x="1285333" y="3907732"/>
                  </a:cubicBezTo>
                  <a:close/>
                  <a:moveTo>
                    <a:pt x="1442613" y="3901639"/>
                  </a:moveTo>
                  <a:lnTo>
                    <a:pt x="1475860" y="3901639"/>
                  </a:lnTo>
                  <a:cubicBezTo>
                    <a:pt x="1478638" y="3901639"/>
                    <a:pt x="1481423" y="3902512"/>
                    <a:pt x="1484126" y="3904308"/>
                  </a:cubicBezTo>
                  <a:cubicBezTo>
                    <a:pt x="1486830" y="3906113"/>
                    <a:pt x="1488700" y="3908323"/>
                    <a:pt x="1489723" y="3910897"/>
                  </a:cubicBezTo>
                  <a:lnTo>
                    <a:pt x="1496993" y="3928235"/>
                  </a:lnTo>
                  <a:lnTo>
                    <a:pt x="1529122" y="3928235"/>
                  </a:lnTo>
                  <a:cubicBezTo>
                    <a:pt x="1530091" y="3928235"/>
                    <a:pt x="1530863" y="3928546"/>
                    <a:pt x="1531480" y="3929167"/>
                  </a:cubicBezTo>
                  <a:cubicBezTo>
                    <a:pt x="1532110" y="3929796"/>
                    <a:pt x="1532415" y="3930624"/>
                    <a:pt x="1532415" y="3931592"/>
                  </a:cubicBezTo>
                  <a:lnTo>
                    <a:pt x="1532415" y="3938239"/>
                  </a:lnTo>
                  <a:cubicBezTo>
                    <a:pt x="1532415" y="3939215"/>
                    <a:pt x="1532110" y="3939984"/>
                    <a:pt x="1531480" y="3940606"/>
                  </a:cubicBezTo>
                  <a:cubicBezTo>
                    <a:pt x="1530863" y="3941227"/>
                    <a:pt x="1530091" y="3941537"/>
                    <a:pt x="1529122" y="3941537"/>
                  </a:cubicBezTo>
                  <a:lnTo>
                    <a:pt x="1519115" y="3941537"/>
                  </a:lnTo>
                  <a:lnTo>
                    <a:pt x="1519115" y="4040099"/>
                  </a:lnTo>
                  <a:cubicBezTo>
                    <a:pt x="1519115" y="4045837"/>
                    <a:pt x="1517522" y="4050805"/>
                    <a:pt x="1514270" y="4055013"/>
                  </a:cubicBezTo>
                  <a:cubicBezTo>
                    <a:pt x="1511004" y="4059198"/>
                    <a:pt x="1507102" y="4061349"/>
                    <a:pt x="1502522" y="4061349"/>
                  </a:cubicBezTo>
                  <a:lnTo>
                    <a:pt x="1416020" y="4061349"/>
                  </a:lnTo>
                  <a:cubicBezTo>
                    <a:pt x="1411446" y="4061349"/>
                    <a:pt x="1407537" y="4059316"/>
                    <a:pt x="1404271" y="4055257"/>
                  </a:cubicBezTo>
                  <a:cubicBezTo>
                    <a:pt x="1401019" y="4051205"/>
                    <a:pt x="1399366" y="4046273"/>
                    <a:pt x="1399366" y="4040528"/>
                  </a:cubicBezTo>
                  <a:lnTo>
                    <a:pt x="1399366" y="3941537"/>
                  </a:lnTo>
                  <a:lnTo>
                    <a:pt x="1389359" y="3941537"/>
                  </a:lnTo>
                  <a:cubicBezTo>
                    <a:pt x="1388383" y="3941537"/>
                    <a:pt x="1387624" y="3941227"/>
                    <a:pt x="1387001" y="3940606"/>
                  </a:cubicBezTo>
                  <a:cubicBezTo>
                    <a:pt x="1386377" y="3939984"/>
                    <a:pt x="1386066" y="3939215"/>
                    <a:pt x="1386066" y="3938239"/>
                  </a:cubicBezTo>
                  <a:lnTo>
                    <a:pt x="1386066" y="3931592"/>
                  </a:lnTo>
                  <a:cubicBezTo>
                    <a:pt x="1386066" y="3930624"/>
                    <a:pt x="1386377" y="3929796"/>
                    <a:pt x="1387001" y="3929167"/>
                  </a:cubicBezTo>
                  <a:cubicBezTo>
                    <a:pt x="1387624" y="3928546"/>
                    <a:pt x="1388383" y="3928235"/>
                    <a:pt x="1389359" y="3928235"/>
                  </a:cubicBezTo>
                  <a:lnTo>
                    <a:pt x="1421488" y="3928235"/>
                  </a:lnTo>
                  <a:lnTo>
                    <a:pt x="1428758" y="3910897"/>
                  </a:lnTo>
                  <a:cubicBezTo>
                    <a:pt x="1429794" y="3908323"/>
                    <a:pt x="1431719" y="3906113"/>
                    <a:pt x="1434415" y="3904308"/>
                  </a:cubicBezTo>
                  <a:cubicBezTo>
                    <a:pt x="1437125" y="3902512"/>
                    <a:pt x="1439842" y="3901639"/>
                    <a:pt x="1442613" y="3901639"/>
                  </a:cubicBezTo>
                  <a:close/>
                  <a:moveTo>
                    <a:pt x="1285333" y="3899650"/>
                  </a:moveTo>
                  <a:cubicBezTo>
                    <a:pt x="1295681" y="3899650"/>
                    <a:pt x="1304186" y="3907435"/>
                    <a:pt x="1305342" y="3917486"/>
                  </a:cubicBezTo>
                  <a:lnTo>
                    <a:pt x="1328584" y="3917486"/>
                  </a:lnTo>
                  <a:cubicBezTo>
                    <a:pt x="1337983" y="3917486"/>
                    <a:pt x="1345611" y="3925181"/>
                    <a:pt x="1345611" y="3934576"/>
                  </a:cubicBezTo>
                  <a:lnTo>
                    <a:pt x="1345611" y="3935446"/>
                  </a:lnTo>
                  <a:cubicBezTo>
                    <a:pt x="1345611" y="3942624"/>
                    <a:pt x="1341166" y="3948792"/>
                    <a:pt x="1334861" y="3951293"/>
                  </a:cubicBezTo>
                  <a:lnTo>
                    <a:pt x="1334861" y="4031768"/>
                  </a:lnTo>
                  <a:cubicBezTo>
                    <a:pt x="1334861" y="4041170"/>
                    <a:pt x="1327227" y="4048858"/>
                    <a:pt x="1317834" y="4048858"/>
                  </a:cubicBezTo>
                  <a:lnTo>
                    <a:pt x="1252827" y="4048858"/>
                  </a:lnTo>
                  <a:cubicBezTo>
                    <a:pt x="1243434" y="4048858"/>
                    <a:pt x="1235739" y="4041170"/>
                    <a:pt x="1235739" y="4031768"/>
                  </a:cubicBezTo>
                  <a:lnTo>
                    <a:pt x="1235739" y="3951293"/>
                  </a:lnTo>
                  <a:cubicBezTo>
                    <a:pt x="1229439" y="3948792"/>
                    <a:pt x="1224989" y="3942624"/>
                    <a:pt x="1224989" y="3935446"/>
                  </a:cubicBezTo>
                  <a:lnTo>
                    <a:pt x="1224989" y="3934576"/>
                  </a:lnTo>
                  <a:cubicBezTo>
                    <a:pt x="1224989" y="3925181"/>
                    <a:pt x="1232611" y="3917486"/>
                    <a:pt x="1242015" y="3917486"/>
                  </a:cubicBezTo>
                  <a:lnTo>
                    <a:pt x="1265258" y="3917486"/>
                  </a:lnTo>
                  <a:cubicBezTo>
                    <a:pt x="1266419" y="3907435"/>
                    <a:pt x="1274980" y="3899650"/>
                    <a:pt x="1285333" y="3899650"/>
                  </a:cubicBezTo>
                  <a:close/>
                  <a:moveTo>
                    <a:pt x="963986" y="3892251"/>
                  </a:moveTo>
                  <a:cubicBezTo>
                    <a:pt x="963521" y="3892251"/>
                    <a:pt x="963038" y="3892378"/>
                    <a:pt x="962619" y="3892631"/>
                  </a:cubicBezTo>
                  <a:cubicBezTo>
                    <a:pt x="948042" y="3901320"/>
                    <a:pt x="928816" y="3907025"/>
                    <a:pt x="905205" y="3909716"/>
                  </a:cubicBezTo>
                  <a:cubicBezTo>
                    <a:pt x="894046" y="3910984"/>
                    <a:pt x="884064" y="3911335"/>
                    <a:pt x="876926" y="3911335"/>
                  </a:cubicBezTo>
                  <a:cubicBezTo>
                    <a:pt x="876406" y="3911335"/>
                    <a:pt x="875932" y="3911335"/>
                    <a:pt x="875431" y="3911335"/>
                  </a:cubicBezTo>
                  <a:cubicBezTo>
                    <a:pt x="874456" y="3911335"/>
                    <a:pt x="873790" y="3912330"/>
                    <a:pt x="874255" y="3913197"/>
                  </a:cubicBezTo>
                  <a:cubicBezTo>
                    <a:pt x="875750" y="3915996"/>
                    <a:pt x="877509" y="3918717"/>
                    <a:pt x="879469" y="3921340"/>
                  </a:cubicBezTo>
                  <a:cubicBezTo>
                    <a:pt x="880864" y="3921379"/>
                    <a:pt x="882441" y="3921418"/>
                    <a:pt x="884137" y="3921467"/>
                  </a:cubicBezTo>
                  <a:cubicBezTo>
                    <a:pt x="885650" y="3921496"/>
                    <a:pt x="887255" y="3921506"/>
                    <a:pt x="888923" y="3921525"/>
                  </a:cubicBezTo>
                  <a:cubicBezTo>
                    <a:pt x="895678" y="3921603"/>
                    <a:pt x="903318" y="3921574"/>
                    <a:pt x="908933" y="3921028"/>
                  </a:cubicBezTo>
                  <a:cubicBezTo>
                    <a:pt x="909590" y="3920970"/>
                    <a:pt x="909799" y="3921906"/>
                    <a:pt x="909179" y="3922149"/>
                  </a:cubicBezTo>
                  <a:cubicBezTo>
                    <a:pt x="905542" y="3923554"/>
                    <a:pt x="900081" y="3925514"/>
                    <a:pt x="894448" y="3926928"/>
                  </a:cubicBezTo>
                  <a:cubicBezTo>
                    <a:pt x="893025" y="3927289"/>
                    <a:pt x="891567" y="3927591"/>
                    <a:pt x="890163" y="3927864"/>
                  </a:cubicBezTo>
                  <a:cubicBezTo>
                    <a:pt x="888650" y="3928147"/>
                    <a:pt x="887127" y="3928391"/>
                    <a:pt x="885687" y="3928547"/>
                  </a:cubicBezTo>
                  <a:cubicBezTo>
                    <a:pt x="886617" y="3929483"/>
                    <a:pt x="887610" y="3930380"/>
                    <a:pt x="888613" y="3931277"/>
                  </a:cubicBezTo>
                  <a:cubicBezTo>
                    <a:pt x="889379" y="3931979"/>
                    <a:pt x="890163" y="3932652"/>
                    <a:pt x="890974" y="3933335"/>
                  </a:cubicBezTo>
                  <a:cubicBezTo>
                    <a:pt x="892351" y="3933393"/>
                    <a:pt x="894457" y="3933510"/>
                    <a:pt x="897000" y="3933578"/>
                  </a:cubicBezTo>
                  <a:cubicBezTo>
                    <a:pt x="898933" y="3933637"/>
                    <a:pt x="901139" y="3933676"/>
                    <a:pt x="903463" y="3933705"/>
                  </a:cubicBezTo>
                  <a:cubicBezTo>
                    <a:pt x="910529" y="3933812"/>
                    <a:pt x="918806" y="3933783"/>
                    <a:pt x="924777" y="3933208"/>
                  </a:cubicBezTo>
                  <a:cubicBezTo>
                    <a:pt x="925443" y="3933140"/>
                    <a:pt x="925643" y="3934027"/>
                    <a:pt x="925023" y="3934261"/>
                  </a:cubicBezTo>
                  <a:cubicBezTo>
                    <a:pt x="921742" y="3935538"/>
                    <a:pt x="916946" y="3937313"/>
                    <a:pt x="911914" y="3938678"/>
                  </a:cubicBezTo>
                  <a:cubicBezTo>
                    <a:pt x="910200" y="3939147"/>
                    <a:pt x="908477" y="3939566"/>
                    <a:pt x="906754" y="3939917"/>
                  </a:cubicBezTo>
                  <a:cubicBezTo>
                    <a:pt x="904867" y="3940307"/>
                    <a:pt x="902999" y="3940561"/>
                    <a:pt x="901221" y="3940726"/>
                  </a:cubicBezTo>
                  <a:cubicBezTo>
                    <a:pt x="905287" y="3943281"/>
                    <a:pt x="909681" y="3945641"/>
                    <a:pt x="914403" y="3947816"/>
                  </a:cubicBezTo>
                  <a:cubicBezTo>
                    <a:pt x="914950" y="3948060"/>
                    <a:pt x="915470" y="3948323"/>
                    <a:pt x="916017" y="3948557"/>
                  </a:cubicBezTo>
                  <a:cubicBezTo>
                    <a:pt x="918104" y="3948362"/>
                    <a:pt x="920629" y="3948099"/>
                    <a:pt x="923410" y="3947747"/>
                  </a:cubicBezTo>
                  <a:cubicBezTo>
                    <a:pt x="925780" y="3947445"/>
                    <a:pt x="928324" y="3947114"/>
                    <a:pt x="930995" y="3946694"/>
                  </a:cubicBezTo>
                  <a:cubicBezTo>
                    <a:pt x="939464" y="3945319"/>
                    <a:pt x="948935" y="3943213"/>
                    <a:pt x="956347" y="3940102"/>
                  </a:cubicBezTo>
                  <a:cubicBezTo>
                    <a:pt x="957277" y="3939722"/>
                    <a:pt x="957997" y="3940902"/>
                    <a:pt x="957213" y="3941536"/>
                  </a:cubicBezTo>
                  <a:cubicBezTo>
                    <a:pt x="953822" y="3944256"/>
                    <a:pt x="949473" y="3947582"/>
                    <a:pt x="944970" y="3950488"/>
                  </a:cubicBezTo>
                  <a:cubicBezTo>
                    <a:pt x="943511" y="3951424"/>
                    <a:pt x="942080" y="3952331"/>
                    <a:pt x="940621" y="3953160"/>
                  </a:cubicBezTo>
                  <a:cubicBezTo>
                    <a:pt x="938999" y="3954076"/>
                    <a:pt x="937403" y="3954895"/>
                    <a:pt x="935835" y="3955578"/>
                  </a:cubicBezTo>
                  <a:cubicBezTo>
                    <a:pt x="941305" y="3957090"/>
                    <a:pt x="945371" y="3957840"/>
                    <a:pt x="947021" y="3958123"/>
                  </a:cubicBezTo>
                  <a:cubicBezTo>
                    <a:pt x="947231" y="3958172"/>
                    <a:pt x="947431" y="3958191"/>
                    <a:pt x="947650" y="3958191"/>
                  </a:cubicBezTo>
                  <a:cubicBezTo>
                    <a:pt x="947696" y="3958191"/>
                    <a:pt x="947714" y="3958191"/>
                    <a:pt x="947769" y="3958191"/>
                  </a:cubicBezTo>
                  <a:cubicBezTo>
                    <a:pt x="964141" y="3957489"/>
                    <a:pt x="976813" y="3952136"/>
                    <a:pt x="985364" y="3942218"/>
                  </a:cubicBezTo>
                  <a:cubicBezTo>
                    <a:pt x="993714" y="3932535"/>
                    <a:pt x="996860" y="3920072"/>
                    <a:pt x="997981" y="3910272"/>
                  </a:cubicBezTo>
                  <a:cubicBezTo>
                    <a:pt x="998127" y="3909053"/>
                    <a:pt x="997407" y="3907893"/>
                    <a:pt x="996240" y="3907483"/>
                  </a:cubicBezTo>
                  <a:cubicBezTo>
                    <a:pt x="986859" y="3904128"/>
                    <a:pt x="973704" y="3897215"/>
                    <a:pt x="965235" y="3892563"/>
                  </a:cubicBezTo>
                  <a:cubicBezTo>
                    <a:pt x="964834" y="3892339"/>
                    <a:pt x="964424" y="3892251"/>
                    <a:pt x="963986" y="3892251"/>
                  </a:cubicBezTo>
                  <a:close/>
                  <a:moveTo>
                    <a:pt x="1197486" y="3889204"/>
                  </a:moveTo>
                  <a:lnTo>
                    <a:pt x="1197486" y="3890222"/>
                  </a:lnTo>
                  <a:cubicBezTo>
                    <a:pt x="1197482" y="3891783"/>
                    <a:pt x="1197033" y="3893225"/>
                    <a:pt x="1196197" y="3894479"/>
                  </a:cubicBezTo>
                  <a:cubicBezTo>
                    <a:pt x="1196197" y="3894479"/>
                    <a:pt x="1211634" y="3894479"/>
                    <a:pt x="1211634" y="3894479"/>
                  </a:cubicBezTo>
                  <a:cubicBezTo>
                    <a:pt x="1210798" y="3893225"/>
                    <a:pt x="1210354" y="3891783"/>
                    <a:pt x="1210337" y="3890239"/>
                  </a:cubicBezTo>
                  <a:lnTo>
                    <a:pt x="1210337" y="3889204"/>
                  </a:lnTo>
                  <a:close/>
                  <a:moveTo>
                    <a:pt x="1104322" y="3887374"/>
                  </a:moveTo>
                  <a:cubicBezTo>
                    <a:pt x="1088426" y="3887374"/>
                    <a:pt x="1075498" y="3900307"/>
                    <a:pt x="1075498" y="3916204"/>
                  </a:cubicBezTo>
                  <a:cubicBezTo>
                    <a:pt x="1075498" y="3932097"/>
                    <a:pt x="1088426" y="3945030"/>
                    <a:pt x="1104322" y="3945030"/>
                  </a:cubicBezTo>
                  <a:cubicBezTo>
                    <a:pt x="1120218" y="3945030"/>
                    <a:pt x="1133147" y="3932097"/>
                    <a:pt x="1133147" y="3916204"/>
                  </a:cubicBezTo>
                  <a:cubicBezTo>
                    <a:pt x="1133147" y="3900307"/>
                    <a:pt x="1120218" y="3887374"/>
                    <a:pt x="1104322" y="3887374"/>
                  </a:cubicBezTo>
                  <a:close/>
                  <a:moveTo>
                    <a:pt x="1588905" y="3883743"/>
                  </a:moveTo>
                  <a:lnTo>
                    <a:pt x="1590955" y="3883743"/>
                  </a:lnTo>
                  <a:lnTo>
                    <a:pt x="1590955" y="3889959"/>
                  </a:lnTo>
                  <a:lnTo>
                    <a:pt x="1588905" y="3889959"/>
                  </a:lnTo>
                  <a:cubicBezTo>
                    <a:pt x="1588905" y="3889959"/>
                    <a:pt x="1588905" y="3883743"/>
                    <a:pt x="1588905" y="3883743"/>
                  </a:cubicBezTo>
                  <a:close/>
                  <a:moveTo>
                    <a:pt x="1104322" y="3877762"/>
                  </a:moveTo>
                  <a:cubicBezTo>
                    <a:pt x="1125549" y="3877762"/>
                    <a:pt x="1142755" y="3894976"/>
                    <a:pt x="1142755" y="3916204"/>
                  </a:cubicBezTo>
                  <a:cubicBezTo>
                    <a:pt x="1142755" y="3937428"/>
                    <a:pt x="1125549" y="3954631"/>
                    <a:pt x="1104322" y="3954631"/>
                  </a:cubicBezTo>
                  <a:cubicBezTo>
                    <a:pt x="1083095" y="3954631"/>
                    <a:pt x="1065890" y="3937428"/>
                    <a:pt x="1065890" y="3916204"/>
                  </a:cubicBezTo>
                  <a:cubicBezTo>
                    <a:pt x="1065890" y="3894976"/>
                    <a:pt x="1083095" y="3877762"/>
                    <a:pt x="1104322" y="3877762"/>
                  </a:cubicBezTo>
                  <a:close/>
                  <a:moveTo>
                    <a:pt x="878725" y="3871872"/>
                  </a:moveTo>
                  <a:cubicBezTo>
                    <a:pt x="879231" y="3872036"/>
                    <a:pt x="879697" y="3872168"/>
                    <a:pt x="880214" y="3872308"/>
                  </a:cubicBezTo>
                  <a:cubicBezTo>
                    <a:pt x="880918" y="3872492"/>
                    <a:pt x="881387" y="3873220"/>
                    <a:pt x="881208" y="3873924"/>
                  </a:cubicBezTo>
                  <a:cubicBezTo>
                    <a:pt x="881048" y="3874527"/>
                    <a:pt x="880493" y="3874919"/>
                    <a:pt x="879905" y="3874919"/>
                  </a:cubicBezTo>
                  <a:cubicBezTo>
                    <a:pt x="879797" y="3874919"/>
                    <a:pt x="879704" y="3874887"/>
                    <a:pt x="879593" y="3874855"/>
                  </a:cubicBezTo>
                  <a:cubicBezTo>
                    <a:pt x="879023" y="3874711"/>
                    <a:pt x="878464" y="3874535"/>
                    <a:pt x="877917" y="3874360"/>
                  </a:cubicBezTo>
                  <a:cubicBezTo>
                    <a:pt x="877221" y="3874140"/>
                    <a:pt x="876826" y="3873444"/>
                    <a:pt x="877046" y="3872744"/>
                  </a:cubicBezTo>
                  <a:cubicBezTo>
                    <a:pt x="877277" y="3872044"/>
                    <a:pt x="878021" y="3871652"/>
                    <a:pt x="878725" y="3871872"/>
                  </a:cubicBezTo>
                  <a:close/>
                  <a:moveTo>
                    <a:pt x="1608790" y="3865844"/>
                  </a:moveTo>
                  <a:lnTo>
                    <a:pt x="1615005" y="3865844"/>
                  </a:lnTo>
                  <a:lnTo>
                    <a:pt x="1615005" y="3867896"/>
                  </a:lnTo>
                  <a:lnTo>
                    <a:pt x="1608790" y="3867896"/>
                  </a:lnTo>
                  <a:cubicBezTo>
                    <a:pt x="1608790" y="3867896"/>
                    <a:pt x="1608790" y="3865844"/>
                    <a:pt x="1608790" y="3865844"/>
                  </a:cubicBezTo>
                  <a:close/>
                  <a:moveTo>
                    <a:pt x="1565042" y="3865844"/>
                  </a:moveTo>
                  <a:lnTo>
                    <a:pt x="1571257" y="3865844"/>
                  </a:lnTo>
                  <a:lnTo>
                    <a:pt x="1571257" y="3867896"/>
                  </a:lnTo>
                  <a:lnTo>
                    <a:pt x="1565042" y="3867896"/>
                  </a:lnTo>
                  <a:cubicBezTo>
                    <a:pt x="1565042" y="3867896"/>
                    <a:pt x="1565042" y="3865844"/>
                    <a:pt x="1565042" y="3865844"/>
                  </a:cubicBezTo>
                  <a:close/>
                  <a:moveTo>
                    <a:pt x="988719" y="3863854"/>
                  </a:moveTo>
                  <a:cubicBezTo>
                    <a:pt x="989658" y="3863854"/>
                    <a:pt x="990578" y="3863923"/>
                    <a:pt x="991517" y="3864098"/>
                  </a:cubicBezTo>
                  <a:cubicBezTo>
                    <a:pt x="992192" y="3864215"/>
                    <a:pt x="992894" y="3864381"/>
                    <a:pt x="993569" y="3864595"/>
                  </a:cubicBezTo>
                  <a:cubicBezTo>
                    <a:pt x="995200" y="3865132"/>
                    <a:pt x="996787" y="3865785"/>
                    <a:pt x="998291" y="3866585"/>
                  </a:cubicBezTo>
                  <a:cubicBezTo>
                    <a:pt x="1000041" y="3867511"/>
                    <a:pt x="1001673" y="3868603"/>
                    <a:pt x="1003141" y="3869939"/>
                  </a:cubicBezTo>
                  <a:cubicBezTo>
                    <a:pt x="1003478" y="3870251"/>
                    <a:pt x="1003761" y="3870554"/>
                    <a:pt x="1004071" y="3870875"/>
                  </a:cubicBezTo>
                  <a:cubicBezTo>
                    <a:pt x="1008246" y="3875215"/>
                    <a:pt x="1010379" y="3881310"/>
                    <a:pt x="1010662" y="3887278"/>
                  </a:cubicBezTo>
                  <a:cubicBezTo>
                    <a:pt x="1011637" y="3908117"/>
                    <a:pt x="1006632" y="3932369"/>
                    <a:pt x="992766" y="3948498"/>
                  </a:cubicBezTo>
                  <a:cubicBezTo>
                    <a:pt x="982210" y="3960756"/>
                    <a:pt x="966913" y="3967309"/>
                    <a:pt x="947276" y="3967943"/>
                  </a:cubicBezTo>
                  <a:cubicBezTo>
                    <a:pt x="947222" y="3967953"/>
                    <a:pt x="947140" y="3967943"/>
                    <a:pt x="947085" y="3967943"/>
                  </a:cubicBezTo>
                  <a:cubicBezTo>
                    <a:pt x="946857" y="3967943"/>
                    <a:pt x="946620" y="3967924"/>
                    <a:pt x="946401" y="3967885"/>
                  </a:cubicBezTo>
                  <a:cubicBezTo>
                    <a:pt x="945708" y="3967787"/>
                    <a:pt x="929281" y="3965271"/>
                    <a:pt x="910611" y="3956758"/>
                  </a:cubicBezTo>
                  <a:cubicBezTo>
                    <a:pt x="899553" y="3951726"/>
                    <a:pt x="889981" y="3945631"/>
                    <a:pt x="882204" y="3938610"/>
                  </a:cubicBezTo>
                  <a:cubicBezTo>
                    <a:pt x="872331" y="3929707"/>
                    <a:pt x="865303" y="3919282"/>
                    <a:pt x="861328" y="3907727"/>
                  </a:cubicBezTo>
                  <a:cubicBezTo>
                    <a:pt x="860799" y="3906186"/>
                    <a:pt x="861091" y="3904489"/>
                    <a:pt x="862076" y="3903192"/>
                  </a:cubicBezTo>
                  <a:cubicBezTo>
                    <a:pt x="862996" y="3901983"/>
                    <a:pt x="864419" y="3901330"/>
                    <a:pt x="865923" y="3901330"/>
                  </a:cubicBezTo>
                  <a:cubicBezTo>
                    <a:pt x="866032" y="3901330"/>
                    <a:pt x="866123" y="3901310"/>
                    <a:pt x="866233" y="3901330"/>
                  </a:cubicBezTo>
                  <a:cubicBezTo>
                    <a:pt x="866442" y="3901340"/>
                    <a:pt x="866652" y="3901388"/>
                    <a:pt x="866862" y="3901388"/>
                  </a:cubicBezTo>
                  <a:cubicBezTo>
                    <a:pt x="870353" y="3901583"/>
                    <a:pt x="873863" y="3901642"/>
                    <a:pt x="877364" y="3901642"/>
                  </a:cubicBezTo>
                  <a:cubicBezTo>
                    <a:pt x="886197" y="3901642"/>
                    <a:pt x="895031" y="3901066"/>
                    <a:pt x="903773" y="3900082"/>
                  </a:cubicBezTo>
                  <a:cubicBezTo>
                    <a:pt x="913601" y="3898980"/>
                    <a:pt x="923401" y="3897263"/>
                    <a:pt x="932918" y="3894552"/>
                  </a:cubicBezTo>
                  <a:cubicBezTo>
                    <a:pt x="940293" y="3892446"/>
                    <a:pt x="947358" y="3890310"/>
                    <a:pt x="953794" y="3886039"/>
                  </a:cubicBezTo>
                  <a:cubicBezTo>
                    <a:pt x="959683" y="3882148"/>
                    <a:pt x="964998" y="3877126"/>
                    <a:pt x="970204" y="3872553"/>
                  </a:cubicBezTo>
                  <a:cubicBezTo>
                    <a:pt x="975245" y="3868145"/>
                    <a:pt x="981836" y="3863854"/>
                    <a:pt x="988719" y="3863854"/>
                  </a:cubicBezTo>
                  <a:close/>
                  <a:moveTo>
                    <a:pt x="1700320" y="3858137"/>
                  </a:moveTo>
                  <a:cubicBezTo>
                    <a:pt x="1699235" y="3858137"/>
                    <a:pt x="1698328" y="3858856"/>
                    <a:pt x="1698328" y="3859934"/>
                  </a:cubicBezTo>
                  <a:lnTo>
                    <a:pt x="1698328" y="3880874"/>
                  </a:lnTo>
                  <a:cubicBezTo>
                    <a:pt x="1698328" y="3881328"/>
                    <a:pt x="1698525" y="3881764"/>
                    <a:pt x="1698889" y="3882123"/>
                  </a:cubicBezTo>
                  <a:cubicBezTo>
                    <a:pt x="1699619" y="3882483"/>
                    <a:pt x="1700051" y="3882679"/>
                    <a:pt x="1700320" y="3882679"/>
                  </a:cubicBezTo>
                  <a:lnTo>
                    <a:pt x="1703300" y="3882679"/>
                  </a:lnTo>
                  <a:cubicBezTo>
                    <a:pt x="1704303" y="3882679"/>
                    <a:pt x="1705104" y="3881867"/>
                    <a:pt x="1705104" y="3880874"/>
                  </a:cubicBezTo>
                  <a:cubicBezTo>
                    <a:pt x="1705104" y="3880874"/>
                    <a:pt x="1705104" y="3859934"/>
                    <a:pt x="1705104" y="3859934"/>
                  </a:cubicBezTo>
                  <a:cubicBezTo>
                    <a:pt x="1705104" y="3858856"/>
                    <a:pt x="1704303" y="3858137"/>
                    <a:pt x="1703300" y="3858137"/>
                  </a:cubicBezTo>
                  <a:close/>
                  <a:moveTo>
                    <a:pt x="1094425" y="3851802"/>
                  </a:moveTo>
                  <a:cubicBezTo>
                    <a:pt x="1094527" y="3852244"/>
                    <a:pt x="1094701" y="3852790"/>
                    <a:pt x="1095108" y="3853229"/>
                  </a:cubicBezTo>
                  <a:cubicBezTo>
                    <a:pt x="1095761" y="3853927"/>
                    <a:pt x="1096887" y="3854270"/>
                    <a:pt x="1098404" y="3854285"/>
                  </a:cubicBezTo>
                  <a:cubicBezTo>
                    <a:pt x="1099833" y="3854308"/>
                    <a:pt x="1100858" y="3853999"/>
                    <a:pt x="1101447" y="3853354"/>
                  </a:cubicBezTo>
                  <a:cubicBezTo>
                    <a:pt x="1101879" y="3852881"/>
                    <a:pt x="1102070" y="3852279"/>
                    <a:pt x="1102131" y="3851802"/>
                  </a:cubicBezTo>
                  <a:cubicBezTo>
                    <a:pt x="1101398" y="3851928"/>
                    <a:pt x="1100658" y="3851977"/>
                    <a:pt x="1099833" y="3852050"/>
                  </a:cubicBezTo>
                  <a:cubicBezTo>
                    <a:pt x="1099068" y="3852099"/>
                    <a:pt x="1098399" y="3852111"/>
                    <a:pt x="1098279" y="3852111"/>
                  </a:cubicBezTo>
                  <a:lnTo>
                    <a:pt x="1098154" y="3852111"/>
                  </a:lnTo>
                  <a:cubicBezTo>
                    <a:pt x="1098030" y="3852111"/>
                    <a:pt x="1097436" y="3852099"/>
                    <a:pt x="1096662" y="3852050"/>
                  </a:cubicBezTo>
                  <a:cubicBezTo>
                    <a:pt x="1095866" y="3851989"/>
                    <a:pt x="1095145" y="3851916"/>
                    <a:pt x="1094425" y="3851802"/>
                  </a:cubicBezTo>
                  <a:close/>
                  <a:moveTo>
                    <a:pt x="1700320" y="3847940"/>
                  </a:moveTo>
                  <a:lnTo>
                    <a:pt x="1703300" y="3847940"/>
                  </a:lnTo>
                  <a:cubicBezTo>
                    <a:pt x="1706554" y="3847940"/>
                    <a:pt x="1709284" y="3849104"/>
                    <a:pt x="1711569" y="3851422"/>
                  </a:cubicBezTo>
                  <a:cubicBezTo>
                    <a:pt x="1713887" y="3853792"/>
                    <a:pt x="1715110" y="3856606"/>
                    <a:pt x="1715110" y="3859934"/>
                  </a:cubicBezTo>
                  <a:lnTo>
                    <a:pt x="1715110" y="3880874"/>
                  </a:lnTo>
                  <a:cubicBezTo>
                    <a:pt x="1715110" y="3884125"/>
                    <a:pt x="1713915" y="3886914"/>
                    <a:pt x="1711569" y="3889266"/>
                  </a:cubicBezTo>
                  <a:cubicBezTo>
                    <a:pt x="1709308" y="3891507"/>
                    <a:pt x="1706554" y="3892688"/>
                    <a:pt x="1703300" y="3892688"/>
                  </a:cubicBezTo>
                  <a:lnTo>
                    <a:pt x="1700320" y="3892688"/>
                  </a:lnTo>
                  <a:cubicBezTo>
                    <a:pt x="1696979" y="3892688"/>
                    <a:pt x="1694210" y="3891490"/>
                    <a:pt x="1691868" y="3889146"/>
                  </a:cubicBezTo>
                  <a:cubicBezTo>
                    <a:pt x="1689512" y="3886802"/>
                    <a:pt x="1688322" y="3884039"/>
                    <a:pt x="1688322" y="3880874"/>
                  </a:cubicBezTo>
                  <a:lnTo>
                    <a:pt x="1688322" y="3859934"/>
                  </a:lnTo>
                  <a:cubicBezTo>
                    <a:pt x="1688322" y="3856606"/>
                    <a:pt x="1689546" y="3853706"/>
                    <a:pt x="1691868" y="3851422"/>
                  </a:cubicBezTo>
                  <a:cubicBezTo>
                    <a:pt x="1694239" y="3849104"/>
                    <a:pt x="1696979" y="3847940"/>
                    <a:pt x="1700320" y="3847940"/>
                  </a:cubicBezTo>
                  <a:close/>
                  <a:moveTo>
                    <a:pt x="858402" y="3841983"/>
                  </a:moveTo>
                  <a:cubicBezTo>
                    <a:pt x="859139" y="3841983"/>
                    <a:pt x="859708" y="3842547"/>
                    <a:pt x="859708" y="3843286"/>
                  </a:cubicBezTo>
                  <a:cubicBezTo>
                    <a:pt x="859708" y="3853228"/>
                    <a:pt x="865151" y="3862478"/>
                    <a:pt x="873815" y="3867401"/>
                  </a:cubicBezTo>
                  <a:cubicBezTo>
                    <a:pt x="874451" y="3867753"/>
                    <a:pt x="874675" y="3868565"/>
                    <a:pt x="874313" y="3869201"/>
                  </a:cubicBezTo>
                  <a:cubicBezTo>
                    <a:pt x="874068" y="3869633"/>
                    <a:pt x="873599" y="3869884"/>
                    <a:pt x="873130" y="3869884"/>
                  </a:cubicBezTo>
                  <a:cubicBezTo>
                    <a:pt x="872914" y="3869884"/>
                    <a:pt x="872720" y="3869817"/>
                    <a:pt x="872512" y="3869697"/>
                  </a:cubicBezTo>
                  <a:cubicBezTo>
                    <a:pt x="863018" y="3864314"/>
                    <a:pt x="857099" y="3854180"/>
                    <a:pt x="857099" y="3843286"/>
                  </a:cubicBezTo>
                  <a:cubicBezTo>
                    <a:pt x="857099" y="3842547"/>
                    <a:pt x="857665" y="3841983"/>
                    <a:pt x="858402" y="3841983"/>
                  </a:cubicBezTo>
                  <a:close/>
                  <a:moveTo>
                    <a:pt x="1590955" y="3841982"/>
                  </a:moveTo>
                  <a:cubicBezTo>
                    <a:pt x="1591534" y="3841982"/>
                    <a:pt x="1592012" y="3842456"/>
                    <a:pt x="1592012" y="3843038"/>
                  </a:cubicBezTo>
                  <a:lnTo>
                    <a:pt x="1592012" y="3862425"/>
                  </a:lnTo>
                  <a:lnTo>
                    <a:pt x="1599472" y="3856773"/>
                  </a:lnTo>
                  <a:cubicBezTo>
                    <a:pt x="1600377" y="3856074"/>
                    <a:pt x="1601698" y="3856236"/>
                    <a:pt x="1602392" y="3857143"/>
                  </a:cubicBezTo>
                  <a:cubicBezTo>
                    <a:pt x="1603086" y="3858045"/>
                    <a:pt x="1602867" y="3859371"/>
                    <a:pt x="1601957" y="3860066"/>
                  </a:cubicBezTo>
                  <a:lnTo>
                    <a:pt x="1592200" y="3867459"/>
                  </a:lnTo>
                  <a:cubicBezTo>
                    <a:pt x="1591825" y="3867761"/>
                    <a:pt x="1591394" y="3867896"/>
                    <a:pt x="1590955" y="3867896"/>
                  </a:cubicBezTo>
                  <a:cubicBezTo>
                    <a:pt x="1590325" y="3867896"/>
                    <a:pt x="1589735" y="3867630"/>
                    <a:pt x="1589340" y="3867089"/>
                  </a:cubicBezTo>
                  <a:cubicBezTo>
                    <a:pt x="1588650" y="3866178"/>
                    <a:pt x="1588801" y="3864856"/>
                    <a:pt x="1589715" y="3864166"/>
                  </a:cubicBezTo>
                  <a:lnTo>
                    <a:pt x="1589962" y="3864044"/>
                  </a:lnTo>
                  <a:lnTo>
                    <a:pt x="1589962" y="3843038"/>
                  </a:lnTo>
                  <a:cubicBezTo>
                    <a:pt x="1589962" y="3842456"/>
                    <a:pt x="1590381" y="3841982"/>
                    <a:pt x="1590955" y="3841982"/>
                  </a:cubicBezTo>
                  <a:close/>
                  <a:moveTo>
                    <a:pt x="1088460" y="3836885"/>
                  </a:moveTo>
                  <a:cubicBezTo>
                    <a:pt x="1088770" y="3837213"/>
                    <a:pt x="1088992" y="3837629"/>
                    <a:pt x="1089080" y="3838068"/>
                  </a:cubicBezTo>
                  <a:cubicBezTo>
                    <a:pt x="1089278" y="3839155"/>
                    <a:pt x="1088662" y="3839903"/>
                    <a:pt x="1088335" y="3840304"/>
                  </a:cubicBezTo>
                  <a:cubicBezTo>
                    <a:pt x="1088235" y="3840525"/>
                    <a:pt x="1088296" y="3840754"/>
                    <a:pt x="1088335" y="3840799"/>
                  </a:cubicBezTo>
                  <a:cubicBezTo>
                    <a:pt x="1088919" y="3841147"/>
                    <a:pt x="1089354" y="3841757"/>
                    <a:pt x="1089454" y="3842417"/>
                  </a:cubicBezTo>
                  <a:cubicBezTo>
                    <a:pt x="1089637" y="3843542"/>
                    <a:pt x="1088973" y="3844286"/>
                    <a:pt x="1088645" y="3844653"/>
                  </a:cubicBezTo>
                  <a:cubicBezTo>
                    <a:pt x="1088511" y="3844889"/>
                    <a:pt x="1088550" y="3845091"/>
                    <a:pt x="1088584" y="3845152"/>
                  </a:cubicBezTo>
                  <a:cubicBezTo>
                    <a:pt x="1088618" y="3845152"/>
                    <a:pt x="1091916" y="3847186"/>
                    <a:pt x="1097036" y="3847575"/>
                  </a:cubicBezTo>
                  <a:cubicBezTo>
                    <a:pt x="1097627" y="3847617"/>
                    <a:pt x="1098069" y="3847636"/>
                    <a:pt x="1098215" y="3847636"/>
                  </a:cubicBezTo>
                  <a:cubicBezTo>
                    <a:pt x="1098364" y="3847636"/>
                    <a:pt x="1098858" y="3847617"/>
                    <a:pt x="1099459" y="3847575"/>
                  </a:cubicBezTo>
                  <a:cubicBezTo>
                    <a:pt x="1104637" y="3847178"/>
                    <a:pt x="1107942" y="3845114"/>
                    <a:pt x="1107974" y="3845087"/>
                  </a:cubicBezTo>
                  <a:cubicBezTo>
                    <a:pt x="1107879" y="3845114"/>
                    <a:pt x="1107969" y="3844927"/>
                    <a:pt x="1107910" y="3844778"/>
                  </a:cubicBezTo>
                  <a:cubicBezTo>
                    <a:pt x="1107495" y="3844309"/>
                    <a:pt x="1106809" y="3843542"/>
                    <a:pt x="1106980" y="3842417"/>
                  </a:cubicBezTo>
                  <a:cubicBezTo>
                    <a:pt x="1107092" y="3841757"/>
                    <a:pt x="1107573" y="3841147"/>
                    <a:pt x="1108159" y="3840799"/>
                  </a:cubicBezTo>
                  <a:cubicBezTo>
                    <a:pt x="1108159" y="3840799"/>
                    <a:pt x="1108284" y="3840738"/>
                    <a:pt x="1108284" y="3840738"/>
                  </a:cubicBezTo>
                  <a:cubicBezTo>
                    <a:pt x="1108240" y="3840738"/>
                    <a:pt x="1108218" y="3840517"/>
                    <a:pt x="1108159" y="3840365"/>
                  </a:cubicBezTo>
                  <a:cubicBezTo>
                    <a:pt x="1107783" y="3839872"/>
                    <a:pt x="1107207" y="3839144"/>
                    <a:pt x="1107414" y="3838068"/>
                  </a:cubicBezTo>
                  <a:cubicBezTo>
                    <a:pt x="1107488" y="3837641"/>
                    <a:pt x="1107720" y="3837271"/>
                    <a:pt x="1108035" y="3836946"/>
                  </a:cubicBezTo>
                  <a:cubicBezTo>
                    <a:pt x="1107588" y="3837145"/>
                    <a:pt x="1107055" y="3837343"/>
                    <a:pt x="1106420" y="3837568"/>
                  </a:cubicBezTo>
                  <a:cubicBezTo>
                    <a:pt x="1106154" y="3837683"/>
                    <a:pt x="1105832" y="3837786"/>
                    <a:pt x="1105548" y="3837881"/>
                  </a:cubicBezTo>
                  <a:cubicBezTo>
                    <a:pt x="1105140" y="3837999"/>
                    <a:pt x="1104698" y="3838129"/>
                    <a:pt x="1104244" y="3838251"/>
                  </a:cubicBezTo>
                  <a:cubicBezTo>
                    <a:pt x="1103995" y="3838316"/>
                    <a:pt x="1103755" y="3838392"/>
                    <a:pt x="1103499" y="3838438"/>
                  </a:cubicBezTo>
                  <a:cubicBezTo>
                    <a:pt x="1102112" y="3838743"/>
                    <a:pt x="1100563" y="3838972"/>
                    <a:pt x="1098775" y="3838999"/>
                  </a:cubicBezTo>
                  <a:lnTo>
                    <a:pt x="1097781" y="3838999"/>
                  </a:lnTo>
                  <a:cubicBezTo>
                    <a:pt x="1093474" y="3838934"/>
                    <a:pt x="1090199" y="3837702"/>
                    <a:pt x="1088460" y="3836885"/>
                  </a:cubicBezTo>
                  <a:close/>
                  <a:moveTo>
                    <a:pt x="1589715" y="3836637"/>
                  </a:moveTo>
                  <a:cubicBezTo>
                    <a:pt x="1573515" y="3836637"/>
                    <a:pt x="1560379" y="3849718"/>
                    <a:pt x="1560379" y="3865907"/>
                  </a:cubicBezTo>
                  <a:cubicBezTo>
                    <a:pt x="1560379" y="3882101"/>
                    <a:pt x="1573515" y="3895241"/>
                    <a:pt x="1589715" y="3895241"/>
                  </a:cubicBezTo>
                  <a:cubicBezTo>
                    <a:pt x="1605898" y="3895241"/>
                    <a:pt x="1618982" y="3882101"/>
                    <a:pt x="1618982" y="3865907"/>
                  </a:cubicBezTo>
                  <a:cubicBezTo>
                    <a:pt x="1618982" y="3849718"/>
                    <a:pt x="1605898" y="3836637"/>
                    <a:pt x="1589715" y="3836637"/>
                  </a:cubicBezTo>
                  <a:close/>
                  <a:moveTo>
                    <a:pt x="1700070" y="3833963"/>
                  </a:moveTo>
                  <a:cubicBezTo>
                    <a:pt x="1688970" y="3833963"/>
                    <a:pt x="1679664" y="3838847"/>
                    <a:pt x="1671981" y="3846948"/>
                  </a:cubicBezTo>
                  <a:cubicBezTo>
                    <a:pt x="1664326" y="3854989"/>
                    <a:pt x="1660545" y="3864613"/>
                    <a:pt x="1660545" y="3875716"/>
                  </a:cubicBezTo>
                  <a:lnTo>
                    <a:pt x="1660545" y="3925057"/>
                  </a:lnTo>
                  <a:cubicBezTo>
                    <a:pt x="1660545" y="3936528"/>
                    <a:pt x="1664706" y="3946426"/>
                    <a:pt x="1672912" y="3954638"/>
                  </a:cubicBezTo>
                  <a:cubicBezTo>
                    <a:pt x="1681123" y="3962850"/>
                    <a:pt x="1691029" y="3966853"/>
                    <a:pt x="1702494" y="3967007"/>
                  </a:cubicBezTo>
                  <a:cubicBezTo>
                    <a:pt x="1725136" y="3967307"/>
                    <a:pt x="1744193" y="3947623"/>
                    <a:pt x="1744193" y="3925057"/>
                  </a:cubicBezTo>
                  <a:cubicBezTo>
                    <a:pt x="1744193" y="3925057"/>
                    <a:pt x="1744193" y="3875716"/>
                    <a:pt x="1744193" y="3875716"/>
                  </a:cubicBezTo>
                  <a:cubicBezTo>
                    <a:pt x="1744193" y="3864792"/>
                    <a:pt x="1740497" y="3855297"/>
                    <a:pt x="1733006" y="3847256"/>
                  </a:cubicBezTo>
                  <a:cubicBezTo>
                    <a:pt x="1725519" y="3839241"/>
                    <a:pt x="1716396" y="3833963"/>
                    <a:pt x="1705536" y="3833963"/>
                  </a:cubicBezTo>
                  <a:close/>
                  <a:moveTo>
                    <a:pt x="1164012" y="3831657"/>
                  </a:moveTo>
                  <a:lnTo>
                    <a:pt x="1164012" y="3875512"/>
                  </a:lnTo>
                  <a:lnTo>
                    <a:pt x="1243824" y="3875512"/>
                  </a:lnTo>
                  <a:cubicBezTo>
                    <a:pt x="1243824" y="3875512"/>
                    <a:pt x="1243824" y="3831657"/>
                    <a:pt x="1243824" y="3831657"/>
                  </a:cubicBezTo>
                  <a:close/>
                  <a:moveTo>
                    <a:pt x="1161266" y="3826058"/>
                  </a:moveTo>
                  <a:lnTo>
                    <a:pt x="1246574" y="3826058"/>
                  </a:lnTo>
                  <a:cubicBezTo>
                    <a:pt x="1248721" y="3826058"/>
                    <a:pt x="1250471" y="3827800"/>
                    <a:pt x="1250471" y="3829958"/>
                  </a:cubicBezTo>
                  <a:cubicBezTo>
                    <a:pt x="1250471" y="3829958"/>
                    <a:pt x="1250480" y="3876403"/>
                    <a:pt x="1250480" y="3876403"/>
                  </a:cubicBezTo>
                  <a:lnTo>
                    <a:pt x="1250471" y="3885301"/>
                  </a:lnTo>
                  <a:cubicBezTo>
                    <a:pt x="1250471" y="3887456"/>
                    <a:pt x="1248721" y="3889204"/>
                    <a:pt x="1246574" y="3889204"/>
                  </a:cubicBezTo>
                  <a:lnTo>
                    <a:pt x="1213975" y="3889204"/>
                  </a:lnTo>
                  <a:lnTo>
                    <a:pt x="1213975" y="3890222"/>
                  </a:lnTo>
                  <a:cubicBezTo>
                    <a:pt x="1213954" y="3892828"/>
                    <a:pt x="1216394" y="3894132"/>
                    <a:pt x="1217200" y="3894486"/>
                  </a:cubicBezTo>
                  <a:lnTo>
                    <a:pt x="1217747" y="3894486"/>
                  </a:lnTo>
                  <a:cubicBezTo>
                    <a:pt x="1219243" y="3894486"/>
                    <a:pt x="1219920" y="3895346"/>
                    <a:pt x="1219920" y="3896184"/>
                  </a:cubicBezTo>
                  <a:lnTo>
                    <a:pt x="1219920" y="3896421"/>
                  </a:lnTo>
                  <a:cubicBezTo>
                    <a:pt x="1219920" y="3897278"/>
                    <a:pt x="1219252" y="3898122"/>
                    <a:pt x="1217747" y="3898122"/>
                  </a:cubicBezTo>
                  <a:lnTo>
                    <a:pt x="1190097" y="3898122"/>
                  </a:lnTo>
                  <a:cubicBezTo>
                    <a:pt x="1188584" y="3898122"/>
                    <a:pt x="1187920" y="3897278"/>
                    <a:pt x="1187920" y="3896421"/>
                  </a:cubicBezTo>
                  <a:lnTo>
                    <a:pt x="1187920" y="3896184"/>
                  </a:lnTo>
                  <a:cubicBezTo>
                    <a:pt x="1187920" y="3895346"/>
                    <a:pt x="1188584" y="3894486"/>
                    <a:pt x="1190097" y="3894486"/>
                  </a:cubicBezTo>
                  <a:lnTo>
                    <a:pt x="1190627" y="3894486"/>
                  </a:lnTo>
                  <a:cubicBezTo>
                    <a:pt x="1191442" y="3894132"/>
                    <a:pt x="1193882" y="3892841"/>
                    <a:pt x="1193865" y="3890239"/>
                  </a:cubicBezTo>
                  <a:lnTo>
                    <a:pt x="1193865" y="3889204"/>
                  </a:lnTo>
                  <a:lnTo>
                    <a:pt x="1161266" y="3889204"/>
                  </a:lnTo>
                  <a:cubicBezTo>
                    <a:pt x="1159115" y="3889204"/>
                    <a:pt x="1157369" y="3887456"/>
                    <a:pt x="1157365" y="3885304"/>
                  </a:cubicBezTo>
                  <a:lnTo>
                    <a:pt x="1157365" y="3829958"/>
                  </a:lnTo>
                  <a:cubicBezTo>
                    <a:pt x="1157365" y="3827800"/>
                    <a:pt x="1159115" y="3826058"/>
                    <a:pt x="1161266" y="3826058"/>
                  </a:cubicBezTo>
                  <a:close/>
                  <a:moveTo>
                    <a:pt x="887612" y="3820107"/>
                  </a:moveTo>
                  <a:cubicBezTo>
                    <a:pt x="889075" y="3820107"/>
                    <a:pt x="890221" y="3821247"/>
                    <a:pt x="890221" y="3822719"/>
                  </a:cubicBezTo>
                  <a:lnTo>
                    <a:pt x="890221" y="3843970"/>
                  </a:lnTo>
                  <a:lnTo>
                    <a:pt x="897180" y="3850433"/>
                  </a:lnTo>
                  <a:cubicBezTo>
                    <a:pt x="898248" y="3851437"/>
                    <a:pt x="898323" y="3853152"/>
                    <a:pt x="897306" y="3854224"/>
                  </a:cubicBezTo>
                  <a:cubicBezTo>
                    <a:pt x="896789" y="3854776"/>
                    <a:pt x="896152" y="3855032"/>
                    <a:pt x="895441" y="3855032"/>
                  </a:cubicBezTo>
                  <a:cubicBezTo>
                    <a:pt x="894789" y="3855032"/>
                    <a:pt x="894153" y="3854776"/>
                    <a:pt x="893639" y="3854288"/>
                  </a:cubicBezTo>
                  <a:lnTo>
                    <a:pt x="885869" y="3847018"/>
                  </a:lnTo>
                  <a:cubicBezTo>
                    <a:pt x="885337" y="3846518"/>
                    <a:pt x="884939" y="3845822"/>
                    <a:pt x="884939" y="3845090"/>
                  </a:cubicBezTo>
                  <a:lnTo>
                    <a:pt x="884939" y="3822719"/>
                  </a:lnTo>
                  <a:cubicBezTo>
                    <a:pt x="884939" y="3821247"/>
                    <a:pt x="886149" y="3820107"/>
                    <a:pt x="887612" y="3820107"/>
                  </a:cubicBezTo>
                  <a:close/>
                  <a:moveTo>
                    <a:pt x="1622277" y="3816189"/>
                  </a:moveTo>
                  <a:cubicBezTo>
                    <a:pt x="1622720" y="3816054"/>
                    <a:pt x="1623263" y="3816077"/>
                    <a:pt x="1623706" y="3816316"/>
                  </a:cubicBezTo>
                  <a:cubicBezTo>
                    <a:pt x="1624603" y="3816780"/>
                    <a:pt x="1624930" y="3817913"/>
                    <a:pt x="1624451" y="3818801"/>
                  </a:cubicBezTo>
                  <a:lnTo>
                    <a:pt x="1623646" y="3820290"/>
                  </a:lnTo>
                  <a:cubicBezTo>
                    <a:pt x="1630730" y="3825644"/>
                    <a:pt x="1633040" y="3835441"/>
                    <a:pt x="1628804" y="3843471"/>
                  </a:cubicBezTo>
                  <a:lnTo>
                    <a:pt x="1596859" y="3825450"/>
                  </a:lnTo>
                  <a:cubicBezTo>
                    <a:pt x="1601750" y="3817295"/>
                    <a:pt x="1612029" y="3814263"/>
                    <a:pt x="1620538" y="3818364"/>
                  </a:cubicBezTo>
                  <a:lnTo>
                    <a:pt x="1621220" y="3817060"/>
                  </a:lnTo>
                  <a:cubicBezTo>
                    <a:pt x="1621456" y="3816613"/>
                    <a:pt x="1621831" y="3816329"/>
                    <a:pt x="1622277" y="3816189"/>
                  </a:cubicBezTo>
                  <a:close/>
                  <a:moveTo>
                    <a:pt x="1558704" y="3816189"/>
                  </a:moveTo>
                  <a:cubicBezTo>
                    <a:pt x="1559146" y="3816329"/>
                    <a:pt x="1559525" y="3816613"/>
                    <a:pt x="1559761" y="3817060"/>
                  </a:cubicBezTo>
                  <a:lnTo>
                    <a:pt x="1560255" y="3818052"/>
                  </a:lnTo>
                  <a:cubicBezTo>
                    <a:pt x="1568612" y="3814466"/>
                    <a:pt x="1578433" y="3817525"/>
                    <a:pt x="1583188" y="3825450"/>
                  </a:cubicBezTo>
                  <a:cubicBezTo>
                    <a:pt x="1583188" y="3825450"/>
                    <a:pt x="1551244" y="3843471"/>
                    <a:pt x="1551244" y="3843471"/>
                  </a:cubicBezTo>
                  <a:cubicBezTo>
                    <a:pt x="1546876" y="3835184"/>
                    <a:pt x="1549477" y="3825035"/>
                    <a:pt x="1557088" y="3819794"/>
                  </a:cubicBezTo>
                  <a:lnTo>
                    <a:pt x="1556529" y="3818801"/>
                  </a:lnTo>
                  <a:cubicBezTo>
                    <a:pt x="1556051" y="3817913"/>
                    <a:pt x="1556386" y="3816780"/>
                    <a:pt x="1557275" y="3816316"/>
                  </a:cubicBezTo>
                  <a:cubicBezTo>
                    <a:pt x="1557718" y="3816077"/>
                    <a:pt x="1558261" y="3816054"/>
                    <a:pt x="1558704" y="3816189"/>
                  </a:cubicBezTo>
                  <a:close/>
                  <a:moveTo>
                    <a:pt x="1582941" y="3816126"/>
                  </a:moveTo>
                  <a:lnTo>
                    <a:pt x="1593317" y="3816126"/>
                  </a:lnTo>
                  <a:cubicBezTo>
                    <a:pt x="1594462" y="3816126"/>
                    <a:pt x="1595367" y="3817033"/>
                    <a:pt x="1595367" y="3818179"/>
                  </a:cubicBezTo>
                  <a:cubicBezTo>
                    <a:pt x="1595367" y="3819320"/>
                    <a:pt x="1594462" y="3820290"/>
                    <a:pt x="1593317" y="3820290"/>
                  </a:cubicBezTo>
                  <a:lnTo>
                    <a:pt x="1589152" y="3820290"/>
                  </a:lnTo>
                  <a:lnTo>
                    <a:pt x="1589152" y="3829365"/>
                  </a:lnTo>
                  <a:cubicBezTo>
                    <a:pt x="1589332" y="3829356"/>
                    <a:pt x="1589531" y="3829365"/>
                    <a:pt x="1589715" y="3829365"/>
                  </a:cubicBezTo>
                  <a:cubicBezTo>
                    <a:pt x="1609915" y="3829365"/>
                    <a:pt x="1626255" y="3845758"/>
                    <a:pt x="1626255" y="3865970"/>
                  </a:cubicBezTo>
                  <a:cubicBezTo>
                    <a:pt x="1626255" y="3879092"/>
                    <a:pt x="1619365" y="3890522"/>
                    <a:pt x="1608978" y="3896977"/>
                  </a:cubicBezTo>
                  <a:cubicBezTo>
                    <a:pt x="1609050" y="3897090"/>
                    <a:pt x="1609105" y="3897185"/>
                    <a:pt x="1609165" y="3897289"/>
                  </a:cubicBezTo>
                  <a:lnTo>
                    <a:pt x="1613701" y="3905119"/>
                  </a:lnTo>
                  <a:cubicBezTo>
                    <a:pt x="1614750" y="3906924"/>
                    <a:pt x="1614140" y="3909229"/>
                    <a:pt x="1612333" y="3910280"/>
                  </a:cubicBezTo>
                  <a:lnTo>
                    <a:pt x="1611714" y="3910650"/>
                  </a:lnTo>
                  <a:cubicBezTo>
                    <a:pt x="1609915" y="3911696"/>
                    <a:pt x="1607598" y="3911074"/>
                    <a:pt x="1606556" y="3909283"/>
                  </a:cubicBezTo>
                  <a:lnTo>
                    <a:pt x="1601957" y="3901452"/>
                  </a:lnTo>
                  <a:cubicBezTo>
                    <a:pt x="1601790" y="3901150"/>
                    <a:pt x="1601678" y="3900807"/>
                    <a:pt x="1601582" y="3900460"/>
                  </a:cubicBezTo>
                  <a:cubicBezTo>
                    <a:pt x="1597852" y="3901759"/>
                    <a:pt x="1593887" y="3902512"/>
                    <a:pt x="1589715" y="3902512"/>
                  </a:cubicBezTo>
                  <a:cubicBezTo>
                    <a:pt x="1585167" y="3902512"/>
                    <a:pt x="1580795" y="3901655"/>
                    <a:pt x="1576786" y="3900148"/>
                  </a:cubicBezTo>
                  <a:cubicBezTo>
                    <a:pt x="1576718" y="3900591"/>
                    <a:pt x="1576599" y="3901037"/>
                    <a:pt x="1576351" y="3901452"/>
                  </a:cubicBezTo>
                  <a:lnTo>
                    <a:pt x="1571816" y="3909283"/>
                  </a:lnTo>
                  <a:cubicBezTo>
                    <a:pt x="1570770" y="3911074"/>
                    <a:pt x="1568453" y="3911696"/>
                    <a:pt x="1566658" y="3910650"/>
                  </a:cubicBezTo>
                  <a:lnTo>
                    <a:pt x="1565976" y="3910280"/>
                  </a:lnTo>
                  <a:cubicBezTo>
                    <a:pt x="1564181" y="3909229"/>
                    <a:pt x="1563562" y="3906915"/>
                    <a:pt x="1564607" y="3905119"/>
                  </a:cubicBezTo>
                  <a:lnTo>
                    <a:pt x="1569207" y="3897289"/>
                  </a:lnTo>
                  <a:cubicBezTo>
                    <a:pt x="1569362" y="3897027"/>
                    <a:pt x="1569494" y="3896752"/>
                    <a:pt x="1569701" y="3896544"/>
                  </a:cubicBezTo>
                  <a:cubicBezTo>
                    <a:pt x="1559705" y="3890013"/>
                    <a:pt x="1553111" y="3878749"/>
                    <a:pt x="1553111" y="3865907"/>
                  </a:cubicBezTo>
                  <a:cubicBezTo>
                    <a:pt x="1553111" y="3846579"/>
                    <a:pt x="1568110" y="3830818"/>
                    <a:pt x="1587102" y="3829487"/>
                  </a:cubicBezTo>
                  <a:lnTo>
                    <a:pt x="1587102" y="3820290"/>
                  </a:lnTo>
                  <a:lnTo>
                    <a:pt x="1582941" y="3820290"/>
                  </a:lnTo>
                  <a:cubicBezTo>
                    <a:pt x="1581784" y="3820290"/>
                    <a:pt x="1580827" y="3819320"/>
                    <a:pt x="1580827" y="3818179"/>
                  </a:cubicBezTo>
                  <a:cubicBezTo>
                    <a:pt x="1580827" y="3817033"/>
                    <a:pt x="1581784" y="3816126"/>
                    <a:pt x="1582941" y="3816126"/>
                  </a:cubicBezTo>
                  <a:close/>
                  <a:moveTo>
                    <a:pt x="1088149" y="3810226"/>
                  </a:moveTo>
                  <a:cubicBezTo>
                    <a:pt x="1088416" y="3810085"/>
                    <a:pt x="1088711" y="3810158"/>
                    <a:pt x="1088955" y="3810348"/>
                  </a:cubicBezTo>
                  <a:cubicBezTo>
                    <a:pt x="1089356" y="3810669"/>
                    <a:pt x="1098877" y="3818196"/>
                    <a:pt x="1108470" y="3810348"/>
                  </a:cubicBezTo>
                  <a:cubicBezTo>
                    <a:pt x="1108712" y="3810158"/>
                    <a:pt x="1109010" y="3810062"/>
                    <a:pt x="1109278" y="3810226"/>
                  </a:cubicBezTo>
                  <a:cubicBezTo>
                    <a:pt x="1109542" y="3810390"/>
                    <a:pt x="1109708" y="3810730"/>
                    <a:pt x="1109652" y="3811035"/>
                  </a:cubicBezTo>
                  <a:lnTo>
                    <a:pt x="1105736" y="3831727"/>
                  </a:lnTo>
                  <a:cubicBezTo>
                    <a:pt x="1105670" y="3832090"/>
                    <a:pt x="1105341" y="3832349"/>
                    <a:pt x="1104989" y="3832349"/>
                  </a:cubicBezTo>
                  <a:cubicBezTo>
                    <a:pt x="1104935" y="3832349"/>
                    <a:pt x="1104921" y="3832300"/>
                    <a:pt x="1104867" y="3832288"/>
                  </a:cubicBezTo>
                  <a:cubicBezTo>
                    <a:pt x="1104469" y="3832208"/>
                    <a:pt x="1104163" y="3831876"/>
                    <a:pt x="1104244" y="3831480"/>
                  </a:cubicBezTo>
                  <a:lnTo>
                    <a:pt x="1107849" y="3812649"/>
                  </a:lnTo>
                  <a:cubicBezTo>
                    <a:pt x="1100131" y="3817780"/>
                    <a:pt x="1092595" y="3814339"/>
                    <a:pt x="1089515" y="3812462"/>
                  </a:cubicBezTo>
                  <a:lnTo>
                    <a:pt x="1092312" y="3831480"/>
                  </a:lnTo>
                  <a:lnTo>
                    <a:pt x="1091977" y="3831949"/>
                  </a:lnTo>
                  <a:lnTo>
                    <a:pt x="1090794" y="3831478"/>
                  </a:lnTo>
                  <a:lnTo>
                    <a:pt x="1087776" y="3811035"/>
                  </a:lnTo>
                  <a:cubicBezTo>
                    <a:pt x="1087729" y="3810726"/>
                    <a:pt x="1087886" y="3810379"/>
                    <a:pt x="1088149" y="3810226"/>
                  </a:cubicBezTo>
                  <a:close/>
                  <a:moveTo>
                    <a:pt x="887362" y="3809482"/>
                  </a:moveTo>
                  <a:cubicBezTo>
                    <a:pt x="868122" y="3809482"/>
                    <a:pt x="852438" y="3825158"/>
                    <a:pt x="852438" y="3844406"/>
                  </a:cubicBezTo>
                  <a:cubicBezTo>
                    <a:pt x="852438" y="3863642"/>
                    <a:pt x="868122" y="3879270"/>
                    <a:pt x="887362" y="3879270"/>
                  </a:cubicBezTo>
                  <a:cubicBezTo>
                    <a:pt x="906606" y="3879270"/>
                    <a:pt x="922224" y="3863642"/>
                    <a:pt x="922224" y="3844406"/>
                  </a:cubicBezTo>
                  <a:cubicBezTo>
                    <a:pt x="922224" y="3825158"/>
                    <a:pt x="906606" y="3809482"/>
                    <a:pt x="887362" y="3809482"/>
                  </a:cubicBezTo>
                  <a:close/>
                  <a:moveTo>
                    <a:pt x="917376" y="3806187"/>
                  </a:moveTo>
                  <a:cubicBezTo>
                    <a:pt x="918058" y="3806187"/>
                    <a:pt x="918787" y="3806414"/>
                    <a:pt x="919305" y="3806934"/>
                  </a:cubicBezTo>
                  <a:lnTo>
                    <a:pt x="926203" y="3813829"/>
                  </a:lnTo>
                  <a:cubicBezTo>
                    <a:pt x="927242" y="3814865"/>
                    <a:pt x="927238" y="3816524"/>
                    <a:pt x="926203" y="3817560"/>
                  </a:cubicBezTo>
                  <a:cubicBezTo>
                    <a:pt x="925686" y="3818080"/>
                    <a:pt x="924956" y="3818368"/>
                    <a:pt x="924275" y="3818368"/>
                  </a:cubicBezTo>
                  <a:cubicBezTo>
                    <a:pt x="923594" y="3818368"/>
                    <a:pt x="922927" y="3818080"/>
                    <a:pt x="922414" y="3817560"/>
                  </a:cubicBezTo>
                  <a:lnTo>
                    <a:pt x="915515" y="3810722"/>
                  </a:lnTo>
                  <a:cubicBezTo>
                    <a:pt x="914476" y="3809686"/>
                    <a:pt x="914476" y="3807974"/>
                    <a:pt x="915515" y="3806934"/>
                  </a:cubicBezTo>
                  <a:cubicBezTo>
                    <a:pt x="916029" y="3806414"/>
                    <a:pt x="916699" y="3806187"/>
                    <a:pt x="917376" y="3806187"/>
                  </a:cubicBezTo>
                  <a:close/>
                  <a:moveTo>
                    <a:pt x="887548" y="3798232"/>
                  </a:moveTo>
                  <a:cubicBezTo>
                    <a:pt x="889012" y="3798232"/>
                    <a:pt x="890221" y="3799444"/>
                    <a:pt x="890221" y="3800904"/>
                  </a:cubicBezTo>
                  <a:lnTo>
                    <a:pt x="890221" y="3804507"/>
                  </a:lnTo>
                  <a:cubicBezTo>
                    <a:pt x="911033" y="3806011"/>
                    <a:pt x="927570" y="3823215"/>
                    <a:pt x="927570" y="3844406"/>
                  </a:cubicBezTo>
                  <a:cubicBezTo>
                    <a:pt x="927570" y="3866569"/>
                    <a:pt x="909528" y="3884613"/>
                    <a:pt x="887362" y="3884613"/>
                  </a:cubicBezTo>
                  <a:cubicBezTo>
                    <a:pt x="865189" y="3884613"/>
                    <a:pt x="847155" y="3866569"/>
                    <a:pt x="847155" y="3844406"/>
                  </a:cubicBezTo>
                  <a:cubicBezTo>
                    <a:pt x="847155" y="3823063"/>
                    <a:pt x="863915" y="3805731"/>
                    <a:pt x="884939" y="3804447"/>
                  </a:cubicBezTo>
                  <a:lnTo>
                    <a:pt x="884939" y="3800904"/>
                  </a:lnTo>
                  <a:cubicBezTo>
                    <a:pt x="884939" y="3799444"/>
                    <a:pt x="886089" y="3798232"/>
                    <a:pt x="887548" y="3798232"/>
                  </a:cubicBezTo>
                  <a:close/>
                  <a:moveTo>
                    <a:pt x="1683043" y="3792261"/>
                  </a:moveTo>
                  <a:cubicBezTo>
                    <a:pt x="1684574" y="3792175"/>
                    <a:pt x="1686805" y="3792637"/>
                    <a:pt x="1689690" y="3793441"/>
                  </a:cubicBezTo>
                  <a:cubicBezTo>
                    <a:pt x="1692579" y="3794263"/>
                    <a:pt x="1695137" y="3795794"/>
                    <a:pt x="1697459" y="3797795"/>
                  </a:cubicBezTo>
                  <a:cubicBezTo>
                    <a:pt x="1703712" y="3803193"/>
                    <a:pt x="1707105" y="3811850"/>
                    <a:pt x="1707465" y="3824202"/>
                  </a:cubicBezTo>
                  <a:cubicBezTo>
                    <a:pt x="1720730" y="3825563"/>
                    <a:pt x="1731849" y="3831148"/>
                    <a:pt x="1740776" y="3840986"/>
                  </a:cubicBezTo>
                  <a:cubicBezTo>
                    <a:pt x="1749702" y="3850832"/>
                    <a:pt x="1754199" y="3862457"/>
                    <a:pt x="1754199" y="3875716"/>
                  </a:cubicBezTo>
                  <a:lnTo>
                    <a:pt x="1754199" y="3925057"/>
                  </a:lnTo>
                  <a:cubicBezTo>
                    <a:pt x="1754199" y="3939146"/>
                    <a:pt x="1748277" y="3952456"/>
                    <a:pt x="1739034" y="3961781"/>
                  </a:cubicBezTo>
                  <a:cubicBezTo>
                    <a:pt x="1729877" y="3971036"/>
                    <a:pt x="1716564" y="3976947"/>
                    <a:pt x="1702494" y="3976947"/>
                  </a:cubicBezTo>
                  <a:lnTo>
                    <a:pt x="1702244" y="3976947"/>
                  </a:lnTo>
                  <a:cubicBezTo>
                    <a:pt x="1687890" y="3976947"/>
                    <a:pt x="1675676" y="3971909"/>
                    <a:pt x="1665704" y="3961849"/>
                  </a:cubicBezTo>
                  <a:cubicBezTo>
                    <a:pt x="1655554" y="3951610"/>
                    <a:pt x="1650539" y="3939317"/>
                    <a:pt x="1650539" y="3925057"/>
                  </a:cubicBezTo>
                  <a:lnTo>
                    <a:pt x="1650539" y="3875716"/>
                  </a:lnTo>
                  <a:cubicBezTo>
                    <a:pt x="1650539" y="3849549"/>
                    <a:pt x="1671472" y="3826016"/>
                    <a:pt x="1697459" y="3824202"/>
                  </a:cubicBezTo>
                  <a:cubicBezTo>
                    <a:pt x="1697095" y="3815092"/>
                    <a:pt x="1694988" y="3808599"/>
                    <a:pt x="1691057" y="3805126"/>
                  </a:cubicBezTo>
                  <a:cubicBezTo>
                    <a:pt x="1687314" y="3801833"/>
                    <a:pt x="1682918" y="3802329"/>
                    <a:pt x="1681925" y="3802329"/>
                  </a:cubicBezTo>
                  <a:lnTo>
                    <a:pt x="1681738" y="3802329"/>
                  </a:lnTo>
                  <a:cubicBezTo>
                    <a:pt x="1679117" y="3802697"/>
                    <a:pt x="1676526" y="3801089"/>
                    <a:pt x="1676079" y="3798292"/>
                  </a:cubicBezTo>
                  <a:cubicBezTo>
                    <a:pt x="1675628" y="3795503"/>
                    <a:pt x="1677322" y="3792996"/>
                    <a:pt x="1680120" y="3792637"/>
                  </a:cubicBezTo>
                  <a:cubicBezTo>
                    <a:pt x="1680475" y="3792440"/>
                    <a:pt x="1681507" y="3792355"/>
                    <a:pt x="1683043" y="3792261"/>
                  </a:cubicBezTo>
                  <a:close/>
                  <a:moveTo>
                    <a:pt x="1098279" y="3780832"/>
                  </a:moveTo>
                  <a:cubicBezTo>
                    <a:pt x="1086190" y="3780832"/>
                    <a:pt x="1076342" y="3790618"/>
                    <a:pt x="1076342" y="3802707"/>
                  </a:cubicBezTo>
                  <a:cubicBezTo>
                    <a:pt x="1076342" y="3808559"/>
                    <a:pt x="1078633" y="3814095"/>
                    <a:pt x="1082805" y="3818242"/>
                  </a:cubicBezTo>
                  <a:cubicBezTo>
                    <a:pt x="1083787" y="3819211"/>
                    <a:pt x="1084498" y="3820851"/>
                    <a:pt x="1084544" y="3822282"/>
                  </a:cubicBezTo>
                  <a:cubicBezTo>
                    <a:pt x="1084633" y="3824532"/>
                    <a:pt x="1085181" y="3827554"/>
                    <a:pt x="1087150" y="3830024"/>
                  </a:cubicBezTo>
                  <a:lnTo>
                    <a:pt x="1090794" y="3831478"/>
                  </a:lnTo>
                  <a:lnTo>
                    <a:pt x="1090822" y="3831666"/>
                  </a:lnTo>
                  <a:cubicBezTo>
                    <a:pt x="1090880" y="3832067"/>
                    <a:pt x="1091278" y="3832422"/>
                    <a:pt x="1091691" y="3832349"/>
                  </a:cubicBezTo>
                  <a:lnTo>
                    <a:pt x="1091977" y="3831949"/>
                  </a:lnTo>
                  <a:lnTo>
                    <a:pt x="1098279" y="3834463"/>
                  </a:lnTo>
                  <a:lnTo>
                    <a:pt x="1098465" y="3834463"/>
                  </a:lnTo>
                  <a:cubicBezTo>
                    <a:pt x="1100538" y="3834463"/>
                    <a:pt x="1102309" y="3834169"/>
                    <a:pt x="1103809" y="3833715"/>
                  </a:cubicBezTo>
                  <a:cubicBezTo>
                    <a:pt x="1103887" y="3833692"/>
                    <a:pt x="1103975" y="3833677"/>
                    <a:pt x="1104058" y="3833654"/>
                  </a:cubicBezTo>
                  <a:cubicBezTo>
                    <a:pt x="1110517" y="3831590"/>
                    <a:pt x="1111806" y="3825952"/>
                    <a:pt x="1111950" y="3822282"/>
                  </a:cubicBezTo>
                  <a:cubicBezTo>
                    <a:pt x="1112009" y="3820885"/>
                    <a:pt x="1112732" y="3819207"/>
                    <a:pt x="1113690" y="3818242"/>
                  </a:cubicBezTo>
                  <a:cubicBezTo>
                    <a:pt x="1117849" y="3814083"/>
                    <a:pt x="1120153" y="3808548"/>
                    <a:pt x="1120153" y="3802707"/>
                  </a:cubicBezTo>
                  <a:cubicBezTo>
                    <a:pt x="1120153" y="3790618"/>
                    <a:pt x="1110358" y="3780832"/>
                    <a:pt x="1098279" y="3780832"/>
                  </a:cubicBezTo>
                  <a:close/>
                  <a:moveTo>
                    <a:pt x="1390851" y="3780339"/>
                  </a:moveTo>
                  <a:lnTo>
                    <a:pt x="1393586" y="3780339"/>
                  </a:lnTo>
                  <a:cubicBezTo>
                    <a:pt x="1395120" y="3780339"/>
                    <a:pt x="1396382" y="3781596"/>
                    <a:pt x="1396382" y="3783128"/>
                  </a:cubicBezTo>
                  <a:cubicBezTo>
                    <a:pt x="1396382" y="3784668"/>
                    <a:pt x="1395120" y="3785866"/>
                    <a:pt x="1393586" y="3785866"/>
                  </a:cubicBezTo>
                  <a:lnTo>
                    <a:pt x="1390851" y="3785866"/>
                  </a:lnTo>
                  <a:cubicBezTo>
                    <a:pt x="1389317" y="3785866"/>
                    <a:pt x="1388055" y="3784668"/>
                    <a:pt x="1388055" y="3783128"/>
                  </a:cubicBezTo>
                  <a:cubicBezTo>
                    <a:pt x="1388055" y="3781596"/>
                    <a:pt x="1389317" y="3780339"/>
                    <a:pt x="1390851" y="3780339"/>
                  </a:cubicBezTo>
                  <a:close/>
                  <a:moveTo>
                    <a:pt x="1356359" y="3780339"/>
                  </a:moveTo>
                  <a:lnTo>
                    <a:pt x="1379973" y="3780339"/>
                  </a:lnTo>
                  <a:cubicBezTo>
                    <a:pt x="1381516" y="3780339"/>
                    <a:pt x="1382769" y="3781596"/>
                    <a:pt x="1382769" y="3783128"/>
                  </a:cubicBezTo>
                  <a:cubicBezTo>
                    <a:pt x="1382769" y="3784668"/>
                    <a:pt x="1381516" y="3785866"/>
                    <a:pt x="1379973" y="3785866"/>
                  </a:cubicBezTo>
                  <a:lnTo>
                    <a:pt x="1356359" y="3785866"/>
                  </a:lnTo>
                  <a:cubicBezTo>
                    <a:pt x="1354334" y="3785866"/>
                    <a:pt x="1351827" y="3789733"/>
                    <a:pt x="1351827" y="3792326"/>
                  </a:cubicBezTo>
                  <a:lnTo>
                    <a:pt x="1351827" y="3806495"/>
                  </a:lnTo>
                  <a:cubicBezTo>
                    <a:pt x="1351827" y="3808044"/>
                    <a:pt x="1350617" y="3809233"/>
                    <a:pt x="1349092" y="3809233"/>
                  </a:cubicBezTo>
                  <a:cubicBezTo>
                    <a:pt x="1347532" y="3809233"/>
                    <a:pt x="1346296" y="3808027"/>
                    <a:pt x="1346296" y="3806495"/>
                  </a:cubicBezTo>
                  <a:lnTo>
                    <a:pt x="1346296" y="3792326"/>
                  </a:lnTo>
                  <a:cubicBezTo>
                    <a:pt x="1346296" y="3787184"/>
                    <a:pt x="1350784" y="3780339"/>
                    <a:pt x="1356359" y="3780339"/>
                  </a:cubicBezTo>
                  <a:close/>
                  <a:moveTo>
                    <a:pt x="1098279" y="3776357"/>
                  </a:moveTo>
                  <a:cubicBezTo>
                    <a:pt x="1112827" y="3776357"/>
                    <a:pt x="1124628" y="3788165"/>
                    <a:pt x="1124628" y="3802707"/>
                  </a:cubicBezTo>
                  <a:cubicBezTo>
                    <a:pt x="1124628" y="3809757"/>
                    <a:pt x="1121863" y="3816407"/>
                    <a:pt x="1116860" y="3821412"/>
                  </a:cubicBezTo>
                  <a:cubicBezTo>
                    <a:pt x="1116704" y="3821587"/>
                    <a:pt x="1116433" y="3822102"/>
                    <a:pt x="1116425" y="3822408"/>
                  </a:cubicBezTo>
                  <a:cubicBezTo>
                    <a:pt x="1116328" y="3824620"/>
                    <a:pt x="1115761" y="3829721"/>
                    <a:pt x="1112261" y="3833654"/>
                  </a:cubicBezTo>
                  <a:cubicBezTo>
                    <a:pt x="1112424" y="3833913"/>
                    <a:pt x="1112568" y="3834173"/>
                    <a:pt x="1112695" y="3834463"/>
                  </a:cubicBezTo>
                  <a:cubicBezTo>
                    <a:pt x="1113289" y="3835943"/>
                    <a:pt x="1113128" y="3837553"/>
                    <a:pt x="1112385" y="3838812"/>
                  </a:cubicBezTo>
                  <a:cubicBezTo>
                    <a:pt x="1112925" y="3840235"/>
                    <a:pt x="1112788" y="3841856"/>
                    <a:pt x="1112075" y="3843100"/>
                  </a:cubicBezTo>
                  <a:cubicBezTo>
                    <a:pt x="1112945" y="3845229"/>
                    <a:pt x="1112214" y="3847720"/>
                    <a:pt x="1110397" y="3848880"/>
                  </a:cubicBezTo>
                  <a:cubicBezTo>
                    <a:pt x="1110162" y="3849040"/>
                    <a:pt x="1108799" y="3849829"/>
                    <a:pt x="1106606" y="3850619"/>
                  </a:cubicBezTo>
                  <a:cubicBezTo>
                    <a:pt x="1106660" y="3851161"/>
                    <a:pt x="1106875" y="3854053"/>
                    <a:pt x="1104803" y="3856338"/>
                  </a:cubicBezTo>
                  <a:cubicBezTo>
                    <a:pt x="1103347" y="3857940"/>
                    <a:pt x="1101235" y="3858760"/>
                    <a:pt x="1098528" y="3858760"/>
                  </a:cubicBezTo>
                  <a:cubicBezTo>
                    <a:pt x="1098457" y="3858760"/>
                    <a:pt x="1098406" y="3858760"/>
                    <a:pt x="1098340" y="3858760"/>
                  </a:cubicBezTo>
                  <a:cubicBezTo>
                    <a:pt x="1095521" y="3858722"/>
                    <a:pt x="1093325" y="3857879"/>
                    <a:pt x="1091816" y="3856212"/>
                  </a:cubicBezTo>
                  <a:cubicBezTo>
                    <a:pt x="1089678" y="3853889"/>
                    <a:pt x="1089803" y="3850951"/>
                    <a:pt x="1089827" y="3850619"/>
                  </a:cubicBezTo>
                  <a:cubicBezTo>
                    <a:pt x="1087500" y="3849787"/>
                    <a:pt x="1086124" y="3848929"/>
                    <a:pt x="1086036" y="3848880"/>
                  </a:cubicBezTo>
                  <a:cubicBezTo>
                    <a:pt x="1084241" y="3847727"/>
                    <a:pt x="1083543" y="3845248"/>
                    <a:pt x="1084419" y="3843100"/>
                  </a:cubicBezTo>
                  <a:cubicBezTo>
                    <a:pt x="1083696" y="3841879"/>
                    <a:pt x="1083555" y="3840258"/>
                    <a:pt x="1084109" y="3838812"/>
                  </a:cubicBezTo>
                  <a:cubicBezTo>
                    <a:pt x="1083359" y="3837541"/>
                    <a:pt x="1083208" y="3835928"/>
                    <a:pt x="1083799" y="3834463"/>
                  </a:cubicBezTo>
                  <a:cubicBezTo>
                    <a:pt x="1083931" y="3834139"/>
                    <a:pt x="1084104" y="3833868"/>
                    <a:pt x="1084295" y="3833593"/>
                  </a:cubicBezTo>
                  <a:cubicBezTo>
                    <a:pt x="1080746" y="3829667"/>
                    <a:pt x="1080160" y="3824601"/>
                    <a:pt x="1080069" y="3822408"/>
                  </a:cubicBezTo>
                  <a:cubicBezTo>
                    <a:pt x="1080067" y="3822106"/>
                    <a:pt x="1079793" y="3821576"/>
                    <a:pt x="1079634" y="3821412"/>
                  </a:cubicBezTo>
                  <a:cubicBezTo>
                    <a:pt x="1074612" y="3816418"/>
                    <a:pt x="1071867" y="3809769"/>
                    <a:pt x="1071867" y="3802707"/>
                  </a:cubicBezTo>
                  <a:cubicBezTo>
                    <a:pt x="1071867" y="3788165"/>
                    <a:pt x="1083721" y="3776357"/>
                    <a:pt x="1098279" y="3776357"/>
                  </a:cubicBezTo>
                  <a:close/>
                  <a:moveTo>
                    <a:pt x="1347970" y="3775547"/>
                  </a:moveTo>
                  <a:cubicBezTo>
                    <a:pt x="1343623" y="3775547"/>
                    <a:pt x="1339520" y="3780835"/>
                    <a:pt x="1339520" y="3785558"/>
                  </a:cubicBezTo>
                  <a:lnTo>
                    <a:pt x="1339520" y="3858201"/>
                  </a:lnTo>
                  <a:cubicBezTo>
                    <a:pt x="1339520" y="3862530"/>
                    <a:pt x="1343246" y="3864541"/>
                    <a:pt x="1347970" y="3864541"/>
                  </a:cubicBezTo>
                  <a:lnTo>
                    <a:pt x="1451255" y="3864541"/>
                  </a:lnTo>
                  <a:cubicBezTo>
                    <a:pt x="1455778" y="3864541"/>
                    <a:pt x="1459310" y="3861760"/>
                    <a:pt x="1459398" y="3857456"/>
                  </a:cubicBezTo>
                  <a:lnTo>
                    <a:pt x="1458591" y="3843972"/>
                  </a:lnTo>
                  <a:cubicBezTo>
                    <a:pt x="1458486" y="3842432"/>
                    <a:pt x="1459039" y="3841105"/>
                    <a:pt x="1460082" y="3839993"/>
                  </a:cubicBezTo>
                  <a:cubicBezTo>
                    <a:pt x="1461142" y="3838864"/>
                    <a:pt x="1462641" y="3838316"/>
                    <a:pt x="1464184" y="3838316"/>
                  </a:cubicBezTo>
                  <a:cubicBezTo>
                    <a:pt x="1465823" y="3838316"/>
                    <a:pt x="1467112" y="3838316"/>
                    <a:pt x="1504514" y="3858013"/>
                  </a:cubicBezTo>
                  <a:cubicBezTo>
                    <a:pt x="1505102" y="3858184"/>
                    <a:pt x="1505908" y="3858466"/>
                    <a:pt x="1506688" y="3858637"/>
                  </a:cubicBezTo>
                  <a:lnTo>
                    <a:pt x="1506688" y="3783504"/>
                  </a:lnTo>
                  <a:cubicBezTo>
                    <a:pt x="1506697" y="3782401"/>
                    <a:pt x="1506688" y="3781631"/>
                    <a:pt x="1506627" y="3781143"/>
                  </a:cubicBezTo>
                  <a:cubicBezTo>
                    <a:pt x="1506215" y="3781263"/>
                    <a:pt x="1505584" y="3781468"/>
                    <a:pt x="1504821" y="3781827"/>
                  </a:cubicBezTo>
                  <a:cubicBezTo>
                    <a:pt x="1466428" y="3802371"/>
                    <a:pt x="1465990" y="3802397"/>
                    <a:pt x="1464184" y="3802397"/>
                  </a:cubicBezTo>
                  <a:cubicBezTo>
                    <a:pt x="1462632" y="3802397"/>
                    <a:pt x="1461125" y="3801721"/>
                    <a:pt x="1460082" y="3800591"/>
                  </a:cubicBezTo>
                  <a:cubicBezTo>
                    <a:pt x="1459021" y="3799470"/>
                    <a:pt x="1458478" y="3797973"/>
                    <a:pt x="1458591" y="3796433"/>
                  </a:cubicBezTo>
                  <a:lnTo>
                    <a:pt x="1459398" y="3784437"/>
                  </a:lnTo>
                  <a:cubicBezTo>
                    <a:pt x="1459293" y="3779911"/>
                    <a:pt x="1455611" y="3775547"/>
                    <a:pt x="1451255" y="3775547"/>
                  </a:cubicBezTo>
                  <a:close/>
                  <a:moveTo>
                    <a:pt x="1347970" y="3764424"/>
                  </a:moveTo>
                  <a:lnTo>
                    <a:pt x="1451255" y="3764424"/>
                  </a:lnTo>
                  <a:cubicBezTo>
                    <a:pt x="1461879" y="3764424"/>
                    <a:pt x="1470521" y="3773802"/>
                    <a:pt x="1470521" y="3784625"/>
                  </a:cubicBezTo>
                  <a:cubicBezTo>
                    <a:pt x="1470521" y="3784762"/>
                    <a:pt x="1470530" y="3785190"/>
                    <a:pt x="1470521" y="3785310"/>
                  </a:cubicBezTo>
                  <a:lnTo>
                    <a:pt x="1470399" y="3787355"/>
                  </a:lnTo>
                  <a:cubicBezTo>
                    <a:pt x="1478568" y="3783094"/>
                    <a:pt x="1491059" y="3776574"/>
                    <a:pt x="1499790" y="3771885"/>
                  </a:cubicBezTo>
                  <a:cubicBezTo>
                    <a:pt x="1502735" y="3770456"/>
                    <a:pt x="1505198" y="3769831"/>
                    <a:pt x="1507433" y="3769831"/>
                  </a:cubicBezTo>
                  <a:cubicBezTo>
                    <a:pt x="1510203" y="3769831"/>
                    <a:pt x="1512447" y="3770824"/>
                    <a:pt x="1514270" y="3772689"/>
                  </a:cubicBezTo>
                  <a:cubicBezTo>
                    <a:pt x="1517733" y="3776214"/>
                    <a:pt x="1517496" y="3781408"/>
                    <a:pt x="1517496" y="3783633"/>
                  </a:cubicBezTo>
                  <a:lnTo>
                    <a:pt x="1517496" y="3858757"/>
                  </a:lnTo>
                  <a:cubicBezTo>
                    <a:pt x="1517496" y="3862103"/>
                    <a:pt x="1517023" y="3864558"/>
                    <a:pt x="1515638" y="3866466"/>
                  </a:cubicBezTo>
                  <a:cubicBezTo>
                    <a:pt x="1514472" y="3868083"/>
                    <a:pt x="1512035" y="3870051"/>
                    <a:pt x="1508055" y="3870068"/>
                  </a:cubicBezTo>
                  <a:cubicBezTo>
                    <a:pt x="1505829" y="3870051"/>
                    <a:pt x="1503541" y="3869461"/>
                    <a:pt x="1500657" y="3868580"/>
                  </a:cubicBezTo>
                  <a:cubicBezTo>
                    <a:pt x="1500316" y="3868477"/>
                    <a:pt x="1500026" y="3868306"/>
                    <a:pt x="1499728" y="3868143"/>
                  </a:cubicBezTo>
                  <a:cubicBezTo>
                    <a:pt x="1489087" y="3862539"/>
                    <a:pt x="1477595" y="3856626"/>
                    <a:pt x="1470206" y="3852922"/>
                  </a:cubicBezTo>
                  <a:lnTo>
                    <a:pt x="1470521" y="3857328"/>
                  </a:lnTo>
                  <a:cubicBezTo>
                    <a:pt x="1470486" y="3867921"/>
                    <a:pt x="1462045" y="3875664"/>
                    <a:pt x="1451255" y="3875664"/>
                  </a:cubicBezTo>
                  <a:lnTo>
                    <a:pt x="1347970" y="3875664"/>
                  </a:lnTo>
                  <a:cubicBezTo>
                    <a:pt x="1337154" y="3875664"/>
                    <a:pt x="1328397" y="3868622"/>
                    <a:pt x="1328397" y="3858201"/>
                  </a:cubicBezTo>
                  <a:lnTo>
                    <a:pt x="1328397" y="3785558"/>
                  </a:lnTo>
                  <a:cubicBezTo>
                    <a:pt x="1328397" y="3774717"/>
                    <a:pt x="1337513" y="3764424"/>
                    <a:pt x="1347970" y="3764424"/>
                  </a:cubicBezTo>
                  <a:close/>
                  <a:moveTo>
                    <a:pt x="1050117" y="3758459"/>
                  </a:moveTo>
                  <a:cubicBezTo>
                    <a:pt x="1051047" y="3758527"/>
                    <a:pt x="1051977" y="3758810"/>
                    <a:pt x="1052852" y="3759258"/>
                  </a:cubicBezTo>
                  <a:cubicBezTo>
                    <a:pt x="1056352" y="3761072"/>
                    <a:pt x="1057711" y="3765334"/>
                    <a:pt x="1055897" y="3768834"/>
                  </a:cubicBezTo>
                  <a:lnTo>
                    <a:pt x="1006869" y="3863854"/>
                  </a:lnTo>
                  <a:cubicBezTo>
                    <a:pt x="1005101" y="3862304"/>
                    <a:pt x="1003150" y="3860958"/>
                    <a:pt x="1000962" y="3859817"/>
                  </a:cubicBezTo>
                  <a:cubicBezTo>
                    <a:pt x="999157" y="3858861"/>
                    <a:pt x="997188" y="3858052"/>
                    <a:pt x="995128" y="3857389"/>
                  </a:cubicBezTo>
                  <a:cubicBezTo>
                    <a:pt x="994845" y="3857301"/>
                    <a:pt x="994599" y="3857223"/>
                    <a:pt x="994316" y="3857145"/>
                  </a:cubicBezTo>
                  <a:lnTo>
                    <a:pt x="1043225" y="3762311"/>
                  </a:lnTo>
                  <a:cubicBezTo>
                    <a:pt x="1044574" y="3759687"/>
                    <a:pt x="1047345" y="3758244"/>
                    <a:pt x="1050117" y="3758459"/>
                  </a:cubicBezTo>
                  <a:close/>
                  <a:moveTo>
                    <a:pt x="893450" y="3754485"/>
                  </a:moveTo>
                  <a:lnTo>
                    <a:pt x="972251" y="3754485"/>
                  </a:lnTo>
                  <a:cubicBezTo>
                    <a:pt x="974797" y="3754485"/>
                    <a:pt x="976913" y="3756527"/>
                    <a:pt x="976913" y="3759083"/>
                  </a:cubicBezTo>
                  <a:cubicBezTo>
                    <a:pt x="976913" y="3761646"/>
                    <a:pt x="974797" y="3763618"/>
                    <a:pt x="972251" y="3763618"/>
                  </a:cubicBezTo>
                  <a:lnTo>
                    <a:pt x="893450" y="3763618"/>
                  </a:lnTo>
                  <a:cubicBezTo>
                    <a:pt x="890897" y="3763618"/>
                    <a:pt x="888913" y="3761646"/>
                    <a:pt x="888913" y="3759083"/>
                  </a:cubicBezTo>
                  <a:cubicBezTo>
                    <a:pt x="888913" y="3756527"/>
                    <a:pt x="890897" y="3754485"/>
                    <a:pt x="893450" y="3754485"/>
                  </a:cubicBezTo>
                  <a:close/>
                  <a:moveTo>
                    <a:pt x="1650972" y="3754257"/>
                  </a:moveTo>
                  <a:lnTo>
                    <a:pt x="1774325" y="3754257"/>
                  </a:lnTo>
                  <a:lnTo>
                    <a:pt x="1774325" y="3760351"/>
                  </a:lnTo>
                  <a:cubicBezTo>
                    <a:pt x="1774325" y="3760351"/>
                    <a:pt x="1782707" y="3760351"/>
                    <a:pt x="1782707" y="3760351"/>
                  </a:cubicBezTo>
                  <a:lnTo>
                    <a:pt x="1782707" y="3772529"/>
                  </a:lnTo>
                  <a:lnTo>
                    <a:pt x="1642584" y="3772529"/>
                  </a:lnTo>
                  <a:lnTo>
                    <a:pt x="1642584" y="3760351"/>
                  </a:lnTo>
                  <a:lnTo>
                    <a:pt x="1650972" y="3760351"/>
                  </a:lnTo>
                  <a:close/>
                  <a:moveTo>
                    <a:pt x="1590273" y="3748517"/>
                  </a:moveTo>
                  <a:cubicBezTo>
                    <a:pt x="1590522" y="3748517"/>
                    <a:pt x="1591205" y="3748580"/>
                    <a:pt x="1591205" y="3748580"/>
                  </a:cubicBezTo>
                  <a:lnTo>
                    <a:pt x="1609474" y="3750815"/>
                  </a:lnTo>
                  <a:lnTo>
                    <a:pt x="1609474" y="3752682"/>
                  </a:lnTo>
                  <a:lnTo>
                    <a:pt x="1587911" y="3751995"/>
                  </a:lnTo>
                  <a:lnTo>
                    <a:pt x="1587911" y="3754419"/>
                  </a:lnTo>
                  <a:lnTo>
                    <a:pt x="1609413" y="3754419"/>
                  </a:lnTo>
                  <a:lnTo>
                    <a:pt x="1609413" y="3756407"/>
                  </a:lnTo>
                  <a:lnTo>
                    <a:pt x="1587911" y="3756407"/>
                  </a:lnTo>
                  <a:lnTo>
                    <a:pt x="1587911" y="3758458"/>
                  </a:lnTo>
                  <a:lnTo>
                    <a:pt x="1609413" y="3758458"/>
                  </a:lnTo>
                  <a:lnTo>
                    <a:pt x="1609474" y="3760262"/>
                  </a:lnTo>
                  <a:lnTo>
                    <a:pt x="1588035" y="3760262"/>
                  </a:lnTo>
                  <a:cubicBezTo>
                    <a:pt x="1588035" y="3760262"/>
                    <a:pt x="1588035" y="3762686"/>
                    <a:pt x="1588035" y="3762686"/>
                  </a:cubicBezTo>
                  <a:lnTo>
                    <a:pt x="1609474" y="3762066"/>
                  </a:lnTo>
                  <a:lnTo>
                    <a:pt x="1609413" y="3764117"/>
                  </a:lnTo>
                  <a:lnTo>
                    <a:pt x="1590209" y="3766352"/>
                  </a:lnTo>
                  <a:cubicBezTo>
                    <a:pt x="1590209" y="3766352"/>
                    <a:pt x="1589799" y="3766352"/>
                    <a:pt x="1589650" y="3766352"/>
                  </a:cubicBezTo>
                  <a:cubicBezTo>
                    <a:pt x="1587324" y="3766186"/>
                    <a:pt x="1585251" y="3765131"/>
                    <a:pt x="1583748" y="3763556"/>
                  </a:cubicBezTo>
                  <a:cubicBezTo>
                    <a:pt x="1577139" y="3757079"/>
                    <a:pt x="1568228" y="3760930"/>
                    <a:pt x="1566099" y="3760944"/>
                  </a:cubicBezTo>
                  <a:cubicBezTo>
                    <a:pt x="1563732" y="3760944"/>
                    <a:pt x="1532788" y="3760963"/>
                    <a:pt x="1532788" y="3760944"/>
                  </a:cubicBezTo>
                  <a:cubicBezTo>
                    <a:pt x="1532780" y="3760944"/>
                    <a:pt x="1532756" y="3760944"/>
                    <a:pt x="1532727" y="3760944"/>
                  </a:cubicBezTo>
                  <a:cubicBezTo>
                    <a:pt x="1530803" y="3760944"/>
                    <a:pt x="1529248" y="3759384"/>
                    <a:pt x="1529248" y="3757466"/>
                  </a:cubicBezTo>
                  <a:cubicBezTo>
                    <a:pt x="1529248" y="3755551"/>
                    <a:pt x="1530803" y="3753984"/>
                    <a:pt x="1532727" y="3753984"/>
                  </a:cubicBezTo>
                  <a:cubicBezTo>
                    <a:pt x="1532756" y="3753984"/>
                    <a:pt x="1532764" y="3754002"/>
                    <a:pt x="1532788" y="3753984"/>
                  </a:cubicBezTo>
                  <a:cubicBezTo>
                    <a:pt x="1532788" y="3753984"/>
                    <a:pt x="1564130" y="3753984"/>
                    <a:pt x="1566159" y="3753984"/>
                  </a:cubicBezTo>
                  <a:cubicBezTo>
                    <a:pt x="1568003" y="3753984"/>
                    <a:pt x="1575725" y="3758591"/>
                    <a:pt x="1583310" y="3751874"/>
                  </a:cubicBezTo>
                  <a:cubicBezTo>
                    <a:pt x="1584942" y="3749826"/>
                    <a:pt x="1587461" y="3748517"/>
                    <a:pt x="1590273" y="3748517"/>
                  </a:cubicBezTo>
                  <a:close/>
                  <a:moveTo>
                    <a:pt x="975976" y="3728629"/>
                  </a:moveTo>
                  <a:lnTo>
                    <a:pt x="980450" y="3728629"/>
                  </a:lnTo>
                  <a:cubicBezTo>
                    <a:pt x="982347" y="3728629"/>
                    <a:pt x="983995" y="3730281"/>
                    <a:pt x="983995" y="3732175"/>
                  </a:cubicBezTo>
                  <a:lnTo>
                    <a:pt x="983995" y="3736523"/>
                  </a:lnTo>
                  <a:cubicBezTo>
                    <a:pt x="983995" y="3738424"/>
                    <a:pt x="982347" y="3740069"/>
                    <a:pt x="980450" y="3740069"/>
                  </a:cubicBezTo>
                  <a:lnTo>
                    <a:pt x="975976" y="3740069"/>
                  </a:lnTo>
                  <a:cubicBezTo>
                    <a:pt x="974086" y="3740069"/>
                    <a:pt x="972439" y="3738424"/>
                    <a:pt x="972439" y="3736523"/>
                  </a:cubicBezTo>
                  <a:lnTo>
                    <a:pt x="972439" y="3732175"/>
                  </a:lnTo>
                  <a:cubicBezTo>
                    <a:pt x="972439" y="3730281"/>
                    <a:pt x="974086" y="3728629"/>
                    <a:pt x="975976" y="3728629"/>
                  </a:cubicBezTo>
                  <a:close/>
                  <a:moveTo>
                    <a:pt x="952114" y="3728629"/>
                  </a:moveTo>
                  <a:lnTo>
                    <a:pt x="956283" y="3728629"/>
                  </a:lnTo>
                  <a:cubicBezTo>
                    <a:pt x="958259" y="3728629"/>
                    <a:pt x="959883" y="3730195"/>
                    <a:pt x="959883" y="3732175"/>
                  </a:cubicBezTo>
                  <a:lnTo>
                    <a:pt x="959883" y="3736523"/>
                  </a:lnTo>
                  <a:cubicBezTo>
                    <a:pt x="959883" y="3738502"/>
                    <a:pt x="958259" y="3740069"/>
                    <a:pt x="956283" y="3740069"/>
                  </a:cubicBezTo>
                  <a:lnTo>
                    <a:pt x="952114" y="3740069"/>
                  </a:lnTo>
                  <a:cubicBezTo>
                    <a:pt x="950146" y="3740069"/>
                    <a:pt x="948577" y="3738502"/>
                    <a:pt x="948577" y="3736523"/>
                  </a:cubicBezTo>
                  <a:lnTo>
                    <a:pt x="948577" y="3732175"/>
                  </a:lnTo>
                  <a:cubicBezTo>
                    <a:pt x="948577" y="3730195"/>
                    <a:pt x="950146" y="3728629"/>
                    <a:pt x="952114" y="3728629"/>
                  </a:cubicBezTo>
                  <a:close/>
                  <a:moveTo>
                    <a:pt x="930243" y="3728629"/>
                  </a:moveTo>
                  <a:lnTo>
                    <a:pt x="934529" y="3728629"/>
                  </a:lnTo>
                  <a:cubicBezTo>
                    <a:pt x="936513" y="3728629"/>
                    <a:pt x="938074" y="3730195"/>
                    <a:pt x="938074" y="3732175"/>
                  </a:cubicBezTo>
                  <a:lnTo>
                    <a:pt x="938074" y="3736523"/>
                  </a:lnTo>
                  <a:cubicBezTo>
                    <a:pt x="938074" y="3738502"/>
                    <a:pt x="936513" y="3740069"/>
                    <a:pt x="934529" y="3740069"/>
                  </a:cubicBezTo>
                  <a:lnTo>
                    <a:pt x="930243" y="3740069"/>
                  </a:lnTo>
                  <a:cubicBezTo>
                    <a:pt x="928267" y="3740069"/>
                    <a:pt x="926698" y="3738502"/>
                    <a:pt x="926698" y="3736523"/>
                  </a:cubicBezTo>
                  <a:lnTo>
                    <a:pt x="926698" y="3732175"/>
                  </a:lnTo>
                  <a:cubicBezTo>
                    <a:pt x="926698" y="3730195"/>
                    <a:pt x="928267" y="3728629"/>
                    <a:pt x="930243" y="3728629"/>
                  </a:cubicBezTo>
                  <a:close/>
                  <a:moveTo>
                    <a:pt x="906381" y="3728629"/>
                  </a:moveTo>
                  <a:lnTo>
                    <a:pt x="910730" y="3728629"/>
                  </a:lnTo>
                  <a:cubicBezTo>
                    <a:pt x="912627" y="3728629"/>
                    <a:pt x="914267" y="3730281"/>
                    <a:pt x="914267" y="3732175"/>
                  </a:cubicBezTo>
                  <a:lnTo>
                    <a:pt x="914267" y="3736523"/>
                  </a:lnTo>
                  <a:cubicBezTo>
                    <a:pt x="914267" y="3738424"/>
                    <a:pt x="912627" y="3740069"/>
                    <a:pt x="910730" y="3740069"/>
                  </a:cubicBezTo>
                  <a:lnTo>
                    <a:pt x="906381" y="3740069"/>
                  </a:lnTo>
                  <a:cubicBezTo>
                    <a:pt x="904483" y="3740069"/>
                    <a:pt x="902836" y="3738424"/>
                    <a:pt x="902836" y="3736523"/>
                  </a:cubicBezTo>
                  <a:lnTo>
                    <a:pt x="902836" y="3732175"/>
                  </a:lnTo>
                  <a:cubicBezTo>
                    <a:pt x="902836" y="3730281"/>
                    <a:pt x="904483" y="3728629"/>
                    <a:pt x="906381" y="3728629"/>
                  </a:cubicBezTo>
                  <a:close/>
                  <a:moveTo>
                    <a:pt x="884502" y="3728629"/>
                  </a:moveTo>
                  <a:lnTo>
                    <a:pt x="888789" y="3728629"/>
                  </a:lnTo>
                  <a:cubicBezTo>
                    <a:pt x="890772" y="3728629"/>
                    <a:pt x="892334" y="3730195"/>
                    <a:pt x="892334" y="3732175"/>
                  </a:cubicBezTo>
                  <a:lnTo>
                    <a:pt x="892334" y="3736523"/>
                  </a:lnTo>
                  <a:cubicBezTo>
                    <a:pt x="892334" y="3738502"/>
                    <a:pt x="890772" y="3740069"/>
                    <a:pt x="888789" y="3740069"/>
                  </a:cubicBezTo>
                  <a:lnTo>
                    <a:pt x="884502" y="3740069"/>
                  </a:lnTo>
                  <a:cubicBezTo>
                    <a:pt x="882534" y="3740069"/>
                    <a:pt x="880965" y="3738502"/>
                    <a:pt x="880965" y="3736523"/>
                  </a:cubicBezTo>
                  <a:lnTo>
                    <a:pt x="880965" y="3732175"/>
                  </a:lnTo>
                  <a:cubicBezTo>
                    <a:pt x="880965" y="3730195"/>
                    <a:pt x="882534" y="3728629"/>
                    <a:pt x="884502" y="3728629"/>
                  </a:cubicBezTo>
                  <a:close/>
                  <a:moveTo>
                    <a:pt x="1193789" y="3721012"/>
                  </a:moveTo>
                  <a:lnTo>
                    <a:pt x="1163785" y="3728423"/>
                  </a:lnTo>
                  <a:lnTo>
                    <a:pt x="1219516" y="3784154"/>
                  </a:lnTo>
                  <a:cubicBezTo>
                    <a:pt x="1219516" y="3784154"/>
                    <a:pt x="1226921" y="3754153"/>
                    <a:pt x="1226921" y="3754153"/>
                  </a:cubicBezTo>
                  <a:close/>
                  <a:moveTo>
                    <a:pt x="1355675" y="3720735"/>
                  </a:moveTo>
                  <a:cubicBezTo>
                    <a:pt x="1357183" y="3721026"/>
                    <a:pt x="1358138" y="3722464"/>
                    <a:pt x="1357849" y="3723970"/>
                  </a:cubicBezTo>
                  <a:cubicBezTo>
                    <a:pt x="1357779" y="3724338"/>
                    <a:pt x="1357779" y="3724329"/>
                    <a:pt x="1357788" y="3724654"/>
                  </a:cubicBezTo>
                  <a:lnTo>
                    <a:pt x="1357849" y="3725399"/>
                  </a:lnTo>
                  <a:cubicBezTo>
                    <a:pt x="1357849" y="3726930"/>
                    <a:pt x="1356596" y="3728196"/>
                    <a:pt x="1355053" y="3728196"/>
                  </a:cubicBezTo>
                  <a:cubicBezTo>
                    <a:pt x="1353519" y="3728196"/>
                    <a:pt x="1352257" y="3726930"/>
                    <a:pt x="1352257" y="3725399"/>
                  </a:cubicBezTo>
                  <a:lnTo>
                    <a:pt x="1352257" y="3724842"/>
                  </a:lnTo>
                  <a:cubicBezTo>
                    <a:pt x="1352248" y="3724252"/>
                    <a:pt x="1352274" y="3723833"/>
                    <a:pt x="1352449" y="3722917"/>
                  </a:cubicBezTo>
                  <a:cubicBezTo>
                    <a:pt x="1352730" y="3721411"/>
                    <a:pt x="1354176" y="3720453"/>
                    <a:pt x="1355675" y="3720735"/>
                  </a:cubicBezTo>
                  <a:close/>
                  <a:moveTo>
                    <a:pt x="964045" y="3716699"/>
                  </a:moveTo>
                  <a:lnTo>
                    <a:pt x="968277" y="3716699"/>
                  </a:lnTo>
                  <a:cubicBezTo>
                    <a:pt x="970330" y="3716699"/>
                    <a:pt x="971939" y="3718343"/>
                    <a:pt x="971939" y="3720244"/>
                  </a:cubicBezTo>
                  <a:lnTo>
                    <a:pt x="971939" y="3724717"/>
                  </a:lnTo>
                  <a:cubicBezTo>
                    <a:pt x="971939" y="3726611"/>
                    <a:pt x="970330" y="3728255"/>
                    <a:pt x="968277" y="3728255"/>
                  </a:cubicBezTo>
                  <a:lnTo>
                    <a:pt x="964045" y="3728255"/>
                  </a:lnTo>
                  <a:cubicBezTo>
                    <a:pt x="962062" y="3728255"/>
                    <a:pt x="960508" y="3726704"/>
                    <a:pt x="960508" y="3724717"/>
                  </a:cubicBezTo>
                  <a:lnTo>
                    <a:pt x="960508" y="3720244"/>
                  </a:lnTo>
                  <a:cubicBezTo>
                    <a:pt x="960508" y="3718265"/>
                    <a:pt x="962062" y="3716699"/>
                    <a:pt x="964045" y="3716699"/>
                  </a:cubicBezTo>
                  <a:close/>
                  <a:moveTo>
                    <a:pt x="942174" y="3716699"/>
                  </a:moveTo>
                  <a:lnTo>
                    <a:pt x="946523" y="3716699"/>
                  </a:lnTo>
                  <a:cubicBezTo>
                    <a:pt x="948420" y="3716699"/>
                    <a:pt x="950068" y="3718343"/>
                    <a:pt x="950068" y="3720244"/>
                  </a:cubicBezTo>
                  <a:lnTo>
                    <a:pt x="950068" y="3724717"/>
                  </a:lnTo>
                  <a:cubicBezTo>
                    <a:pt x="950068" y="3726611"/>
                    <a:pt x="948420" y="3728255"/>
                    <a:pt x="946523" y="3728255"/>
                  </a:cubicBezTo>
                  <a:lnTo>
                    <a:pt x="942174" y="3728255"/>
                  </a:lnTo>
                  <a:cubicBezTo>
                    <a:pt x="940276" y="3728255"/>
                    <a:pt x="938629" y="3726611"/>
                    <a:pt x="938629" y="3724717"/>
                  </a:cubicBezTo>
                  <a:lnTo>
                    <a:pt x="938629" y="3720244"/>
                  </a:lnTo>
                  <a:cubicBezTo>
                    <a:pt x="938629" y="3718343"/>
                    <a:pt x="940276" y="3716699"/>
                    <a:pt x="942174" y="3716699"/>
                  </a:cubicBezTo>
                  <a:close/>
                  <a:moveTo>
                    <a:pt x="918312" y="3716699"/>
                  </a:moveTo>
                  <a:lnTo>
                    <a:pt x="922661" y="3716699"/>
                  </a:lnTo>
                  <a:cubicBezTo>
                    <a:pt x="924636" y="3716699"/>
                    <a:pt x="926206" y="3718265"/>
                    <a:pt x="926206" y="3720244"/>
                  </a:cubicBezTo>
                  <a:lnTo>
                    <a:pt x="926206" y="3724717"/>
                  </a:lnTo>
                  <a:cubicBezTo>
                    <a:pt x="926206" y="3726704"/>
                    <a:pt x="924636" y="3728255"/>
                    <a:pt x="922661" y="3728255"/>
                  </a:cubicBezTo>
                  <a:lnTo>
                    <a:pt x="918312" y="3728255"/>
                  </a:lnTo>
                  <a:cubicBezTo>
                    <a:pt x="916414" y="3728255"/>
                    <a:pt x="914767" y="3726611"/>
                    <a:pt x="914767" y="3724717"/>
                  </a:cubicBezTo>
                  <a:cubicBezTo>
                    <a:pt x="914767" y="3724717"/>
                    <a:pt x="914767" y="3720244"/>
                    <a:pt x="914767" y="3720244"/>
                  </a:cubicBezTo>
                  <a:cubicBezTo>
                    <a:pt x="914767" y="3718343"/>
                    <a:pt x="916414" y="3716699"/>
                    <a:pt x="918312" y="3716699"/>
                  </a:cubicBezTo>
                  <a:close/>
                  <a:moveTo>
                    <a:pt x="896433" y="3716699"/>
                  </a:moveTo>
                  <a:lnTo>
                    <a:pt x="900657" y="3716699"/>
                  </a:lnTo>
                  <a:cubicBezTo>
                    <a:pt x="902633" y="3716699"/>
                    <a:pt x="904202" y="3718265"/>
                    <a:pt x="904202" y="3720244"/>
                  </a:cubicBezTo>
                  <a:lnTo>
                    <a:pt x="904202" y="3724717"/>
                  </a:lnTo>
                  <a:cubicBezTo>
                    <a:pt x="904202" y="3726704"/>
                    <a:pt x="902633" y="3728255"/>
                    <a:pt x="900657" y="3728255"/>
                  </a:cubicBezTo>
                  <a:lnTo>
                    <a:pt x="896433" y="3728255"/>
                  </a:lnTo>
                  <a:cubicBezTo>
                    <a:pt x="894465" y="3728255"/>
                    <a:pt x="892896" y="3726704"/>
                    <a:pt x="892896" y="3724717"/>
                  </a:cubicBezTo>
                  <a:lnTo>
                    <a:pt x="892896" y="3720244"/>
                  </a:lnTo>
                  <a:cubicBezTo>
                    <a:pt x="892896" y="3718265"/>
                    <a:pt x="894465" y="3716699"/>
                    <a:pt x="896433" y="3716699"/>
                  </a:cubicBezTo>
                  <a:close/>
                  <a:moveTo>
                    <a:pt x="1447275" y="3706754"/>
                  </a:moveTo>
                  <a:cubicBezTo>
                    <a:pt x="1448818" y="3706754"/>
                    <a:pt x="1450071" y="3708021"/>
                    <a:pt x="1450071" y="3709552"/>
                  </a:cubicBezTo>
                  <a:cubicBezTo>
                    <a:pt x="1450071" y="3711084"/>
                    <a:pt x="1448818" y="3712290"/>
                    <a:pt x="1447275" y="3712290"/>
                  </a:cubicBezTo>
                  <a:cubicBezTo>
                    <a:pt x="1443094" y="3712290"/>
                    <a:pt x="1439237" y="3714387"/>
                    <a:pt x="1436897" y="3717878"/>
                  </a:cubicBezTo>
                  <a:cubicBezTo>
                    <a:pt x="1436362" y="3718690"/>
                    <a:pt x="1435433" y="3719127"/>
                    <a:pt x="1434539" y="3719127"/>
                  </a:cubicBezTo>
                  <a:cubicBezTo>
                    <a:pt x="1434004" y="3719127"/>
                    <a:pt x="1433522" y="3718930"/>
                    <a:pt x="1433049" y="3718631"/>
                  </a:cubicBezTo>
                  <a:cubicBezTo>
                    <a:pt x="1431769" y="3717775"/>
                    <a:pt x="1431392" y="3716047"/>
                    <a:pt x="1432242" y="3714772"/>
                  </a:cubicBezTo>
                  <a:cubicBezTo>
                    <a:pt x="1435608" y="3709741"/>
                    <a:pt x="1441236" y="3706754"/>
                    <a:pt x="1447275" y="3706754"/>
                  </a:cubicBezTo>
                  <a:close/>
                  <a:moveTo>
                    <a:pt x="1369788" y="3706754"/>
                  </a:moveTo>
                  <a:cubicBezTo>
                    <a:pt x="1371322" y="3706754"/>
                    <a:pt x="1372523" y="3708021"/>
                    <a:pt x="1372523" y="3709552"/>
                  </a:cubicBezTo>
                  <a:cubicBezTo>
                    <a:pt x="1372523" y="3711084"/>
                    <a:pt x="1371322" y="3712290"/>
                    <a:pt x="1369788" y="3712290"/>
                  </a:cubicBezTo>
                  <a:cubicBezTo>
                    <a:pt x="1365589" y="3712290"/>
                    <a:pt x="1361662" y="3714387"/>
                    <a:pt x="1359348" y="3717878"/>
                  </a:cubicBezTo>
                  <a:cubicBezTo>
                    <a:pt x="1358796" y="3718690"/>
                    <a:pt x="1357945" y="3719127"/>
                    <a:pt x="1357043" y="3719127"/>
                  </a:cubicBezTo>
                  <a:cubicBezTo>
                    <a:pt x="1356517" y="3719127"/>
                    <a:pt x="1355964" y="3718930"/>
                    <a:pt x="1355491" y="3718631"/>
                  </a:cubicBezTo>
                  <a:cubicBezTo>
                    <a:pt x="1354211" y="3717775"/>
                    <a:pt x="1353826" y="3716047"/>
                    <a:pt x="1354685" y="3714772"/>
                  </a:cubicBezTo>
                  <a:cubicBezTo>
                    <a:pt x="1358051" y="3709741"/>
                    <a:pt x="1363722" y="3706754"/>
                    <a:pt x="1369788" y="3706754"/>
                  </a:cubicBezTo>
                  <a:close/>
                  <a:moveTo>
                    <a:pt x="975976" y="3704768"/>
                  </a:moveTo>
                  <a:lnTo>
                    <a:pt x="980450" y="3704768"/>
                  </a:lnTo>
                  <a:cubicBezTo>
                    <a:pt x="982347" y="3704768"/>
                    <a:pt x="983995" y="3706412"/>
                    <a:pt x="983995" y="3708314"/>
                  </a:cubicBezTo>
                  <a:lnTo>
                    <a:pt x="983995" y="3712662"/>
                  </a:lnTo>
                  <a:cubicBezTo>
                    <a:pt x="983995" y="3714556"/>
                    <a:pt x="982347" y="3716200"/>
                    <a:pt x="980450" y="3716200"/>
                  </a:cubicBezTo>
                  <a:lnTo>
                    <a:pt x="975976" y="3716200"/>
                  </a:lnTo>
                  <a:cubicBezTo>
                    <a:pt x="974086" y="3716200"/>
                    <a:pt x="972439" y="3714556"/>
                    <a:pt x="972439" y="3712662"/>
                  </a:cubicBezTo>
                  <a:lnTo>
                    <a:pt x="972439" y="3708314"/>
                  </a:lnTo>
                  <a:cubicBezTo>
                    <a:pt x="972439" y="3706412"/>
                    <a:pt x="974086" y="3704768"/>
                    <a:pt x="975976" y="3704768"/>
                  </a:cubicBezTo>
                  <a:close/>
                  <a:moveTo>
                    <a:pt x="952114" y="3704768"/>
                  </a:moveTo>
                  <a:lnTo>
                    <a:pt x="956283" y="3704768"/>
                  </a:lnTo>
                  <a:cubicBezTo>
                    <a:pt x="958259" y="3704768"/>
                    <a:pt x="959883" y="3706327"/>
                    <a:pt x="959883" y="3708314"/>
                  </a:cubicBezTo>
                  <a:lnTo>
                    <a:pt x="959883" y="3712662"/>
                  </a:lnTo>
                  <a:cubicBezTo>
                    <a:pt x="959883" y="3714641"/>
                    <a:pt x="958259" y="3716200"/>
                    <a:pt x="956283" y="3716200"/>
                  </a:cubicBezTo>
                  <a:lnTo>
                    <a:pt x="952114" y="3716200"/>
                  </a:lnTo>
                  <a:cubicBezTo>
                    <a:pt x="950146" y="3716200"/>
                    <a:pt x="948577" y="3714641"/>
                    <a:pt x="948577" y="3712662"/>
                  </a:cubicBezTo>
                  <a:lnTo>
                    <a:pt x="948577" y="3708314"/>
                  </a:lnTo>
                  <a:cubicBezTo>
                    <a:pt x="948577" y="3706327"/>
                    <a:pt x="950146" y="3704768"/>
                    <a:pt x="952114" y="3704768"/>
                  </a:cubicBezTo>
                  <a:close/>
                  <a:moveTo>
                    <a:pt x="930243" y="3704768"/>
                  </a:moveTo>
                  <a:lnTo>
                    <a:pt x="934529" y="3704768"/>
                  </a:lnTo>
                  <a:cubicBezTo>
                    <a:pt x="936513" y="3704768"/>
                    <a:pt x="938074" y="3706327"/>
                    <a:pt x="938074" y="3708314"/>
                  </a:cubicBezTo>
                  <a:lnTo>
                    <a:pt x="938074" y="3712662"/>
                  </a:lnTo>
                  <a:cubicBezTo>
                    <a:pt x="938074" y="3714641"/>
                    <a:pt x="936513" y="3716200"/>
                    <a:pt x="934529" y="3716200"/>
                  </a:cubicBezTo>
                  <a:lnTo>
                    <a:pt x="930243" y="3716200"/>
                  </a:lnTo>
                  <a:cubicBezTo>
                    <a:pt x="928267" y="3716200"/>
                    <a:pt x="926698" y="3714641"/>
                    <a:pt x="926698" y="3712662"/>
                  </a:cubicBezTo>
                  <a:lnTo>
                    <a:pt x="926698" y="3708314"/>
                  </a:lnTo>
                  <a:cubicBezTo>
                    <a:pt x="926698" y="3706327"/>
                    <a:pt x="928267" y="3704768"/>
                    <a:pt x="930243" y="3704768"/>
                  </a:cubicBezTo>
                  <a:close/>
                  <a:moveTo>
                    <a:pt x="906381" y="3704768"/>
                  </a:moveTo>
                  <a:lnTo>
                    <a:pt x="910730" y="3704768"/>
                  </a:lnTo>
                  <a:cubicBezTo>
                    <a:pt x="912627" y="3704768"/>
                    <a:pt x="914267" y="3706412"/>
                    <a:pt x="914267" y="3708314"/>
                  </a:cubicBezTo>
                  <a:lnTo>
                    <a:pt x="914267" y="3712662"/>
                  </a:lnTo>
                  <a:cubicBezTo>
                    <a:pt x="914267" y="3714556"/>
                    <a:pt x="912627" y="3716200"/>
                    <a:pt x="910730" y="3716200"/>
                  </a:cubicBezTo>
                  <a:lnTo>
                    <a:pt x="906381" y="3716200"/>
                  </a:lnTo>
                  <a:cubicBezTo>
                    <a:pt x="904483" y="3716200"/>
                    <a:pt x="902836" y="3714556"/>
                    <a:pt x="902836" y="3712662"/>
                  </a:cubicBezTo>
                  <a:lnTo>
                    <a:pt x="902836" y="3708314"/>
                  </a:lnTo>
                  <a:cubicBezTo>
                    <a:pt x="902836" y="3706412"/>
                    <a:pt x="904483" y="3704768"/>
                    <a:pt x="906381" y="3704768"/>
                  </a:cubicBezTo>
                  <a:close/>
                  <a:moveTo>
                    <a:pt x="884502" y="3704768"/>
                  </a:moveTo>
                  <a:lnTo>
                    <a:pt x="888789" y="3704768"/>
                  </a:lnTo>
                  <a:cubicBezTo>
                    <a:pt x="890772" y="3704768"/>
                    <a:pt x="892334" y="3706327"/>
                    <a:pt x="892334" y="3708314"/>
                  </a:cubicBezTo>
                  <a:lnTo>
                    <a:pt x="892334" y="3712662"/>
                  </a:lnTo>
                  <a:cubicBezTo>
                    <a:pt x="892334" y="3714641"/>
                    <a:pt x="890772" y="3716200"/>
                    <a:pt x="888789" y="3716200"/>
                  </a:cubicBezTo>
                  <a:lnTo>
                    <a:pt x="884502" y="3716200"/>
                  </a:lnTo>
                  <a:cubicBezTo>
                    <a:pt x="882534" y="3716200"/>
                    <a:pt x="880965" y="3714641"/>
                    <a:pt x="880965" y="3712662"/>
                  </a:cubicBezTo>
                  <a:lnTo>
                    <a:pt x="880965" y="3708314"/>
                  </a:lnTo>
                  <a:cubicBezTo>
                    <a:pt x="880965" y="3706327"/>
                    <a:pt x="882534" y="3704768"/>
                    <a:pt x="884502" y="3704768"/>
                  </a:cubicBezTo>
                  <a:close/>
                  <a:moveTo>
                    <a:pt x="1448397" y="3701971"/>
                  </a:moveTo>
                  <a:cubicBezTo>
                    <a:pt x="1435485" y="3701971"/>
                    <a:pt x="1425028" y="3712419"/>
                    <a:pt x="1425028" y="3725339"/>
                  </a:cubicBezTo>
                  <a:cubicBezTo>
                    <a:pt x="1425028" y="3738242"/>
                    <a:pt x="1435485" y="3748766"/>
                    <a:pt x="1448397" y="3748766"/>
                  </a:cubicBezTo>
                  <a:cubicBezTo>
                    <a:pt x="1461309" y="3748766"/>
                    <a:pt x="1471827" y="3738242"/>
                    <a:pt x="1471827" y="3725339"/>
                  </a:cubicBezTo>
                  <a:cubicBezTo>
                    <a:pt x="1471827" y="3712436"/>
                    <a:pt x="1461309" y="3701971"/>
                    <a:pt x="1448397" y="3701971"/>
                  </a:cubicBezTo>
                  <a:close/>
                  <a:moveTo>
                    <a:pt x="1370840" y="3701971"/>
                  </a:moveTo>
                  <a:cubicBezTo>
                    <a:pt x="1357928" y="3701971"/>
                    <a:pt x="1347471" y="3712419"/>
                    <a:pt x="1347471" y="3725339"/>
                  </a:cubicBezTo>
                  <a:cubicBezTo>
                    <a:pt x="1347471" y="3738242"/>
                    <a:pt x="1357928" y="3748766"/>
                    <a:pt x="1370840" y="3748766"/>
                  </a:cubicBezTo>
                  <a:cubicBezTo>
                    <a:pt x="1383742" y="3748766"/>
                    <a:pt x="1394270" y="3738242"/>
                    <a:pt x="1394270" y="3725339"/>
                  </a:cubicBezTo>
                  <a:cubicBezTo>
                    <a:pt x="1394270" y="3712436"/>
                    <a:pt x="1383742" y="3701971"/>
                    <a:pt x="1370840" y="3701971"/>
                  </a:cubicBezTo>
                  <a:close/>
                  <a:moveTo>
                    <a:pt x="1542298" y="3692587"/>
                  </a:moveTo>
                  <a:cubicBezTo>
                    <a:pt x="1537581" y="3692705"/>
                    <a:pt x="1533700" y="3694963"/>
                    <a:pt x="1530799" y="3699297"/>
                  </a:cubicBezTo>
                  <a:cubicBezTo>
                    <a:pt x="1529156" y="3701787"/>
                    <a:pt x="1528698" y="3704255"/>
                    <a:pt x="1529308" y="3706819"/>
                  </a:cubicBezTo>
                  <a:cubicBezTo>
                    <a:pt x="1531100" y="3714185"/>
                    <a:pt x="1541189" y="3719877"/>
                    <a:pt x="1541301" y="3719929"/>
                  </a:cubicBezTo>
                  <a:cubicBezTo>
                    <a:pt x="1542205" y="3720452"/>
                    <a:pt x="1542732" y="3721437"/>
                    <a:pt x="1542732" y="3722478"/>
                  </a:cubicBezTo>
                  <a:lnTo>
                    <a:pt x="1542732" y="3740686"/>
                  </a:lnTo>
                  <a:lnTo>
                    <a:pt x="1575046" y="3740686"/>
                  </a:lnTo>
                  <a:lnTo>
                    <a:pt x="1575046" y="3724838"/>
                  </a:lnTo>
                  <a:cubicBezTo>
                    <a:pt x="1568521" y="3726742"/>
                    <a:pt x="1561305" y="3727140"/>
                    <a:pt x="1556464" y="3727140"/>
                  </a:cubicBezTo>
                  <a:cubicBezTo>
                    <a:pt x="1553290" y="3727140"/>
                    <a:pt x="1551137" y="3726978"/>
                    <a:pt x="1550811" y="3726952"/>
                  </a:cubicBezTo>
                  <a:cubicBezTo>
                    <a:pt x="1549220" y="3726812"/>
                    <a:pt x="1548059" y="3725436"/>
                    <a:pt x="1548200" y="3723846"/>
                  </a:cubicBezTo>
                  <a:cubicBezTo>
                    <a:pt x="1548324" y="3722267"/>
                    <a:pt x="1549726" y="3721032"/>
                    <a:pt x="1551309" y="3721172"/>
                  </a:cubicBezTo>
                  <a:cubicBezTo>
                    <a:pt x="1558754" y="3721788"/>
                    <a:pt x="1579092" y="3721452"/>
                    <a:pt x="1583869" y="3712474"/>
                  </a:cubicBezTo>
                  <a:cubicBezTo>
                    <a:pt x="1586468" y="3707579"/>
                    <a:pt x="1586806" y="3703063"/>
                    <a:pt x="1584805" y="3699732"/>
                  </a:cubicBezTo>
                  <a:cubicBezTo>
                    <a:pt x="1582808" y="3696424"/>
                    <a:pt x="1578622" y="3694513"/>
                    <a:pt x="1573306" y="3694513"/>
                  </a:cubicBezTo>
                  <a:cubicBezTo>
                    <a:pt x="1562471" y="3694513"/>
                    <a:pt x="1553628" y="3708788"/>
                    <a:pt x="1553543" y="3708929"/>
                  </a:cubicBezTo>
                  <a:cubicBezTo>
                    <a:pt x="1552720" y="3710305"/>
                    <a:pt x="1550928" y="3710732"/>
                    <a:pt x="1549570" y="3709925"/>
                  </a:cubicBezTo>
                  <a:cubicBezTo>
                    <a:pt x="1548216" y="3709084"/>
                    <a:pt x="1547754" y="3707306"/>
                    <a:pt x="1548573" y="3705948"/>
                  </a:cubicBezTo>
                  <a:cubicBezTo>
                    <a:pt x="1548770" y="3705605"/>
                    <a:pt x="1551185" y="3701761"/>
                    <a:pt x="1555098" y="3697807"/>
                  </a:cubicBezTo>
                  <a:cubicBezTo>
                    <a:pt x="1552627" y="3695040"/>
                    <a:pt x="1547432" y="3692458"/>
                    <a:pt x="1542298" y="3692587"/>
                  </a:cubicBezTo>
                  <a:close/>
                  <a:moveTo>
                    <a:pt x="1448397" y="3690848"/>
                  </a:moveTo>
                  <a:cubicBezTo>
                    <a:pt x="1467436" y="3690848"/>
                    <a:pt x="1482951" y="3706301"/>
                    <a:pt x="1482951" y="3725339"/>
                  </a:cubicBezTo>
                  <a:cubicBezTo>
                    <a:pt x="1482951" y="3744368"/>
                    <a:pt x="1467436" y="3759889"/>
                    <a:pt x="1448397" y="3759889"/>
                  </a:cubicBezTo>
                  <a:cubicBezTo>
                    <a:pt x="1429367" y="3759889"/>
                    <a:pt x="1413905" y="3744368"/>
                    <a:pt x="1413905" y="3725339"/>
                  </a:cubicBezTo>
                  <a:cubicBezTo>
                    <a:pt x="1413905" y="3706301"/>
                    <a:pt x="1429367" y="3690848"/>
                    <a:pt x="1448397" y="3690848"/>
                  </a:cubicBezTo>
                  <a:close/>
                  <a:moveTo>
                    <a:pt x="1370840" y="3690848"/>
                  </a:moveTo>
                  <a:cubicBezTo>
                    <a:pt x="1389878" y="3690848"/>
                    <a:pt x="1405393" y="3706301"/>
                    <a:pt x="1405393" y="3725339"/>
                  </a:cubicBezTo>
                  <a:cubicBezTo>
                    <a:pt x="1405393" y="3744368"/>
                    <a:pt x="1389878" y="3759889"/>
                    <a:pt x="1370840" y="3759889"/>
                  </a:cubicBezTo>
                  <a:cubicBezTo>
                    <a:pt x="1351792" y="3759889"/>
                    <a:pt x="1336347" y="3744368"/>
                    <a:pt x="1336347" y="3725339"/>
                  </a:cubicBezTo>
                  <a:cubicBezTo>
                    <a:pt x="1336347" y="3706301"/>
                    <a:pt x="1351792" y="3690848"/>
                    <a:pt x="1370840" y="3690848"/>
                  </a:cubicBezTo>
                  <a:close/>
                  <a:moveTo>
                    <a:pt x="857095" y="3687430"/>
                  </a:moveTo>
                  <a:cubicBezTo>
                    <a:pt x="856509" y="3687430"/>
                    <a:pt x="856290" y="3687765"/>
                    <a:pt x="856290" y="3688427"/>
                  </a:cubicBezTo>
                  <a:lnTo>
                    <a:pt x="856290" y="3773561"/>
                  </a:lnTo>
                  <a:cubicBezTo>
                    <a:pt x="856290" y="3774146"/>
                    <a:pt x="856509" y="3774434"/>
                    <a:pt x="857095" y="3774434"/>
                  </a:cubicBezTo>
                  <a:lnTo>
                    <a:pt x="1005874" y="3774434"/>
                  </a:lnTo>
                  <a:cubicBezTo>
                    <a:pt x="1006452" y="3774434"/>
                    <a:pt x="1006678" y="3774146"/>
                    <a:pt x="1006678" y="3773561"/>
                  </a:cubicBezTo>
                  <a:cubicBezTo>
                    <a:pt x="1006678" y="3773561"/>
                    <a:pt x="1006678" y="3688427"/>
                    <a:pt x="1006678" y="3688427"/>
                  </a:cubicBezTo>
                  <a:cubicBezTo>
                    <a:pt x="1006678" y="3688022"/>
                    <a:pt x="1006194" y="3687430"/>
                    <a:pt x="1005874" y="3687430"/>
                  </a:cubicBezTo>
                  <a:close/>
                  <a:moveTo>
                    <a:pt x="1542113" y="3686870"/>
                  </a:moveTo>
                  <a:cubicBezTo>
                    <a:pt x="1549240" y="3686674"/>
                    <a:pt x="1555914" y="3690201"/>
                    <a:pt x="1559385" y="3694015"/>
                  </a:cubicBezTo>
                  <a:cubicBezTo>
                    <a:pt x="1563246" y="3691086"/>
                    <a:pt x="1568039" y="3688732"/>
                    <a:pt x="1573306" y="3688732"/>
                  </a:cubicBezTo>
                  <a:cubicBezTo>
                    <a:pt x="1580695" y="3688732"/>
                    <a:pt x="1586657" y="3691650"/>
                    <a:pt x="1589711" y="3696748"/>
                  </a:cubicBezTo>
                  <a:cubicBezTo>
                    <a:pt x="1592796" y="3701879"/>
                    <a:pt x="1592503" y="3708449"/>
                    <a:pt x="1588903" y="3715207"/>
                  </a:cubicBezTo>
                  <a:cubicBezTo>
                    <a:pt x="1587175" y="3718472"/>
                    <a:pt x="1584291" y="3720862"/>
                    <a:pt x="1580827" y="3722603"/>
                  </a:cubicBezTo>
                  <a:lnTo>
                    <a:pt x="1580827" y="3743607"/>
                  </a:lnTo>
                  <a:cubicBezTo>
                    <a:pt x="1580827" y="3745190"/>
                    <a:pt x="1579494" y="3746466"/>
                    <a:pt x="1577907" y="3746466"/>
                  </a:cubicBezTo>
                  <a:lnTo>
                    <a:pt x="1539875" y="3746466"/>
                  </a:lnTo>
                  <a:cubicBezTo>
                    <a:pt x="1538280" y="3746466"/>
                    <a:pt x="1537014" y="3745190"/>
                    <a:pt x="1537014" y="3743607"/>
                  </a:cubicBezTo>
                  <a:lnTo>
                    <a:pt x="1537014" y="3724093"/>
                  </a:lnTo>
                  <a:cubicBezTo>
                    <a:pt x="1533647" y="3721943"/>
                    <a:pt x="1525616" y="3716052"/>
                    <a:pt x="1523716" y="3708184"/>
                  </a:cubicBezTo>
                  <a:cubicBezTo>
                    <a:pt x="1522691" y="3704030"/>
                    <a:pt x="1523451" y="3699972"/>
                    <a:pt x="1526014" y="3696129"/>
                  </a:cubicBezTo>
                  <a:cubicBezTo>
                    <a:pt x="1530992" y="3688670"/>
                    <a:pt x="1537509" y="3686977"/>
                    <a:pt x="1542113" y="3686870"/>
                  </a:cubicBezTo>
                  <a:close/>
                  <a:moveTo>
                    <a:pt x="1706729" y="3684891"/>
                  </a:moveTo>
                  <a:cubicBezTo>
                    <a:pt x="1684977" y="3684891"/>
                    <a:pt x="1665866" y="3700304"/>
                    <a:pt x="1661273" y="3721548"/>
                  </a:cubicBezTo>
                  <a:lnTo>
                    <a:pt x="1660735" y="3724011"/>
                  </a:lnTo>
                  <a:lnTo>
                    <a:pt x="1658348" y="3724813"/>
                  </a:lnTo>
                  <a:cubicBezTo>
                    <a:pt x="1655474" y="3725780"/>
                    <a:pt x="1653547" y="3728424"/>
                    <a:pt x="1653547" y="3731415"/>
                  </a:cubicBezTo>
                  <a:cubicBezTo>
                    <a:pt x="1653547" y="3735290"/>
                    <a:pt x="1656693" y="3735935"/>
                    <a:pt x="1660560" y="3735935"/>
                  </a:cubicBezTo>
                  <a:lnTo>
                    <a:pt x="1763239" y="3735935"/>
                  </a:lnTo>
                  <a:cubicBezTo>
                    <a:pt x="1767118" y="3735935"/>
                    <a:pt x="1770264" y="3735290"/>
                    <a:pt x="1770264" y="3731415"/>
                  </a:cubicBezTo>
                  <a:cubicBezTo>
                    <a:pt x="1770264" y="3728424"/>
                    <a:pt x="1768331" y="3725780"/>
                    <a:pt x="1765464" y="3724813"/>
                  </a:cubicBezTo>
                  <a:lnTo>
                    <a:pt x="1763077" y="3724011"/>
                  </a:lnTo>
                  <a:lnTo>
                    <a:pt x="1762538" y="3721548"/>
                  </a:lnTo>
                  <a:cubicBezTo>
                    <a:pt x="1757939" y="3700304"/>
                    <a:pt x="1738827" y="3684891"/>
                    <a:pt x="1717082" y="3684891"/>
                  </a:cubicBezTo>
                  <a:close/>
                  <a:moveTo>
                    <a:pt x="1238390" y="3679855"/>
                  </a:moveTo>
                  <a:lnTo>
                    <a:pt x="1203414" y="3714840"/>
                  </a:lnTo>
                  <a:lnTo>
                    <a:pt x="1233094" y="3744520"/>
                  </a:lnTo>
                  <a:cubicBezTo>
                    <a:pt x="1233094" y="3744520"/>
                    <a:pt x="1268077" y="3709557"/>
                    <a:pt x="1268077" y="3709557"/>
                  </a:cubicBezTo>
                  <a:close/>
                  <a:moveTo>
                    <a:pt x="1055708" y="3678918"/>
                  </a:moveTo>
                  <a:lnTo>
                    <a:pt x="1104430" y="3678918"/>
                  </a:lnTo>
                  <a:cubicBezTo>
                    <a:pt x="1106480" y="3678918"/>
                    <a:pt x="1108160" y="3680594"/>
                    <a:pt x="1108160" y="3682644"/>
                  </a:cubicBezTo>
                  <a:cubicBezTo>
                    <a:pt x="1108160" y="3684689"/>
                    <a:pt x="1106480" y="3686311"/>
                    <a:pt x="1104430" y="3686311"/>
                  </a:cubicBezTo>
                  <a:lnTo>
                    <a:pt x="1055708" y="3686311"/>
                  </a:lnTo>
                  <a:cubicBezTo>
                    <a:pt x="1053662" y="3686311"/>
                    <a:pt x="1051982" y="3684689"/>
                    <a:pt x="1051982" y="3682644"/>
                  </a:cubicBezTo>
                  <a:cubicBezTo>
                    <a:pt x="1051982" y="3680594"/>
                    <a:pt x="1053662" y="3678918"/>
                    <a:pt x="1055708" y="3678918"/>
                  </a:cubicBezTo>
                  <a:close/>
                  <a:moveTo>
                    <a:pt x="1706709" y="3666970"/>
                  </a:moveTo>
                  <a:lnTo>
                    <a:pt x="1717089" y="3666970"/>
                  </a:lnTo>
                  <a:lnTo>
                    <a:pt x="1717089" y="3670142"/>
                  </a:lnTo>
                  <a:lnTo>
                    <a:pt x="1715817" y="3670142"/>
                  </a:lnTo>
                  <a:lnTo>
                    <a:pt x="1715817" y="3674887"/>
                  </a:lnTo>
                  <a:lnTo>
                    <a:pt x="1717089" y="3674887"/>
                  </a:lnTo>
                  <a:lnTo>
                    <a:pt x="1717089" y="3676016"/>
                  </a:lnTo>
                  <a:cubicBezTo>
                    <a:pt x="1742207" y="3676036"/>
                    <a:pt x="1764374" y="3693311"/>
                    <a:pt x="1770673" y="3717433"/>
                  </a:cubicBezTo>
                  <a:cubicBezTo>
                    <a:pt x="1775811" y="3720150"/>
                    <a:pt x="1779126" y="3725492"/>
                    <a:pt x="1779126" y="3731415"/>
                  </a:cubicBezTo>
                  <a:cubicBezTo>
                    <a:pt x="1779126" y="3740177"/>
                    <a:pt x="1772003" y="3744796"/>
                    <a:pt x="1763239" y="3744796"/>
                  </a:cubicBezTo>
                  <a:lnTo>
                    <a:pt x="1660560" y="3744796"/>
                  </a:lnTo>
                  <a:cubicBezTo>
                    <a:pt x="1651815" y="3744796"/>
                    <a:pt x="1644679" y="3740177"/>
                    <a:pt x="1644679" y="3731415"/>
                  </a:cubicBezTo>
                  <a:cubicBezTo>
                    <a:pt x="1644679" y="3725492"/>
                    <a:pt x="1647994" y="3720150"/>
                    <a:pt x="1653138" y="3717433"/>
                  </a:cubicBezTo>
                  <a:cubicBezTo>
                    <a:pt x="1659431" y="3693311"/>
                    <a:pt x="1681598" y="3676036"/>
                    <a:pt x="1706709" y="3676016"/>
                  </a:cubicBezTo>
                  <a:lnTo>
                    <a:pt x="1706709" y="3674887"/>
                  </a:lnTo>
                  <a:lnTo>
                    <a:pt x="1707987" y="3674887"/>
                  </a:lnTo>
                  <a:lnTo>
                    <a:pt x="1707987" y="3670142"/>
                  </a:lnTo>
                  <a:lnTo>
                    <a:pt x="1706709" y="3670142"/>
                  </a:lnTo>
                  <a:close/>
                  <a:moveTo>
                    <a:pt x="1055708" y="3664996"/>
                  </a:moveTo>
                  <a:lnTo>
                    <a:pt x="1104430" y="3664996"/>
                  </a:lnTo>
                  <a:cubicBezTo>
                    <a:pt x="1106480" y="3664996"/>
                    <a:pt x="1108160" y="3666622"/>
                    <a:pt x="1108160" y="3668662"/>
                  </a:cubicBezTo>
                  <a:cubicBezTo>
                    <a:pt x="1108160" y="3670713"/>
                    <a:pt x="1106480" y="3672393"/>
                    <a:pt x="1104430" y="3672393"/>
                  </a:cubicBezTo>
                  <a:lnTo>
                    <a:pt x="1055708" y="3672393"/>
                  </a:lnTo>
                  <a:cubicBezTo>
                    <a:pt x="1053658" y="3672393"/>
                    <a:pt x="1051982" y="3670713"/>
                    <a:pt x="1051982" y="3668662"/>
                  </a:cubicBezTo>
                  <a:cubicBezTo>
                    <a:pt x="1051982" y="3666622"/>
                    <a:pt x="1053658" y="3664996"/>
                    <a:pt x="1055708" y="3664996"/>
                  </a:cubicBezTo>
                  <a:close/>
                  <a:moveTo>
                    <a:pt x="1247352" y="3658592"/>
                  </a:moveTo>
                  <a:lnTo>
                    <a:pt x="1240138" y="3665806"/>
                  </a:lnTo>
                  <a:lnTo>
                    <a:pt x="1283493" y="3709163"/>
                  </a:lnTo>
                  <a:cubicBezTo>
                    <a:pt x="1283493" y="3709163"/>
                    <a:pt x="1290721" y="3701942"/>
                    <a:pt x="1290721" y="3701942"/>
                  </a:cubicBezTo>
                  <a:close/>
                  <a:moveTo>
                    <a:pt x="1055708" y="3649087"/>
                  </a:moveTo>
                  <a:lnTo>
                    <a:pt x="1104430" y="3649087"/>
                  </a:lnTo>
                  <a:cubicBezTo>
                    <a:pt x="1106484" y="3649087"/>
                    <a:pt x="1108160" y="3650708"/>
                    <a:pt x="1108160" y="3652754"/>
                  </a:cubicBezTo>
                  <a:cubicBezTo>
                    <a:pt x="1108160" y="3654804"/>
                    <a:pt x="1106484" y="3656484"/>
                    <a:pt x="1104430" y="3656484"/>
                  </a:cubicBezTo>
                  <a:lnTo>
                    <a:pt x="1055708" y="3656484"/>
                  </a:lnTo>
                  <a:cubicBezTo>
                    <a:pt x="1053658" y="3656484"/>
                    <a:pt x="1051982" y="3654804"/>
                    <a:pt x="1051982" y="3652754"/>
                  </a:cubicBezTo>
                  <a:cubicBezTo>
                    <a:pt x="1051982" y="3650708"/>
                    <a:pt x="1053658" y="3649087"/>
                    <a:pt x="1055708" y="3649087"/>
                  </a:cubicBezTo>
                  <a:close/>
                  <a:moveTo>
                    <a:pt x="1247352" y="3645096"/>
                  </a:moveTo>
                  <a:cubicBezTo>
                    <a:pt x="1248849" y="3645096"/>
                    <a:pt x="1250250" y="3645672"/>
                    <a:pt x="1251312" y="3646729"/>
                  </a:cubicBezTo>
                  <a:lnTo>
                    <a:pt x="1302574" y="3697985"/>
                  </a:lnTo>
                  <a:cubicBezTo>
                    <a:pt x="1304750" y="3700164"/>
                    <a:pt x="1304750" y="3703713"/>
                    <a:pt x="1302574" y="3705899"/>
                  </a:cubicBezTo>
                  <a:lnTo>
                    <a:pt x="1287439" y="3721027"/>
                  </a:lnTo>
                  <a:cubicBezTo>
                    <a:pt x="1286391" y="3722069"/>
                    <a:pt x="1284990" y="3722659"/>
                    <a:pt x="1283493" y="3722659"/>
                  </a:cubicBezTo>
                  <a:cubicBezTo>
                    <a:pt x="1282018" y="3722659"/>
                    <a:pt x="1280587" y="3722054"/>
                    <a:pt x="1279539" y="3721027"/>
                  </a:cubicBezTo>
                  <a:lnTo>
                    <a:pt x="1275977" y="3717456"/>
                  </a:lnTo>
                  <a:lnTo>
                    <a:pt x="1238154" y="3755276"/>
                  </a:lnTo>
                  <a:lnTo>
                    <a:pt x="1227983" y="3796440"/>
                  </a:lnTo>
                  <a:cubicBezTo>
                    <a:pt x="1227504" y="3798400"/>
                    <a:pt x="1226006" y="3799952"/>
                    <a:pt x="1224066" y="3800491"/>
                  </a:cubicBezTo>
                  <a:cubicBezTo>
                    <a:pt x="1222075" y="3801031"/>
                    <a:pt x="1220017" y="3800462"/>
                    <a:pt x="1218608" y="3799056"/>
                  </a:cubicBezTo>
                  <a:lnTo>
                    <a:pt x="1187697" y="3768144"/>
                  </a:lnTo>
                  <a:lnTo>
                    <a:pt x="1154971" y="3800863"/>
                  </a:lnTo>
                  <a:cubicBezTo>
                    <a:pt x="1153916" y="3801912"/>
                    <a:pt x="1152507" y="3802495"/>
                    <a:pt x="1151025" y="3802495"/>
                  </a:cubicBezTo>
                  <a:cubicBezTo>
                    <a:pt x="1149527" y="3802495"/>
                    <a:pt x="1148126" y="3801912"/>
                    <a:pt x="1147071" y="3800863"/>
                  </a:cubicBezTo>
                  <a:cubicBezTo>
                    <a:pt x="1146016" y="3799806"/>
                    <a:pt x="1145434" y="3798400"/>
                    <a:pt x="1145434" y="3796906"/>
                  </a:cubicBezTo>
                  <a:cubicBezTo>
                    <a:pt x="1145434" y="3795412"/>
                    <a:pt x="1146016" y="3794013"/>
                    <a:pt x="1147071" y="3792949"/>
                  </a:cubicBezTo>
                  <a:lnTo>
                    <a:pt x="1179790" y="3760238"/>
                  </a:lnTo>
                  <a:lnTo>
                    <a:pt x="1148878" y="3729319"/>
                  </a:lnTo>
                  <a:cubicBezTo>
                    <a:pt x="1147455" y="3727898"/>
                    <a:pt x="1146909" y="3725814"/>
                    <a:pt x="1147447" y="3723876"/>
                  </a:cubicBezTo>
                  <a:cubicBezTo>
                    <a:pt x="1147986" y="3721930"/>
                    <a:pt x="1149535" y="3720429"/>
                    <a:pt x="1151489" y="3719948"/>
                  </a:cubicBezTo>
                  <a:lnTo>
                    <a:pt x="1192661" y="3709783"/>
                  </a:lnTo>
                  <a:lnTo>
                    <a:pt x="1230483" y="3671956"/>
                  </a:lnTo>
                  <a:lnTo>
                    <a:pt x="1228278" y="3669755"/>
                  </a:lnTo>
                  <a:cubicBezTo>
                    <a:pt x="1227223" y="3668706"/>
                    <a:pt x="1226641" y="3667300"/>
                    <a:pt x="1226641" y="3665806"/>
                  </a:cubicBezTo>
                  <a:cubicBezTo>
                    <a:pt x="1226641" y="3664312"/>
                    <a:pt x="1227223" y="3662906"/>
                    <a:pt x="1228278" y="3661856"/>
                  </a:cubicBezTo>
                  <a:lnTo>
                    <a:pt x="1243406" y="3646729"/>
                  </a:lnTo>
                  <a:cubicBezTo>
                    <a:pt x="1244468" y="3645672"/>
                    <a:pt x="1245869" y="3645096"/>
                    <a:pt x="1247352" y="3645096"/>
                  </a:cubicBezTo>
                  <a:close/>
                  <a:moveTo>
                    <a:pt x="1055708" y="3635169"/>
                  </a:moveTo>
                  <a:lnTo>
                    <a:pt x="1104430" y="3635169"/>
                  </a:lnTo>
                  <a:cubicBezTo>
                    <a:pt x="1106480" y="3635169"/>
                    <a:pt x="1108160" y="3636845"/>
                    <a:pt x="1108160" y="3638895"/>
                  </a:cubicBezTo>
                  <a:cubicBezTo>
                    <a:pt x="1108160" y="3640945"/>
                    <a:pt x="1106480" y="3642562"/>
                    <a:pt x="1104430" y="3642562"/>
                  </a:cubicBezTo>
                  <a:lnTo>
                    <a:pt x="1055708" y="3642562"/>
                  </a:lnTo>
                  <a:cubicBezTo>
                    <a:pt x="1053658" y="3642562"/>
                    <a:pt x="1051982" y="3640945"/>
                    <a:pt x="1051982" y="3638895"/>
                  </a:cubicBezTo>
                  <a:cubicBezTo>
                    <a:pt x="1051982" y="3636845"/>
                    <a:pt x="1053658" y="3635169"/>
                    <a:pt x="1055708" y="3635169"/>
                  </a:cubicBezTo>
                  <a:close/>
                  <a:moveTo>
                    <a:pt x="1285456" y="3627211"/>
                  </a:moveTo>
                  <a:cubicBezTo>
                    <a:pt x="1285456" y="3627211"/>
                    <a:pt x="1303787" y="3627211"/>
                    <a:pt x="1303787" y="3627211"/>
                  </a:cubicBezTo>
                  <a:cubicBezTo>
                    <a:pt x="1306427" y="3627211"/>
                    <a:pt x="1308573" y="3628939"/>
                    <a:pt x="1308573" y="3631067"/>
                  </a:cubicBezTo>
                  <a:cubicBezTo>
                    <a:pt x="1308573" y="3633200"/>
                    <a:pt x="1306427" y="3634919"/>
                    <a:pt x="1303787" y="3634919"/>
                  </a:cubicBezTo>
                  <a:lnTo>
                    <a:pt x="1285456" y="3634919"/>
                  </a:lnTo>
                  <a:cubicBezTo>
                    <a:pt x="1282823" y="3634919"/>
                    <a:pt x="1280670" y="3633200"/>
                    <a:pt x="1280670" y="3631067"/>
                  </a:cubicBezTo>
                  <a:cubicBezTo>
                    <a:pt x="1280670" y="3628939"/>
                    <a:pt x="1282823" y="3627211"/>
                    <a:pt x="1285456" y="3627211"/>
                  </a:cubicBezTo>
                  <a:close/>
                  <a:moveTo>
                    <a:pt x="1559690" y="3626331"/>
                  </a:moveTo>
                  <a:cubicBezTo>
                    <a:pt x="1559654" y="3626331"/>
                    <a:pt x="1559630" y="3626331"/>
                    <a:pt x="1559606" y="3626337"/>
                  </a:cubicBezTo>
                  <a:lnTo>
                    <a:pt x="1519351" y="3627858"/>
                  </a:lnTo>
                  <a:cubicBezTo>
                    <a:pt x="1518033" y="3627907"/>
                    <a:pt x="1517100" y="3629162"/>
                    <a:pt x="1517425" y="3630442"/>
                  </a:cubicBezTo>
                  <a:lnTo>
                    <a:pt x="1520013" y="3640663"/>
                  </a:lnTo>
                  <a:cubicBezTo>
                    <a:pt x="1520958" y="3644376"/>
                    <a:pt x="1524292" y="3646947"/>
                    <a:pt x="1528089" y="3646947"/>
                  </a:cubicBezTo>
                  <a:cubicBezTo>
                    <a:pt x="1528197" y="3646947"/>
                    <a:pt x="1528306" y="3646947"/>
                    <a:pt x="1528414" y="3646944"/>
                  </a:cubicBezTo>
                  <a:lnTo>
                    <a:pt x="1557277" y="3645847"/>
                  </a:lnTo>
                  <a:cubicBezTo>
                    <a:pt x="1558270" y="3645805"/>
                    <a:pt x="1559088" y="3645077"/>
                    <a:pt x="1559245" y="3644103"/>
                  </a:cubicBezTo>
                  <a:lnTo>
                    <a:pt x="1561730" y="3628737"/>
                  </a:lnTo>
                  <a:cubicBezTo>
                    <a:pt x="1561941" y="3627470"/>
                    <a:pt x="1560960" y="3626331"/>
                    <a:pt x="1559690" y="3626331"/>
                  </a:cubicBezTo>
                  <a:close/>
                  <a:moveTo>
                    <a:pt x="1453002" y="3626331"/>
                  </a:moveTo>
                  <a:cubicBezTo>
                    <a:pt x="1451732" y="3626331"/>
                    <a:pt x="1450751" y="3627470"/>
                    <a:pt x="1450961" y="3628737"/>
                  </a:cubicBezTo>
                  <a:lnTo>
                    <a:pt x="1453447" y="3644103"/>
                  </a:lnTo>
                  <a:cubicBezTo>
                    <a:pt x="1453597" y="3645077"/>
                    <a:pt x="1454422" y="3645805"/>
                    <a:pt x="1455415" y="3645847"/>
                  </a:cubicBezTo>
                  <a:lnTo>
                    <a:pt x="1484277" y="3646944"/>
                  </a:lnTo>
                  <a:cubicBezTo>
                    <a:pt x="1484380" y="3646947"/>
                    <a:pt x="1484494" y="3646947"/>
                    <a:pt x="1484602" y="3646947"/>
                  </a:cubicBezTo>
                  <a:cubicBezTo>
                    <a:pt x="1488400" y="3646947"/>
                    <a:pt x="1491734" y="3644376"/>
                    <a:pt x="1492679" y="3640663"/>
                  </a:cubicBezTo>
                  <a:lnTo>
                    <a:pt x="1495266" y="3630442"/>
                  </a:lnTo>
                  <a:cubicBezTo>
                    <a:pt x="1495591" y="3629162"/>
                    <a:pt x="1494659" y="3627907"/>
                    <a:pt x="1493341" y="3627858"/>
                  </a:cubicBezTo>
                  <a:lnTo>
                    <a:pt x="1453086" y="3626337"/>
                  </a:lnTo>
                  <a:cubicBezTo>
                    <a:pt x="1453062" y="3626331"/>
                    <a:pt x="1453038" y="3626331"/>
                    <a:pt x="1453002" y="3626331"/>
                  </a:cubicBezTo>
                  <a:close/>
                  <a:moveTo>
                    <a:pt x="908122" y="3615340"/>
                  </a:moveTo>
                  <a:cubicBezTo>
                    <a:pt x="909254" y="3615122"/>
                    <a:pt x="910488" y="3615364"/>
                    <a:pt x="911597" y="3616026"/>
                  </a:cubicBezTo>
                  <a:cubicBezTo>
                    <a:pt x="913666" y="3617257"/>
                    <a:pt x="914189" y="3619992"/>
                    <a:pt x="913025" y="3622307"/>
                  </a:cubicBezTo>
                  <a:lnTo>
                    <a:pt x="912776" y="3622798"/>
                  </a:lnTo>
                  <a:cubicBezTo>
                    <a:pt x="912370" y="3624037"/>
                    <a:pt x="911198" y="3626749"/>
                    <a:pt x="912838" y="3629889"/>
                  </a:cubicBezTo>
                  <a:cubicBezTo>
                    <a:pt x="913916" y="3631946"/>
                    <a:pt x="916196" y="3633894"/>
                    <a:pt x="921170" y="3636162"/>
                  </a:cubicBezTo>
                  <a:cubicBezTo>
                    <a:pt x="926175" y="3638437"/>
                    <a:pt x="935693" y="3640089"/>
                    <a:pt x="948139" y="3640510"/>
                  </a:cubicBezTo>
                  <a:cubicBezTo>
                    <a:pt x="967769" y="3641157"/>
                    <a:pt x="979677" y="3646191"/>
                    <a:pt x="983933" y="3655488"/>
                  </a:cubicBezTo>
                  <a:cubicBezTo>
                    <a:pt x="986853" y="3661870"/>
                    <a:pt x="985924" y="3669452"/>
                    <a:pt x="980887" y="3678359"/>
                  </a:cubicBezTo>
                  <a:lnTo>
                    <a:pt x="1005874" y="3678359"/>
                  </a:lnTo>
                  <a:cubicBezTo>
                    <a:pt x="1008591" y="3678359"/>
                    <a:pt x="1010957" y="3679403"/>
                    <a:pt x="1012893" y="3681344"/>
                  </a:cubicBezTo>
                  <a:cubicBezTo>
                    <a:pt x="1014830" y="3683276"/>
                    <a:pt x="1015814" y="3685629"/>
                    <a:pt x="1015814" y="3688427"/>
                  </a:cubicBezTo>
                  <a:lnTo>
                    <a:pt x="1015814" y="3773561"/>
                  </a:lnTo>
                  <a:cubicBezTo>
                    <a:pt x="1015814" y="3776359"/>
                    <a:pt x="1014853" y="3778665"/>
                    <a:pt x="1012893" y="3780582"/>
                  </a:cubicBezTo>
                  <a:cubicBezTo>
                    <a:pt x="1010980" y="3782460"/>
                    <a:pt x="1008591" y="3783442"/>
                    <a:pt x="1005874" y="3783442"/>
                  </a:cubicBezTo>
                  <a:lnTo>
                    <a:pt x="857095" y="3783442"/>
                  </a:lnTo>
                  <a:cubicBezTo>
                    <a:pt x="851488" y="3783442"/>
                    <a:pt x="847155" y="3779172"/>
                    <a:pt x="847155" y="3773561"/>
                  </a:cubicBezTo>
                  <a:lnTo>
                    <a:pt x="847155" y="3688427"/>
                  </a:lnTo>
                  <a:cubicBezTo>
                    <a:pt x="847155" y="3682824"/>
                    <a:pt x="851488" y="3678359"/>
                    <a:pt x="857095" y="3678359"/>
                  </a:cubicBezTo>
                  <a:lnTo>
                    <a:pt x="969885" y="3678359"/>
                  </a:lnTo>
                  <a:cubicBezTo>
                    <a:pt x="970049" y="3678032"/>
                    <a:pt x="970323" y="3677673"/>
                    <a:pt x="970573" y="3677424"/>
                  </a:cubicBezTo>
                  <a:cubicBezTo>
                    <a:pt x="972954" y="3674369"/>
                    <a:pt x="978529" y="3665501"/>
                    <a:pt x="975671" y="3659220"/>
                  </a:cubicBezTo>
                  <a:cubicBezTo>
                    <a:pt x="973079" y="3653540"/>
                    <a:pt x="963241" y="3650134"/>
                    <a:pt x="947827" y="3649589"/>
                  </a:cubicBezTo>
                  <a:cubicBezTo>
                    <a:pt x="924074" y="3648739"/>
                    <a:pt x="909598" y="3643534"/>
                    <a:pt x="904514" y="3634050"/>
                  </a:cubicBezTo>
                  <a:cubicBezTo>
                    <a:pt x="903413" y="3632001"/>
                    <a:pt x="902765" y="3629803"/>
                    <a:pt x="902711" y="3627403"/>
                  </a:cubicBezTo>
                  <a:cubicBezTo>
                    <a:pt x="902601" y="3622704"/>
                    <a:pt x="903734" y="3619766"/>
                    <a:pt x="905256" y="3617335"/>
                  </a:cubicBezTo>
                  <a:cubicBezTo>
                    <a:pt x="905943" y="3616244"/>
                    <a:pt x="906982" y="3615566"/>
                    <a:pt x="908122" y="3615340"/>
                  </a:cubicBezTo>
                  <a:close/>
                  <a:moveTo>
                    <a:pt x="1282970" y="3615282"/>
                  </a:moveTo>
                  <a:lnTo>
                    <a:pt x="1305902" y="3615282"/>
                  </a:lnTo>
                  <a:cubicBezTo>
                    <a:pt x="1308290" y="3615282"/>
                    <a:pt x="1310189" y="3616997"/>
                    <a:pt x="1310189" y="3619134"/>
                  </a:cubicBezTo>
                  <a:cubicBezTo>
                    <a:pt x="1310189" y="3621263"/>
                    <a:pt x="1308290" y="3622986"/>
                    <a:pt x="1305902" y="3622986"/>
                  </a:cubicBezTo>
                  <a:lnTo>
                    <a:pt x="1282970" y="3622986"/>
                  </a:lnTo>
                  <a:cubicBezTo>
                    <a:pt x="1280588" y="3622986"/>
                    <a:pt x="1278683" y="3621263"/>
                    <a:pt x="1278683" y="3619134"/>
                  </a:cubicBezTo>
                  <a:cubicBezTo>
                    <a:pt x="1278683" y="3616997"/>
                    <a:pt x="1280588" y="3615282"/>
                    <a:pt x="1282970" y="3615282"/>
                  </a:cubicBezTo>
                  <a:close/>
                  <a:moveTo>
                    <a:pt x="1046387" y="3613415"/>
                  </a:moveTo>
                  <a:cubicBezTo>
                    <a:pt x="1043686" y="3613415"/>
                    <a:pt x="1041481" y="3615623"/>
                    <a:pt x="1041481" y="3618324"/>
                  </a:cubicBezTo>
                  <a:lnTo>
                    <a:pt x="1041481" y="3691530"/>
                  </a:lnTo>
                  <a:cubicBezTo>
                    <a:pt x="1041481" y="3694226"/>
                    <a:pt x="1043686" y="3696439"/>
                    <a:pt x="1046387" y="3696439"/>
                  </a:cubicBezTo>
                  <a:lnTo>
                    <a:pt x="1112511" y="3696439"/>
                  </a:lnTo>
                  <a:cubicBezTo>
                    <a:pt x="1115208" y="3696439"/>
                    <a:pt x="1117418" y="3694226"/>
                    <a:pt x="1117418" y="3691530"/>
                  </a:cubicBezTo>
                  <a:cubicBezTo>
                    <a:pt x="1117418" y="3691530"/>
                    <a:pt x="1117418" y="3618324"/>
                    <a:pt x="1117418" y="3618324"/>
                  </a:cubicBezTo>
                  <a:cubicBezTo>
                    <a:pt x="1117418" y="3615623"/>
                    <a:pt x="1115208" y="3613415"/>
                    <a:pt x="1112511" y="3613415"/>
                  </a:cubicBezTo>
                  <a:lnTo>
                    <a:pt x="1107105" y="3613415"/>
                  </a:lnTo>
                  <a:lnTo>
                    <a:pt x="1107105" y="3619260"/>
                  </a:lnTo>
                  <a:cubicBezTo>
                    <a:pt x="1107105" y="3621774"/>
                    <a:pt x="1105089" y="3623794"/>
                    <a:pt x="1102569" y="3623794"/>
                  </a:cubicBezTo>
                  <a:lnTo>
                    <a:pt x="1100889" y="3623794"/>
                  </a:lnTo>
                  <a:cubicBezTo>
                    <a:pt x="1098368" y="3623794"/>
                    <a:pt x="1096352" y="3621774"/>
                    <a:pt x="1096352" y="3619260"/>
                  </a:cubicBezTo>
                  <a:lnTo>
                    <a:pt x="1096352" y="3613415"/>
                  </a:lnTo>
                  <a:lnTo>
                    <a:pt x="1064411" y="3613415"/>
                  </a:lnTo>
                  <a:lnTo>
                    <a:pt x="1064411" y="3619260"/>
                  </a:lnTo>
                  <a:cubicBezTo>
                    <a:pt x="1064411" y="3621774"/>
                    <a:pt x="1062328" y="3623794"/>
                    <a:pt x="1059812" y="3623794"/>
                  </a:cubicBezTo>
                  <a:lnTo>
                    <a:pt x="1058195" y="3623794"/>
                  </a:lnTo>
                  <a:cubicBezTo>
                    <a:pt x="1055670" y="3623794"/>
                    <a:pt x="1053595" y="3621774"/>
                    <a:pt x="1053595" y="3619260"/>
                  </a:cubicBezTo>
                  <a:lnTo>
                    <a:pt x="1053595" y="3613415"/>
                  </a:lnTo>
                  <a:close/>
                  <a:moveTo>
                    <a:pt x="1389457" y="3613192"/>
                  </a:moveTo>
                  <a:lnTo>
                    <a:pt x="1367754" y="3634902"/>
                  </a:lnTo>
                  <a:cubicBezTo>
                    <a:pt x="1367146" y="3635506"/>
                    <a:pt x="1367146" y="3636509"/>
                    <a:pt x="1367754" y="3637113"/>
                  </a:cubicBezTo>
                  <a:cubicBezTo>
                    <a:pt x="1368351" y="3637732"/>
                    <a:pt x="1369355" y="3637732"/>
                    <a:pt x="1369959" y="3637113"/>
                  </a:cubicBezTo>
                  <a:lnTo>
                    <a:pt x="1391672" y="3615418"/>
                  </a:lnTo>
                  <a:cubicBezTo>
                    <a:pt x="1392273" y="3614799"/>
                    <a:pt x="1392273" y="3613811"/>
                    <a:pt x="1391672" y="3613192"/>
                  </a:cubicBezTo>
                  <a:cubicBezTo>
                    <a:pt x="1391064" y="3612591"/>
                    <a:pt x="1390065" y="3612591"/>
                    <a:pt x="1389457" y="3613192"/>
                  </a:cubicBezTo>
                  <a:close/>
                  <a:moveTo>
                    <a:pt x="1177751" y="3610857"/>
                  </a:moveTo>
                  <a:lnTo>
                    <a:pt x="1181465" y="3610857"/>
                  </a:lnTo>
                  <a:cubicBezTo>
                    <a:pt x="1181465" y="3610857"/>
                    <a:pt x="1182716" y="3635554"/>
                    <a:pt x="1182716" y="3635554"/>
                  </a:cubicBezTo>
                  <a:lnTo>
                    <a:pt x="1197488" y="3651619"/>
                  </a:lnTo>
                  <a:lnTo>
                    <a:pt x="1194667" y="3654552"/>
                  </a:lnTo>
                  <a:lnTo>
                    <a:pt x="1177190" y="3638868"/>
                  </a:lnTo>
                  <a:lnTo>
                    <a:pt x="1176473" y="3635894"/>
                  </a:lnTo>
                  <a:close/>
                  <a:moveTo>
                    <a:pt x="1179563" y="3607316"/>
                  </a:moveTo>
                  <a:cubicBezTo>
                    <a:pt x="1163895" y="3607316"/>
                    <a:pt x="1151196" y="3620014"/>
                    <a:pt x="1151196" y="3635686"/>
                  </a:cubicBezTo>
                  <a:cubicBezTo>
                    <a:pt x="1151196" y="3651354"/>
                    <a:pt x="1163895" y="3664056"/>
                    <a:pt x="1179563" y="3664056"/>
                  </a:cubicBezTo>
                  <a:cubicBezTo>
                    <a:pt x="1195228" y="3664056"/>
                    <a:pt x="1207927" y="3651354"/>
                    <a:pt x="1207927" y="3635686"/>
                  </a:cubicBezTo>
                  <a:cubicBezTo>
                    <a:pt x="1207927" y="3620014"/>
                    <a:pt x="1195228" y="3607316"/>
                    <a:pt x="1179563" y="3607316"/>
                  </a:cubicBezTo>
                  <a:close/>
                  <a:moveTo>
                    <a:pt x="1390274" y="3606936"/>
                  </a:moveTo>
                  <a:lnTo>
                    <a:pt x="1400534" y="3617200"/>
                  </a:lnTo>
                  <a:lnTo>
                    <a:pt x="1372772" y="3644960"/>
                  </a:lnTo>
                  <a:lnTo>
                    <a:pt x="1358377" y="3649078"/>
                  </a:lnTo>
                  <a:lnTo>
                    <a:pt x="1362505" y="3634690"/>
                  </a:lnTo>
                  <a:cubicBezTo>
                    <a:pt x="1362505" y="3634690"/>
                    <a:pt x="1390274" y="3606936"/>
                    <a:pt x="1390274" y="3606936"/>
                  </a:cubicBezTo>
                  <a:close/>
                  <a:moveTo>
                    <a:pt x="1179563" y="3600225"/>
                  </a:moveTo>
                  <a:cubicBezTo>
                    <a:pt x="1199148" y="3600225"/>
                    <a:pt x="1215022" y="3616098"/>
                    <a:pt x="1215022" y="3635686"/>
                  </a:cubicBezTo>
                  <a:cubicBezTo>
                    <a:pt x="1215022" y="3655274"/>
                    <a:pt x="1199144" y="3671143"/>
                    <a:pt x="1179563" y="3671143"/>
                  </a:cubicBezTo>
                  <a:cubicBezTo>
                    <a:pt x="1159979" y="3671143"/>
                    <a:pt x="1144096" y="3655274"/>
                    <a:pt x="1144096" y="3635686"/>
                  </a:cubicBezTo>
                  <a:cubicBezTo>
                    <a:pt x="1144096" y="3616098"/>
                    <a:pt x="1159979" y="3600225"/>
                    <a:pt x="1179563" y="3600225"/>
                  </a:cubicBezTo>
                  <a:close/>
                  <a:moveTo>
                    <a:pt x="1352727" y="3598231"/>
                  </a:moveTo>
                  <a:lnTo>
                    <a:pt x="1386906" y="3598231"/>
                  </a:lnTo>
                  <a:lnTo>
                    <a:pt x="1386906" y="3604651"/>
                  </a:lnTo>
                  <a:lnTo>
                    <a:pt x="1381814" y="3609840"/>
                  </a:lnTo>
                  <a:lnTo>
                    <a:pt x="1381814" y="3602533"/>
                  </a:lnTo>
                  <a:lnTo>
                    <a:pt x="1358184" y="3602533"/>
                  </a:lnTo>
                  <a:lnTo>
                    <a:pt x="1358184" y="3615138"/>
                  </a:lnTo>
                  <a:lnTo>
                    <a:pt x="1343416" y="3615138"/>
                  </a:lnTo>
                  <a:lnTo>
                    <a:pt x="1343416" y="3654092"/>
                  </a:lnTo>
                  <a:lnTo>
                    <a:pt x="1381797" y="3654092"/>
                  </a:lnTo>
                  <a:cubicBezTo>
                    <a:pt x="1381797" y="3654092"/>
                    <a:pt x="1381797" y="3642296"/>
                    <a:pt x="1381797" y="3642296"/>
                  </a:cubicBezTo>
                  <a:lnTo>
                    <a:pt x="1386906" y="3637195"/>
                  </a:lnTo>
                  <a:lnTo>
                    <a:pt x="1386906" y="3658379"/>
                  </a:lnTo>
                  <a:lnTo>
                    <a:pt x="1338328" y="3658379"/>
                  </a:lnTo>
                  <a:lnTo>
                    <a:pt x="1338328" y="3610467"/>
                  </a:lnTo>
                  <a:close/>
                  <a:moveTo>
                    <a:pt x="1058195" y="3597383"/>
                  </a:moveTo>
                  <a:lnTo>
                    <a:pt x="1059812" y="3597383"/>
                  </a:lnTo>
                  <a:cubicBezTo>
                    <a:pt x="1062328" y="3597383"/>
                    <a:pt x="1064411" y="3599399"/>
                    <a:pt x="1064411" y="3601917"/>
                  </a:cubicBezTo>
                  <a:lnTo>
                    <a:pt x="1064411" y="3606023"/>
                  </a:lnTo>
                  <a:lnTo>
                    <a:pt x="1096352" y="3606023"/>
                  </a:lnTo>
                  <a:lnTo>
                    <a:pt x="1096352" y="3601917"/>
                  </a:lnTo>
                  <a:cubicBezTo>
                    <a:pt x="1096352" y="3599399"/>
                    <a:pt x="1098368" y="3597383"/>
                    <a:pt x="1100889" y="3597383"/>
                  </a:cubicBezTo>
                  <a:lnTo>
                    <a:pt x="1102569" y="3597383"/>
                  </a:lnTo>
                  <a:cubicBezTo>
                    <a:pt x="1105089" y="3597383"/>
                    <a:pt x="1107105" y="3599399"/>
                    <a:pt x="1107105" y="3601917"/>
                  </a:cubicBezTo>
                  <a:lnTo>
                    <a:pt x="1107105" y="3606023"/>
                  </a:lnTo>
                  <a:lnTo>
                    <a:pt x="1112511" y="3606023"/>
                  </a:lnTo>
                  <a:cubicBezTo>
                    <a:pt x="1119304" y="3606023"/>
                    <a:pt x="1124815" y="3611538"/>
                    <a:pt x="1124815" y="3618324"/>
                  </a:cubicBezTo>
                  <a:lnTo>
                    <a:pt x="1124815" y="3691530"/>
                  </a:lnTo>
                  <a:cubicBezTo>
                    <a:pt x="1124815" y="3698321"/>
                    <a:pt x="1119304" y="3703836"/>
                    <a:pt x="1112511" y="3703836"/>
                  </a:cubicBezTo>
                  <a:lnTo>
                    <a:pt x="1046387" y="3703836"/>
                  </a:lnTo>
                  <a:cubicBezTo>
                    <a:pt x="1039591" y="3703836"/>
                    <a:pt x="1034084" y="3698321"/>
                    <a:pt x="1034084" y="3691530"/>
                  </a:cubicBezTo>
                  <a:lnTo>
                    <a:pt x="1034084" y="3618324"/>
                  </a:lnTo>
                  <a:cubicBezTo>
                    <a:pt x="1034084" y="3611538"/>
                    <a:pt x="1039591" y="3606023"/>
                    <a:pt x="1046387" y="3606023"/>
                  </a:cubicBezTo>
                  <a:lnTo>
                    <a:pt x="1053595" y="3606023"/>
                  </a:lnTo>
                  <a:lnTo>
                    <a:pt x="1053595" y="3601917"/>
                  </a:lnTo>
                  <a:cubicBezTo>
                    <a:pt x="1053595" y="3599399"/>
                    <a:pt x="1055670" y="3597383"/>
                    <a:pt x="1058195" y="3597383"/>
                  </a:cubicBezTo>
                  <a:close/>
                  <a:moveTo>
                    <a:pt x="1399820" y="3597369"/>
                  </a:moveTo>
                  <a:cubicBezTo>
                    <a:pt x="1399820" y="3597369"/>
                    <a:pt x="1410074" y="3607603"/>
                    <a:pt x="1410074" y="3607603"/>
                  </a:cubicBezTo>
                  <a:lnTo>
                    <a:pt x="1403281" y="3614401"/>
                  </a:lnTo>
                  <a:lnTo>
                    <a:pt x="1393027" y="3604171"/>
                  </a:lnTo>
                  <a:close/>
                  <a:moveTo>
                    <a:pt x="1196837" y="3589415"/>
                  </a:moveTo>
                  <a:cubicBezTo>
                    <a:pt x="1207888" y="3593891"/>
                    <a:pt x="1216795" y="3602514"/>
                    <a:pt x="1221647" y="3613385"/>
                  </a:cubicBezTo>
                  <a:lnTo>
                    <a:pt x="1214871" y="3615644"/>
                  </a:lnTo>
                  <a:cubicBezTo>
                    <a:pt x="1210814" y="3606975"/>
                    <a:pt x="1203695" y="3600029"/>
                    <a:pt x="1194877" y="3596264"/>
                  </a:cubicBezTo>
                  <a:close/>
                  <a:moveTo>
                    <a:pt x="1162290" y="3589415"/>
                  </a:moveTo>
                  <a:lnTo>
                    <a:pt x="1164246" y="3596264"/>
                  </a:lnTo>
                  <a:cubicBezTo>
                    <a:pt x="1155424" y="3600029"/>
                    <a:pt x="1148312" y="3606975"/>
                    <a:pt x="1144256" y="3615644"/>
                  </a:cubicBezTo>
                  <a:lnTo>
                    <a:pt x="1137480" y="3613385"/>
                  </a:lnTo>
                  <a:cubicBezTo>
                    <a:pt x="1142323" y="3602514"/>
                    <a:pt x="1151235" y="3593891"/>
                    <a:pt x="1162290" y="3589415"/>
                  </a:cubicBezTo>
                  <a:close/>
                  <a:moveTo>
                    <a:pt x="1465934" y="3586280"/>
                  </a:moveTo>
                  <a:cubicBezTo>
                    <a:pt x="1468907" y="3585046"/>
                    <a:pt x="1471934" y="3585167"/>
                    <a:pt x="1474721" y="3586642"/>
                  </a:cubicBezTo>
                  <a:cubicBezTo>
                    <a:pt x="1476972" y="3587824"/>
                    <a:pt x="1477832" y="3590612"/>
                    <a:pt x="1476641" y="3592854"/>
                  </a:cubicBezTo>
                  <a:cubicBezTo>
                    <a:pt x="1475455" y="3595102"/>
                    <a:pt x="1472669" y="3595954"/>
                    <a:pt x="1470424" y="3594766"/>
                  </a:cubicBezTo>
                  <a:cubicBezTo>
                    <a:pt x="1470201" y="3594651"/>
                    <a:pt x="1470027" y="3594582"/>
                    <a:pt x="1469654" y="3594713"/>
                  </a:cubicBezTo>
                  <a:cubicBezTo>
                    <a:pt x="1469605" y="3594730"/>
                    <a:pt x="1469551" y="3594743"/>
                    <a:pt x="1469491" y="3594766"/>
                  </a:cubicBezTo>
                  <a:cubicBezTo>
                    <a:pt x="1468546" y="3595164"/>
                    <a:pt x="1465224" y="3597215"/>
                    <a:pt x="1460404" y="3607400"/>
                  </a:cubicBezTo>
                  <a:cubicBezTo>
                    <a:pt x="1460085" y="3608052"/>
                    <a:pt x="1459772" y="3608743"/>
                    <a:pt x="1459453" y="3609457"/>
                  </a:cubicBezTo>
                  <a:cubicBezTo>
                    <a:pt x="1458213" y="3612242"/>
                    <a:pt x="1457142" y="3614968"/>
                    <a:pt x="1456299" y="3617249"/>
                  </a:cubicBezTo>
                  <a:lnTo>
                    <a:pt x="1493684" y="3618671"/>
                  </a:lnTo>
                  <a:cubicBezTo>
                    <a:pt x="1497108" y="3618796"/>
                    <a:pt x="1500237" y="3620445"/>
                    <a:pt x="1502284" y="3623174"/>
                  </a:cubicBezTo>
                  <a:cubicBezTo>
                    <a:pt x="1502308" y="3623213"/>
                    <a:pt x="1502332" y="3623246"/>
                    <a:pt x="1502356" y="3623269"/>
                  </a:cubicBezTo>
                  <a:cubicBezTo>
                    <a:pt x="1503602" y="3623052"/>
                    <a:pt x="1504889" y="3622934"/>
                    <a:pt x="1506207" y="3622934"/>
                  </a:cubicBezTo>
                  <a:cubicBezTo>
                    <a:pt x="1507604" y="3622934"/>
                    <a:pt x="1508982" y="3623065"/>
                    <a:pt x="1510306" y="3623315"/>
                  </a:cubicBezTo>
                  <a:cubicBezTo>
                    <a:pt x="1510342" y="3623269"/>
                    <a:pt x="1510372" y="3623223"/>
                    <a:pt x="1510402" y="3623174"/>
                  </a:cubicBezTo>
                  <a:cubicBezTo>
                    <a:pt x="1512454" y="3620445"/>
                    <a:pt x="1515583" y="3618796"/>
                    <a:pt x="1519008" y="3618671"/>
                  </a:cubicBezTo>
                  <a:lnTo>
                    <a:pt x="1556392" y="3617249"/>
                  </a:lnTo>
                  <a:cubicBezTo>
                    <a:pt x="1555549" y="3614968"/>
                    <a:pt x="1554478" y="3612242"/>
                    <a:pt x="1553245" y="3609457"/>
                  </a:cubicBezTo>
                  <a:cubicBezTo>
                    <a:pt x="1552920" y="3608743"/>
                    <a:pt x="1552607" y="3608052"/>
                    <a:pt x="1552294" y="3607400"/>
                  </a:cubicBezTo>
                  <a:cubicBezTo>
                    <a:pt x="1547461" y="3597215"/>
                    <a:pt x="1544145" y="3595164"/>
                    <a:pt x="1543206" y="3594766"/>
                  </a:cubicBezTo>
                  <a:cubicBezTo>
                    <a:pt x="1543140" y="3594743"/>
                    <a:pt x="1543086" y="3594730"/>
                    <a:pt x="1543038" y="3594713"/>
                  </a:cubicBezTo>
                  <a:cubicBezTo>
                    <a:pt x="1542665" y="3594582"/>
                    <a:pt x="1542496" y="3594651"/>
                    <a:pt x="1542268" y="3594766"/>
                  </a:cubicBezTo>
                  <a:cubicBezTo>
                    <a:pt x="1540023" y="3595954"/>
                    <a:pt x="1537236" y="3595095"/>
                    <a:pt x="1536051" y="3592854"/>
                  </a:cubicBezTo>
                  <a:cubicBezTo>
                    <a:pt x="1534871" y="3590612"/>
                    <a:pt x="1535720" y="3587824"/>
                    <a:pt x="1537971" y="3586642"/>
                  </a:cubicBezTo>
                  <a:cubicBezTo>
                    <a:pt x="1540757" y="3585167"/>
                    <a:pt x="1543790" y="3585046"/>
                    <a:pt x="1546757" y="3586280"/>
                  </a:cubicBezTo>
                  <a:cubicBezTo>
                    <a:pt x="1551903" y="3588436"/>
                    <a:pt x="1556789" y="3594815"/>
                    <a:pt x="1561682" y="3605797"/>
                  </a:cubicBezTo>
                  <a:cubicBezTo>
                    <a:pt x="1564480" y="3612067"/>
                    <a:pt x="1566400" y="3617907"/>
                    <a:pt x="1567008" y="3619836"/>
                  </a:cubicBezTo>
                  <a:cubicBezTo>
                    <a:pt x="1567459" y="3620215"/>
                    <a:pt x="1567881" y="3620636"/>
                    <a:pt x="1568266" y="3621097"/>
                  </a:cubicBezTo>
                  <a:cubicBezTo>
                    <a:pt x="1570414" y="3623615"/>
                    <a:pt x="1571341" y="3626936"/>
                    <a:pt x="1570817" y="3630205"/>
                  </a:cubicBezTo>
                  <a:lnTo>
                    <a:pt x="1568332" y="3645571"/>
                  </a:lnTo>
                  <a:cubicBezTo>
                    <a:pt x="1567917" y="3648135"/>
                    <a:pt x="1566611" y="3650495"/>
                    <a:pt x="1564667" y="3652214"/>
                  </a:cubicBezTo>
                  <a:cubicBezTo>
                    <a:pt x="1562729" y="3653938"/>
                    <a:pt x="1560226" y="3654939"/>
                    <a:pt x="1557626" y="3655041"/>
                  </a:cubicBezTo>
                  <a:lnTo>
                    <a:pt x="1528763" y="3656134"/>
                  </a:lnTo>
                  <a:cubicBezTo>
                    <a:pt x="1528540" y="3656144"/>
                    <a:pt x="1528312" y="3656147"/>
                    <a:pt x="1528089" y="3656147"/>
                  </a:cubicBezTo>
                  <a:cubicBezTo>
                    <a:pt x="1520061" y="3656147"/>
                    <a:pt x="1513074" y="3650713"/>
                    <a:pt x="1511100" y="3642931"/>
                  </a:cubicBezTo>
                  <a:lnTo>
                    <a:pt x="1508506" y="3632707"/>
                  </a:lnTo>
                  <a:cubicBezTo>
                    <a:pt x="1508476" y="3632582"/>
                    <a:pt x="1508446" y="3632450"/>
                    <a:pt x="1508422" y="3632325"/>
                  </a:cubicBezTo>
                  <a:cubicBezTo>
                    <a:pt x="1507712" y="3632203"/>
                    <a:pt x="1506966" y="3632141"/>
                    <a:pt x="1506207" y="3632141"/>
                  </a:cubicBezTo>
                  <a:cubicBezTo>
                    <a:pt x="1505545" y="3632141"/>
                    <a:pt x="1504901" y="3632187"/>
                    <a:pt x="1504282" y="3632279"/>
                  </a:cubicBezTo>
                  <a:cubicBezTo>
                    <a:pt x="1504257" y="3632420"/>
                    <a:pt x="1504215" y="3632562"/>
                    <a:pt x="1504191" y="3632707"/>
                  </a:cubicBezTo>
                  <a:lnTo>
                    <a:pt x="1501591" y="3642931"/>
                  </a:lnTo>
                  <a:cubicBezTo>
                    <a:pt x="1499618" y="3650713"/>
                    <a:pt x="1492631" y="3656147"/>
                    <a:pt x="1484602" y="3656147"/>
                  </a:cubicBezTo>
                  <a:cubicBezTo>
                    <a:pt x="1484380" y="3656147"/>
                    <a:pt x="1484151" y="3656144"/>
                    <a:pt x="1483928" y="3656134"/>
                  </a:cubicBezTo>
                  <a:lnTo>
                    <a:pt x="1455066" y="3655041"/>
                  </a:lnTo>
                  <a:cubicBezTo>
                    <a:pt x="1452466" y="3654939"/>
                    <a:pt x="1449974" y="3653938"/>
                    <a:pt x="1448025" y="3652214"/>
                  </a:cubicBezTo>
                  <a:cubicBezTo>
                    <a:pt x="1446081" y="3650495"/>
                    <a:pt x="1444775" y="3648135"/>
                    <a:pt x="1444366" y="3645571"/>
                  </a:cubicBezTo>
                  <a:lnTo>
                    <a:pt x="1441880" y="3630205"/>
                  </a:lnTo>
                  <a:cubicBezTo>
                    <a:pt x="1441351" y="3626936"/>
                    <a:pt x="1442283" y="3623615"/>
                    <a:pt x="1444426" y="3621097"/>
                  </a:cubicBezTo>
                  <a:cubicBezTo>
                    <a:pt x="1444811" y="3620636"/>
                    <a:pt x="1445232" y="3620215"/>
                    <a:pt x="1445684" y="3619836"/>
                  </a:cubicBezTo>
                  <a:cubicBezTo>
                    <a:pt x="1446291" y="3617907"/>
                    <a:pt x="1448211" y="3612067"/>
                    <a:pt x="1451010" y="3605797"/>
                  </a:cubicBezTo>
                  <a:cubicBezTo>
                    <a:pt x="1455902" y="3594815"/>
                    <a:pt x="1460789" y="3588436"/>
                    <a:pt x="1465934" y="3586280"/>
                  </a:cubicBezTo>
                  <a:close/>
                  <a:moveTo>
                    <a:pt x="1614754" y="3569540"/>
                  </a:moveTo>
                  <a:lnTo>
                    <a:pt x="1624885" y="3569540"/>
                  </a:lnTo>
                  <a:lnTo>
                    <a:pt x="1624885" y="3591976"/>
                  </a:lnTo>
                  <a:lnTo>
                    <a:pt x="1614754" y="3591976"/>
                  </a:lnTo>
                  <a:cubicBezTo>
                    <a:pt x="1614754" y="3591976"/>
                    <a:pt x="1614754" y="3569540"/>
                    <a:pt x="1614754" y="3569540"/>
                  </a:cubicBezTo>
                  <a:close/>
                  <a:moveTo>
                    <a:pt x="1605000" y="3562272"/>
                  </a:moveTo>
                  <a:lnTo>
                    <a:pt x="1605000" y="3631311"/>
                  </a:lnTo>
                  <a:cubicBezTo>
                    <a:pt x="1605000" y="3632226"/>
                    <a:pt x="1605720" y="3632993"/>
                    <a:pt x="1606678" y="3632993"/>
                  </a:cubicBezTo>
                  <a:lnTo>
                    <a:pt x="1683485" y="3632993"/>
                  </a:lnTo>
                  <a:cubicBezTo>
                    <a:pt x="1684410" y="3632993"/>
                    <a:pt x="1685163" y="3632226"/>
                    <a:pt x="1685163" y="3631311"/>
                  </a:cubicBezTo>
                  <a:lnTo>
                    <a:pt x="1685163" y="3562272"/>
                  </a:lnTo>
                  <a:close/>
                  <a:moveTo>
                    <a:pt x="982346" y="3551612"/>
                  </a:moveTo>
                  <a:lnTo>
                    <a:pt x="995161" y="3551612"/>
                  </a:lnTo>
                  <a:cubicBezTo>
                    <a:pt x="995161" y="3551612"/>
                    <a:pt x="995161" y="3564427"/>
                    <a:pt x="995161" y="3564427"/>
                  </a:cubicBezTo>
                  <a:lnTo>
                    <a:pt x="982346" y="3564427"/>
                  </a:lnTo>
                  <a:close/>
                  <a:moveTo>
                    <a:pt x="963126" y="3551612"/>
                  </a:moveTo>
                  <a:lnTo>
                    <a:pt x="975941" y="3551612"/>
                  </a:lnTo>
                  <a:cubicBezTo>
                    <a:pt x="975941" y="3551612"/>
                    <a:pt x="975941" y="3564427"/>
                    <a:pt x="975941" y="3564427"/>
                  </a:cubicBezTo>
                  <a:lnTo>
                    <a:pt x="963126" y="3564427"/>
                  </a:lnTo>
                  <a:close/>
                  <a:moveTo>
                    <a:pt x="943915" y="3551612"/>
                  </a:moveTo>
                  <a:lnTo>
                    <a:pt x="956720" y="3551612"/>
                  </a:lnTo>
                  <a:cubicBezTo>
                    <a:pt x="956720" y="3551612"/>
                    <a:pt x="956720" y="3564427"/>
                    <a:pt x="956720" y="3564427"/>
                  </a:cubicBezTo>
                  <a:lnTo>
                    <a:pt x="943915" y="3564427"/>
                  </a:lnTo>
                  <a:close/>
                  <a:moveTo>
                    <a:pt x="1296456" y="3549659"/>
                  </a:moveTo>
                  <a:cubicBezTo>
                    <a:pt x="1298172" y="3549659"/>
                    <a:pt x="1299561" y="3551044"/>
                    <a:pt x="1299561" y="3552763"/>
                  </a:cubicBezTo>
                  <a:cubicBezTo>
                    <a:pt x="1299561" y="3554487"/>
                    <a:pt x="1298172" y="3555873"/>
                    <a:pt x="1296456" y="3555873"/>
                  </a:cubicBezTo>
                  <a:cubicBezTo>
                    <a:pt x="1287880" y="3555873"/>
                    <a:pt x="1280918" y="3562834"/>
                    <a:pt x="1280918" y="3571406"/>
                  </a:cubicBezTo>
                  <a:cubicBezTo>
                    <a:pt x="1280918" y="3573134"/>
                    <a:pt x="1279532" y="3574515"/>
                    <a:pt x="1277813" y="3574515"/>
                  </a:cubicBezTo>
                  <a:cubicBezTo>
                    <a:pt x="1276090" y="3574515"/>
                    <a:pt x="1274704" y="3573134"/>
                    <a:pt x="1274704" y="3571406"/>
                  </a:cubicBezTo>
                  <a:cubicBezTo>
                    <a:pt x="1274704" y="3559405"/>
                    <a:pt x="1284451" y="3549659"/>
                    <a:pt x="1296456" y="3549659"/>
                  </a:cubicBezTo>
                  <a:close/>
                  <a:moveTo>
                    <a:pt x="1294589" y="3546860"/>
                  </a:moveTo>
                  <a:cubicBezTo>
                    <a:pt x="1282068" y="3546860"/>
                    <a:pt x="1271909" y="3557020"/>
                    <a:pt x="1271909" y="3569543"/>
                  </a:cubicBezTo>
                  <a:cubicBezTo>
                    <a:pt x="1271909" y="3577629"/>
                    <a:pt x="1276158" y="3584972"/>
                    <a:pt x="1283280" y="3589117"/>
                  </a:cubicBezTo>
                  <a:lnTo>
                    <a:pt x="1284958" y="3590111"/>
                  </a:lnTo>
                  <a:cubicBezTo>
                    <a:pt x="1286173" y="3590817"/>
                    <a:pt x="1287072" y="3592311"/>
                    <a:pt x="1287072" y="3593715"/>
                  </a:cubicBezTo>
                  <a:lnTo>
                    <a:pt x="1287072" y="3595704"/>
                  </a:lnTo>
                  <a:lnTo>
                    <a:pt x="1287072" y="3604407"/>
                  </a:lnTo>
                  <a:lnTo>
                    <a:pt x="1302171" y="3604407"/>
                  </a:lnTo>
                  <a:lnTo>
                    <a:pt x="1302171" y="3593715"/>
                  </a:lnTo>
                  <a:cubicBezTo>
                    <a:pt x="1302171" y="3592311"/>
                    <a:pt x="1303074" y="3590817"/>
                    <a:pt x="1304286" y="3590111"/>
                  </a:cubicBezTo>
                  <a:cubicBezTo>
                    <a:pt x="1304286" y="3590111"/>
                    <a:pt x="1305964" y="3589117"/>
                    <a:pt x="1305964" y="3589117"/>
                  </a:cubicBezTo>
                  <a:cubicBezTo>
                    <a:pt x="1313094" y="3584972"/>
                    <a:pt x="1317335" y="3577629"/>
                    <a:pt x="1317335" y="3569543"/>
                  </a:cubicBezTo>
                  <a:cubicBezTo>
                    <a:pt x="1317335" y="3557020"/>
                    <a:pt x="1307117" y="3546860"/>
                    <a:pt x="1294589" y="3546860"/>
                  </a:cubicBezTo>
                  <a:close/>
                  <a:moveTo>
                    <a:pt x="1294589" y="3537725"/>
                  </a:moveTo>
                  <a:cubicBezTo>
                    <a:pt x="1312159" y="3537725"/>
                    <a:pt x="1326471" y="3551971"/>
                    <a:pt x="1326471" y="3569543"/>
                  </a:cubicBezTo>
                  <a:cubicBezTo>
                    <a:pt x="1326471" y="3580270"/>
                    <a:pt x="1321033" y="3590215"/>
                    <a:pt x="1311929" y="3596141"/>
                  </a:cubicBezTo>
                  <a:cubicBezTo>
                    <a:pt x="1311637" y="3596334"/>
                    <a:pt x="1311307" y="3596888"/>
                    <a:pt x="1311307" y="3597198"/>
                  </a:cubicBezTo>
                  <a:cubicBezTo>
                    <a:pt x="1311307" y="3597198"/>
                    <a:pt x="1311307" y="3605959"/>
                    <a:pt x="1311307" y="3605959"/>
                  </a:cubicBezTo>
                  <a:cubicBezTo>
                    <a:pt x="1311307" y="3610153"/>
                    <a:pt x="1307922" y="3613541"/>
                    <a:pt x="1303725" y="3613541"/>
                  </a:cubicBezTo>
                  <a:lnTo>
                    <a:pt x="1285518" y="3613541"/>
                  </a:lnTo>
                  <a:cubicBezTo>
                    <a:pt x="1281328" y="3613541"/>
                    <a:pt x="1277936" y="3610153"/>
                    <a:pt x="1277936" y="3605959"/>
                  </a:cubicBezTo>
                  <a:lnTo>
                    <a:pt x="1277936" y="3597198"/>
                  </a:lnTo>
                  <a:cubicBezTo>
                    <a:pt x="1277936" y="3596888"/>
                    <a:pt x="1277603" y="3596343"/>
                    <a:pt x="1277314" y="3596141"/>
                  </a:cubicBezTo>
                  <a:cubicBezTo>
                    <a:pt x="1268208" y="3590224"/>
                    <a:pt x="1262773" y="3580261"/>
                    <a:pt x="1262773" y="3569543"/>
                  </a:cubicBezTo>
                  <a:cubicBezTo>
                    <a:pt x="1262773" y="3551971"/>
                    <a:pt x="1277028" y="3537725"/>
                    <a:pt x="1294589" y="3537725"/>
                  </a:cubicBezTo>
                  <a:close/>
                  <a:moveTo>
                    <a:pt x="982346" y="3532391"/>
                  </a:moveTo>
                  <a:lnTo>
                    <a:pt x="995161" y="3532391"/>
                  </a:lnTo>
                  <a:cubicBezTo>
                    <a:pt x="995161" y="3532391"/>
                    <a:pt x="995161" y="3545206"/>
                    <a:pt x="995161" y="3545206"/>
                  </a:cubicBezTo>
                  <a:lnTo>
                    <a:pt x="982346" y="3545206"/>
                  </a:lnTo>
                  <a:close/>
                  <a:moveTo>
                    <a:pt x="963126" y="3532391"/>
                  </a:moveTo>
                  <a:lnTo>
                    <a:pt x="975941" y="3532391"/>
                  </a:lnTo>
                  <a:cubicBezTo>
                    <a:pt x="975941" y="3532391"/>
                    <a:pt x="975941" y="3545206"/>
                    <a:pt x="975941" y="3545206"/>
                  </a:cubicBezTo>
                  <a:lnTo>
                    <a:pt x="963126" y="3545206"/>
                  </a:lnTo>
                  <a:close/>
                  <a:moveTo>
                    <a:pt x="943915" y="3532391"/>
                  </a:moveTo>
                  <a:lnTo>
                    <a:pt x="956720" y="3532391"/>
                  </a:lnTo>
                  <a:cubicBezTo>
                    <a:pt x="956720" y="3532391"/>
                    <a:pt x="956720" y="3545206"/>
                    <a:pt x="956720" y="3545206"/>
                  </a:cubicBezTo>
                  <a:lnTo>
                    <a:pt x="943915" y="3545206"/>
                  </a:lnTo>
                  <a:close/>
                  <a:moveTo>
                    <a:pt x="1424508" y="3531563"/>
                  </a:moveTo>
                  <a:cubicBezTo>
                    <a:pt x="1419290" y="3531563"/>
                    <a:pt x="1415032" y="3535811"/>
                    <a:pt x="1415032" y="3541039"/>
                  </a:cubicBezTo>
                  <a:cubicBezTo>
                    <a:pt x="1415032" y="3546264"/>
                    <a:pt x="1419290" y="3550509"/>
                    <a:pt x="1424508" y="3550509"/>
                  </a:cubicBezTo>
                  <a:lnTo>
                    <a:pt x="1433988" y="3550509"/>
                  </a:lnTo>
                  <a:cubicBezTo>
                    <a:pt x="1433988" y="3550509"/>
                    <a:pt x="1433988" y="3531563"/>
                    <a:pt x="1433988" y="3531563"/>
                  </a:cubicBezTo>
                  <a:close/>
                  <a:moveTo>
                    <a:pt x="1227689" y="3526496"/>
                  </a:moveTo>
                  <a:cubicBezTo>
                    <a:pt x="1228266" y="3526233"/>
                    <a:pt x="1228951" y="3526486"/>
                    <a:pt x="1229215" y="3527057"/>
                  </a:cubicBezTo>
                  <a:cubicBezTo>
                    <a:pt x="1229215" y="3527057"/>
                    <a:pt x="1234291" y="3539065"/>
                    <a:pt x="1234291" y="3539065"/>
                  </a:cubicBezTo>
                  <a:cubicBezTo>
                    <a:pt x="1234555" y="3539641"/>
                    <a:pt x="1234305" y="3540324"/>
                    <a:pt x="1233728" y="3540595"/>
                  </a:cubicBezTo>
                  <a:cubicBezTo>
                    <a:pt x="1233150" y="3540860"/>
                    <a:pt x="1232473" y="3540608"/>
                    <a:pt x="1232209" y="3540037"/>
                  </a:cubicBezTo>
                  <a:lnTo>
                    <a:pt x="1227133" y="3528026"/>
                  </a:lnTo>
                  <a:cubicBezTo>
                    <a:pt x="1226869" y="3527453"/>
                    <a:pt x="1227111" y="3526767"/>
                    <a:pt x="1227689" y="3526496"/>
                  </a:cubicBezTo>
                  <a:close/>
                  <a:moveTo>
                    <a:pt x="931099" y="3525990"/>
                  </a:moveTo>
                  <a:lnTo>
                    <a:pt x="931099" y="3577234"/>
                  </a:lnTo>
                  <a:lnTo>
                    <a:pt x="1007962" y="3577234"/>
                  </a:lnTo>
                  <a:cubicBezTo>
                    <a:pt x="1007962" y="3577234"/>
                    <a:pt x="1007962" y="3525990"/>
                    <a:pt x="1007962" y="3525990"/>
                  </a:cubicBezTo>
                  <a:close/>
                  <a:moveTo>
                    <a:pt x="1231525" y="3522674"/>
                  </a:moveTo>
                  <a:cubicBezTo>
                    <a:pt x="1232102" y="3522406"/>
                    <a:pt x="1232780" y="3522664"/>
                    <a:pt x="1233050" y="3523235"/>
                  </a:cubicBezTo>
                  <a:cubicBezTo>
                    <a:pt x="1233050" y="3523235"/>
                    <a:pt x="1240423" y="3539065"/>
                    <a:pt x="1240423" y="3539065"/>
                  </a:cubicBezTo>
                  <a:cubicBezTo>
                    <a:pt x="1240687" y="3539641"/>
                    <a:pt x="1240437" y="3540324"/>
                    <a:pt x="1239859" y="3540595"/>
                  </a:cubicBezTo>
                  <a:cubicBezTo>
                    <a:pt x="1239289" y="3540860"/>
                    <a:pt x="1238605" y="3540608"/>
                    <a:pt x="1238341" y="3540037"/>
                  </a:cubicBezTo>
                  <a:lnTo>
                    <a:pt x="1230961" y="3524212"/>
                  </a:lnTo>
                  <a:cubicBezTo>
                    <a:pt x="1230698" y="3523631"/>
                    <a:pt x="1230954" y="3522940"/>
                    <a:pt x="1231525" y="3522674"/>
                  </a:cubicBezTo>
                  <a:close/>
                  <a:moveTo>
                    <a:pt x="1131115" y="3520472"/>
                  </a:moveTo>
                  <a:cubicBezTo>
                    <a:pt x="1125547" y="3521097"/>
                    <a:pt x="1121775" y="3522079"/>
                    <a:pt x="1119679" y="3525994"/>
                  </a:cubicBezTo>
                  <a:cubicBezTo>
                    <a:pt x="1113775" y="3536991"/>
                    <a:pt x="1122944" y="3554847"/>
                    <a:pt x="1127971" y="3558364"/>
                  </a:cubicBezTo>
                  <a:cubicBezTo>
                    <a:pt x="1136341" y="3564226"/>
                    <a:pt x="1152626" y="3563217"/>
                    <a:pt x="1160326" y="3556781"/>
                  </a:cubicBezTo>
                  <a:cubicBezTo>
                    <a:pt x="1165053" y="3552823"/>
                    <a:pt x="1173602" y="3540712"/>
                    <a:pt x="1170593" y="3531134"/>
                  </a:cubicBezTo>
                  <a:cubicBezTo>
                    <a:pt x="1167413" y="3521009"/>
                    <a:pt x="1145532" y="3518852"/>
                    <a:pt x="1131115" y="3520472"/>
                  </a:cubicBezTo>
                  <a:close/>
                  <a:moveTo>
                    <a:pt x="1216374" y="3520454"/>
                  </a:moveTo>
                  <a:cubicBezTo>
                    <a:pt x="1205829" y="3521336"/>
                    <a:pt x="1194977" y="3523739"/>
                    <a:pt x="1192688" y="3531123"/>
                  </a:cubicBezTo>
                  <a:cubicBezTo>
                    <a:pt x="1190492" y="3538188"/>
                    <a:pt x="1195305" y="3547580"/>
                    <a:pt x="1198998" y="3552433"/>
                  </a:cubicBezTo>
                  <a:cubicBezTo>
                    <a:pt x="1206214" y="3561897"/>
                    <a:pt x="1222570" y="3564903"/>
                    <a:pt x="1234533" y="3558749"/>
                  </a:cubicBezTo>
                  <a:cubicBezTo>
                    <a:pt x="1239981" y="3555942"/>
                    <a:pt x="1244123" y="3545918"/>
                    <a:pt x="1244786" y="3538226"/>
                  </a:cubicBezTo>
                  <a:cubicBezTo>
                    <a:pt x="1246433" y="3519450"/>
                    <a:pt x="1234954" y="3518953"/>
                    <a:pt x="1216374" y="3520454"/>
                  </a:cubicBezTo>
                  <a:close/>
                  <a:moveTo>
                    <a:pt x="1614754" y="3519828"/>
                  </a:moveTo>
                  <a:lnTo>
                    <a:pt x="1624885" y="3519828"/>
                  </a:lnTo>
                  <a:lnTo>
                    <a:pt x="1624885" y="3534620"/>
                  </a:lnTo>
                  <a:lnTo>
                    <a:pt x="1614754" y="3534620"/>
                  </a:lnTo>
                  <a:cubicBezTo>
                    <a:pt x="1614754" y="3534620"/>
                    <a:pt x="1614754" y="3519828"/>
                    <a:pt x="1614754" y="3519828"/>
                  </a:cubicBezTo>
                  <a:close/>
                  <a:moveTo>
                    <a:pt x="1470341" y="3519767"/>
                  </a:moveTo>
                  <a:cubicBezTo>
                    <a:pt x="1462480" y="3526669"/>
                    <a:pt x="1451975" y="3530905"/>
                    <a:pt x="1441092" y="3531443"/>
                  </a:cubicBezTo>
                  <a:lnTo>
                    <a:pt x="1441092" y="3550626"/>
                  </a:lnTo>
                  <a:cubicBezTo>
                    <a:pt x="1451975" y="3551170"/>
                    <a:pt x="1462480" y="3555397"/>
                    <a:pt x="1470341" y="3562308"/>
                  </a:cubicBezTo>
                  <a:cubicBezTo>
                    <a:pt x="1472423" y="3548163"/>
                    <a:pt x="1472423" y="3533913"/>
                    <a:pt x="1470341" y="3519767"/>
                  </a:cubicBezTo>
                  <a:close/>
                  <a:moveTo>
                    <a:pt x="1150073" y="3514156"/>
                  </a:moveTo>
                  <a:cubicBezTo>
                    <a:pt x="1158886" y="3514834"/>
                    <a:pt x="1168632" y="3517862"/>
                    <a:pt x="1178101" y="3518491"/>
                  </a:cubicBezTo>
                  <a:cubicBezTo>
                    <a:pt x="1190771" y="3519341"/>
                    <a:pt x="1202392" y="3514961"/>
                    <a:pt x="1213615" y="3514156"/>
                  </a:cubicBezTo>
                  <a:cubicBezTo>
                    <a:pt x="1227560" y="3513155"/>
                    <a:pt x="1256722" y="3514053"/>
                    <a:pt x="1257427" y="3525203"/>
                  </a:cubicBezTo>
                  <a:cubicBezTo>
                    <a:pt x="1257798" y="3531110"/>
                    <a:pt x="1253905" y="3531795"/>
                    <a:pt x="1252280" y="3535469"/>
                  </a:cubicBezTo>
                  <a:cubicBezTo>
                    <a:pt x="1251210" y="3537923"/>
                    <a:pt x="1251495" y="3541195"/>
                    <a:pt x="1250704" y="3543758"/>
                  </a:cubicBezTo>
                  <a:cubicBezTo>
                    <a:pt x="1248708" y="3550231"/>
                    <a:pt x="1245193" y="3557926"/>
                    <a:pt x="1240059" y="3562316"/>
                  </a:cubicBezTo>
                  <a:cubicBezTo>
                    <a:pt x="1231510" y="3569575"/>
                    <a:pt x="1212502" y="3570090"/>
                    <a:pt x="1201765" y="3563097"/>
                  </a:cubicBezTo>
                  <a:cubicBezTo>
                    <a:pt x="1194913" y="3558640"/>
                    <a:pt x="1190079" y="3549370"/>
                    <a:pt x="1187163" y="3539418"/>
                  </a:cubicBezTo>
                  <a:cubicBezTo>
                    <a:pt x="1186122" y="3535840"/>
                    <a:pt x="1185580" y="3532316"/>
                    <a:pt x="1181637" y="3532316"/>
                  </a:cubicBezTo>
                  <a:cubicBezTo>
                    <a:pt x="1176490" y="3532316"/>
                    <a:pt x="1174621" y="3543543"/>
                    <a:pt x="1172953" y="3547323"/>
                  </a:cubicBezTo>
                  <a:cubicBezTo>
                    <a:pt x="1170593" y="3552680"/>
                    <a:pt x="1166964" y="3558680"/>
                    <a:pt x="1163492" y="3561522"/>
                  </a:cubicBezTo>
                  <a:cubicBezTo>
                    <a:pt x="1152476" y="3570526"/>
                    <a:pt x="1128185" y="3569434"/>
                    <a:pt x="1119679" y="3558364"/>
                  </a:cubicBezTo>
                  <a:cubicBezTo>
                    <a:pt x="1117319" y="3555286"/>
                    <a:pt x="1115522" y="3551525"/>
                    <a:pt x="1114153" y="3548093"/>
                  </a:cubicBezTo>
                  <a:cubicBezTo>
                    <a:pt x="1112685" y="3544382"/>
                    <a:pt x="1112884" y="3539851"/>
                    <a:pt x="1110988" y="3535469"/>
                  </a:cubicBezTo>
                  <a:cubicBezTo>
                    <a:pt x="1109683" y="3532451"/>
                    <a:pt x="1103794" y="3530016"/>
                    <a:pt x="1106261" y="3522839"/>
                  </a:cubicBezTo>
                  <a:cubicBezTo>
                    <a:pt x="1108371" y="3516733"/>
                    <a:pt x="1121604" y="3515298"/>
                    <a:pt x="1130331" y="3514552"/>
                  </a:cubicBezTo>
                  <a:cubicBezTo>
                    <a:pt x="1134958" y="3514156"/>
                    <a:pt x="1144084" y="3513702"/>
                    <a:pt x="1150073" y="3514156"/>
                  </a:cubicBezTo>
                  <a:close/>
                  <a:moveTo>
                    <a:pt x="1020778" y="3513179"/>
                  </a:moveTo>
                  <a:cubicBezTo>
                    <a:pt x="1020778" y="3513179"/>
                    <a:pt x="1027183" y="3513179"/>
                    <a:pt x="1027183" y="3513179"/>
                  </a:cubicBezTo>
                  <a:lnTo>
                    <a:pt x="1027183" y="3596450"/>
                  </a:lnTo>
                  <a:lnTo>
                    <a:pt x="931099" y="3596450"/>
                  </a:lnTo>
                  <a:lnTo>
                    <a:pt x="931099" y="3590040"/>
                  </a:lnTo>
                  <a:lnTo>
                    <a:pt x="1020778" y="3590040"/>
                  </a:lnTo>
                  <a:close/>
                  <a:moveTo>
                    <a:pt x="1606678" y="3508082"/>
                  </a:moveTo>
                  <a:cubicBezTo>
                    <a:pt x="1605720" y="3508082"/>
                    <a:pt x="1605000" y="3508798"/>
                    <a:pt x="1605000" y="3509764"/>
                  </a:cubicBezTo>
                  <a:lnTo>
                    <a:pt x="1605000" y="3552080"/>
                  </a:lnTo>
                  <a:lnTo>
                    <a:pt x="1685163" y="3552080"/>
                  </a:lnTo>
                  <a:lnTo>
                    <a:pt x="1685163" y="3509764"/>
                  </a:lnTo>
                  <a:cubicBezTo>
                    <a:pt x="1685163" y="3508798"/>
                    <a:pt x="1684410" y="3508082"/>
                    <a:pt x="1683485" y="3508082"/>
                  </a:cubicBezTo>
                  <a:close/>
                  <a:moveTo>
                    <a:pt x="1472984" y="3507882"/>
                  </a:moveTo>
                  <a:cubicBezTo>
                    <a:pt x="1473202" y="3507882"/>
                    <a:pt x="1473426" y="3507907"/>
                    <a:pt x="1473644" y="3507953"/>
                  </a:cubicBezTo>
                  <a:cubicBezTo>
                    <a:pt x="1474778" y="3508208"/>
                    <a:pt x="1475651" y="3509117"/>
                    <a:pt x="1475897" y="3510260"/>
                  </a:cubicBezTo>
                  <a:cubicBezTo>
                    <a:pt x="1477515" y="3518207"/>
                    <a:pt x="1478473" y="3526242"/>
                    <a:pt x="1478824" y="3534312"/>
                  </a:cubicBezTo>
                  <a:cubicBezTo>
                    <a:pt x="1481667" y="3535243"/>
                    <a:pt x="1483738" y="3537878"/>
                    <a:pt x="1483738" y="3541039"/>
                  </a:cubicBezTo>
                  <a:cubicBezTo>
                    <a:pt x="1483738" y="3544185"/>
                    <a:pt x="1481667" y="3546826"/>
                    <a:pt x="1478824" y="3547754"/>
                  </a:cubicBezTo>
                  <a:cubicBezTo>
                    <a:pt x="1478473" y="3555818"/>
                    <a:pt x="1477515" y="3563872"/>
                    <a:pt x="1475883" y="3571818"/>
                  </a:cubicBezTo>
                  <a:cubicBezTo>
                    <a:pt x="1475651" y="3572958"/>
                    <a:pt x="1474778" y="3573852"/>
                    <a:pt x="1473637" y="3574110"/>
                  </a:cubicBezTo>
                  <a:cubicBezTo>
                    <a:pt x="1473426" y="3574156"/>
                    <a:pt x="1473202" y="3574187"/>
                    <a:pt x="1472984" y="3574187"/>
                  </a:cubicBezTo>
                  <a:cubicBezTo>
                    <a:pt x="1472075" y="3574187"/>
                    <a:pt x="1471177" y="3573751"/>
                    <a:pt x="1470615" y="3572995"/>
                  </a:cubicBezTo>
                  <a:cubicBezTo>
                    <a:pt x="1463217" y="3563085"/>
                    <a:pt x="1450564" y="3557608"/>
                    <a:pt x="1438719" y="3557608"/>
                  </a:cubicBezTo>
                  <a:lnTo>
                    <a:pt x="1433988" y="3557608"/>
                  </a:lnTo>
                  <a:cubicBezTo>
                    <a:pt x="1433988" y="3561003"/>
                    <a:pt x="1435308" y="3564197"/>
                    <a:pt x="1437642" y="3566563"/>
                  </a:cubicBezTo>
                  <a:cubicBezTo>
                    <a:pt x="1438249" y="3567168"/>
                    <a:pt x="1438294" y="3568111"/>
                    <a:pt x="1437757" y="3568765"/>
                  </a:cubicBezTo>
                  <a:lnTo>
                    <a:pt x="1433869" y="3573588"/>
                  </a:lnTo>
                  <a:cubicBezTo>
                    <a:pt x="1433588" y="3573944"/>
                    <a:pt x="1433156" y="3574162"/>
                    <a:pt x="1432697" y="3574202"/>
                  </a:cubicBezTo>
                  <a:cubicBezTo>
                    <a:pt x="1432230" y="3574233"/>
                    <a:pt x="1431781" y="3574061"/>
                    <a:pt x="1431444" y="3573751"/>
                  </a:cubicBezTo>
                  <a:cubicBezTo>
                    <a:pt x="1427014" y="3569564"/>
                    <a:pt x="1424508" y="3563777"/>
                    <a:pt x="1424508" y="3557608"/>
                  </a:cubicBezTo>
                  <a:cubicBezTo>
                    <a:pt x="1415352" y="3557608"/>
                    <a:pt x="1407929" y="3550199"/>
                    <a:pt x="1407929" y="3541039"/>
                  </a:cubicBezTo>
                  <a:cubicBezTo>
                    <a:pt x="1407929" y="3531873"/>
                    <a:pt x="1415352" y="3524451"/>
                    <a:pt x="1424508" y="3524451"/>
                  </a:cubicBezTo>
                  <a:lnTo>
                    <a:pt x="1438719" y="3524451"/>
                  </a:lnTo>
                  <a:cubicBezTo>
                    <a:pt x="1450564" y="3524451"/>
                    <a:pt x="1463217" y="3518974"/>
                    <a:pt x="1470615" y="3509074"/>
                  </a:cubicBezTo>
                  <a:cubicBezTo>
                    <a:pt x="1471177" y="3508312"/>
                    <a:pt x="1472075" y="3507882"/>
                    <a:pt x="1472984" y="3507882"/>
                  </a:cubicBezTo>
                  <a:close/>
                  <a:moveTo>
                    <a:pt x="924699" y="3506778"/>
                  </a:moveTo>
                  <a:lnTo>
                    <a:pt x="940707" y="3506778"/>
                  </a:lnTo>
                  <a:cubicBezTo>
                    <a:pt x="940707" y="3512068"/>
                    <a:pt x="945020" y="3516381"/>
                    <a:pt x="950315" y="3516381"/>
                  </a:cubicBezTo>
                  <a:cubicBezTo>
                    <a:pt x="955615" y="3516381"/>
                    <a:pt x="959928" y="3512068"/>
                    <a:pt x="959928" y="3506778"/>
                  </a:cubicBezTo>
                  <a:lnTo>
                    <a:pt x="979143" y="3506778"/>
                  </a:lnTo>
                  <a:cubicBezTo>
                    <a:pt x="979143" y="3512068"/>
                    <a:pt x="983447" y="3516381"/>
                    <a:pt x="988751" y="3516381"/>
                  </a:cubicBezTo>
                  <a:cubicBezTo>
                    <a:pt x="994051" y="3516381"/>
                    <a:pt x="998359" y="3512068"/>
                    <a:pt x="998359" y="3506778"/>
                  </a:cubicBezTo>
                  <a:lnTo>
                    <a:pt x="1014372" y="3506778"/>
                  </a:lnTo>
                  <a:cubicBezTo>
                    <a:pt x="1014372" y="3506778"/>
                    <a:pt x="1014372" y="3583635"/>
                    <a:pt x="1014372" y="3583635"/>
                  </a:cubicBezTo>
                  <a:lnTo>
                    <a:pt x="924699" y="3583635"/>
                  </a:lnTo>
                  <a:close/>
                  <a:moveTo>
                    <a:pt x="1606678" y="3497953"/>
                  </a:moveTo>
                  <a:lnTo>
                    <a:pt x="1683485" y="3497953"/>
                  </a:lnTo>
                  <a:cubicBezTo>
                    <a:pt x="1689998" y="3497953"/>
                    <a:pt x="1695294" y="3503248"/>
                    <a:pt x="1695294" y="3509764"/>
                  </a:cubicBezTo>
                  <a:lnTo>
                    <a:pt x="1695294" y="3631311"/>
                  </a:lnTo>
                  <a:cubicBezTo>
                    <a:pt x="1695294" y="3637649"/>
                    <a:pt x="1690347" y="3642717"/>
                    <a:pt x="1684108" y="3643057"/>
                  </a:cubicBezTo>
                  <a:cubicBezTo>
                    <a:pt x="1684247" y="3643540"/>
                    <a:pt x="1684293" y="3644087"/>
                    <a:pt x="1684293" y="3644612"/>
                  </a:cubicBezTo>
                  <a:cubicBezTo>
                    <a:pt x="1684293" y="3648274"/>
                    <a:pt x="1681337" y="3651262"/>
                    <a:pt x="1677705" y="3651262"/>
                  </a:cubicBezTo>
                  <a:lnTo>
                    <a:pt x="1674042" y="3651262"/>
                  </a:lnTo>
                  <a:cubicBezTo>
                    <a:pt x="1670378" y="3651262"/>
                    <a:pt x="1667454" y="3648274"/>
                    <a:pt x="1667454" y="3644612"/>
                  </a:cubicBezTo>
                  <a:cubicBezTo>
                    <a:pt x="1667454" y="3644087"/>
                    <a:pt x="1667500" y="3643597"/>
                    <a:pt x="1667640" y="3643121"/>
                  </a:cubicBezTo>
                  <a:lnTo>
                    <a:pt x="1623332" y="3643121"/>
                  </a:lnTo>
                  <a:cubicBezTo>
                    <a:pt x="1623457" y="3643597"/>
                    <a:pt x="1623578" y="3644087"/>
                    <a:pt x="1623578" y="3644612"/>
                  </a:cubicBezTo>
                  <a:cubicBezTo>
                    <a:pt x="1623578" y="3648274"/>
                    <a:pt x="1620598" y="3651262"/>
                    <a:pt x="1616930" y="3651262"/>
                  </a:cubicBezTo>
                  <a:lnTo>
                    <a:pt x="1613261" y="3651262"/>
                  </a:lnTo>
                  <a:cubicBezTo>
                    <a:pt x="1609635" y="3651262"/>
                    <a:pt x="1606678" y="3648274"/>
                    <a:pt x="1606678" y="3644612"/>
                  </a:cubicBezTo>
                  <a:cubicBezTo>
                    <a:pt x="1606678" y="3644087"/>
                    <a:pt x="1606780" y="3643597"/>
                    <a:pt x="1606864" y="3643121"/>
                  </a:cubicBezTo>
                  <a:lnTo>
                    <a:pt x="1606678" y="3643121"/>
                  </a:lnTo>
                  <a:cubicBezTo>
                    <a:pt x="1600141" y="3643121"/>
                    <a:pt x="1594869" y="3637862"/>
                    <a:pt x="1594869" y="3631311"/>
                  </a:cubicBezTo>
                  <a:lnTo>
                    <a:pt x="1594869" y="3509764"/>
                  </a:lnTo>
                  <a:cubicBezTo>
                    <a:pt x="1594869" y="3503248"/>
                    <a:pt x="1600141" y="3497953"/>
                    <a:pt x="1606678" y="3497953"/>
                  </a:cubicBezTo>
                  <a:close/>
                  <a:moveTo>
                    <a:pt x="988751" y="3493962"/>
                  </a:moveTo>
                  <a:cubicBezTo>
                    <a:pt x="992295" y="3493962"/>
                    <a:pt x="995161" y="3496823"/>
                    <a:pt x="995161" y="3500368"/>
                  </a:cubicBezTo>
                  <a:lnTo>
                    <a:pt x="995161" y="3506778"/>
                  </a:lnTo>
                  <a:cubicBezTo>
                    <a:pt x="995161" y="3510313"/>
                    <a:pt x="992295" y="3513179"/>
                    <a:pt x="988751" y="3513179"/>
                  </a:cubicBezTo>
                  <a:cubicBezTo>
                    <a:pt x="985212" y="3513179"/>
                    <a:pt x="982346" y="3510313"/>
                    <a:pt x="982346" y="3506778"/>
                  </a:cubicBezTo>
                  <a:lnTo>
                    <a:pt x="982346" y="3500368"/>
                  </a:lnTo>
                  <a:cubicBezTo>
                    <a:pt x="982346" y="3496823"/>
                    <a:pt x="985212" y="3493962"/>
                    <a:pt x="988751" y="3493962"/>
                  </a:cubicBezTo>
                  <a:close/>
                  <a:moveTo>
                    <a:pt x="950315" y="3493962"/>
                  </a:moveTo>
                  <a:cubicBezTo>
                    <a:pt x="953855" y="3493962"/>
                    <a:pt x="956720" y="3496823"/>
                    <a:pt x="956720" y="3500368"/>
                  </a:cubicBezTo>
                  <a:lnTo>
                    <a:pt x="956720" y="3506778"/>
                  </a:lnTo>
                  <a:cubicBezTo>
                    <a:pt x="956720" y="3510313"/>
                    <a:pt x="953855" y="3513179"/>
                    <a:pt x="950315" y="3513179"/>
                  </a:cubicBezTo>
                  <a:cubicBezTo>
                    <a:pt x="946780" y="3513179"/>
                    <a:pt x="943915" y="3510313"/>
                    <a:pt x="943915" y="3506778"/>
                  </a:cubicBezTo>
                  <a:lnTo>
                    <a:pt x="943915" y="3500368"/>
                  </a:lnTo>
                  <a:cubicBezTo>
                    <a:pt x="943915" y="3496823"/>
                    <a:pt x="946780" y="3493962"/>
                    <a:pt x="950315" y="3493962"/>
                  </a:cubicBezTo>
                  <a:close/>
                  <a:moveTo>
                    <a:pt x="1050801" y="3449422"/>
                  </a:moveTo>
                  <a:cubicBezTo>
                    <a:pt x="1048941" y="3449730"/>
                    <a:pt x="1048376" y="3452178"/>
                    <a:pt x="1048376" y="3457497"/>
                  </a:cubicBezTo>
                  <a:cubicBezTo>
                    <a:pt x="1048376" y="3471734"/>
                    <a:pt x="1059905" y="3483290"/>
                    <a:pt x="1074105" y="3483290"/>
                  </a:cubicBezTo>
                  <a:cubicBezTo>
                    <a:pt x="1088337" y="3483290"/>
                    <a:pt x="1099895" y="3471734"/>
                    <a:pt x="1099895" y="3457497"/>
                  </a:cubicBezTo>
                  <a:cubicBezTo>
                    <a:pt x="1099895" y="3443275"/>
                    <a:pt x="1095754" y="3476097"/>
                    <a:pt x="1074105" y="3462717"/>
                  </a:cubicBezTo>
                  <a:cubicBezTo>
                    <a:pt x="1060593" y="3454374"/>
                    <a:pt x="1053901" y="3448902"/>
                    <a:pt x="1050801" y="3449422"/>
                  </a:cubicBezTo>
                  <a:close/>
                  <a:moveTo>
                    <a:pt x="1584368" y="3440349"/>
                  </a:moveTo>
                  <a:cubicBezTo>
                    <a:pt x="1587822" y="3439868"/>
                    <a:pt x="1591029" y="3442251"/>
                    <a:pt x="1591512" y="3445690"/>
                  </a:cubicBezTo>
                  <a:cubicBezTo>
                    <a:pt x="1591653" y="3446678"/>
                    <a:pt x="1591559" y="3447671"/>
                    <a:pt x="1591265" y="3448550"/>
                  </a:cubicBezTo>
                  <a:cubicBezTo>
                    <a:pt x="1591265" y="3448550"/>
                    <a:pt x="1603633" y="3456567"/>
                    <a:pt x="1603633" y="3456567"/>
                  </a:cubicBezTo>
                  <a:lnTo>
                    <a:pt x="1605929" y="3460048"/>
                  </a:lnTo>
                  <a:lnTo>
                    <a:pt x="1601768" y="3459364"/>
                  </a:lnTo>
                  <a:cubicBezTo>
                    <a:pt x="1601768" y="3459364"/>
                    <a:pt x="1593729" y="3454062"/>
                    <a:pt x="1589462" y="3451285"/>
                  </a:cubicBezTo>
                  <a:cubicBezTo>
                    <a:pt x="1588559" y="3452082"/>
                    <a:pt x="1587387" y="3452664"/>
                    <a:pt x="1586106" y="3452840"/>
                  </a:cubicBezTo>
                  <a:cubicBezTo>
                    <a:pt x="1582663" y="3453316"/>
                    <a:pt x="1579500" y="3450874"/>
                    <a:pt x="1579021" y="3447432"/>
                  </a:cubicBezTo>
                  <a:cubicBezTo>
                    <a:pt x="1578546" y="3443974"/>
                    <a:pt x="1580918" y="3440825"/>
                    <a:pt x="1584368" y="3440349"/>
                  </a:cubicBezTo>
                  <a:close/>
                  <a:moveTo>
                    <a:pt x="1315892" y="3438280"/>
                  </a:moveTo>
                  <a:cubicBezTo>
                    <a:pt x="1317794" y="3438280"/>
                    <a:pt x="1319372" y="3439796"/>
                    <a:pt x="1319372" y="3441698"/>
                  </a:cubicBezTo>
                  <a:lnTo>
                    <a:pt x="1319372" y="3464317"/>
                  </a:lnTo>
                  <a:lnTo>
                    <a:pt x="1338134" y="3464317"/>
                  </a:lnTo>
                  <a:cubicBezTo>
                    <a:pt x="1340041" y="3464317"/>
                    <a:pt x="1341614" y="3465898"/>
                    <a:pt x="1341614" y="3467797"/>
                  </a:cubicBezTo>
                  <a:cubicBezTo>
                    <a:pt x="1341614" y="3469699"/>
                    <a:pt x="1340041" y="3471214"/>
                    <a:pt x="1338134" y="3471214"/>
                  </a:cubicBezTo>
                  <a:lnTo>
                    <a:pt x="1315892" y="3471214"/>
                  </a:lnTo>
                  <a:cubicBezTo>
                    <a:pt x="1313989" y="3471214"/>
                    <a:pt x="1312474" y="3469699"/>
                    <a:pt x="1312474" y="3467797"/>
                  </a:cubicBezTo>
                  <a:lnTo>
                    <a:pt x="1312474" y="3441698"/>
                  </a:lnTo>
                  <a:cubicBezTo>
                    <a:pt x="1312474" y="3439796"/>
                    <a:pt x="1313989" y="3438280"/>
                    <a:pt x="1315892" y="3438280"/>
                  </a:cubicBezTo>
                  <a:close/>
                  <a:moveTo>
                    <a:pt x="1463675" y="3437247"/>
                  </a:moveTo>
                  <a:lnTo>
                    <a:pt x="1460329" y="3449342"/>
                  </a:lnTo>
                  <a:cubicBezTo>
                    <a:pt x="1460262" y="3449666"/>
                    <a:pt x="1460054" y="3450578"/>
                    <a:pt x="1460016" y="3451123"/>
                  </a:cubicBezTo>
                  <a:cubicBezTo>
                    <a:pt x="1460016" y="3453722"/>
                    <a:pt x="1462125" y="3455846"/>
                    <a:pt x="1464742" y="3455879"/>
                  </a:cubicBezTo>
                  <a:cubicBezTo>
                    <a:pt x="1465471" y="3455836"/>
                    <a:pt x="1466543" y="3455550"/>
                    <a:pt x="1466881" y="3455475"/>
                  </a:cubicBezTo>
                  <a:cubicBezTo>
                    <a:pt x="1466881" y="3455475"/>
                    <a:pt x="1478695" y="3452383"/>
                    <a:pt x="1478695" y="3452383"/>
                  </a:cubicBezTo>
                  <a:cubicBezTo>
                    <a:pt x="1478845" y="3448713"/>
                    <a:pt x="1477377" y="3444747"/>
                    <a:pt x="1474268" y="3441626"/>
                  </a:cubicBezTo>
                  <a:cubicBezTo>
                    <a:pt x="1471202" y="3438548"/>
                    <a:pt x="1467301" y="3437139"/>
                    <a:pt x="1463675" y="3437247"/>
                  </a:cubicBezTo>
                  <a:close/>
                  <a:moveTo>
                    <a:pt x="1316512" y="3433247"/>
                  </a:moveTo>
                  <a:cubicBezTo>
                    <a:pt x="1298354" y="3433247"/>
                    <a:pt x="1283578" y="3448018"/>
                    <a:pt x="1283578" y="3466181"/>
                  </a:cubicBezTo>
                  <a:cubicBezTo>
                    <a:pt x="1283578" y="3484343"/>
                    <a:pt x="1298354" y="3499115"/>
                    <a:pt x="1316512" y="3499115"/>
                  </a:cubicBezTo>
                  <a:cubicBezTo>
                    <a:pt x="1334674" y="3499115"/>
                    <a:pt x="1349445" y="3484343"/>
                    <a:pt x="1349445" y="3466181"/>
                  </a:cubicBezTo>
                  <a:cubicBezTo>
                    <a:pt x="1349445" y="3448018"/>
                    <a:pt x="1334674" y="3433247"/>
                    <a:pt x="1316512" y="3433247"/>
                  </a:cubicBezTo>
                  <a:close/>
                  <a:moveTo>
                    <a:pt x="1168437" y="3430343"/>
                  </a:moveTo>
                  <a:lnTo>
                    <a:pt x="1219583" y="3430343"/>
                  </a:lnTo>
                  <a:cubicBezTo>
                    <a:pt x="1221289" y="3430343"/>
                    <a:pt x="1222689" y="3431730"/>
                    <a:pt x="1222689" y="3433447"/>
                  </a:cubicBezTo>
                  <a:cubicBezTo>
                    <a:pt x="1222689" y="3435158"/>
                    <a:pt x="1221289" y="3436557"/>
                    <a:pt x="1219583" y="3436557"/>
                  </a:cubicBezTo>
                  <a:lnTo>
                    <a:pt x="1168437" y="3436557"/>
                  </a:lnTo>
                  <a:cubicBezTo>
                    <a:pt x="1166731" y="3436557"/>
                    <a:pt x="1165332" y="3435158"/>
                    <a:pt x="1165332" y="3433447"/>
                  </a:cubicBezTo>
                  <a:cubicBezTo>
                    <a:pt x="1165332" y="3431730"/>
                    <a:pt x="1166731" y="3430343"/>
                    <a:pt x="1168437" y="3430343"/>
                  </a:cubicBezTo>
                  <a:close/>
                  <a:moveTo>
                    <a:pt x="1404587" y="3425990"/>
                  </a:moveTo>
                  <a:lnTo>
                    <a:pt x="1419997" y="3433821"/>
                  </a:lnTo>
                  <a:cubicBezTo>
                    <a:pt x="1419997" y="3433821"/>
                    <a:pt x="1435595" y="3425990"/>
                    <a:pt x="1435595" y="3425990"/>
                  </a:cubicBezTo>
                  <a:close/>
                  <a:moveTo>
                    <a:pt x="1074105" y="3424374"/>
                  </a:moveTo>
                  <a:cubicBezTo>
                    <a:pt x="1091843" y="3424374"/>
                    <a:pt x="1106169" y="3438710"/>
                    <a:pt x="1106169" y="3456442"/>
                  </a:cubicBezTo>
                  <a:cubicBezTo>
                    <a:pt x="1106169" y="3474149"/>
                    <a:pt x="1091806" y="3488510"/>
                    <a:pt x="1074105" y="3488510"/>
                  </a:cubicBezTo>
                  <a:cubicBezTo>
                    <a:pt x="1056404" y="3488510"/>
                    <a:pt x="1042036" y="3474149"/>
                    <a:pt x="1042036" y="3456442"/>
                  </a:cubicBezTo>
                  <a:cubicBezTo>
                    <a:pt x="1042036" y="3438710"/>
                    <a:pt x="1056404" y="3424374"/>
                    <a:pt x="1074105" y="3424374"/>
                  </a:cubicBezTo>
                  <a:close/>
                  <a:moveTo>
                    <a:pt x="1316512" y="3424361"/>
                  </a:moveTo>
                  <a:cubicBezTo>
                    <a:pt x="1339584" y="3424361"/>
                    <a:pt x="1358393" y="3443113"/>
                    <a:pt x="1358393" y="3466181"/>
                  </a:cubicBezTo>
                  <a:cubicBezTo>
                    <a:pt x="1358393" y="3489249"/>
                    <a:pt x="1339584" y="3508062"/>
                    <a:pt x="1316512" y="3508062"/>
                  </a:cubicBezTo>
                  <a:cubicBezTo>
                    <a:pt x="1293440" y="3508062"/>
                    <a:pt x="1274693" y="3489249"/>
                    <a:pt x="1274693" y="3466181"/>
                  </a:cubicBezTo>
                  <a:cubicBezTo>
                    <a:pt x="1274693" y="3443113"/>
                    <a:pt x="1293440" y="3424361"/>
                    <a:pt x="1316512" y="3424361"/>
                  </a:cubicBezTo>
                  <a:close/>
                  <a:moveTo>
                    <a:pt x="1468967" y="3420386"/>
                  </a:moveTo>
                  <a:cubicBezTo>
                    <a:pt x="1468407" y="3421039"/>
                    <a:pt x="1467948" y="3421796"/>
                    <a:pt x="1467731" y="3422553"/>
                  </a:cubicBezTo>
                  <a:lnTo>
                    <a:pt x="1464573" y="3433995"/>
                  </a:lnTo>
                  <a:cubicBezTo>
                    <a:pt x="1468870" y="3434164"/>
                    <a:pt x="1473215" y="3436077"/>
                    <a:pt x="1476508" y="3439385"/>
                  </a:cubicBezTo>
                  <a:cubicBezTo>
                    <a:pt x="1480013" y="3442872"/>
                    <a:pt x="1481727" y="3447303"/>
                    <a:pt x="1481804" y="3451556"/>
                  </a:cubicBezTo>
                  <a:cubicBezTo>
                    <a:pt x="1481804" y="3451556"/>
                    <a:pt x="1493527" y="3448478"/>
                    <a:pt x="1493527" y="3448478"/>
                  </a:cubicBezTo>
                  <a:cubicBezTo>
                    <a:pt x="1493937" y="3448351"/>
                    <a:pt x="1494309" y="3448177"/>
                    <a:pt x="1494676" y="3447984"/>
                  </a:cubicBezTo>
                  <a:cubicBezTo>
                    <a:pt x="1500204" y="3441697"/>
                    <a:pt x="1499108" y="3431161"/>
                    <a:pt x="1491910" y="3423972"/>
                  </a:cubicBezTo>
                  <a:cubicBezTo>
                    <a:pt x="1485102" y="3417177"/>
                    <a:pt x="1475335" y="3415828"/>
                    <a:pt x="1468967" y="3420386"/>
                  </a:cubicBezTo>
                  <a:close/>
                  <a:moveTo>
                    <a:pt x="1036630" y="3418970"/>
                  </a:moveTo>
                  <a:cubicBezTo>
                    <a:pt x="1035782" y="3419372"/>
                    <a:pt x="1035262" y="3420195"/>
                    <a:pt x="1035262" y="3421146"/>
                  </a:cubicBezTo>
                  <a:lnTo>
                    <a:pt x="1035262" y="3494473"/>
                  </a:lnTo>
                  <a:cubicBezTo>
                    <a:pt x="1035262" y="3495762"/>
                    <a:pt x="1036327" y="3496838"/>
                    <a:pt x="1037625" y="3496838"/>
                  </a:cubicBezTo>
                  <a:lnTo>
                    <a:pt x="1110953" y="3496838"/>
                  </a:lnTo>
                  <a:cubicBezTo>
                    <a:pt x="1112280" y="3496838"/>
                    <a:pt x="1113377" y="3495762"/>
                    <a:pt x="1113377" y="3494473"/>
                  </a:cubicBezTo>
                  <a:cubicBezTo>
                    <a:pt x="1113377" y="3494473"/>
                    <a:pt x="1113377" y="3421146"/>
                    <a:pt x="1113377" y="3421146"/>
                  </a:cubicBezTo>
                  <a:cubicBezTo>
                    <a:pt x="1113377" y="3420195"/>
                    <a:pt x="1112865" y="3419372"/>
                    <a:pt x="1112009" y="3418970"/>
                  </a:cubicBezTo>
                  <a:close/>
                  <a:moveTo>
                    <a:pt x="1168437" y="3418412"/>
                  </a:moveTo>
                  <a:lnTo>
                    <a:pt x="1219583" y="3418412"/>
                  </a:lnTo>
                  <a:cubicBezTo>
                    <a:pt x="1221289" y="3418412"/>
                    <a:pt x="1222689" y="3419805"/>
                    <a:pt x="1222689" y="3421516"/>
                  </a:cubicBezTo>
                  <a:cubicBezTo>
                    <a:pt x="1222689" y="3423227"/>
                    <a:pt x="1221289" y="3424626"/>
                    <a:pt x="1219583" y="3424626"/>
                  </a:cubicBezTo>
                  <a:lnTo>
                    <a:pt x="1168437" y="3424626"/>
                  </a:lnTo>
                  <a:cubicBezTo>
                    <a:pt x="1166731" y="3424626"/>
                    <a:pt x="1165332" y="3423227"/>
                    <a:pt x="1165332" y="3421516"/>
                  </a:cubicBezTo>
                  <a:cubicBezTo>
                    <a:pt x="1165332" y="3419805"/>
                    <a:pt x="1166731" y="3418412"/>
                    <a:pt x="1168437" y="3418412"/>
                  </a:cubicBezTo>
                  <a:close/>
                  <a:moveTo>
                    <a:pt x="1582689" y="3415055"/>
                  </a:moveTo>
                  <a:cubicBezTo>
                    <a:pt x="1565917" y="3415902"/>
                    <a:pt x="1552519" y="3429284"/>
                    <a:pt x="1551680" y="3446065"/>
                  </a:cubicBezTo>
                  <a:lnTo>
                    <a:pt x="1557209" y="3446065"/>
                  </a:lnTo>
                  <a:cubicBezTo>
                    <a:pt x="1558131" y="3446065"/>
                    <a:pt x="1558889" y="3446830"/>
                    <a:pt x="1558889" y="3447741"/>
                  </a:cubicBezTo>
                  <a:cubicBezTo>
                    <a:pt x="1558889" y="3448671"/>
                    <a:pt x="1558131" y="3449421"/>
                    <a:pt x="1557209" y="3449421"/>
                  </a:cubicBezTo>
                  <a:lnTo>
                    <a:pt x="1551680" y="3449421"/>
                  </a:lnTo>
                  <a:cubicBezTo>
                    <a:pt x="1552519" y="3466186"/>
                    <a:pt x="1565909" y="3479595"/>
                    <a:pt x="1582689" y="3480431"/>
                  </a:cubicBezTo>
                  <a:lnTo>
                    <a:pt x="1582689" y="3474590"/>
                  </a:lnTo>
                  <a:cubicBezTo>
                    <a:pt x="1582689" y="3473668"/>
                    <a:pt x="1583389" y="3472910"/>
                    <a:pt x="1584303" y="3472910"/>
                  </a:cubicBezTo>
                  <a:cubicBezTo>
                    <a:pt x="1585221" y="3472910"/>
                    <a:pt x="1585983" y="3473680"/>
                    <a:pt x="1585983" y="3474590"/>
                  </a:cubicBezTo>
                  <a:lnTo>
                    <a:pt x="1585983" y="3480431"/>
                  </a:lnTo>
                  <a:cubicBezTo>
                    <a:pt x="1602751" y="3479595"/>
                    <a:pt x="1616207" y="3466186"/>
                    <a:pt x="1617056" y="3449421"/>
                  </a:cubicBezTo>
                  <a:lnTo>
                    <a:pt x="1611400" y="3449421"/>
                  </a:lnTo>
                  <a:cubicBezTo>
                    <a:pt x="1610479" y="3449421"/>
                    <a:pt x="1609721" y="3448663"/>
                    <a:pt x="1609721" y="3447741"/>
                  </a:cubicBezTo>
                  <a:cubicBezTo>
                    <a:pt x="1609721" y="3446823"/>
                    <a:pt x="1610490" y="3446065"/>
                    <a:pt x="1611400" y="3446065"/>
                  </a:cubicBezTo>
                  <a:lnTo>
                    <a:pt x="1617056" y="3446065"/>
                  </a:lnTo>
                  <a:cubicBezTo>
                    <a:pt x="1616207" y="3429296"/>
                    <a:pt x="1602755" y="3415895"/>
                    <a:pt x="1585983" y="3415055"/>
                  </a:cubicBezTo>
                  <a:cubicBezTo>
                    <a:pt x="1585983" y="3415086"/>
                    <a:pt x="1585983" y="3415082"/>
                    <a:pt x="1585983" y="3415117"/>
                  </a:cubicBezTo>
                  <a:lnTo>
                    <a:pt x="1585983" y="3421208"/>
                  </a:lnTo>
                  <a:cubicBezTo>
                    <a:pt x="1585983" y="3422122"/>
                    <a:pt x="1585221" y="3422884"/>
                    <a:pt x="1584303" y="3422884"/>
                  </a:cubicBezTo>
                  <a:cubicBezTo>
                    <a:pt x="1583389" y="3422884"/>
                    <a:pt x="1582689" y="3422122"/>
                    <a:pt x="1582689" y="3421208"/>
                  </a:cubicBezTo>
                  <a:lnTo>
                    <a:pt x="1582689" y="3415117"/>
                  </a:lnTo>
                  <a:cubicBezTo>
                    <a:pt x="1582689" y="3415082"/>
                    <a:pt x="1582689" y="3415086"/>
                    <a:pt x="1582689" y="3415055"/>
                  </a:cubicBezTo>
                  <a:close/>
                  <a:moveTo>
                    <a:pt x="1162906" y="3414245"/>
                  </a:moveTo>
                  <a:lnTo>
                    <a:pt x="1162906" y="3452463"/>
                  </a:lnTo>
                  <a:lnTo>
                    <a:pt x="1228532" y="3452463"/>
                  </a:lnTo>
                  <a:cubicBezTo>
                    <a:pt x="1228532" y="3452463"/>
                    <a:pt x="1228532" y="3414245"/>
                    <a:pt x="1228532" y="3414245"/>
                  </a:cubicBezTo>
                  <a:close/>
                  <a:moveTo>
                    <a:pt x="1404587" y="3410702"/>
                  </a:moveTo>
                  <a:lnTo>
                    <a:pt x="1404587" y="3418346"/>
                  </a:lnTo>
                  <a:lnTo>
                    <a:pt x="1435595" y="3418346"/>
                  </a:lnTo>
                  <a:lnTo>
                    <a:pt x="1435595" y="3411014"/>
                  </a:lnTo>
                  <a:cubicBezTo>
                    <a:pt x="1435595" y="3411014"/>
                    <a:pt x="1435658" y="3410702"/>
                    <a:pt x="1435658" y="3410702"/>
                  </a:cubicBezTo>
                  <a:close/>
                  <a:moveTo>
                    <a:pt x="1578400" y="3402501"/>
                  </a:moveTo>
                  <a:lnTo>
                    <a:pt x="1590518" y="3402501"/>
                  </a:lnTo>
                  <a:lnTo>
                    <a:pt x="1590518" y="3406975"/>
                  </a:lnTo>
                  <a:lnTo>
                    <a:pt x="1588094" y="3406975"/>
                  </a:lnTo>
                  <a:lnTo>
                    <a:pt x="1588094" y="3408717"/>
                  </a:lnTo>
                  <a:cubicBezTo>
                    <a:pt x="1607976" y="3410604"/>
                    <a:pt x="1623518" y="3427370"/>
                    <a:pt x="1623518" y="3447741"/>
                  </a:cubicBezTo>
                  <a:cubicBezTo>
                    <a:pt x="1623518" y="3469394"/>
                    <a:pt x="1605958" y="3486893"/>
                    <a:pt x="1584303" y="3486893"/>
                  </a:cubicBezTo>
                  <a:cubicBezTo>
                    <a:pt x="1562659" y="3486893"/>
                    <a:pt x="1545154" y="3469394"/>
                    <a:pt x="1545154" y="3447741"/>
                  </a:cubicBezTo>
                  <a:cubicBezTo>
                    <a:pt x="1545154" y="3437993"/>
                    <a:pt x="1548767" y="3429069"/>
                    <a:pt x="1554663" y="3422201"/>
                  </a:cubicBezTo>
                  <a:lnTo>
                    <a:pt x="1553542" y="3421146"/>
                  </a:lnTo>
                  <a:lnTo>
                    <a:pt x="1552051" y="3422634"/>
                  </a:lnTo>
                  <a:lnTo>
                    <a:pt x="1550374" y="3420958"/>
                  </a:lnTo>
                  <a:lnTo>
                    <a:pt x="1555595" y="3415738"/>
                  </a:lnTo>
                  <a:lnTo>
                    <a:pt x="1557271" y="3417414"/>
                  </a:lnTo>
                  <a:lnTo>
                    <a:pt x="1555842" y="3418844"/>
                  </a:lnTo>
                  <a:lnTo>
                    <a:pt x="1556774" y="3419841"/>
                  </a:lnTo>
                  <a:cubicBezTo>
                    <a:pt x="1563007" y="3413679"/>
                    <a:pt x="1571337" y="3409585"/>
                    <a:pt x="1580577" y="3408717"/>
                  </a:cubicBezTo>
                  <a:lnTo>
                    <a:pt x="1580577" y="3406975"/>
                  </a:lnTo>
                  <a:lnTo>
                    <a:pt x="1578400" y="3406975"/>
                  </a:lnTo>
                  <a:close/>
                  <a:moveTo>
                    <a:pt x="1103249" y="3400510"/>
                  </a:moveTo>
                  <a:cubicBezTo>
                    <a:pt x="1106276" y="3400510"/>
                    <a:pt x="1108717" y="3402954"/>
                    <a:pt x="1108717" y="3405982"/>
                  </a:cubicBezTo>
                  <a:cubicBezTo>
                    <a:pt x="1108717" y="3409041"/>
                    <a:pt x="1106276" y="3411510"/>
                    <a:pt x="1103249" y="3411510"/>
                  </a:cubicBezTo>
                  <a:cubicBezTo>
                    <a:pt x="1100218" y="3411510"/>
                    <a:pt x="1097716" y="3409041"/>
                    <a:pt x="1097716" y="3405982"/>
                  </a:cubicBezTo>
                  <a:cubicBezTo>
                    <a:pt x="1097716" y="3402954"/>
                    <a:pt x="1100218" y="3400510"/>
                    <a:pt x="1103249" y="3400510"/>
                  </a:cubicBezTo>
                  <a:close/>
                  <a:moveTo>
                    <a:pt x="1087276" y="3400510"/>
                  </a:moveTo>
                  <a:cubicBezTo>
                    <a:pt x="1090336" y="3400510"/>
                    <a:pt x="1092809" y="3402954"/>
                    <a:pt x="1092809" y="3405982"/>
                  </a:cubicBezTo>
                  <a:cubicBezTo>
                    <a:pt x="1092809" y="3409041"/>
                    <a:pt x="1090336" y="3411510"/>
                    <a:pt x="1087276" y="3411510"/>
                  </a:cubicBezTo>
                  <a:cubicBezTo>
                    <a:pt x="1084249" y="3411510"/>
                    <a:pt x="1081808" y="3409041"/>
                    <a:pt x="1081808" y="3405982"/>
                  </a:cubicBezTo>
                  <a:cubicBezTo>
                    <a:pt x="1081808" y="3402954"/>
                    <a:pt x="1084249" y="3400510"/>
                    <a:pt x="1087276" y="3400510"/>
                  </a:cubicBezTo>
                  <a:close/>
                  <a:moveTo>
                    <a:pt x="1036630" y="3399330"/>
                  </a:moveTo>
                  <a:cubicBezTo>
                    <a:pt x="1035655" y="3399330"/>
                    <a:pt x="1034889" y="3400029"/>
                    <a:pt x="1034889" y="3400946"/>
                  </a:cubicBezTo>
                  <a:lnTo>
                    <a:pt x="1034889" y="3412878"/>
                  </a:lnTo>
                  <a:cubicBezTo>
                    <a:pt x="1034889" y="3413612"/>
                    <a:pt x="1035410" y="3414306"/>
                    <a:pt x="1036196" y="3414494"/>
                  </a:cubicBezTo>
                  <a:lnTo>
                    <a:pt x="1112444" y="3414494"/>
                  </a:lnTo>
                  <a:cubicBezTo>
                    <a:pt x="1113238" y="3414306"/>
                    <a:pt x="1113750" y="3413607"/>
                    <a:pt x="1113750" y="3412878"/>
                  </a:cubicBezTo>
                  <a:cubicBezTo>
                    <a:pt x="1113750" y="3412878"/>
                    <a:pt x="1113750" y="3400946"/>
                    <a:pt x="1113750" y="3400946"/>
                  </a:cubicBezTo>
                  <a:cubicBezTo>
                    <a:pt x="1113750" y="3400029"/>
                    <a:pt x="1112960" y="3399330"/>
                    <a:pt x="1111948" y="3399330"/>
                  </a:cubicBezTo>
                  <a:close/>
                  <a:moveTo>
                    <a:pt x="1532166" y="3397887"/>
                  </a:moveTo>
                  <a:lnTo>
                    <a:pt x="1502174" y="3427867"/>
                  </a:lnTo>
                  <a:cubicBezTo>
                    <a:pt x="1503395" y="3430522"/>
                    <a:pt x="1504202" y="3433332"/>
                    <a:pt x="1504467" y="3436199"/>
                  </a:cubicBezTo>
                  <a:cubicBezTo>
                    <a:pt x="1504530" y="3437002"/>
                    <a:pt x="1504491" y="3437778"/>
                    <a:pt x="1504491" y="3438562"/>
                  </a:cubicBezTo>
                  <a:lnTo>
                    <a:pt x="1529008" y="3413859"/>
                  </a:lnTo>
                  <a:lnTo>
                    <a:pt x="1528960" y="3413812"/>
                  </a:lnTo>
                  <a:cubicBezTo>
                    <a:pt x="1528979" y="3413803"/>
                    <a:pt x="1529008" y="3413775"/>
                    <a:pt x="1529042" y="3413756"/>
                  </a:cubicBezTo>
                  <a:cubicBezTo>
                    <a:pt x="1533054" y="3409724"/>
                    <a:pt x="1533995" y="3403676"/>
                    <a:pt x="1532166" y="3397887"/>
                  </a:cubicBezTo>
                  <a:close/>
                  <a:moveTo>
                    <a:pt x="1036630" y="3394546"/>
                  </a:moveTo>
                  <a:lnTo>
                    <a:pt x="1111948" y="3394546"/>
                  </a:lnTo>
                  <a:cubicBezTo>
                    <a:pt x="1115577" y="3394546"/>
                    <a:pt x="1118571" y="3397411"/>
                    <a:pt x="1118534" y="3400946"/>
                  </a:cubicBezTo>
                  <a:lnTo>
                    <a:pt x="1118161" y="3494473"/>
                  </a:lnTo>
                  <a:cubicBezTo>
                    <a:pt x="1118161" y="3498419"/>
                    <a:pt x="1114897" y="3501621"/>
                    <a:pt x="1110953" y="3501621"/>
                  </a:cubicBezTo>
                  <a:lnTo>
                    <a:pt x="1037625" y="3501621"/>
                  </a:lnTo>
                  <a:cubicBezTo>
                    <a:pt x="1033677" y="3501621"/>
                    <a:pt x="1030478" y="3498419"/>
                    <a:pt x="1030478" y="3494473"/>
                  </a:cubicBezTo>
                  <a:lnTo>
                    <a:pt x="1030106" y="3400946"/>
                  </a:lnTo>
                  <a:cubicBezTo>
                    <a:pt x="1030106" y="3397411"/>
                    <a:pt x="1033034" y="3394546"/>
                    <a:pt x="1036630" y="3394546"/>
                  </a:cubicBezTo>
                  <a:close/>
                  <a:moveTo>
                    <a:pt x="1520139" y="3384532"/>
                  </a:moveTo>
                  <a:lnTo>
                    <a:pt x="1489906" y="3414761"/>
                  </a:lnTo>
                  <a:cubicBezTo>
                    <a:pt x="1492233" y="3416035"/>
                    <a:pt x="1494459" y="3417553"/>
                    <a:pt x="1496395" y="3419489"/>
                  </a:cubicBezTo>
                  <a:cubicBezTo>
                    <a:pt x="1498051" y="3421162"/>
                    <a:pt x="1499403" y="3423032"/>
                    <a:pt x="1500590" y="3424968"/>
                  </a:cubicBezTo>
                  <a:cubicBezTo>
                    <a:pt x="1500590" y="3424968"/>
                    <a:pt x="1530847" y="3394706"/>
                    <a:pt x="1530847" y="3394706"/>
                  </a:cubicBezTo>
                  <a:cubicBezTo>
                    <a:pt x="1529829" y="3392708"/>
                    <a:pt x="1528520" y="3390801"/>
                    <a:pt x="1526797" y="3389081"/>
                  </a:cubicBezTo>
                  <a:cubicBezTo>
                    <a:pt x="1524779" y="3387074"/>
                    <a:pt x="1522519" y="3385585"/>
                    <a:pt x="1520139" y="3384532"/>
                  </a:cubicBezTo>
                  <a:close/>
                  <a:moveTo>
                    <a:pt x="1516808" y="3383367"/>
                  </a:moveTo>
                  <a:cubicBezTo>
                    <a:pt x="1511449" y="3382037"/>
                    <a:pt x="1505998" y="3383099"/>
                    <a:pt x="1502266" y="3386745"/>
                  </a:cubicBezTo>
                  <a:lnTo>
                    <a:pt x="1477831" y="3411355"/>
                  </a:lnTo>
                  <a:cubicBezTo>
                    <a:pt x="1480911" y="3411402"/>
                    <a:pt x="1483987" y="3412083"/>
                    <a:pt x="1486932" y="3413262"/>
                  </a:cubicBezTo>
                  <a:cubicBezTo>
                    <a:pt x="1486932" y="3413262"/>
                    <a:pt x="1516808" y="3383367"/>
                    <a:pt x="1516808" y="3383367"/>
                  </a:cubicBezTo>
                  <a:close/>
                  <a:moveTo>
                    <a:pt x="1231203" y="3374658"/>
                  </a:moveTo>
                  <a:cubicBezTo>
                    <a:pt x="1233539" y="3374658"/>
                    <a:pt x="1235429" y="3376549"/>
                    <a:pt x="1235429" y="3378885"/>
                  </a:cubicBezTo>
                  <a:cubicBezTo>
                    <a:pt x="1235429" y="3381221"/>
                    <a:pt x="1233539" y="3383112"/>
                    <a:pt x="1231203" y="3383112"/>
                  </a:cubicBezTo>
                  <a:cubicBezTo>
                    <a:pt x="1228867" y="3383112"/>
                    <a:pt x="1226977" y="3381221"/>
                    <a:pt x="1226977" y="3378885"/>
                  </a:cubicBezTo>
                  <a:cubicBezTo>
                    <a:pt x="1226977" y="3376549"/>
                    <a:pt x="1228867" y="3374658"/>
                    <a:pt x="1231203" y="3374658"/>
                  </a:cubicBezTo>
                  <a:close/>
                  <a:moveTo>
                    <a:pt x="1528028" y="3367075"/>
                  </a:moveTo>
                  <a:cubicBezTo>
                    <a:pt x="1524021" y="3367075"/>
                    <a:pt x="1520351" y="3368522"/>
                    <a:pt x="1517739" y="3371149"/>
                  </a:cubicBezTo>
                  <a:lnTo>
                    <a:pt x="1512472" y="3376445"/>
                  </a:lnTo>
                  <a:cubicBezTo>
                    <a:pt x="1519255" y="3376468"/>
                    <a:pt x="1526116" y="3379438"/>
                    <a:pt x="1531268" y="3384598"/>
                  </a:cubicBezTo>
                  <a:cubicBezTo>
                    <a:pt x="1535917" y="3389241"/>
                    <a:pt x="1538785" y="3395171"/>
                    <a:pt x="1539345" y="3401298"/>
                  </a:cubicBezTo>
                  <a:cubicBezTo>
                    <a:pt x="1539412" y="3402046"/>
                    <a:pt x="1539321" y="3402732"/>
                    <a:pt x="1539321" y="3403441"/>
                  </a:cubicBezTo>
                  <a:lnTo>
                    <a:pt x="1544670" y="3398065"/>
                  </a:lnTo>
                  <a:cubicBezTo>
                    <a:pt x="1547610" y="3395110"/>
                    <a:pt x="1549083" y="3391054"/>
                    <a:pt x="1548784" y="3386623"/>
                  </a:cubicBezTo>
                  <a:cubicBezTo>
                    <a:pt x="1548465" y="3381872"/>
                    <a:pt x="1546196" y="3377173"/>
                    <a:pt x="1542420" y="3373395"/>
                  </a:cubicBezTo>
                  <a:cubicBezTo>
                    <a:pt x="1538374" y="3369387"/>
                    <a:pt x="1533146" y="3367075"/>
                    <a:pt x="1528028" y="3367075"/>
                  </a:cubicBezTo>
                  <a:close/>
                  <a:moveTo>
                    <a:pt x="1154086" y="3361982"/>
                  </a:moveTo>
                  <a:cubicBezTo>
                    <a:pt x="1147250" y="3361982"/>
                    <a:pt x="1141719" y="3367513"/>
                    <a:pt x="1141719" y="3374352"/>
                  </a:cubicBezTo>
                  <a:lnTo>
                    <a:pt x="1141719" y="3412756"/>
                  </a:lnTo>
                  <a:cubicBezTo>
                    <a:pt x="1141719" y="3419589"/>
                    <a:pt x="1147250" y="3425185"/>
                    <a:pt x="1154086" y="3425185"/>
                  </a:cubicBezTo>
                  <a:lnTo>
                    <a:pt x="1156695" y="3425185"/>
                  </a:lnTo>
                  <a:lnTo>
                    <a:pt x="1156695" y="3414245"/>
                  </a:lnTo>
                  <a:lnTo>
                    <a:pt x="1150913" y="3414245"/>
                  </a:lnTo>
                  <a:cubicBezTo>
                    <a:pt x="1149201" y="3414245"/>
                    <a:pt x="1147807" y="3412846"/>
                    <a:pt x="1147807" y="3411140"/>
                  </a:cubicBezTo>
                  <a:cubicBezTo>
                    <a:pt x="1147807" y="3409423"/>
                    <a:pt x="1149201" y="3408030"/>
                    <a:pt x="1150913" y="3408030"/>
                  </a:cubicBezTo>
                  <a:lnTo>
                    <a:pt x="1241457" y="3408030"/>
                  </a:lnTo>
                  <a:cubicBezTo>
                    <a:pt x="1243168" y="3408030"/>
                    <a:pt x="1244501" y="3409423"/>
                    <a:pt x="1244501" y="3411140"/>
                  </a:cubicBezTo>
                  <a:cubicBezTo>
                    <a:pt x="1244501" y="3412846"/>
                    <a:pt x="1243168" y="3414245"/>
                    <a:pt x="1241457" y="3414245"/>
                  </a:cubicBezTo>
                  <a:lnTo>
                    <a:pt x="1234744" y="3414245"/>
                  </a:lnTo>
                  <a:lnTo>
                    <a:pt x="1234744" y="3425185"/>
                  </a:lnTo>
                  <a:lnTo>
                    <a:pt x="1237353" y="3425185"/>
                  </a:lnTo>
                  <a:cubicBezTo>
                    <a:pt x="1244189" y="3425185"/>
                    <a:pt x="1249720" y="3419589"/>
                    <a:pt x="1249720" y="3412756"/>
                  </a:cubicBezTo>
                  <a:lnTo>
                    <a:pt x="1249720" y="3374352"/>
                  </a:lnTo>
                  <a:cubicBezTo>
                    <a:pt x="1249720" y="3367513"/>
                    <a:pt x="1244189" y="3361982"/>
                    <a:pt x="1237353" y="3361982"/>
                  </a:cubicBezTo>
                  <a:close/>
                  <a:moveTo>
                    <a:pt x="1528028" y="3360726"/>
                  </a:moveTo>
                  <a:cubicBezTo>
                    <a:pt x="1534816" y="3360726"/>
                    <a:pt x="1541672" y="3363701"/>
                    <a:pt x="1546896" y="3368907"/>
                  </a:cubicBezTo>
                  <a:cubicBezTo>
                    <a:pt x="1556962" y="3378973"/>
                    <a:pt x="1557952" y="3393733"/>
                    <a:pt x="1549155" y="3402544"/>
                  </a:cubicBezTo>
                  <a:lnTo>
                    <a:pt x="1500754" y="3451339"/>
                  </a:lnTo>
                  <a:cubicBezTo>
                    <a:pt x="1499248" y="3452848"/>
                    <a:pt x="1497384" y="3453943"/>
                    <a:pt x="1495347" y="3454558"/>
                  </a:cubicBezTo>
                  <a:lnTo>
                    <a:pt x="1468455" y="3461621"/>
                  </a:lnTo>
                  <a:cubicBezTo>
                    <a:pt x="1468368" y="3461640"/>
                    <a:pt x="1465993" y="3462227"/>
                    <a:pt x="1464781" y="3462227"/>
                  </a:cubicBezTo>
                  <a:cubicBezTo>
                    <a:pt x="1458644" y="3462227"/>
                    <a:pt x="1453667" y="3457241"/>
                    <a:pt x="1453667" y="3451123"/>
                  </a:cubicBezTo>
                  <a:cubicBezTo>
                    <a:pt x="1453667" y="3450038"/>
                    <a:pt x="1454154" y="3447918"/>
                    <a:pt x="1454169" y="3447862"/>
                  </a:cubicBezTo>
                  <a:lnTo>
                    <a:pt x="1461614" y="3420861"/>
                  </a:lnTo>
                  <a:cubicBezTo>
                    <a:pt x="1462217" y="3418836"/>
                    <a:pt x="1463313" y="3416965"/>
                    <a:pt x="1464819" y="3415457"/>
                  </a:cubicBezTo>
                  <a:lnTo>
                    <a:pt x="1497592" y="3382446"/>
                  </a:lnTo>
                  <a:lnTo>
                    <a:pt x="1497573" y="3382446"/>
                  </a:lnTo>
                  <a:cubicBezTo>
                    <a:pt x="1497607" y="3382413"/>
                    <a:pt x="1497616" y="3382375"/>
                    <a:pt x="1497655" y="3382366"/>
                  </a:cubicBezTo>
                  <a:cubicBezTo>
                    <a:pt x="1497698" y="3382300"/>
                    <a:pt x="1497747" y="3382281"/>
                    <a:pt x="1497795" y="3382244"/>
                  </a:cubicBezTo>
                  <a:lnTo>
                    <a:pt x="1513230" y="3366675"/>
                  </a:lnTo>
                  <a:cubicBezTo>
                    <a:pt x="1517073" y="3362855"/>
                    <a:pt x="1522331" y="3360726"/>
                    <a:pt x="1528028" y="3360726"/>
                  </a:cubicBezTo>
                  <a:close/>
                  <a:moveTo>
                    <a:pt x="1331568" y="3348001"/>
                  </a:moveTo>
                  <a:cubicBezTo>
                    <a:pt x="1331568" y="3348001"/>
                    <a:pt x="1331568" y="3389078"/>
                    <a:pt x="1331568" y="3389078"/>
                  </a:cubicBezTo>
                  <a:lnTo>
                    <a:pt x="1337906" y="3389078"/>
                  </a:lnTo>
                  <a:lnTo>
                    <a:pt x="1337906" y="3348001"/>
                  </a:lnTo>
                  <a:close/>
                  <a:moveTo>
                    <a:pt x="1311680" y="3348001"/>
                  </a:moveTo>
                  <a:cubicBezTo>
                    <a:pt x="1311680" y="3348001"/>
                    <a:pt x="1311680" y="3389078"/>
                    <a:pt x="1311680" y="3389078"/>
                  </a:cubicBezTo>
                  <a:lnTo>
                    <a:pt x="1317957" y="3389078"/>
                  </a:lnTo>
                  <a:lnTo>
                    <a:pt x="1317957" y="3348001"/>
                  </a:lnTo>
                  <a:close/>
                  <a:moveTo>
                    <a:pt x="1291796" y="3348001"/>
                  </a:moveTo>
                  <a:cubicBezTo>
                    <a:pt x="1291796" y="3348001"/>
                    <a:pt x="1291796" y="3389078"/>
                    <a:pt x="1291796" y="3389078"/>
                  </a:cubicBezTo>
                  <a:lnTo>
                    <a:pt x="1298068" y="3389078"/>
                  </a:lnTo>
                  <a:lnTo>
                    <a:pt x="1298068" y="3348001"/>
                  </a:lnTo>
                  <a:close/>
                  <a:moveTo>
                    <a:pt x="1331568" y="3344830"/>
                  </a:moveTo>
                  <a:lnTo>
                    <a:pt x="1337906" y="3344830"/>
                  </a:lnTo>
                  <a:cubicBezTo>
                    <a:pt x="1339649" y="3344830"/>
                    <a:pt x="1341075" y="3346263"/>
                    <a:pt x="1341075" y="3348001"/>
                  </a:cubicBezTo>
                  <a:lnTo>
                    <a:pt x="1341075" y="3389078"/>
                  </a:lnTo>
                  <a:cubicBezTo>
                    <a:pt x="1341075" y="3390825"/>
                    <a:pt x="1339649" y="3392249"/>
                    <a:pt x="1337906" y="3392249"/>
                  </a:cubicBezTo>
                  <a:lnTo>
                    <a:pt x="1331568" y="3392249"/>
                  </a:lnTo>
                  <a:cubicBezTo>
                    <a:pt x="1329817" y="3392249"/>
                    <a:pt x="1328399" y="3390825"/>
                    <a:pt x="1328399" y="3389078"/>
                  </a:cubicBezTo>
                  <a:lnTo>
                    <a:pt x="1328399" y="3348001"/>
                  </a:lnTo>
                  <a:cubicBezTo>
                    <a:pt x="1328399" y="3346263"/>
                    <a:pt x="1329817" y="3344830"/>
                    <a:pt x="1331568" y="3344830"/>
                  </a:cubicBezTo>
                  <a:close/>
                  <a:moveTo>
                    <a:pt x="1311680" y="3344830"/>
                  </a:moveTo>
                  <a:lnTo>
                    <a:pt x="1317957" y="3344830"/>
                  </a:lnTo>
                  <a:cubicBezTo>
                    <a:pt x="1319699" y="3344830"/>
                    <a:pt x="1321126" y="3346263"/>
                    <a:pt x="1321126" y="3348001"/>
                  </a:cubicBezTo>
                  <a:lnTo>
                    <a:pt x="1321126" y="3389078"/>
                  </a:lnTo>
                  <a:cubicBezTo>
                    <a:pt x="1321126" y="3390825"/>
                    <a:pt x="1319699" y="3392249"/>
                    <a:pt x="1317957" y="3392249"/>
                  </a:cubicBezTo>
                  <a:lnTo>
                    <a:pt x="1311680" y="3392249"/>
                  </a:lnTo>
                  <a:cubicBezTo>
                    <a:pt x="1309941" y="3392249"/>
                    <a:pt x="1308511" y="3390825"/>
                    <a:pt x="1308511" y="3389078"/>
                  </a:cubicBezTo>
                  <a:lnTo>
                    <a:pt x="1308511" y="3348001"/>
                  </a:lnTo>
                  <a:cubicBezTo>
                    <a:pt x="1308511" y="3346263"/>
                    <a:pt x="1309941" y="3344830"/>
                    <a:pt x="1311680" y="3344830"/>
                  </a:cubicBezTo>
                  <a:close/>
                  <a:moveTo>
                    <a:pt x="1291796" y="3344830"/>
                  </a:moveTo>
                  <a:lnTo>
                    <a:pt x="1298068" y="3344830"/>
                  </a:lnTo>
                  <a:cubicBezTo>
                    <a:pt x="1299815" y="3344830"/>
                    <a:pt x="1301242" y="3346263"/>
                    <a:pt x="1301242" y="3348001"/>
                  </a:cubicBezTo>
                  <a:lnTo>
                    <a:pt x="1301242" y="3389078"/>
                  </a:lnTo>
                  <a:cubicBezTo>
                    <a:pt x="1301242" y="3390825"/>
                    <a:pt x="1299815" y="3392249"/>
                    <a:pt x="1298068" y="3392249"/>
                  </a:cubicBezTo>
                  <a:lnTo>
                    <a:pt x="1291796" y="3392249"/>
                  </a:lnTo>
                  <a:cubicBezTo>
                    <a:pt x="1290029" y="3392249"/>
                    <a:pt x="1288622" y="3390825"/>
                    <a:pt x="1288622" y="3389078"/>
                  </a:cubicBezTo>
                  <a:lnTo>
                    <a:pt x="1288622" y="3348001"/>
                  </a:lnTo>
                  <a:cubicBezTo>
                    <a:pt x="1288622" y="3346263"/>
                    <a:pt x="1290029" y="3344830"/>
                    <a:pt x="1291796" y="3344830"/>
                  </a:cubicBezTo>
                  <a:close/>
                  <a:moveTo>
                    <a:pt x="1283342" y="3339860"/>
                  </a:moveTo>
                  <a:lnTo>
                    <a:pt x="1283342" y="3393617"/>
                  </a:lnTo>
                  <a:cubicBezTo>
                    <a:pt x="1283342" y="3397078"/>
                    <a:pt x="1286191" y="3399893"/>
                    <a:pt x="1289680" y="3399893"/>
                  </a:cubicBezTo>
                  <a:lnTo>
                    <a:pt x="1340268" y="3399893"/>
                  </a:lnTo>
                  <a:cubicBezTo>
                    <a:pt x="1343740" y="3399893"/>
                    <a:pt x="1346606" y="3397078"/>
                    <a:pt x="1346606" y="3393617"/>
                  </a:cubicBezTo>
                  <a:cubicBezTo>
                    <a:pt x="1346606" y="3393617"/>
                    <a:pt x="1346606" y="3339860"/>
                    <a:pt x="1346606" y="3339860"/>
                  </a:cubicBezTo>
                  <a:close/>
                  <a:moveTo>
                    <a:pt x="1162906" y="3335137"/>
                  </a:moveTo>
                  <a:cubicBezTo>
                    <a:pt x="1162906" y="3335137"/>
                    <a:pt x="1162906" y="3355768"/>
                    <a:pt x="1162906" y="3355768"/>
                  </a:cubicBezTo>
                  <a:lnTo>
                    <a:pt x="1228532" y="3355768"/>
                  </a:lnTo>
                  <a:lnTo>
                    <a:pt x="1228532" y="3335137"/>
                  </a:lnTo>
                  <a:close/>
                  <a:moveTo>
                    <a:pt x="1423662" y="3334885"/>
                  </a:moveTo>
                  <a:cubicBezTo>
                    <a:pt x="1436801" y="3334885"/>
                    <a:pt x="1450449" y="3344554"/>
                    <a:pt x="1450449" y="3361985"/>
                  </a:cubicBezTo>
                  <a:cubicBezTo>
                    <a:pt x="1450449" y="3364106"/>
                    <a:pt x="1448691" y="3365773"/>
                    <a:pt x="1446593" y="3365773"/>
                  </a:cubicBezTo>
                  <a:cubicBezTo>
                    <a:pt x="1444474" y="3365773"/>
                    <a:pt x="1442805" y="3364106"/>
                    <a:pt x="1442805" y="3361985"/>
                  </a:cubicBezTo>
                  <a:cubicBezTo>
                    <a:pt x="1442805" y="3350332"/>
                    <a:pt x="1432287" y="3342467"/>
                    <a:pt x="1423662" y="3342467"/>
                  </a:cubicBezTo>
                  <a:cubicBezTo>
                    <a:pt x="1421568" y="3342467"/>
                    <a:pt x="1419874" y="3340811"/>
                    <a:pt x="1419874" y="3338679"/>
                  </a:cubicBezTo>
                  <a:cubicBezTo>
                    <a:pt x="1419874" y="3336558"/>
                    <a:pt x="1421568" y="3334885"/>
                    <a:pt x="1423662" y="3334885"/>
                  </a:cubicBezTo>
                  <a:close/>
                  <a:moveTo>
                    <a:pt x="1159801" y="3328922"/>
                  </a:moveTo>
                  <a:lnTo>
                    <a:pt x="1231638" y="3328922"/>
                  </a:lnTo>
                  <a:cubicBezTo>
                    <a:pt x="1233350" y="3328922"/>
                    <a:pt x="1234744" y="3330327"/>
                    <a:pt x="1234744" y="3332027"/>
                  </a:cubicBezTo>
                  <a:lnTo>
                    <a:pt x="1234744" y="3355768"/>
                  </a:lnTo>
                  <a:lnTo>
                    <a:pt x="1237353" y="3355768"/>
                  </a:lnTo>
                  <a:cubicBezTo>
                    <a:pt x="1247612" y="3355768"/>
                    <a:pt x="1255937" y="3364090"/>
                    <a:pt x="1255937" y="3374352"/>
                  </a:cubicBezTo>
                  <a:lnTo>
                    <a:pt x="1255937" y="3412756"/>
                  </a:lnTo>
                  <a:cubicBezTo>
                    <a:pt x="1255937" y="3423011"/>
                    <a:pt x="1247607" y="3431399"/>
                    <a:pt x="1237353" y="3431399"/>
                  </a:cubicBezTo>
                  <a:lnTo>
                    <a:pt x="1234744" y="3431399"/>
                  </a:lnTo>
                  <a:lnTo>
                    <a:pt x="1234744" y="3455513"/>
                  </a:lnTo>
                  <a:cubicBezTo>
                    <a:pt x="1234744" y="3457224"/>
                    <a:pt x="1233350" y="3458617"/>
                    <a:pt x="1231638" y="3458617"/>
                  </a:cubicBezTo>
                  <a:lnTo>
                    <a:pt x="1159801" y="3458617"/>
                  </a:lnTo>
                  <a:cubicBezTo>
                    <a:pt x="1158089" y="3458617"/>
                    <a:pt x="1156695" y="3457224"/>
                    <a:pt x="1156695" y="3455513"/>
                  </a:cubicBezTo>
                  <a:lnTo>
                    <a:pt x="1156695" y="3431399"/>
                  </a:lnTo>
                  <a:lnTo>
                    <a:pt x="1154086" y="3431399"/>
                  </a:lnTo>
                  <a:cubicBezTo>
                    <a:pt x="1143832" y="3431399"/>
                    <a:pt x="1135502" y="3423011"/>
                    <a:pt x="1135502" y="3412756"/>
                  </a:cubicBezTo>
                  <a:lnTo>
                    <a:pt x="1135502" y="3374352"/>
                  </a:lnTo>
                  <a:cubicBezTo>
                    <a:pt x="1135502" y="3364096"/>
                    <a:pt x="1143832" y="3355768"/>
                    <a:pt x="1154086" y="3355768"/>
                  </a:cubicBezTo>
                  <a:lnTo>
                    <a:pt x="1156695" y="3355768"/>
                  </a:lnTo>
                  <a:lnTo>
                    <a:pt x="1156695" y="3332027"/>
                  </a:lnTo>
                  <a:cubicBezTo>
                    <a:pt x="1156695" y="3330327"/>
                    <a:pt x="1158089" y="3328922"/>
                    <a:pt x="1159801" y="3328922"/>
                  </a:cubicBezTo>
                  <a:close/>
                  <a:moveTo>
                    <a:pt x="1419997" y="3326623"/>
                  </a:moveTo>
                  <a:cubicBezTo>
                    <a:pt x="1398875" y="3326623"/>
                    <a:pt x="1381779" y="3343715"/>
                    <a:pt x="1381779" y="3364843"/>
                  </a:cubicBezTo>
                  <a:cubicBezTo>
                    <a:pt x="1381779" y="3377670"/>
                    <a:pt x="1388106" y="3389006"/>
                    <a:pt x="1397813" y="3395913"/>
                  </a:cubicBezTo>
                  <a:cubicBezTo>
                    <a:pt x="1400756" y="3397659"/>
                    <a:pt x="1402370" y="3400421"/>
                    <a:pt x="1403342" y="3403058"/>
                  </a:cubicBezTo>
                  <a:lnTo>
                    <a:pt x="1436962" y="3403058"/>
                  </a:lnTo>
                  <a:cubicBezTo>
                    <a:pt x="1439502" y="3396429"/>
                    <a:pt x="1444670" y="3394047"/>
                    <a:pt x="1444670" y="3394047"/>
                  </a:cubicBezTo>
                  <a:cubicBezTo>
                    <a:pt x="1452955" y="3387027"/>
                    <a:pt x="1458216" y="3376565"/>
                    <a:pt x="1458216" y="3364843"/>
                  </a:cubicBezTo>
                  <a:cubicBezTo>
                    <a:pt x="1458216" y="3343715"/>
                    <a:pt x="1441081" y="3326623"/>
                    <a:pt x="1419997" y="3326623"/>
                  </a:cubicBezTo>
                  <a:close/>
                  <a:moveTo>
                    <a:pt x="1280173" y="3324015"/>
                  </a:moveTo>
                  <a:cubicBezTo>
                    <a:pt x="1278430" y="3324015"/>
                    <a:pt x="1277065" y="3325439"/>
                    <a:pt x="1277065" y="3327181"/>
                  </a:cubicBezTo>
                  <a:lnTo>
                    <a:pt x="1277065" y="3333523"/>
                  </a:lnTo>
                  <a:lnTo>
                    <a:pt x="1352944" y="3333523"/>
                  </a:lnTo>
                  <a:lnTo>
                    <a:pt x="1352944" y="3330352"/>
                  </a:lnTo>
                  <a:cubicBezTo>
                    <a:pt x="1352944" y="3330352"/>
                    <a:pt x="1352944" y="3327181"/>
                    <a:pt x="1352944" y="3327181"/>
                  </a:cubicBezTo>
                  <a:cubicBezTo>
                    <a:pt x="1352944" y="3325439"/>
                    <a:pt x="1351522" y="3324015"/>
                    <a:pt x="1349775" y="3324015"/>
                  </a:cubicBezTo>
                  <a:close/>
                  <a:moveTo>
                    <a:pt x="1419997" y="3318979"/>
                  </a:moveTo>
                  <a:cubicBezTo>
                    <a:pt x="1445260" y="3318979"/>
                    <a:pt x="1465860" y="3339547"/>
                    <a:pt x="1465860" y="3364843"/>
                  </a:cubicBezTo>
                  <a:cubicBezTo>
                    <a:pt x="1465860" y="3378340"/>
                    <a:pt x="1459915" y="3391116"/>
                    <a:pt x="1449579" y="3399888"/>
                  </a:cubicBezTo>
                  <a:lnTo>
                    <a:pt x="1447837" y="3400948"/>
                  </a:lnTo>
                  <a:cubicBezTo>
                    <a:pt x="1447804" y="3400948"/>
                    <a:pt x="1443239" y="3403478"/>
                    <a:pt x="1443239" y="3411014"/>
                  </a:cubicBezTo>
                  <a:lnTo>
                    <a:pt x="1443239" y="3425990"/>
                  </a:lnTo>
                  <a:cubicBezTo>
                    <a:pt x="1443239" y="3428899"/>
                    <a:pt x="1441587" y="3431474"/>
                    <a:pt x="1439013" y="3432766"/>
                  </a:cubicBezTo>
                  <a:lnTo>
                    <a:pt x="1423416" y="3440660"/>
                  </a:lnTo>
                  <a:cubicBezTo>
                    <a:pt x="1422337" y="3441227"/>
                    <a:pt x="1421195" y="3441465"/>
                    <a:pt x="1419997" y="3441465"/>
                  </a:cubicBezTo>
                  <a:cubicBezTo>
                    <a:pt x="1418800" y="3441465"/>
                    <a:pt x="1417602" y="3441227"/>
                    <a:pt x="1416515" y="3440660"/>
                  </a:cubicBezTo>
                  <a:lnTo>
                    <a:pt x="1401104" y="3432766"/>
                  </a:lnTo>
                  <a:cubicBezTo>
                    <a:pt x="1398565" y="3431440"/>
                    <a:pt x="1396943" y="3428859"/>
                    <a:pt x="1396943" y="3425990"/>
                  </a:cubicBezTo>
                  <a:lnTo>
                    <a:pt x="1396943" y="3410458"/>
                  </a:lnTo>
                  <a:cubicBezTo>
                    <a:pt x="1397015" y="3409494"/>
                    <a:pt x="1396692" y="3404141"/>
                    <a:pt x="1393898" y="3402502"/>
                  </a:cubicBezTo>
                  <a:lnTo>
                    <a:pt x="1393338" y="3402128"/>
                  </a:lnTo>
                  <a:cubicBezTo>
                    <a:pt x="1381324" y="3393548"/>
                    <a:pt x="1374135" y="3379610"/>
                    <a:pt x="1374135" y="3364843"/>
                  </a:cubicBezTo>
                  <a:cubicBezTo>
                    <a:pt x="1374135" y="3339547"/>
                    <a:pt x="1394696" y="3318979"/>
                    <a:pt x="1419997" y="3318979"/>
                  </a:cubicBezTo>
                  <a:close/>
                  <a:moveTo>
                    <a:pt x="1299188" y="3311396"/>
                  </a:moveTo>
                  <a:cubicBezTo>
                    <a:pt x="1297441" y="3311396"/>
                    <a:pt x="1296019" y="3312811"/>
                    <a:pt x="1296019" y="3314567"/>
                  </a:cubicBezTo>
                  <a:cubicBezTo>
                    <a:pt x="1296019" y="3314567"/>
                    <a:pt x="1296019" y="3317673"/>
                    <a:pt x="1296019" y="3317673"/>
                  </a:cubicBezTo>
                  <a:lnTo>
                    <a:pt x="1333991" y="3317673"/>
                  </a:lnTo>
                  <a:lnTo>
                    <a:pt x="1333991" y="3314567"/>
                  </a:lnTo>
                  <a:cubicBezTo>
                    <a:pt x="1333991" y="3312811"/>
                    <a:pt x="1332560" y="3311396"/>
                    <a:pt x="1330822" y="3311396"/>
                  </a:cubicBezTo>
                  <a:close/>
                  <a:moveTo>
                    <a:pt x="1299188" y="3305059"/>
                  </a:moveTo>
                  <a:lnTo>
                    <a:pt x="1330822" y="3305059"/>
                  </a:lnTo>
                  <a:cubicBezTo>
                    <a:pt x="1336049" y="3305059"/>
                    <a:pt x="1340268" y="3309275"/>
                    <a:pt x="1340268" y="3314507"/>
                  </a:cubicBezTo>
                  <a:lnTo>
                    <a:pt x="1340268" y="3317738"/>
                  </a:lnTo>
                  <a:lnTo>
                    <a:pt x="1349775" y="3317738"/>
                  </a:lnTo>
                  <a:cubicBezTo>
                    <a:pt x="1354810" y="3317738"/>
                    <a:pt x="1358926" y="3321659"/>
                    <a:pt x="1359221" y="3326624"/>
                  </a:cubicBezTo>
                  <a:cubicBezTo>
                    <a:pt x="1359221" y="3326624"/>
                    <a:pt x="1359283" y="3326624"/>
                    <a:pt x="1359283" y="3326624"/>
                  </a:cubicBezTo>
                  <a:lnTo>
                    <a:pt x="1359283" y="3333523"/>
                  </a:lnTo>
                  <a:cubicBezTo>
                    <a:pt x="1359283" y="3337017"/>
                    <a:pt x="1356433" y="3339860"/>
                    <a:pt x="1352944" y="3339860"/>
                  </a:cubicBezTo>
                  <a:lnTo>
                    <a:pt x="1352944" y="3393551"/>
                  </a:lnTo>
                  <a:cubicBezTo>
                    <a:pt x="1352944" y="3400549"/>
                    <a:pt x="1347246" y="3406230"/>
                    <a:pt x="1340268" y="3406230"/>
                  </a:cubicBezTo>
                  <a:lnTo>
                    <a:pt x="1289680" y="3406230"/>
                  </a:lnTo>
                  <a:cubicBezTo>
                    <a:pt x="1282690" y="3406230"/>
                    <a:pt x="1277065" y="3400549"/>
                    <a:pt x="1277065" y="3393551"/>
                  </a:cubicBezTo>
                  <a:lnTo>
                    <a:pt x="1277065" y="3339860"/>
                  </a:lnTo>
                  <a:cubicBezTo>
                    <a:pt x="1273576" y="3339860"/>
                    <a:pt x="1270727" y="3337017"/>
                    <a:pt x="1270727" y="3333523"/>
                  </a:cubicBezTo>
                  <a:lnTo>
                    <a:pt x="1270727" y="3326624"/>
                  </a:lnTo>
                  <a:lnTo>
                    <a:pt x="1270788" y="3326624"/>
                  </a:lnTo>
                  <a:cubicBezTo>
                    <a:pt x="1271100" y="3321659"/>
                    <a:pt x="1275138" y="3317673"/>
                    <a:pt x="1280173" y="3317673"/>
                  </a:cubicBezTo>
                  <a:lnTo>
                    <a:pt x="1289680" y="3317673"/>
                  </a:lnTo>
                  <a:lnTo>
                    <a:pt x="1289680" y="3314507"/>
                  </a:lnTo>
                  <a:cubicBezTo>
                    <a:pt x="1289680" y="3309275"/>
                    <a:pt x="1293952" y="3305059"/>
                    <a:pt x="1299188" y="3305059"/>
                  </a:cubicBezTo>
                  <a:close/>
                  <a:moveTo>
                    <a:pt x="1262403" y="2863592"/>
                  </a:moveTo>
                  <a:cubicBezTo>
                    <a:pt x="1267430" y="2863580"/>
                    <a:pt x="1270589" y="2869184"/>
                    <a:pt x="1271350" y="2869184"/>
                  </a:cubicBezTo>
                  <a:cubicBezTo>
                    <a:pt x="1272014" y="2869184"/>
                    <a:pt x="1275103" y="2863598"/>
                    <a:pt x="1280360" y="2863592"/>
                  </a:cubicBezTo>
                  <a:cubicBezTo>
                    <a:pt x="1285475" y="2863592"/>
                    <a:pt x="1289652" y="2867800"/>
                    <a:pt x="1289926" y="2872915"/>
                  </a:cubicBezTo>
                  <a:cubicBezTo>
                    <a:pt x="1290085" y="2875787"/>
                    <a:pt x="1289130" y="2878017"/>
                    <a:pt x="1287820" y="2879995"/>
                  </a:cubicBezTo>
                  <a:cubicBezTo>
                    <a:pt x="1285192" y="2883964"/>
                    <a:pt x="1273758" y="2893483"/>
                    <a:pt x="1271350" y="2893483"/>
                  </a:cubicBezTo>
                  <a:cubicBezTo>
                    <a:pt x="1268890" y="2893483"/>
                    <a:pt x="1257580" y="2884007"/>
                    <a:pt x="1254943" y="2879995"/>
                  </a:cubicBezTo>
                  <a:cubicBezTo>
                    <a:pt x="1253633" y="2877999"/>
                    <a:pt x="1252677" y="2875787"/>
                    <a:pt x="1252828" y="2872915"/>
                  </a:cubicBezTo>
                  <a:cubicBezTo>
                    <a:pt x="1253102" y="2867800"/>
                    <a:pt x="1257279" y="2863580"/>
                    <a:pt x="1262403" y="2863592"/>
                  </a:cubicBezTo>
                  <a:close/>
                  <a:moveTo>
                    <a:pt x="1131437" y="2856388"/>
                  </a:moveTo>
                  <a:cubicBezTo>
                    <a:pt x="1132059" y="2855768"/>
                    <a:pt x="1133064" y="2855768"/>
                    <a:pt x="1133679" y="2856388"/>
                  </a:cubicBezTo>
                  <a:cubicBezTo>
                    <a:pt x="1133679" y="2856388"/>
                    <a:pt x="1153989" y="2876691"/>
                    <a:pt x="1153989" y="2876691"/>
                  </a:cubicBezTo>
                  <a:cubicBezTo>
                    <a:pt x="1154604" y="2877311"/>
                    <a:pt x="1154604" y="2878341"/>
                    <a:pt x="1153989" y="2878961"/>
                  </a:cubicBezTo>
                  <a:lnTo>
                    <a:pt x="1150616" y="2882326"/>
                  </a:lnTo>
                  <a:cubicBezTo>
                    <a:pt x="1150001" y="2882952"/>
                    <a:pt x="1148970" y="2882952"/>
                    <a:pt x="1148348" y="2882326"/>
                  </a:cubicBezTo>
                  <a:lnTo>
                    <a:pt x="1128044" y="2862049"/>
                  </a:lnTo>
                  <a:cubicBezTo>
                    <a:pt x="1127423" y="2861410"/>
                    <a:pt x="1127423" y="2860398"/>
                    <a:pt x="1128044" y="2859784"/>
                  </a:cubicBezTo>
                  <a:close/>
                  <a:moveTo>
                    <a:pt x="1240093" y="2848487"/>
                  </a:moveTo>
                  <a:cubicBezTo>
                    <a:pt x="1237845" y="2848487"/>
                    <a:pt x="1236049" y="2850337"/>
                    <a:pt x="1236049" y="2852591"/>
                  </a:cubicBezTo>
                  <a:lnTo>
                    <a:pt x="1236049" y="2899449"/>
                  </a:lnTo>
                  <a:cubicBezTo>
                    <a:pt x="1236049" y="2901691"/>
                    <a:pt x="1237845" y="2903547"/>
                    <a:pt x="1240093" y="2903547"/>
                  </a:cubicBezTo>
                  <a:cubicBezTo>
                    <a:pt x="1240093" y="2903547"/>
                    <a:pt x="1246775" y="2903547"/>
                    <a:pt x="1249722" y="2903547"/>
                  </a:cubicBezTo>
                  <a:cubicBezTo>
                    <a:pt x="1253359" y="2903547"/>
                    <a:pt x="1255863" y="2907669"/>
                    <a:pt x="1256368" y="2911191"/>
                  </a:cubicBezTo>
                  <a:lnTo>
                    <a:pt x="1257182" y="2916783"/>
                  </a:lnTo>
                  <a:lnTo>
                    <a:pt x="1269669" y="2906597"/>
                  </a:lnTo>
                  <a:cubicBezTo>
                    <a:pt x="1271333" y="2905244"/>
                    <a:pt x="1273731" y="2903547"/>
                    <a:pt x="1276262" y="2903547"/>
                  </a:cubicBezTo>
                  <a:cubicBezTo>
                    <a:pt x="1284448" y="2903547"/>
                    <a:pt x="1306767" y="2903547"/>
                    <a:pt x="1306767" y="2903547"/>
                  </a:cubicBezTo>
                  <a:cubicBezTo>
                    <a:pt x="1311201" y="2903547"/>
                    <a:pt x="1311856" y="2897397"/>
                    <a:pt x="1306767" y="2897397"/>
                  </a:cubicBezTo>
                  <a:cubicBezTo>
                    <a:pt x="1301174" y="2897397"/>
                    <a:pt x="1296395" y="2892509"/>
                    <a:pt x="1296395" y="2886519"/>
                  </a:cubicBezTo>
                  <a:cubicBezTo>
                    <a:pt x="1296395" y="2886519"/>
                    <a:pt x="1296386" y="2860756"/>
                    <a:pt x="1296395" y="2850294"/>
                  </a:cubicBezTo>
                  <a:cubicBezTo>
                    <a:pt x="1296395" y="2849633"/>
                    <a:pt x="1296386" y="2848487"/>
                    <a:pt x="1294404" y="2848487"/>
                  </a:cubicBezTo>
                  <a:close/>
                  <a:moveTo>
                    <a:pt x="1486431" y="2843120"/>
                  </a:moveTo>
                  <a:lnTo>
                    <a:pt x="1455995" y="2873556"/>
                  </a:lnTo>
                  <a:cubicBezTo>
                    <a:pt x="1455429" y="2874112"/>
                    <a:pt x="1455127" y="2874858"/>
                    <a:pt x="1455127" y="2875652"/>
                  </a:cubicBezTo>
                  <a:cubicBezTo>
                    <a:pt x="1455127" y="2876446"/>
                    <a:pt x="1455429" y="2877192"/>
                    <a:pt x="1455995" y="2877748"/>
                  </a:cubicBezTo>
                  <a:lnTo>
                    <a:pt x="1456387" y="2878145"/>
                  </a:lnTo>
                  <a:cubicBezTo>
                    <a:pt x="1456943" y="2878706"/>
                    <a:pt x="1457689" y="2879013"/>
                    <a:pt x="1458483" y="2879013"/>
                  </a:cubicBezTo>
                  <a:cubicBezTo>
                    <a:pt x="1459277" y="2879013"/>
                    <a:pt x="1460023" y="2878706"/>
                    <a:pt x="1460579" y="2878145"/>
                  </a:cubicBezTo>
                  <a:cubicBezTo>
                    <a:pt x="1460579" y="2878145"/>
                    <a:pt x="1491015" y="2847709"/>
                    <a:pt x="1491015" y="2847709"/>
                  </a:cubicBezTo>
                  <a:cubicBezTo>
                    <a:pt x="1490205" y="2847000"/>
                    <a:pt x="1489406" y="2846264"/>
                    <a:pt x="1488639" y="2845496"/>
                  </a:cubicBezTo>
                  <a:cubicBezTo>
                    <a:pt x="1487871" y="2844729"/>
                    <a:pt x="1487135" y="2843935"/>
                    <a:pt x="1486431" y="2843120"/>
                  </a:cubicBezTo>
                  <a:close/>
                  <a:moveTo>
                    <a:pt x="1342379" y="2829787"/>
                  </a:moveTo>
                  <a:cubicBezTo>
                    <a:pt x="1350043" y="2829787"/>
                    <a:pt x="1354468" y="2837927"/>
                    <a:pt x="1355432" y="2837927"/>
                  </a:cubicBezTo>
                  <a:cubicBezTo>
                    <a:pt x="1356538" y="2837927"/>
                    <a:pt x="1361202" y="2829787"/>
                    <a:pt x="1368539" y="2829787"/>
                  </a:cubicBezTo>
                  <a:cubicBezTo>
                    <a:pt x="1375990" y="2829787"/>
                    <a:pt x="1382061" y="2835955"/>
                    <a:pt x="1382459" y="2843391"/>
                  </a:cubicBezTo>
                  <a:cubicBezTo>
                    <a:pt x="1382681" y="2847599"/>
                    <a:pt x="1381327" y="2850735"/>
                    <a:pt x="1379415" y="2853645"/>
                  </a:cubicBezTo>
                  <a:cubicBezTo>
                    <a:pt x="1375574" y="2859488"/>
                    <a:pt x="1359078" y="2873411"/>
                    <a:pt x="1355494" y="2873411"/>
                  </a:cubicBezTo>
                  <a:cubicBezTo>
                    <a:pt x="1351990" y="2873411"/>
                    <a:pt x="1335264" y="2859433"/>
                    <a:pt x="1331440" y="2853645"/>
                  </a:cubicBezTo>
                  <a:cubicBezTo>
                    <a:pt x="1329538" y="2850741"/>
                    <a:pt x="1328175" y="2847599"/>
                    <a:pt x="1328396" y="2843391"/>
                  </a:cubicBezTo>
                  <a:cubicBezTo>
                    <a:pt x="1328794" y="2835955"/>
                    <a:pt x="1334927" y="2829787"/>
                    <a:pt x="1342379" y="2829787"/>
                  </a:cubicBezTo>
                  <a:close/>
                  <a:moveTo>
                    <a:pt x="1313051" y="2811142"/>
                  </a:moveTo>
                  <a:cubicBezTo>
                    <a:pt x="1309661" y="2811142"/>
                    <a:pt x="1306891" y="2813904"/>
                    <a:pt x="1306891" y="2817291"/>
                  </a:cubicBezTo>
                  <a:lnTo>
                    <a:pt x="1306891" y="2879377"/>
                  </a:lnTo>
                  <a:cubicBezTo>
                    <a:pt x="1306891" y="2882758"/>
                    <a:pt x="1309661" y="2885526"/>
                    <a:pt x="1313051" y="2885526"/>
                  </a:cubicBezTo>
                  <a:lnTo>
                    <a:pt x="1353317" y="2885526"/>
                  </a:lnTo>
                  <a:cubicBezTo>
                    <a:pt x="1356476" y="2885526"/>
                    <a:pt x="1359600" y="2887609"/>
                    <a:pt x="1361769" y="2889379"/>
                  </a:cubicBezTo>
                  <a:lnTo>
                    <a:pt x="1379291" y="2903675"/>
                  </a:lnTo>
                  <a:lnTo>
                    <a:pt x="1380601" y="2894972"/>
                  </a:lnTo>
                  <a:cubicBezTo>
                    <a:pt x="1381256" y="2890476"/>
                    <a:pt x="1384486" y="2885526"/>
                    <a:pt x="1388929" y="2885526"/>
                  </a:cubicBezTo>
                  <a:lnTo>
                    <a:pt x="1401416" y="2885526"/>
                  </a:lnTo>
                  <a:cubicBezTo>
                    <a:pt x="1404805" y="2885526"/>
                    <a:pt x="1407566" y="2882758"/>
                    <a:pt x="1407566" y="2879377"/>
                  </a:cubicBezTo>
                  <a:cubicBezTo>
                    <a:pt x="1407566" y="2879377"/>
                    <a:pt x="1407566" y="2817291"/>
                    <a:pt x="1407566" y="2817291"/>
                  </a:cubicBezTo>
                  <a:cubicBezTo>
                    <a:pt x="1407566" y="2813904"/>
                    <a:pt x="1404796" y="2811142"/>
                    <a:pt x="1401416" y="2811142"/>
                  </a:cubicBezTo>
                  <a:close/>
                  <a:moveTo>
                    <a:pt x="1167348" y="2810476"/>
                  </a:moveTo>
                  <a:cubicBezTo>
                    <a:pt x="1165080" y="2810476"/>
                    <a:pt x="1162990" y="2811134"/>
                    <a:pt x="1160940" y="2812557"/>
                  </a:cubicBezTo>
                  <a:cubicBezTo>
                    <a:pt x="1158539" y="2814176"/>
                    <a:pt x="1157772" y="2816137"/>
                    <a:pt x="1156509" y="2819736"/>
                  </a:cubicBezTo>
                  <a:cubicBezTo>
                    <a:pt x="1155405" y="2822873"/>
                    <a:pt x="1154042" y="2826763"/>
                    <a:pt x="1150689" y="2829982"/>
                  </a:cubicBezTo>
                  <a:cubicBezTo>
                    <a:pt x="1146979" y="2833530"/>
                    <a:pt x="1142171" y="2834409"/>
                    <a:pt x="1137052" y="2835339"/>
                  </a:cubicBezTo>
                  <a:cubicBezTo>
                    <a:pt x="1130617" y="2836490"/>
                    <a:pt x="1123356" y="2837812"/>
                    <a:pt x="1116431" y="2844731"/>
                  </a:cubicBezTo>
                  <a:cubicBezTo>
                    <a:pt x="1112781" y="2848412"/>
                    <a:pt x="1111002" y="2852448"/>
                    <a:pt x="1111054" y="2857084"/>
                  </a:cubicBezTo>
                  <a:cubicBezTo>
                    <a:pt x="1111134" y="2865059"/>
                    <a:pt x="1116537" y="2874585"/>
                    <a:pt x="1126239" y="2883926"/>
                  </a:cubicBezTo>
                  <a:cubicBezTo>
                    <a:pt x="1126318" y="2884009"/>
                    <a:pt x="1126398" y="2884053"/>
                    <a:pt x="1126451" y="2884135"/>
                  </a:cubicBezTo>
                  <a:cubicBezTo>
                    <a:pt x="1135895" y="2893932"/>
                    <a:pt x="1145464" y="2899340"/>
                    <a:pt x="1153473" y="2899340"/>
                  </a:cubicBezTo>
                  <a:cubicBezTo>
                    <a:pt x="1158057" y="2899340"/>
                    <a:pt x="1162018" y="2897569"/>
                    <a:pt x="1165642" y="2893932"/>
                  </a:cubicBezTo>
                  <a:cubicBezTo>
                    <a:pt x="1172573" y="2887038"/>
                    <a:pt x="1173883" y="2879758"/>
                    <a:pt x="1175040" y="2873351"/>
                  </a:cubicBezTo>
                  <a:cubicBezTo>
                    <a:pt x="1175966" y="2868228"/>
                    <a:pt x="1176845" y="2863390"/>
                    <a:pt x="1180397" y="2859677"/>
                  </a:cubicBezTo>
                  <a:cubicBezTo>
                    <a:pt x="1183638" y="2856337"/>
                    <a:pt x="1187599" y="2854971"/>
                    <a:pt x="1190774" y="2853890"/>
                  </a:cubicBezTo>
                  <a:cubicBezTo>
                    <a:pt x="1194378" y="2852656"/>
                    <a:pt x="1196322" y="2851910"/>
                    <a:pt x="1197949" y="2849564"/>
                  </a:cubicBezTo>
                  <a:cubicBezTo>
                    <a:pt x="1202909" y="2842309"/>
                    <a:pt x="1197645" y="2833815"/>
                    <a:pt x="1193088" y="2828515"/>
                  </a:cubicBezTo>
                  <a:lnTo>
                    <a:pt x="1175377" y="2846224"/>
                  </a:lnTo>
                  <a:cubicBezTo>
                    <a:pt x="1175404" y="2846604"/>
                    <a:pt x="1175476" y="2846970"/>
                    <a:pt x="1175476" y="2847369"/>
                  </a:cubicBezTo>
                  <a:cubicBezTo>
                    <a:pt x="1175476" y="2854244"/>
                    <a:pt x="1169895" y="2859835"/>
                    <a:pt x="1163023" y="2859835"/>
                  </a:cubicBezTo>
                  <a:cubicBezTo>
                    <a:pt x="1156119" y="2859835"/>
                    <a:pt x="1150563" y="2854244"/>
                    <a:pt x="1150563" y="2847369"/>
                  </a:cubicBezTo>
                  <a:cubicBezTo>
                    <a:pt x="1150563" y="2840475"/>
                    <a:pt x="1156119" y="2834896"/>
                    <a:pt x="1163023" y="2834896"/>
                  </a:cubicBezTo>
                  <a:cubicBezTo>
                    <a:pt x="1163433" y="2834896"/>
                    <a:pt x="1163797" y="2834972"/>
                    <a:pt x="1164207" y="2835023"/>
                  </a:cubicBezTo>
                  <a:lnTo>
                    <a:pt x="1181885" y="2817320"/>
                  </a:lnTo>
                  <a:cubicBezTo>
                    <a:pt x="1177798" y="2813835"/>
                    <a:pt x="1172395" y="2810476"/>
                    <a:pt x="1167348" y="2810476"/>
                  </a:cubicBezTo>
                  <a:close/>
                  <a:moveTo>
                    <a:pt x="1307272" y="2797966"/>
                  </a:moveTo>
                  <a:lnTo>
                    <a:pt x="1407256" y="2797966"/>
                  </a:lnTo>
                  <a:cubicBezTo>
                    <a:pt x="1413248" y="2797966"/>
                    <a:pt x="1418133" y="2802842"/>
                    <a:pt x="1418133" y="2808839"/>
                  </a:cubicBezTo>
                  <a:lnTo>
                    <a:pt x="1418133" y="2886586"/>
                  </a:lnTo>
                  <a:cubicBezTo>
                    <a:pt x="1418133" y="2892570"/>
                    <a:pt x="1413248" y="2897397"/>
                    <a:pt x="1407256" y="2897397"/>
                  </a:cubicBezTo>
                  <a:lnTo>
                    <a:pt x="1392716" y="2897397"/>
                  </a:lnTo>
                  <a:lnTo>
                    <a:pt x="1390663" y="2911626"/>
                  </a:lnTo>
                  <a:cubicBezTo>
                    <a:pt x="1389990" y="2916238"/>
                    <a:pt x="1386539" y="2919460"/>
                    <a:pt x="1382273" y="2919460"/>
                  </a:cubicBezTo>
                  <a:cubicBezTo>
                    <a:pt x="1380194" y="2919460"/>
                    <a:pt x="1378114" y="2918695"/>
                    <a:pt x="1376309" y="2917218"/>
                  </a:cubicBezTo>
                  <a:lnTo>
                    <a:pt x="1353937" y="2899014"/>
                  </a:lnTo>
                  <a:cubicBezTo>
                    <a:pt x="1353034" y="2898285"/>
                    <a:pt x="1350680" y="2897397"/>
                    <a:pt x="1349529" y="2897397"/>
                  </a:cubicBezTo>
                  <a:lnTo>
                    <a:pt x="1319945" y="2897397"/>
                  </a:lnTo>
                  <a:lnTo>
                    <a:pt x="1319945" y="2904919"/>
                  </a:lnTo>
                  <a:cubicBezTo>
                    <a:pt x="1319945" y="2909739"/>
                    <a:pt x="1316006" y="2913678"/>
                    <a:pt x="1311183" y="2913678"/>
                  </a:cubicBezTo>
                  <a:lnTo>
                    <a:pt x="1279244" y="2913678"/>
                  </a:lnTo>
                  <a:cubicBezTo>
                    <a:pt x="1278492" y="2913678"/>
                    <a:pt x="1276899" y="2914260"/>
                    <a:pt x="1276324" y="2914738"/>
                  </a:cubicBezTo>
                  <a:lnTo>
                    <a:pt x="1259421" y="2928470"/>
                  </a:lnTo>
                  <a:cubicBezTo>
                    <a:pt x="1257952" y="2929659"/>
                    <a:pt x="1256279" y="2930271"/>
                    <a:pt x="1254571" y="2930271"/>
                  </a:cubicBezTo>
                  <a:cubicBezTo>
                    <a:pt x="1251067" y="2930271"/>
                    <a:pt x="1248217" y="2927693"/>
                    <a:pt x="1247669" y="2923932"/>
                  </a:cubicBezTo>
                  <a:lnTo>
                    <a:pt x="1246182" y="2913678"/>
                  </a:lnTo>
                  <a:lnTo>
                    <a:pt x="1235739" y="2913678"/>
                  </a:lnTo>
                  <a:cubicBezTo>
                    <a:pt x="1230916" y="2913678"/>
                    <a:pt x="1226978" y="2909739"/>
                    <a:pt x="1226978" y="2904919"/>
                  </a:cubicBezTo>
                  <a:lnTo>
                    <a:pt x="1226978" y="2846251"/>
                  </a:lnTo>
                  <a:cubicBezTo>
                    <a:pt x="1226978" y="2841419"/>
                    <a:pt x="1230916" y="2837492"/>
                    <a:pt x="1235739" y="2837492"/>
                  </a:cubicBezTo>
                  <a:lnTo>
                    <a:pt x="1294404" y="2837492"/>
                  </a:lnTo>
                  <a:cubicBezTo>
                    <a:pt x="1296032" y="2837492"/>
                    <a:pt x="1296395" y="2837364"/>
                    <a:pt x="1296395" y="2835685"/>
                  </a:cubicBezTo>
                  <a:lnTo>
                    <a:pt x="1296395" y="2808839"/>
                  </a:lnTo>
                  <a:cubicBezTo>
                    <a:pt x="1296395" y="2802842"/>
                    <a:pt x="1301272" y="2797966"/>
                    <a:pt x="1307272" y="2797966"/>
                  </a:cubicBezTo>
                  <a:close/>
                  <a:moveTo>
                    <a:pt x="1231380" y="2782052"/>
                  </a:moveTo>
                  <a:lnTo>
                    <a:pt x="1220832" y="2792583"/>
                  </a:lnTo>
                  <a:cubicBezTo>
                    <a:pt x="1220210" y="2793197"/>
                    <a:pt x="1220210" y="2794202"/>
                    <a:pt x="1220832" y="2794816"/>
                  </a:cubicBezTo>
                  <a:cubicBezTo>
                    <a:pt x="1221143" y="2795126"/>
                    <a:pt x="1221553" y="2795284"/>
                    <a:pt x="1221963" y="2795284"/>
                  </a:cubicBezTo>
                  <a:cubicBezTo>
                    <a:pt x="1222373" y="2795284"/>
                    <a:pt x="1222763" y="2795126"/>
                    <a:pt x="1223067" y="2794816"/>
                  </a:cubicBezTo>
                  <a:lnTo>
                    <a:pt x="1233622" y="2784285"/>
                  </a:lnTo>
                  <a:cubicBezTo>
                    <a:pt x="1234244" y="2783672"/>
                    <a:pt x="1234244" y="2782672"/>
                    <a:pt x="1233622" y="2782052"/>
                  </a:cubicBezTo>
                  <a:cubicBezTo>
                    <a:pt x="1233007" y="2781439"/>
                    <a:pt x="1232002" y="2781439"/>
                    <a:pt x="1231380" y="2782052"/>
                  </a:cubicBezTo>
                  <a:close/>
                  <a:moveTo>
                    <a:pt x="1519038" y="2779521"/>
                  </a:moveTo>
                  <a:cubicBezTo>
                    <a:pt x="1509542" y="2779521"/>
                    <a:pt x="1500607" y="2783227"/>
                    <a:pt x="1493890" y="2789949"/>
                  </a:cubicBezTo>
                  <a:cubicBezTo>
                    <a:pt x="1487172" y="2796666"/>
                    <a:pt x="1483478" y="2805591"/>
                    <a:pt x="1483478" y="2815097"/>
                  </a:cubicBezTo>
                  <a:cubicBezTo>
                    <a:pt x="1483478" y="2824593"/>
                    <a:pt x="1487172" y="2833528"/>
                    <a:pt x="1493890" y="2840245"/>
                  </a:cubicBezTo>
                  <a:cubicBezTo>
                    <a:pt x="1500607" y="2846963"/>
                    <a:pt x="1509542" y="2850663"/>
                    <a:pt x="1519038" y="2850663"/>
                  </a:cubicBezTo>
                  <a:cubicBezTo>
                    <a:pt x="1528544" y="2850663"/>
                    <a:pt x="1537474" y="2846963"/>
                    <a:pt x="1544186" y="2840245"/>
                  </a:cubicBezTo>
                  <a:cubicBezTo>
                    <a:pt x="1550914" y="2833528"/>
                    <a:pt x="1554614" y="2824593"/>
                    <a:pt x="1554614" y="2815097"/>
                  </a:cubicBezTo>
                  <a:cubicBezTo>
                    <a:pt x="1554614" y="2805591"/>
                    <a:pt x="1550914" y="2796666"/>
                    <a:pt x="1544186" y="2789949"/>
                  </a:cubicBezTo>
                  <a:cubicBezTo>
                    <a:pt x="1537474" y="2783227"/>
                    <a:pt x="1528544" y="2779521"/>
                    <a:pt x="1519038" y="2779521"/>
                  </a:cubicBezTo>
                  <a:close/>
                  <a:moveTo>
                    <a:pt x="1226109" y="2776778"/>
                  </a:moveTo>
                  <a:lnTo>
                    <a:pt x="1215581" y="2787302"/>
                  </a:lnTo>
                  <a:cubicBezTo>
                    <a:pt x="1214966" y="2787922"/>
                    <a:pt x="1214966" y="2788928"/>
                    <a:pt x="1215581" y="2789547"/>
                  </a:cubicBezTo>
                  <a:cubicBezTo>
                    <a:pt x="1215892" y="2789857"/>
                    <a:pt x="1216275" y="2790003"/>
                    <a:pt x="1216685" y="2790003"/>
                  </a:cubicBezTo>
                  <a:cubicBezTo>
                    <a:pt x="1217095" y="2790003"/>
                    <a:pt x="1217512" y="2789857"/>
                    <a:pt x="1217796" y="2789547"/>
                  </a:cubicBezTo>
                  <a:lnTo>
                    <a:pt x="1228351" y="2779017"/>
                  </a:lnTo>
                  <a:cubicBezTo>
                    <a:pt x="1228966" y="2778397"/>
                    <a:pt x="1228966" y="2777391"/>
                    <a:pt x="1228351" y="2776778"/>
                  </a:cubicBezTo>
                  <a:cubicBezTo>
                    <a:pt x="1227730" y="2776164"/>
                    <a:pt x="1226724" y="2776164"/>
                    <a:pt x="1226109" y="2776778"/>
                  </a:cubicBezTo>
                  <a:close/>
                  <a:moveTo>
                    <a:pt x="1519038" y="2772100"/>
                  </a:moveTo>
                  <a:cubicBezTo>
                    <a:pt x="1530524" y="2772100"/>
                    <a:pt x="1541322" y="2776573"/>
                    <a:pt x="1549437" y="2784698"/>
                  </a:cubicBezTo>
                  <a:cubicBezTo>
                    <a:pt x="1557562" y="2792813"/>
                    <a:pt x="1562035" y="2803621"/>
                    <a:pt x="1562035" y="2815097"/>
                  </a:cubicBezTo>
                  <a:cubicBezTo>
                    <a:pt x="1562035" y="2826584"/>
                    <a:pt x="1557562" y="2837376"/>
                    <a:pt x="1549437" y="2845496"/>
                  </a:cubicBezTo>
                  <a:cubicBezTo>
                    <a:pt x="1541322" y="2853616"/>
                    <a:pt x="1530524" y="2858094"/>
                    <a:pt x="1519038" y="2858094"/>
                  </a:cubicBezTo>
                  <a:cubicBezTo>
                    <a:pt x="1511204" y="2858094"/>
                    <a:pt x="1503693" y="2856009"/>
                    <a:pt x="1497118" y="2852102"/>
                  </a:cubicBezTo>
                  <a:lnTo>
                    <a:pt x="1465835" y="2883396"/>
                  </a:lnTo>
                  <a:cubicBezTo>
                    <a:pt x="1463866" y="2885360"/>
                    <a:pt x="1461262" y="2886434"/>
                    <a:pt x="1458483" y="2886434"/>
                  </a:cubicBezTo>
                  <a:cubicBezTo>
                    <a:pt x="1455704" y="2886434"/>
                    <a:pt x="1453089" y="2885360"/>
                    <a:pt x="1451131" y="2883396"/>
                  </a:cubicBezTo>
                  <a:lnTo>
                    <a:pt x="1450744" y="2883004"/>
                  </a:lnTo>
                  <a:cubicBezTo>
                    <a:pt x="1448781" y="2881046"/>
                    <a:pt x="1447701" y="2878431"/>
                    <a:pt x="1447701" y="2875652"/>
                  </a:cubicBezTo>
                  <a:cubicBezTo>
                    <a:pt x="1447701" y="2872878"/>
                    <a:pt x="1448781" y="2870269"/>
                    <a:pt x="1450744" y="2868300"/>
                  </a:cubicBezTo>
                  <a:lnTo>
                    <a:pt x="1482038" y="2837017"/>
                  </a:lnTo>
                  <a:cubicBezTo>
                    <a:pt x="1478137" y="2830448"/>
                    <a:pt x="1476046" y="2822931"/>
                    <a:pt x="1476046" y="2815097"/>
                  </a:cubicBezTo>
                  <a:cubicBezTo>
                    <a:pt x="1476046" y="2803621"/>
                    <a:pt x="1480519" y="2792813"/>
                    <a:pt x="1488639" y="2784698"/>
                  </a:cubicBezTo>
                  <a:cubicBezTo>
                    <a:pt x="1496759" y="2776573"/>
                    <a:pt x="1507562" y="2772100"/>
                    <a:pt x="1519038" y="2772100"/>
                  </a:cubicBezTo>
                  <a:close/>
                  <a:moveTo>
                    <a:pt x="1227578" y="2770111"/>
                  </a:moveTo>
                  <a:cubicBezTo>
                    <a:pt x="1228947" y="2770111"/>
                    <a:pt x="1230269" y="2770624"/>
                    <a:pt x="1231308" y="2771655"/>
                  </a:cubicBezTo>
                  <a:lnTo>
                    <a:pt x="1238748" y="2779124"/>
                  </a:lnTo>
                  <a:cubicBezTo>
                    <a:pt x="1239773" y="2780117"/>
                    <a:pt x="1240289" y="2781490"/>
                    <a:pt x="1240289" y="2782830"/>
                  </a:cubicBezTo>
                  <a:lnTo>
                    <a:pt x="1240289" y="2782849"/>
                  </a:lnTo>
                  <a:cubicBezTo>
                    <a:pt x="1240289" y="2784190"/>
                    <a:pt x="1239773" y="2785525"/>
                    <a:pt x="1238748" y="2786556"/>
                  </a:cubicBezTo>
                  <a:lnTo>
                    <a:pt x="1236532" y="2788769"/>
                  </a:lnTo>
                  <a:lnTo>
                    <a:pt x="1237379" y="2789649"/>
                  </a:lnTo>
                  <a:cubicBezTo>
                    <a:pt x="1238463" y="2790730"/>
                    <a:pt x="1238463" y="2792476"/>
                    <a:pt x="1237379" y="2793557"/>
                  </a:cubicBezTo>
                  <a:cubicBezTo>
                    <a:pt x="1236843" y="2794101"/>
                    <a:pt x="1236142" y="2794380"/>
                    <a:pt x="1235428" y="2794380"/>
                  </a:cubicBezTo>
                  <a:cubicBezTo>
                    <a:pt x="1234700" y="2794380"/>
                    <a:pt x="1234006" y="2794101"/>
                    <a:pt x="1233470" y="2793557"/>
                  </a:cubicBezTo>
                  <a:lnTo>
                    <a:pt x="1232597" y="2792710"/>
                  </a:lnTo>
                  <a:lnTo>
                    <a:pt x="1231255" y="2794044"/>
                  </a:lnTo>
                  <a:lnTo>
                    <a:pt x="1232108" y="2794917"/>
                  </a:lnTo>
                  <a:cubicBezTo>
                    <a:pt x="1233186" y="2796005"/>
                    <a:pt x="1233186" y="2797751"/>
                    <a:pt x="1232108" y="2798839"/>
                  </a:cubicBezTo>
                  <a:cubicBezTo>
                    <a:pt x="1231592" y="2799382"/>
                    <a:pt x="1230871" y="2799635"/>
                    <a:pt x="1230150" y="2799635"/>
                  </a:cubicBezTo>
                  <a:cubicBezTo>
                    <a:pt x="1229449" y="2799635"/>
                    <a:pt x="1228735" y="2799382"/>
                    <a:pt x="1228193" y="2798839"/>
                  </a:cubicBezTo>
                  <a:lnTo>
                    <a:pt x="1227313" y="2797985"/>
                  </a:lnTo>
                  <a:lnTo>
                    <a:pt x="1226288" y="2799016"/>
                  </a:lnTo>
                  <a:cubicBezTo>
                    <a:pt x="1224926" y="2800382"/>
                    <a:pt x="1223014" y="2800761"/>
                    <a:pt x="1221268" y="2800300"/>
                  </a:cubicBezTo>
                  <a:lnTo>
                    <a:pt x="1198313" y="2823290"/>
                  </a:lnTo>
                  <a:cubicBezTo>
                    <a:pt x="1204331" y="2830191"/>
                    <a:pt x="1211877" y="2842258"/>
                    <a:pt x="1204020" y="2853713"/>
                  </a:cubicBezTo>
                  <a:cubicBezTo>
                    <a:pt x="1198696" y="2861530"/>
                    <a:pt x="1190410" y="2859917"/>
                    <a:pt x="1185727" y="2864806"/>
                  </a:cubicBezTo>
                  <a:cubicBezTo>
                    <a:pt x="1180450" y="2870277"/>
                    <a:pt x="1184669" y="2885368"/>
                    <a:pt x="1170867" y="2899169"/>
                  </a:cubicBezTo>
                  <a:cubicBezTo>
                    <a:pt x="1165675" y="2904368"/>
                    <a:pt x="1159756" y="2906727"/>
                    <a:pt x="1153473" y="2906727"/>
                  </a:cubicBezTo>
                  <a:cubicBezTo>
                    <a:pt x="1143051" y="2906727"/>
                    <a:pt x="1131669" y="2900219"/>
                    <a:pt x="1121147" y="2889258"/>
                  </a:cubicBezTo>
                  <a:cubicBezTo>
                    <a:pt x="1103568" y="2872371"/>
                    <a:pt x="1097437" y="2853302"/>
                    <a:pt x="1111233" y="2839526"/>
                  </a:cubicBezTo>
                  <a:cubicBezTo>
                    <a:pt x="1125029" y="2825700"/>
                    <a:pt x="1140088" y="2829931"/>
                    <a:pt x="1145570" y="2824650"/>
                  </a:cubicBezTo>
                  <a:cubicBezTo>
                    <a:pt x="1150458" y="2819963"/>
                    <a:pt x="1148970" y="2811811"/>
                    <a:pt x="1156767" y="2806447"/>
                  </a:cubicBezTo>
                  <a:cubicBezTo>
                    <a:pt x="1160292" y="2804063"/>
                    <a:pt x="1163870" y="2803089"/>
                    <a:pt x="1167348" y="2803089"/>
                  </a:cubicBezTo>
                  <a:cubicBezTo>
                    <a:pt x="1175152" y="2803089"/>
                    <a:pt x="1182348" y="2807940"/>
                    <a:pt x="1187110" y="2812089"/>
                  </a:cubicBezTo>
                  <a:lnTo>
                    <a:pt x="1210098" y="2789130"/>
                  </a:lnTo>
                  <a:cubicBezTo>
                    <a:pt x="1209635" y="2787384"/>
                    <a:pt x="1210019" y="2785474"/>
                    <a:pt x="1211388" y="2784114"/>
                  </a:cubicBezTo>
                  <a:lnTo>
                    <a:pt x="1212413" y="2783052"/>
                  </a:lnTo>
                  <a:lnTo>
                    <a:pt x="1211560" y="2782204"/>
                  </a:lnTo>
                  <a:cubicBezTo>
                    <a:pt x="1210488" y="2781129"/>
                    <a:pt x="1210488" y="2779377"/>
                    <a:pt x="1211560" y="2778270"/>
                  </a:cubicBezTo>
                  <a:cubicBezTo>
                    <a:pt x="1212644" y="2777189"/>
                    <a:pt x="1214404" y="2777189"/>
                    <a:pt x="1215475" y="2778270"/>
                  </a:cubicBezTo>
                  <a:lnTo>
                    <a:pt x="1216355" y="2779156"/>
                  </a:lnTo>
                  <a:lnTo>
                    <a:pt x="1217690" y="2777809"/>
                  </a:lnTo>
                  <a:lnTo>
                    <a:pt x="1216844" y="2776929"/>
                  </a:lnTo>
                  <a:cubicBezTo>
                    <a:pt x="1215759" y="2775848"/>
                    <a:pt x="1215759" y="2774102"/>
                    <a:pt x="1216844" y="2773027"/>
                  </a:cubicBezTo>
                  <a:cubicBezTo>
                    <a:pt x="1217922" y="2771939"/>
                    <a:pt x="1219674" y="2771939"/>
                    <a:pt x="1220759" y="2773027"/>
                  </a:cubicBezTo>
                  <a:lnTo>
                    <a:pt x="1221606" y="2773868"/>
                  </a:lnTo>
                  <a:lnTo>
                    <a:pt x="1223841" y="2771655"/>
                  </a:lnTo>
                  <a:cubicBezTo>
                    <a:pt x="1224873" y="2770624"/>
                    <a:pt x="1226209" y="2770111"/>
                    <a:pt x="1227578" y="2770111"/>
                  </a:cubicBezTo>
                  <a:close/>
                  <a:moveTo>
                    <a:pt x="1065163" y="2751405"/>
                  </a:moveTo>
                  <a:cubicBezTo>
                    <a:pt x="1060731" y="2751405"/>
                    <a:pt x="1057105" y="2755025"/>
                    <a:pt x="1057105" y="2759476"/>
                  </a:cubicBezTo>
                  <a:cubicBezTo>
                    <a:pt x="1057105" y="2763927"/>
                    <a:pt x="1060731" y="2767527"/>
                    <a:pt x="1065163" y="2767527"/>
                  </a:cubicBezTo>
                  <a:cubicBezTo>
                    <a:pt x="1069626" y="2767527"/>
                    <a:pt x="1073246" y="2763927"/>
                    <a:pt x="1073246" y="2759476"/>
                  </a:cubicBezTo>
                  <a:cubicBezTo>
                    <a:pt x="1073246" y="2755025"/>
                    <a:pt x="1069626" y="2751405"/>
                    <a:pt x="1065163" y="2751405"/>
                  </a:cubicBezTo>
                  <a:close/>
                  <a:moveTo>
                    <a:pt x="1065163" y="2739037"/>
                  </a:moveTo>
                  <a:cubicBezTo>
                    <a:pt x="1076443" y="2739037"/>
                    <a:pt x="1085614" y="2748220"/>
                    <a:pt x="1085614" y="2759476"/>
                  </a:cubicBezTo>
                  <a:cubicBezTo>
                    <a:pt x="1085614" y="2770712"/>
                    <a:pt x="1076443" y="2779896"/>
                    <a:pt x="1065163" y="2779896"/>
                  </a:cubicBezTo>
                  <a:cubicBezTo>
                    <a:pt x="1053907" y="2779896"/>
                    <a:pt x="1044737" y="2770712"/>
                    <a:pt x="1044737" y="2759476"/>
                  </a:cubicBezTo>
                  <a:cubicBezTo>
                    <a:pt x="1044737" y="2748220"/>
                    <a:pt x="1053907" y="2739037"/>
                    <a:pt x="1065163" y="2739037"/>
                  </a:cubicBezTo>
                  <a:close/>
                  <a:moveTo>
                    <a:pt x="1065163" y="2730684"/>
                  </a:moveTo>
                  <a:cubicBezTo>
                    <a:pt x="1049303" y="2730684"/>
                    <a:pt x="1036404" y="2743603"/>
                    <a:pt x="1036404" y="2759476"/>
                  </a:cubicBezTo>
                  <a:cubicBezTo>
                    <a:pt x="1036404" y="2775329"/>
                    <a:pt x="1049303" y="2788248"/>
                    <a:pt x="1065163" y="2788248"/>
                  </a:cubicBezTo>
                  <a:cubicBezTo>
                    <a:pt x="1081048" y="2788248"/>
                    <a:pt x="1093946" y="2775329"/>
                    <a:pt x="1093946" y="2759476"/>
                  </a:cubicBezTo>
                  <a:cubicBezTo>
                    <a:pt x="1093946" y="2743603"/>
                    <a:pt x="1081048" y="2730684"/>
                    <a:pt x="1065163" y="2730684"/>
                  </a:cubicBezTo>
                  <a:close/>
                  <a:moveTo>
                    <a:pt x="1356980" y="2727087"/>
                  </a:moveTo>
                  <a:lnTo>
                    <a:pt x="1356980" y="2748651"/>
                  </a:lnTo>
                  <a:lnTo>
                    <a:pt x="1454862" y="2748651"/>
                  </a:lnTo>
                  <a:lnTo>
                    <a:pt x="1454862" y="2736281"/>
                  </a:lnTo>
                  <a:lnTo>
                    <a:pt x="1454862" y="2727087"/>
                  </a:lnTo>
                  <a:close/>
                  <a:moveTo>
                    <a:pt x="1065163" y="2722089"/>
                  </a:moveTo>
                  <a:cubicBezTo>
                    <a:pt x="1085786" y="2722089"/>
                    <a:pt x="1102548" y="2738851"/>
                    <a:pt x="1102548" y="2759476"/>
                  </a:cubicBezTo>
                  <a:cubicBezTo>
                    <a:pt x="1102548" y="2780075"/>
                    <a:pt x="1085786" y="2796856"/>
                    <a:pt x="1065163" y="2796856"/>
                  </a:cubicBezTo>
                  <a:cubicBezTo>
                    <a:pt x="1044571" y="2796856"/>
                    <a:pt x="1027784" y="2780075"/>
                    <a:pt x="1027784" y="2759476"/>
                  </a:cubicBezTo>
                  <a:cubicBezTo>
                    <a:pt x="1027784" y="2738851"/>
                    <a:pt x="1044571" y="2722089"/>
                    <a:pt x="1065163" y="2722089"/>
                  </a:cubicBezTo>
                  <a:close/>
                  <a:moveTo>
                    <a:pt x="1555998" y="2709332"/>
                  </a:moveTo>
                  <a:cubicBezTo>
                    <a:pt x="1548348" y="2709332"/>
                    <a:pt x="1542122" y="2715559"/>
                    <a:pt x="1542122" y="2723214"/>
                  </a:cubicBezTo>
                  <a:lnTo>
                    <a:pt x="1542122" y="2748802"/>
                  </a:lnTo>
                  <a:lnTo>
                    <a:pt x="1551530" y="2748802"/>
                  </a:lnTo>
                  <a:lnTo>
                    <a:pt x="1551530" y="2732173"/>
                  </a:lnTo>
                  <a:cubicBezTo>
                    <a:pt x="1551530" y="2730268"/>
                    <a:pt x="1553078" y="2728723"/>
                    <a:pt x="1554989" y="2728723"/>
                  </a:cubicBezTo>
                  <a:cubicBezTo>
                    <a:pt x="1556901" y="2728723"/>
                    <a:pt x="1558452" y="2730268"/>
                    <a:pt x="1558452" y="2732173"/>
                  </a:cubicBezTo>
                  <a:lnTo>
                    <a:pt x="1558452" y="2748802"/>
                  </a:lnTo>
                  <a:lnTo>
                    <a:pt x="1596374" y="2748802"/>
                  </a:lnTo>
                  <a:lnTo>
                    <a:pt x="1596374" y="2732173"/>
                  </a:lnTo>
                  <a:cubicBezTo>
                    <a:pt x="1596374" y="2730268"/>
                    <a:pt x="1597922" y="2728723"/>
                    <a:pt x="1599833" y="2728723"/>
                  </a:cubicBezTo>
                  <a:cubicBezTo>
                    <a:pt x="1601745" y="2728723"/>
                    <a:pt x="1603296" y="2730268"/>
                    <a:pt x="1603296" y="2732173"/>
                  </a:cubicBezTo>
                  <a:lnTo>
                    <a:pt x="1603296" y="2748802"/>
                  </a:lnTo>
                  <a:lnTo>
                    <a:pt x="1612708" y="2748802"/>
                  </a:lnTo>
                  <a:cubicBezTo>
                    <a:pt x="1612708" y="2748802"/>
                    <a:pt x="1612708" y="2723214"/>
                    <a:pt x="1612708" y="2723214"/>
                  </a:cubicBezTo>
                  <a:cubicBezTo>
                    <a:pt x="1612708" y="2715559"/>
                    <a:pt x="1606474" y="2709332"/>
                    <a:pt x="1598825" y="2709332"/>
                  </a:cubicBezTo>
                  <a:lnTo>
                    <a:pt x="1593716" y="2709332"/>
                  </a:lnTo>
                  <a:lnTo>
                    <a:pt x="1579864" y="2723188"/>
                  </a:lnTo>
                  <a:cubicBezTo>
                    <a:pt x="1579188" y="2723866"/>
                    <a:pt x="1578301" y="2724205"/>
                    <a:pt x="1577413" y="2724205"/>
                  </a:cubicBezTo>
                  <a:cubicBezTo>
                    <a:pt x="1576530" y="2724205"/>
                    <a:pt x="1575643" y="2723866"/>
                    <a:pt x="1574966" y="2723188"/>
                  </a:cubicBezTo>
                  <a:lnTo>
                    <a:pt x="1561102" y="2709332"/>
                  </a:lnTo>
                  <a:close/>
                  <a:moveTo>
                    <a:pt x="1567290" y="2705728"/>
                  </a:moveTo>
                  <a:lnTo>
                    <a:pt x="1577413" y="2715847"/>
                  </a:lnTo>
                  <a:lnTo>
                    <a:pt x="1587537" y="2705728"/>
                  </a:lnTo>
                  <a:cubicBezTo>
                    <a:pt x="1584359" y="2706816"/>
                    <a:pt x="1580951" y="2707412"/>
                    <a:pt x="1577413" y="2707412"/>
                  </a:cubicBezTo>
                  <a:cubicBezTo>
                    <a:pt x="1573872" y="2707412"/>
                    <a:pt x="1570471" y="2706816"/>
                    <a:pt x="1567290" y="2705728"/>
                  </a:cubicBezTo>
                  <a:close/>
                  <a:moveTo>
                    <a:pt x="1045664" y="2700288"/>
                  </a:moveTo>
                  <a:cubicBezTo>
                    <a:pt x="1042735" y="2701241"/>
                    <a:pt x="1039877" y="2702430"/>
                    <a:pt x="1037121" y="2703831"/>
                  </a:cubicBezTo>
                  <a:cubicBezTo>
                    <a:pt x="1040593" y="2711588"/>
                    <a:pt x="1039077" y="2720944"/>
                    <a:pt x="1032874" y="2727154"/>
                  </a:cubicBezTo>
                  <a:cubicBezTo>
                    <a:pt x="1028922" y="2731087"/>
                    <a:pt x="1023704" y="2733249"/>
                    <a:pt x="1018128" y="2733249"/>
                  </a:cubicBezTo>
                  <a:cubicBezTo>
                    <a:pt x="1015154" y="2733249"/>
                    <a:pt x="1012212" y="2732622"/>
                    <a:pt x="1009526" y="2731426"/>
                  </a:cubicBezTo>
                  <a:cubicBezTo>
                    <a:pt x="1008139" y="2734157"/>
                    <a:pt x="1006956" y="2737022"/>
                    <a:pt x="1005990" y="2739945"/>
                  </a:cubicBezTo>
                  <a:cubicBezTo>
                    <a:pt x="1013939" y="2742995"/>
                    <a:pt x="1019464" y="2750689"/>
                    <a:pt x="1019464" y="2759476"/>
                  </a:cubicBezTo>
                  <a:cubicBezTo>
                    <a:pt x="1019464" y="2768256"/>
                    <a:pt x="1013939" y="2775931"/>
                    <a:pt x="1005990" y="2778994"/>
                  </a:cubicBezTo>
                  <a:cubicBezTo>
                    <a:pt x="1006956" y="2781916"/>
                    <a:pt x="1008139" y="2784775"/>
                    <a:pt x="1009526" y="2787525"/>
                  </a:cubicBezTo>
                  <a:cubicBezTo>
                    <a:pt x="1012212" y="2786336"/>
                    <a:pt x="1015154" y="2785696"/>
                    <a:pt x="1018128" y="2785696"/>
                  </a:cubicBezTo>
                  <a:cubicBezTo>
                    <a:pt x="1023678" y="2785696"/>
                    <a:pt x="1028922" y="2787864"/>
                    <a:pt x="1032855" y="2791797"/>
                  </a:cubicBezTo>
                  <a:cubicBezTo>
                    <a:pt x="1039077" y="2798007"/>
                    <a:pt x="1040593" y="2807363"/>
                    <a:pt x="1037121" y="2815127"/>
                  </a:cubicBezTo>
                  <a:cubicBezTo>
                    <a:pt x="1039877" y="2816521"/>
                    <a:pt x="1042735" y="2817691"/>
                    <a:pt x="1045664" y="2818670"/>
                  </a:cubicBezTo>
                  <a:cubicBezTo>
                    <a:pt x="1048715" y="2810708"/>
                    <a:pt x="1056395" y="2805176"/>
                    <a:pt x="1065188" y="2805176"/>
                  </a:cubicBezTo>
                  <a:cubicBezTo>
                    <a:pt x="1073981" y="2805176"/>
                    <a:pt x="1081655" y="2810708"/>
                    <a:pt x="1084712" y="2818670"/>
                  </a:cubicBezTo>
                  <a:cubicBezTo>
                    <a:pt x="1087634" y="2817691"/>
                    <a:pt x="1090474" y="2816521"/>
                    <a:pt x="1093230" y="2815127"/>
                  </a:cubicBezTo>
                  <a:cubicBezTo>
                    <a:pt x="1089783" y="2807344"/>
                    <a:pt x="1091286" y="2798007"/>
                    <a:pt x="1097502" y="2791797"/>
                  </a:cubicBezTo>
                  <a:cubicBezTo>
                    <a:pt x="1103539" y="2785760"/>
                    <a:pt x="1113067" y="2784084"/>
                    <a:pt x="1120831" y="2787525"/>
                  </a:cubicBezTo>
                  <a:cubicBezTo>
                    <a:pt x="1122244" y="2784775"/>
                    <a:pt x="1123414" y="2781916"/>
                    <a:pt x="1124386" y="2778994"/>
                  </a:cubicBezTo>
                  <a:cubicBezTo>
                    <a:pt x="1116431" y="2775931"/>
                    <a:pt x="1110906" y="2768256"/>
                    <a:pt x="1110906" y="2759476"/>
                  </a:cubicBezTo>
                  <a:cubicBezTo>
                    <a:pt x="1110906" y="2750689"/>
                    <a:pt x="1116431" y="2742995"/>
                    <a:pt x="1124386" y="2739945"/>
                  </a:cubicBezTo>
                  <a:cubicBezTo>
                    <a:pt x="1123414" y="2737022"/>
                    <a:pt x="1122244" y="2734176"/>
                    <a:pt x="1120831" y="2731426"/>
                  </a:cubicBezTo>
                  <a:cubicBezTo>
                    <a:pt x="1118138" y="2732622"/>
                    <a:pt x="1115216" y="2733249"/>
                    <a:pt x="1112249" y="2733249"/>
                  </a:cubicBezTo>
                  <a:cubicBezTo>
                    <a:pt x="1106672" y="2733249"/>
                    <a:pt x="1101454" y="2731087"/>
                    <a:pt x="1097502" y="2727154"/>
                  </a:cubicBezTo>
                  <a:cubicBezTo>
                    <a:pt x="1091286" y="2720944"/>
                    <a:pt x="1089764" y="2711588"/>
                    <a:pt x="1093230" y="2703831"/>
                  </a:cubicBezTo>
                  <a:cubicBezTo>
                    <a:pt x="1090499" y="2702430"/>
                    <a:pt x="1087634" y="2701260"/>
                    <a:pt x="1084712" y="2700288"/>
                  </a:cubicBezTo>
                  <a:cubicBezTo>
                    <a:pt x="1081655" y="2708218"/>
                    <a:pt x="1073981" y="2713756"/>
                    <a:pt x="1065188" y="2713756"/>
                  </a:cubicBezTo>
                  <a:cubicBezTo>
                    <a:pt x="1056395" y="2713756"/>
                    <a:pt x="1048715" y="2708218"/>
                    <a:pt x="1045664" y="2700288"/>
                  </a:cubicBezTo>
                  <a:close/>
                  <a:moveTo>
                    <a:pt x="1331375" y="2692602"/>
                  </a:moveTo>
                  <a:lnTo>
                    <a:pt x="1478160" y="2692602"/>
                  </a:lnTo>
                  <a:cubicBezTo>
                    <a:pt x="1480936" y="2692602"/>
                    <a:pt x="1483138" y="2694803"/>
                    <a:pt x="1483138" y="2697572"/>
                  </a:cubicBezTo>
                  <a:cubicBezTo>
                    <a:pt x="1483138" y="2700326"/>
                    <a:pt x="1480936" y="2702600"/>
                    <a:pt x="1478160" y="2702600"/>
                  </a:cubicBezTo>
                  <a:lnTo>
                    <a:pt x="1331375" y="2702600"/>
                  </a:lnTo>
                  <a:cubicBezTo>
                    <a:pt x="1328609" y="2702600"/>
                    <a:pt x="1326407" y="2700326"/>
                    <a:pt x="1326407" y="2697572"/>
                  </a:cubicBezTo>
                  <a:cubicBezTo>
                    <a:pt x="1326407" y="2694803"/>
                    <a:pt x="1328609" y="2692602"/>
                    <a:pt x="1331375" y="2692602"/>
                  </a:cubicBezTo>
                  <a:close/>
                  <a:moveTo>
                    <a:pt x="1047615" y="2690695"/>
                  </a:moveTo>
                  <a:cubicBezTo>
                    <a:pt x="1048843" y="2690401"/>
                    <a:pt x="1050102" y="2690625"/>
                    <a:pt x="1051113" y="2691303"/>
                  </a:cubicBezTo>
                  <a:cubicBezTo>
                    <a:pt x="1052142" y="2691993"/>
                    <a:pt x="1052814" y="2693106"/>
                    <a:pt x="1052967" y="2694334"/>
                  </a:cubicBezTo>
                  <a:cubicBezTo>
                    <a:pt x="1053767" y="2700473"/>
                    <a:pt x="1059004" y="2705104"/>
                    <a:pt x="1065163" y="2705104"/>
                  </a:cubicBezTo>
                  <a:cubicBezTo>
                    <a:pt x="1071308" y="2705104"/>
                    <a:pt x="1076546" y="2700473"/>
                    <a:pt x="1077345" y="2694334"/>
                  </a:cubicBezTo>
                  <a:cubicBezTo>
                    <a:pt x="1077518" y="2693106"/>
                    <a:pt x="1078189" y="2692025"/>
                    <a:pt x="1079200" y="2691303"/>
                  </a:cubicBezTo>
                  <a:cubicBezTo>
                    <a:pt x="1080229" y="2690606"/>
                    <a:pt x="1081495" y="2690401"/>
                    <a:pt x="1082691" y="2690695"/>
                  </a:cubicBezTo>
                  <a:cubicBezTo>
                    <a:pt x="1089278" y="2692383"/>
                    <a:pt x="1095571" y="2694986"/>
                    <a:pt x="1101396" y="2698446"/>
                  </a:cubicBezTo>
                  <a:cubicBezTo>
                    <a:pt x="1102464" y="2699092"/>
                    <a:pt x="1103206" y="2700141"/>
                    <a:pt x="1103430" y="2701337"/>
                  </a:cubicBezTo>
                  <a:cubicBezTo>
                    <a:pt x="1103660" y="2702565"/>
                    <a:pt x="1103366" y="2703831"/>
                    <a:pt x="1102612" y="2704790"/>
                  </a:cubicBezTo>
                  <a:cubicBezTo>
                    <a:pt x="1098807" y="2709689"/>
                    <a:pt x="1099229" y="2716672"/>
                    <a:pt x="1103603" y="2721028"/>
                  </a:cubicBezTo>
                  <a:cubicBezTo>
                    <a:pt x="1107849" y="2725280"/>
                    <a:pt x="1115088" y="2725709"/>
                    <a:pt x="1119846" y="2722019"/>
                  </a:cubicBezTo>
                  <a:cubicBezTo>
                    <a:pt x="1120831" y="2721258"/>
                    <a:pt x="1122071" y="2720957"/>
                    <a:pt x="1123293" y="2721200"/>
                  </a:cubicBezTo>
                  <a:cubicBezTo>
                    <a:pt x="1124495" y="2721431"/>
                    <a:pt x="1125544" y="2722166"/>
                    <a:pt x="1126177" y="2723240"/>
                  </a:cubicBezTo>
                  <a:cubicBezTo>
                    <a:pt x="1129649" y="2729066"/>
                    <a:pt x="1132252" y="2735359"/>
                    <a:pt x="1133934" y="2741940"/>
                  </a:cubicBezTo>
                  <a:cubicBezTo>
                    <a:pt x="1134235" y="2743142"/>
                    <a:pt x="1134004" y="2744402"/>
                    <a:pt x="1133327" y="2745432"/>
                  </a:cubicBezTo>
                  <a:cubicBezTo>
                    <a:pt x="1132629" y="2746449"/>
                    <a:pt x="1131536" y="2747120"/>
                    <a:pt x="1130295" y="2747286"/>
                  </a:cubicBezTo>
                  <a:cubicBezTo>
                    <a:pt x="1124156" y="2748060"/>
                    <a:pt x="1119507" y="2753304"/>
                    <a:pt x="1119507" y="2759476"/>
                  </a:cubicBezTo>
                  <a:cubicBezTo>
                    <a:pt x="1119507" y="2765628"/>
                    <a:pt x="1124156" y="2770846"/>
                    <a:pt x="1130295" y="2771665"/>
                  </a:cubicBezTo>
                  <a:cubicBezTo>
                    <a:pt x="1131536" y="2771818"/>
                    <a:pt x="1132629" y="2772490"/>
                    <a:pt x="1133327" y="2773526"/>
                  </a:cubicBezTo>
                  <a:cubicBezTo>
                    <a:pt x="1134024" y="2774543"/>
                    <a:pt x="1134254" y="2775815"/>
                    <a:pt x="1133934" y="2776992"/>
                  </a:cubicBezTo>
                  <a:cubicBezTo>
                    <a:pt x="1132278" y="2783573"/>
                    <a:pt x="1129669" y="2789866"/>
                    <a:pt x="1126196" y="2795711"/>
                  </a:cubicBezTo>
                  <a:cubicBezTo>
                    <a:pt x="1125563" y="2796766"/>
                    <a:pt x="1124514" y="2797495"/>
                    <a:pt x="1123293" y="2797732"/>
                  </a:cubicBezTo>
                  <a:cubicBezTo>
                    <a:pt x="1122091" y="2797956"/>
                    <a:pt x="1120831" y="2797668"/>
                    <a:pt x="1119859" y="2796939"/>
                  </a:cubicBezTo>
                  <a:cubicBezTo>
                    <a:pt x="1115107" y="2793242"/>
                    <a:pt x="1107875" y="2793664"/>
                    <a:pt x="1103622" y="2797917"/>
                  </a:cubicBezTo>
                  <a:cubicBezTo>
                    <a:pt x="1099267" y="2802260"/>
                    <a:pt x="1098845" y="2809243"/>
                    <a:pt x="1102637" y="2814174"/>
                  </a:cubicBezTo>
                  <a:cubicBezTo>
                    <a:pt x="1103366" y="2815127"/>
                    <a:pt x="1103686" y="2816399"/>
                    <a:pt x="1103430" y="2817595"/>
                  </a:cubicBezTo>
                  <a:cubicBezTo>
                    <a:pt x="1103206" y="2818810"/>
                    <a:pt x="1102464" y="2819859"/>
                    <a:pt x="1101416" y="2820499"/>
                  </a:cubicBezTo>
                  <a:cubicBezTo>
                    <a:pt x="1095583" y="2823965"/>
                    <a:pt x="1089291" y="2826555"/>
                    <a:pt x="1082710" y="2828224"/>
                  </a:cubicBezTo>
                  <a:cubicBezTo>
                    <a:pt x="1081515" y="2828538"/>
                    <a:pt x="1080248" y="2828326"/>
                    <a:pt x="1079219" y="2827629"/>
                  </a:cubicBezTo>
                  <a:cubicBezTo>
                    <a:pt x="1078189" y="2826939"/>
                    <a:pt x="1077537" y="2825845"/>
                    <a:pt x="1077371" y="2824617"/>
                  </a:cubicBezTo>
                  <a:cubicBezTo>
                    <a:pt x="1076584" y="2818459"/>
                    <a:pt x="1071334" y="2813822"/>
                    <a:pt x="1065188" y="2813822"/>
                  </a:cubicBezTo>
                  <a:cubicBezTo>
                    <a:pt x="1059023" y="2813822"/>
                    <a:pt x="1053786" y="2818459"/>
                    <a:pt x="1052987" y="2824617"/>
                  </a:cubicBezTo>
                  <a:cubicBezTo>
                    <a:pt x="1052833" y="2825845"/>
                    <a:pt x="1052162" y="2826939"/>
                    <a:pt x="1051132" y="2827629"/>
                  </a:cubicBezTo>
                  <a:cubicBezTo>
                    <a:pt x="1050416" y="2828115"/>
                    <a:pt x="1049572" y="2828365"/>
                    <a:pt x="1048715" y="2828365"/>
                  </a:cubicBezTo>
                  <a:cubicBezTo>
                    <a:pt x="1048376" y="2828365"/>
                    <a:pt x="1048018" y="2828326"/>
                    <a:pt x="1047666" y="2828224"/>
                  </a:cubicBezTo>
                  <a:cubicBezTo>
                    <a:pt x="1041079" y="2826555"/>
                    <a:pt x="1034793" y="2823965"/>
                    <a:pt x="1028967" y="2820499"/>
                  </a:cubicBezTo>
                  <a:cubicBezTo>
                    <a:pt x="1027912" y="2819859"/>
                    <a:pt x="1027151" y="2818785"/>
                    <a:pt x="1026921" y="2817595"/>
                  </a:cubicBezTo>
                  <a:cubicBezTo>
                    <a:pt x="1026690" y="2816399"/>
                    <a:pt x="1026985" y="2815127"/>
                    <a:pt x="1027739" y="2814174"/>
                  </a:cubicBezTo>
                  <a:cubicBezTo>
                    <a:pt x="1031531" y="2809243"/>
                    <a:pt x="1031109" y="2802260"/>
                    <a:pt x="1026754" y="2797898"/>
                  </a:cubicBezTo>
                  <a:cubicBezTo>
                    <a:pt x="1022521" y="2793664"/>
                    <a:pt x="1015269" y="2793242"/>
                    <a:pt x="1010511" y="2796913"/>
                  </a:cubicBezTo>
                  <a:cubicBezTo>
                    <a:pt x="1009526" y="2797668"/>
                    <a:pt x="1008254" y="2797956"/>
                    <a:pt x="1007058" y="2797732"/>
                  </a:cubicBezTo>
                  <a:cubicBezTo>
                    <a:pt x="1005862" y="2797495"/>
                    <a:pt x="1004781" y="2796766"/>
                    <a:pt x="1004155" y="2795692"/>
                  </a:cubicBezTo>
                  <a:cubicBezTo>
                    <a:pt x="1000682" y="2789866"/>
                    <a:pt x="998079" y="2783573"/>
                    <a:pt x="996417" y="2776992"/>
                  </a:cubicBezTo>
                  <a:cubicBezTo>
                    <a:pt x="996122" y="2775796"/>
                    <a:pt x="996346" y="2774530"/>
                    <a:pt x="997043" y="2773494"/>
                  </a:cubicBezTo>
                  <a:cubicBezTo>
                    <a:pt x="997721" y="2772490"/>
                    <a:pt x="998840" y="2771818"/>
                    <a:pt x="1000055" y="2771665"/>
                  </a:cubicBezTo>
                  <a:cubicBezTo>
                    <a:pt x="1006195" y="2770866"/>
                    <a:pt x="1010825" y="2765628"/>
                    <a:pt x="1010825" y="2759488"/>
                  </a:cubicBezTo>
                  <a:cubicBezTo>
                    <a:pt x="1010825" y="2753323"/>
                    <a:pt x="1006195" y="2748079"/>
                    <a:pt x="1000055" y="2747286"/>
                  </a:cubicBezTo>
                  <a:cubicBezTo>
                    <a:pt x="998840" y="2747139"/>
                    <a:pt x="997721" y="2746449"/>
                    <a:pt x="997043" y="2745432"/>
                  </a:cubicBezTo>
                  <a:cubicBezTo>
                    <a:pt x="996346" y="2744402"/>
                    <a:pt x="996122" y="2743142"/>
                    <a:pt x="996417" y="2741940"/>
                  </a:cubicBezTo>
                  <a:cubicBezTo>
                    <a:pt x="998079" y="2735378"/>
                    <a:pt x="1000682" y="2729092"/>
                    <a:pt x="1004155" y="2723240"/>
                  </a:cubicBezTo>
                  <a:cubicBezTo>
                    <a:pt x="1004807" y="2722192"/>
                    <a:pt x="1005862" y="2721450"/>
                    <a:pt x="1007058" y="2721213"/>
                  </a:cubicBezTo>
                  <a:cubicBezTo>
                    <a:pt x="1008279" y="2720983"/>
                    <a:pt x="1009526" y="2721283"/>
                    <a:pt x="1010511" y="2722038"/>
                  </a:cubicBezTo>
                  <a:cubicBezTo>
                    <a:pt x="1015269" y="2725709"/>
                    <a:pt x="1022521" y="2725280"/>
                    <a:pt x="1026754" y="2721047"/>
                  </a:cubicBezTo>
                  <a:cubicBezTo>
                    <a:pt x="1031109" y="2716692"/>
                    <a:pt x="1031531" y="2709702"/>
                    <a:pt x="1027739" y="2704790"/>
                  </a:cubicBezTo>
                  <a:cubicBezTo>
                    <a:pt x="1026985" y="2703831"/>
                    <a:pt x="1026690" y="2702565"/>
                    <a:pt x="1026921" y="2701356"/>
                  </a:cubicBezTo>
                  <a:cubicBezTo>
                    <a:pt x="1027151" y="2700141"/>
                    <a:pt x="1027886" y="2699092"/>
                    <a:pt x="1028941" y="2698446"/>
                  </a:cubicBezTo>
                  <a:cubicBezTo>
                    <a:pt x="1034767" y="2694986"/>
                    <a:pt x="1041060" y="2692383"/>
                    <a:pt x="1047615" y="2690695"/>
                  </a:cubicBezTo>
                  <a:close/>
                  <a:moveTo>
                    <a:pt x="1267068" y="2675804"/>
                  </a:moveTo>
                  <a:lnTo>
                    <a:pt x="1267068" y="2709384"/>
                  </a:lnTo>
                  <a:cubicBezTo>
                    <a:pt x="1271023" y="2708378"/>
                    <a:pt x="1273900" y="2705596"/>
                    <a:pt x="1273900" y="2702297"/>
                  </a:cubicBezTo>
                  <a:lnTo>
                    <a:pt x="1273900" y="2682898"/>
                  </a:lnTo>
                  <a:cubicBezTo>
                    <a:pt x="1273900" y="2679586"/>
                    <a:pt x="1271023" y="2676817"/>
                    <a:pt x="1267068" y="2675804"/>
                  </a:cubicBezTo>
                  <a:close/>
                  <a:moveTo>
                    <a:pt x="1172683" y="2668550"/>
                  </a:moveTo>
                  <a:lnTo>
                    <a:pt x="1172683" y="2719533"/>
                  </a:lnTo>
                  <a:cubicBezTo>
                    <a:pt x="1172683" y="2722630"/>
                    <a:pt x="1176275" y="2725251"/>
                    <a:pt x="1180523" y="2725251"/>
                  </a:cubicBezTo>
                  <a:lnTo>
                    <a:pt x="1252774" y="2725251"/>
                  </a:lnTo>
                  <a:cubicBezTo>
                    <a:pt x="1257017" y="2725251"/>
                    <a:pt x="1260604" y="2722630"/>
                    <a:pt x="1260604" y="2719533"/>
                  </a:cubicBezTo>
                  <a:lnTo>
                    <a:pt x="1260604" y="2672141"/>
                  </a:lnTo>
                  <a:cubicBezTo>
                    <a:pt x="1260604" y="2672141"/>
                    <a:pt x="1260604" y="2668550"/>
                    <a:pt x="1260604" y="2668550"/>
                  </a:cubicBezTo>
                  <a:close/>
                  <a:moveTo>
                    <a:pt x="1470455" y="2664695"/>
                  </a:moveTo>
                  <a:cubicBezTo>
                    <a:pt x="1476906" y="2664695"/>
                    <a:pt x="1476906" y="2674701"/>
                    <a:pt x="1470455" y="2674701"/>
                  </a:cubicBezTo>
                  <a:cubicBezTo>
                    <a:pt x="1464004" y="2674701"/>
                    <a:pt x="1464004" y="2664695"/>
                    <a:pt x="1470455" y="2664695"/>
                  </a:cubicBezTo>
                  <a:close/>
                  <a:moveTo>
                    <a:pt x="1324665" y="2652764"/>
                  </a:moveTo>
                  <a:cubicBezTo>
                    <a:pt x="1317965" y="2652764"/>
                    <a:pt x="1312547" y="2658254"/>
                    <a:pt x="1312547" y="2664947"/>
                  </a:cubicBezTo>
                  <a:lnTo>
                    <a:pt x="1312547" y="2714101"/>
                  </a:lnTo>
                  <a:cubicBezTo>
                    <a:pt x="1312547" y="2720809"/>
                    <a:pt x="1317965" y="2726283"/>
                    <a:pt x="1324665" y="2726283"/>
                  </a:cubicBezTo>
                  <a:lnTo>
                    <a:pt x="1347045" y="2726283"/>
                  </a:lnTo>
                  <a:lnTo>
                    <a:pt x="1347045" y="2717081"/>
                  </a:lnTo>
                  <a:lnTo>
                    <a:pt x="1464865" y="2717081"/>
                  </a:lnTo>
                  <a:lnTo>
                    <a:pt x="1464865" y="2726283"/>
                  </a:lnTo>
                  <a:lnTo>
                    <a:pt x="1487177" y="2726283"/>
                  </a:lnTo>
                  <a:cubicBezTo>
                    <a:pt x="1493877" y="2726283"/>
                    <a:pt x="1499295" y="2720809"/>
                    <a:pt x="1499295" y="2714101"/>
                  </a:cubicBezTo>
                  <a:cubicBezTo>
                    <a:pt x="1499295" y="2714101"/>
                    <a:pt x="1499295" y="2664947"/>
                    <a:pt x="1499295" y="2664947"/>
                  </a:cubicBezTo>
                  <a:cubicBezTo>
                    <a:pt x="1499295" y="2658254"/>
                    <a:pt x="1493877" y="2652764"/>
                    <a:pt x="1487177" y="2652764"/>
                  </a:cubicBezTo>
                  <a:lnTo>
                    <a:pt x="1462625" y="2652764"/>
                  </a:lnTo>
                  <a:lnTo>
                    <a:pt x="1349217" y="2652764"/>
                  </a:lnTo>
                  <a:close/>
                  <a:moveTo>
                    <a:pt x="1577413" y="2651750"/>
                  </a:moveTo>
                  <a:cubicBezTo>
                    <a:pt x="1563975" y="2651750"/>
                    <a:pt x="1553047" y="2662685"/>
                    <a:pt x="1553047" y="2676115"/>
                  </a:cubicBezTo>
                  <a:cubicBezTo>
                    <a:pt x="1553047" y="2689556"/>
                    <a:pt x="1563975" y="2700491"/>
                    <a:pt x="1577413" y="2700491"/>
                  </a:cubicBezTo>
                  <a:cubicBezTo>
                    <a:pt x="1590851" y="2700491"/>
                    <a:pt x="1601780" y="2689556"/>
                    <a:pt x="1601780" y="2676115"/>
                  </a:cubicBezTo>
                  <a:cubicBezTo>
                    <a:pt x="1601780" y="2662685"/>
                    <a:pt x="1590851" y="2651750"/>
                    <a:pt x="1577413" y="2651750"/>
                  </a:cubicBezTo>
                  <a:close/>
                  <a:moveTo>
                    <a:pt x="1577413" y="2644829"/>
                  </a:moveTo>
                  <a:cubicBezTo>
                    <a:pt x="1594670" y="2644829"/>
                    <a:pt x="1608702" y="2658871"/>
                    <a:pt x="1608702" y="2676115"/>
                  </a:cubicBezTo>
                  <a:cubicBezTo>
                    <a:pt x="1608702" y="2687128"/>
                    <a:pt x="1602988" y="2696831"/>
                    <a:pt x="1594365" y="2702411"/>
                  </a:cubicBezTo>
                  <a:lnTo>
                    <a:pt x="1598825" y="2702411"/>
                  </a:lnTo>
                  <a:cubicBezTo>
                    <a:pt x="1610297" y="2702411"/>
                    <a:pt x="1619627" y="2711735"/>
                    <a:pt x="1619627" y="2723214"/>
                  </a:cubicBezTo>
                  <a:lnTo>
                    <a:pt x="1619627" y="2752262"/>
                  </a:lnTo>
                  <a:cubicBezTo>
                    <a:pt x="1619627" y="2754172"/>
                    <a:pt x="1618075" y="2755722"/>
                    <a:pt x="1616164" y="2755722"/>
                  </a:cubicBezTo>
                  <a:lnTo>
                    <a:pt x="1538659" y="2755722"/>
                  </a:lnTo>
                  <a:cubicBezTo>
                    <a:pt x="1536748" y="2755722"/>
                    <a:pt x="1535200" y="2754172"/>
                    <a:pt x="1535200" y="2752262"/>
                  </a:cubicBezTo>
                  <a:lnTo>
                    <a:pt x="1535200" y="2723214"/>
                  </a:lnTo>
                  <a:cubicBezTo>
                    <a:pt x="1535200" y="2711735"/>
                    <a:pt x="1544534" y="2702411"/>
                    <a:pt x="1555998" y="2702411"/>
                  </a:cubicBezTo>
                  <a:lnTo>
                    <a:pt x="1560461" y="2702411"/>
                  </a:lnTo>
                  <a:cubicBezTo>
                    <a:pt x="1551839" y="2696831"/>
                    <a:pt x="1546124" y="2687128"/>
                    <a:pt x="1546124" y="2676115"/>
                  </a:cubicBezTo>
                  <a:cubicBezTo>
                    <a:pt x="1546124" y="2658871"/>
                    <a:pt x="1560157" y="2644829"/>
                    <a:pt x="1577413" y="2644829"/>
                  </a:cubicBezTo>
                  <a:close/>
                  <a:moveTo>
                    <a:pt x="1207820" y="2639472"/>
                  </a:moveTo>
                  <a:cubicBezTo>
                    <a:pt x="1207820" y="2639472"/>
                    <a:pt x="1209174" y="2662087"/>
                    <a:pt x="1209174" y="2662087"/>
                  </a:cubicBezTo>
                  <a:lnTo>
                    <a:pt x="1217068" y="2662087"/>
                  </a:lnTo>
                  <a:lnTo>
                    <a:pt x="1218423" y="2639472"/>
                  </a:lnTo>
                  <a:close/>
                  <a:moveTo>
                    <a:pt x="1180848" y="2636203"/>
                  </a:moveTo>
                  <a:lnTo>
                    <a:pt x="1171361" y="2641045"/>
                  </a:lnTo>
                  <a:lnTo>
                    <a:pt x="1179580" y="2657114"/>
                  </a:lnTo>
                  <a:lnTo>
                    <a:pt x="1182116" y="2662087"/>
                  </a:lnTo>
                  <a:cubicBezTo>
                    <a:pt x="1182116" y="2662087"/>
                    <a:pt x="1194074" y="2662087"/>
                    <a:pt x="1194074" y="2662087"/>
                  </a:cubicBezTo>
                  <a:close/>
                  <a:moveTo>
                    <a:pt x="1170071" y="2628061"/>
                  </a:moveTo>
                  <a:lnTo>
                    <a:pt x="1170239" y="2634368"/>
                  </a:lnTo>
                  <a:cubicBezTo>
                    <a:pt x="1170239" y="2634368"/>
                    <a:pt x="1175619" y="2631605"/>
                    <a:pt x="1175619" y="2631605"/>
                  </a:cubicBezTo>
                  <a:close/>
                  <a:moveTo>
                    <a:pt x="986309" y="2624503"/>
                  </a:moveTo>
                  <a:cubicBezTo>
                    <a:pt x="984326" y="2624503"/>
                    <a:pt x="982199" y="2625042"/>
                    <a:pt x="979940" y="2626106"/>
                  </a:cubicBezTo>
                  <a:cubicBezTo>
                    <a:pt x="977681" y="2627170"/>
                    <a:pt x="975903" y="2628477"/>
                    <a:pt x="974605" y="2630022"/>
                  </a:cubicBezTo>
                  <a:lnTo>
                    <a:pt x="952700" y="2657069"/>
                  </a:lnTo>
                  <a:cubicBezTo>
                    <a:pt x="951811" y="2658260"/>
                    <a:pt x="951363" y="2659255"/>
                    <a:pt x="951363" y="2660047"/>
                  </a:cubicBezTo>
                  <a:cubicBezTo>
                    <a:pt x="951363" y="2661791"/>
                    <a:pt x="952680" y="2662656"/>
                    <a:pt x="955315" y="2662656"/>
                  </a:cubicBezTo>
                  <a:lnTo>
                    <a:pt x="1036396" y="2662656"/>
                  </a:lnTo>
                  <a:cubicBezTo>
                    <a:pt x="1038379" y="2662656"/>
                    <a:pt x="1040512" y="2662112"/>
                    <a:pt x="1042798" y="2661014"/>
                  </a:cubicBezTo>
                  <a:cubicBezTo>
                    <a:pt x="1045083" y="2659926"/>
                    <a:pt x="1046848" y="2658614"/>
                    <a:pt x="1048093" y="2657069"/>
                  </a:cubicBezTo>
                  <a:lnTo>
                    <a:pt x="1070005" y="2630022"/>
                  </a:lnTo>
                  <a:cubicBezTo>
                    <a:pt x="1070894" y="2628924"/>
                    <a:pt x="1071342" y="2627957"/>
                    <a:pt x="1071342" y="2627107"/>
                  </a:cubicBezTo>
                  <a:cubicBezTo>
                    <a:pt x="1071342" y="2625373"/>
                    <a:pt x="1070031" y="2624503"/>
                    <a:pt x="1067390" y="2624503"/>
                  </a:cubicBezTo>
                  <a:close/>
                  <a:moveTo>
                    <a:pt x="1379110" y="2622997"/>
                  </a:moveTo>
                  <a:lnTo>
                    <a:pt x="1431430" y="2622997"/>
                  </a:lnTo>
                  <a:cubicBezTo>
                    <a:pt x="1434197" y="2622997"/>
                    <a:pt x="1436465" y="2625214"/>
                    <a:pt x="1436465" y="2627968"/>
                  </a:cubicBezTo>
                  <a:cubicBezTo>
                    <a:pt x="1436465" y="2630737"/>
                    <a:pt x="1434197" y="2633003"/>
                    <a:pt x="1431430" y="2633003"/>
                  </a:cubicBezTo>
                  <a:lnTo>
                    <a:pt x="1379110" y="2633003"/>
                  </a:lnTo>
                  <a:cubicBezTo>
                    <a:pt x="1376335" y="2633003"/>
                    <a:pt x="1374133" y="2630737"/>
                    <a:pt x="1374133" y="2627968"/>
                  </a:cubicBezTo>
                  <a:cubicBezTo>
                    <a:pt x="1374133" y="2625214"/>
                    <a:pt x="1376335" y="2622997"/>
                    <a:pt x="1379110" y="2622997"/>
                  </a:cubicBezTo>
                  <a:close/>
                  <a:moveTo>
                    <a:pt x="1200153" y="2616071"/>
                  </a:moveTo>
                  <a:lnTo>
                    <a:pt x="1200153" y="2627245"/>
                  </a:lnTo>
                  <a:cubicBezTo>
                    <a:pt x="1200153" y="2630431"/>
                    <a:pt x="1202743" y="2633010"/>
                    <a:pt x="1205929" y="2633010"/>
                  </a:cubicBezTo>
                  <a:lnTo>
                    <a:pt x="1220330" y="2633010"/>
                  </a:lnTo>
                  <a:cubicBezTo>
                    <a:pt x="1223516" y="2633010"/>
                    <a:pt x="1226106" y="2630431"/>
                    <a:pt x="1226106" y="2627245"/>
                  </a:cubicBezTo>
                  <a:lnTo>
                    <a:pt x="1226106" y="2616071"/>
                  </a:lnTo>
                  <a:lnTo>
                    <a:pt x="1214907" y="2616071"/>
                  </a:lnTo>
                  <a:lnTo>
                    <a:pt x="1209976" y="2623886"/>
                  </a:lnTo>
                  <a:lnTo>
                    <a:pt x="1202981" y="2616071"/>
                  </a:lnTo>
                  <a:close/>
                  <a:moveTo>
                    <a:pt x="1257553" y="2611997"/>
                  </a:moveTo>
                  <a:lnTo>
                    <a:pt x="1248391" y="2626310"/>
                  </a:lnTo>
                  <a:lnTo>
                    <a:pt x="1254015" y="2629913"/>
                  </a:lnTo>
                  <a:cubicBezTo>
                    <a:pt x="1255521" y="2630872"/>
                    <a:pt x="1255966" y="2632873"/>
                    <a:pt x="1254996" y="2634368"/>
                  </a:cubicBezTo>
                  <a:cubicBezTo>
                    <a:pt x="1254037" y="2635863"/>
                    <a:pt x="1252043" y="2636298"/>
                    <a:pt x="1250537" y="2635351"/>
                  </a:cubicBezTo>
                  <a:lnTo>
                    <a:pt x="1244913" y="2631736"/>
                  </a:lnTo>
                  <a:lnTo>
                    <a:pt x="1238627" y="2641569"/>
                  </a:lnTo>
                  <a:lnTo>
                    <a:pt x="1243823" y="2644898"/>
                  </a:lnTo>
                  <a:cubicBezTo>
                    <a:pt x="1245324" y="2645857"/>
                    <a:pt x="1245763" y="2647859"/>
                    <a:pt x="1244810" y="2649353"/>
                  </a:cubicBezTo>
                  <a:cubicBezTo>
                    <a:pt x="1243845" y="2650866"/>
                    <a:pt x="1241840" y="2651289"/>
                    <a:pt x="1240340" y="2650330"/>
                  </a:cubicBezTo>
                  <a:lnTo>
                    <a:pt x="1235144" y="2647001"/>
                  </a:lnTo>
                  <a:cubicBezTo>
                    <a:pt x="1235144" y="2647001"/>
                    <a:pt x="1227981" y="2658180"/>
                    <a:pt x="1227981" y="2658180"/>
                  </a:cubicBezTo>
                  <a:lnTo>
                    <a:pt x="1233182" y="2661516"/>
                  </a:lnTo>
                  <a:cubicBezTo>
                    <a:pt x="1233431" y="2661665"/>
                    <a:pt x="1233643" y="2661867"/>
                    <a:pt x="1233843" y="2662087"/>
                  </a:cubicBezTo>
                  <a:lnTo>
                    <a:pt x="1244317" y="2662087"/>
                  </a:lnTo>
                  <a:lnTo>
                    <a:pt x="1270904" y="2620550"/>
                  </a:lnTo>
                  <a:close/>
                  <a:moveTo>
                    <a:pt x="1601145" y="2609018"/>
                  </a:moveTo>
                  <a:cubicBezTo>
                    <a:pt x="1602826" y="2609018"/>
                    <a:pt x="1604432" y="2609686"/>
                    <a:pt x="1605620" y="2610882"/>
                  </a:cubicBezTo>
                  <a:cubicBezTo>
                    <a:pt x="1606807" y="2612067"/>
                    <a:pt x="1607425" y="2613673"/>
                    <a:pt x="1607425" y="2615353"/>
                  </a:cubicBezTo>
                  <a:cubicBezTo>
                    <a:pt x="1607425" y="2617032"/>
                    <a:pt x="1606807" y="2618576"/>
                    <a:pt x="1605620" y="2619767"/>
                  </a:cubicBezTo>
                  <a:cubicBezTo>
                    <a:pt x="1604432" y="2620957"/>
                    <a:pt x="1602826" y="2621631"/>
                    <a:pt x="1601145" y="2621631"/>
                  </a:cubicBezTo>
                  <a:cubicBezTo>
                    <a:pt x="1599463" y="2621631"/>
                    <a:pt x="1597864" y="2620957"/>
                    <a:pt x="1596670" y="2619767"/>
                  </a:cubicBezTo>
                  <a:cubicBezTo>
                    <a:pt x="1595483" y="2618576"/>
                    <a:pt x="1594872" y="2617043"/>
                    <a:pt x="1594872" y="2615353"/>
                  </a:cubicBezTo>
                  <a:cubicBezTo>
                    <a:pt x="1594872" y="2613673"/>
                    <a:pt x="1595483" y="2612067"/>
                    <a:pt x="1596670" y="2610882"/>
                  </a:cubicBezTo>
                  <a:cubicBezTo>
                    <a:pt x="1597864" y="2609686"/>
                    <a:pt x="1599463" y="2609018"/>
                    <a:pt x="1601145" y="2609018"/>
                  </a:cubicBezTo>
                  <a:close/>
                  <a:moveTo>
                    <a:pt x="1379110" y="2605097"/>
                  </a:moveTo>
                  <a:lnTo>
                    <a:pt x="1431430" y="2605097"/>
                  </a:lnTo>
                  <a:cubicBezTo>
                    <a:pt x="1434197" y="2605097"/>
                    <a:pt x="1436465" y="2607314"/>
                    <a:pt x="1436465" y="2610067"/>
                  </a:cubicBezTo>
                  <a:cubicBezTo>
                    <a:pt x="1436465" y="2612845"/>
                    <a:pt x="1434197" y="2615103"/>
                    <a:pt x="1431430" y="2615103"/>
                  </a:cubicBezTo>
                  <a:lnTo>
                    <a:pt x="1379110" y="2615103"/>
                  </a:lnTo>
                  <a:cubicBezTo>
                    <a:pt x="1376335" y="2615103"/>
                    <a:pt x="1374133" y="2612845"/>
                    <a:pt x="1374133" y="2610067"/>
                  </a:cubicBezTo>
                  <a:cubicBezTo>
                    <a:pt x="1374133" y="2607314"/>
                    <a:pt x="1376335" y="2605097"/>
                    <a:pt x="1379110" y="2605097"/>
                  </a:cubicBezTo>
                  <a:close/>
                  <a:moveTo>
                    <a:pt x="1255597" y="2603069"/>
                  </a:moveTo>
                  <a:lnTo>
                    <a:pt x="1279833" y="2618591"/>
                  </a:lnTo>
                  <a:lnTo>
                    <a:pt x="1251989" y="2662087"/>
                  </a:lnTo>
                  <a:lnTo>
                    <a:pt x="1267068" y="2662087"/>
                  </a:lnTo>
                  <a:lnTo>
                    <a:pt x="1267068" y="2669169"/>
                  </a:lnTo>
                  <a:cubicBezTo>
                    <a:pt x="1274637" y="2670456"/>
                    <a:pt x="1280364" y="2676114"/>
                    <a:pt x="1280364" y="2682898"/>
                  </a:cubicBezTo>
                  <a:lnTo>
                    <a:pt x="1280364" y="2702297"/>
                  </a:lnTo>
                  <a:cubicBezTo>
                    <a:pt x="1280364" y="2709069"/>
                    <a:pt x="1274637" y="2714733"/>
                    <a:pt x="1267068" y="2716013"/>
                  </a:cubicBezTo>
                  <a:lnTo>
                    <a:pt x="1267068" y="2719533"/>
                  </a:lnTo>
                  <a:cubicBezTo>
                    <a:pt x="1267068" y="2726252"/>
                    <a:pt x="1260652" y="2731719"/>
                    <a:pt x="1252774" y="2731719"/>
                  </a:cubicBezTo>
                  <a:lnTo>
                    <a:pt x="1180523" y="2731719"/>
                  </a:lnTo>
                  <a:cubicBezTo>
                    <a:pt x="1172634" y="2731719"/>
                    <a:pt x="1166229" y="2726252"/>
                    <a:pt x="1166229" y="2719533"/>
                  </a:cubicBezTo>
                  <a:lnTo>
                    <a:pt x="1166229" y="2662087"/>
                  </a:lnTo>
                  <a:lnTo>
                    <a:pt x="1174866" y="2662087"/>
                  </a:lnTo>
                  <a:lnTo>
                    <a:pt x="1163943" y="2640705"/>
                  </a:lnTo>
                  <a:cubicBezTo>
                    <a:pt x="1163943" y="2640705"/>
                    <a:pt x="1163331" y="2616059"/>
                    <a:pt x="1163331" y="2616059"/>
                  </a:cubicBezTo>
                  <a:lnTo>
                    <a:pt x="1184846" y="2629859"/>
                  </a:lnTo>
                  <a:lnTo>
                    <a:pt x="1201318" y="2662087"/>
                  </a:lnTo>
                  <a:lnTo>
                    <a:pt x="1202705" y="2662087"/>
                  </a:lnTo>
                  <a:lnTo>
                    <a:pt x="1201285" y="2638561"/>
                  </a:lnTo>
                  <a:cubicBezTo>
                    <a:pt x="1196826" y="2636727"/>
                    <a:pt x="1193689" y="2632343"/>
                    <a:pt x="1193689" y="2627245"/>
                  </a:cubicBezTo>
                  <a:lnTo>
                    <a:pt x="1193689" y="2609609"/>
                  </a:lnTo>
                  <a:lnTo>
                    <a:pt x="1205864" y="2609609"/>
                  </a:lnTo>
                  <a:lnTo>
                    <a:pt x="1209077" y="2613200"/>
                  </a:lnTo>
                  <a:lnTo>
                    <a:pt x="1211341" y="2609609"/>
                  </a:lnTo>
                  <a:lnTo>
                    <a:pt x="1232554" y="2609609"/>
                  </a:lnTo>
                  <a:lnTo>
                    <a:pt x="1232554" y="2627245"/>
                  </a:lnTo>
                  <a:cubicBezTo>
                    <a:pt x="1232554" y="2632349"/>
                    <a:pt x="1229411" y="2636727"/>
                    <a:pt x="1224952" y="2638561"/>
                  </a:cubicBezTo>
                  <a:lnTo>
                    <a:pt x="1224139" y="2652218"/>
                  </a:lnTo>
                  <a:close/>
                  <a:moveTo>
                    <a:pt x="1642722" y="2601621"/>
                  </a:moveTo>
                  <a:lnTo>
                    <a:pt x="1639181" y="2605227"/>
                  </a:lnTo>
                  <a:lnTo>
                    <a:pt x="1658755" y="2624799"/>
                  </a:lnTo>
                  <a:lnTo>
                    <a:pt x="1664040" y="2626540"/>
                  </a:lnTo>
                  <a:lnTo>
                    <a:pt x="1662296" y="2621193"/>
                  </a:lnTo>
                  <a:cubicBezTo>
                    <a:pt x="1662296" y="2621193"/>
                    <a:pt x="1642722" y="2601621"/>
                    <a:pt x="1642722" y="2601621"/>
                  </a:cubicBezTo>
                  <a:close/>
                  <a:moveTo>
                    <a:pt x="1359220" y="2593230"/>
                  </a:moveTo>
                  <a:cubicBezTo>
                    <a:pt x="1359220" y="2593230"/>
                    <a:pt x="1359220" y="2642758"/>
                    <a:pt x="1359220" y="2642758"/>
                  </a:cubicBezTo>
                  <a:lnTo>
                    <a:pt x="1452623" y="2642758"/>
                  </a:lnTo>
                  <a:lnTo>
                    <a:pt x="1452623" y="2593230"/>
                  </a:lnTo>
                  <a:close/>
                  <a:moveTo>
                    <a:pt x="1349217" y="2583224"/>
                  </a:moveTo>
                  <a:lnTo>
                    <a:pt x="1462625" y="2583224"/>
                  </a:lnTo>
                  <a:lnTo>
                    <a:pt x="1462625" y="2642758"/>
                  </a:lnTo>
                  <a:lnTo>
                    <a:pt x="1487177" y="2642758"/>
                  </a:lnTo>
                  <a:cubicBezTo>
                    <a:pt x="1499400" y="2642758"/>
                    <a:pt x="1509298" y="2652731"/>
                    <a:pt x="1509298" y="2664947"/>
                  </a:cubicBezTo>
                  <a:lnTo>
                    <a:pt x="1509298" y="2714101"/>
                  </a:lnTo>
                  <a:cubicBezTo>
                    <a:pt x="1509298" y="2726332"/>
                    <a:pt x="1499381" y="2736281"/>
                    <a:pt x="1487177" y="2736281"/>
                  </a:cubicBezTo>
                  <a:lnTo>
                    <a:pt x="1464865" y="2736281"/>
                  </a:lnTo>
                  <a:lnTo>
                    <a:pt x="1464865" y="2758657"/>
                  </a:lnTo>
                  <a:lnTo>
                    <a:pt x="1347045" y="2758657"/>
                  </a:lnTo>
                  <a:lnTo>
                    <a:pt x="1347045" y="2736281"/>
                  </a:lnTo>
                  <a:lnTo>
                    <a:pt x="1324665" y="2736281"/>
                  </a:lnTo>
                  <a:cubicBezTo>
                    <a:pt x="1312452" y="2736281"/>
                    <a:pt x="1302545" y="2726332"/>
                    <a:pt x="1302545" y="2714101"/>
                  </a:cubicBezTo>
                  <a:lnTo>
                    <a:pt x="1302545" y="2664947"/>
                  </a:lnTo>
                  <a:cubicBezTo>
                    <a:pt x="1302545" y="2652731"/>
                    <a:pt x="1312452" y="2642758"/>
                    <a:pt x="1324665" y="2642758"/>
                  </a:cubicBezTo>
                  <a:lnTo>
                    <a:pt x="1349217" y="2642758"/>
                  </a:lnTo>
                  <a:close/>
                  <a:moveTo>
                    <a:pt x="955315" y="2576820"/>
                  </a:moveTo>
                  <a:cubicBezTo>
                    <a:pt x="953326" y="2576820"/>
                    <a:pt x="951633" y="2577509"/>
                    <a:pt x="950250" y="2578899"/>
                  </a:cubicBezTo>
                  <a:cubicBezTo>
                    <a:pt x="948860" y="2580288"/>
                    <a:pt x="948155" y="2581979"/>
                    <a:pt x="948155" y="2583965"/>
                  </a:cubicBezTo>
                  <a:cubicBezTo>
                    <a:pt x="948155" y="2583965"/>
                    <a:pt x="948155" y="2647534"/>
                    <a:pt x="948155" y="2647534"/>
                  </a:cubicBezTo>
                  <a:lnTo>
                    <a:pt x="967235" y="2624061"/>
                  </a:lnTo>
                  <a:cubicBezTo>
                    <a:pt x="969422" y="2621428"/>
                    <a:pt x="972300" y="2619252"/>
                    <a:pt x="975883" y="2617542"/>
                  </a:cubicBezTo>
                  <a:cubicBezTo>
                    <a:pt x="979453" y="2615822"/>
                    <a:pt x="982937" y="2614967"/>
                    <a:pt x="986309" y="2614967"/>
                  </a:cubicBezTo>
                  <a:lnTo>
                    <a:pt x="1043542" y="2614967"/>
                  </a:lnTo>
                  <a:lnTo>
                    <a:pt x="1043542" y="2603042"/>
                  </a:lnTo>
                  <a:cubicBezTo>
                    <a:pt x="1043542" y="2601055"/>
                    <a:pt x="1042851" y="2599364"/>
                    <a:pt x="1041461" y="2597975"/>
                  </a:cubicBezTo>
                  <a:cubicBezTo>
                    <a:pt x="1040071" y="2596581"/>
                    <a:pt x="1038379" y="2595891"/>
                    <a:pt x="1036396" y="2595891"/>
                  </a:cubicBezTo>
                  <a:lnTo>
                    <a:pt x="993468" y="2595891"/>
                  </a:lnTo>
                  <a:cubicBezTo>
                    <a:pt x="991479" y="2595891"/>
                    <a:pt x="989786" y="2595196"/>
                    <a:pt x="988403" y="2593807"/>
                  </a:cubicBezTo>
                  <a:cubicBezTo>
                    <a:pt x="987007" y="2592408"/>
                    <a:pt x="986309" y="2590723"/>
                    <a:pt x="986309" y="2588736"/>
                  </a:cubicBezTo>
                  <a:lnTo>
                    <a:pt x="986309" y="2583965"/>
                  </a:lnTo>
                  <a:cubicBezTo>
                    <a:pt x="986309" y="2581979"/>
                    <a:pt x="985617" y="2580288"/>
                    <a:pt x="984228" y="2578899"/>
                  </a:cubicBezTo>
                  <a:cubicBezTo>
                    <a:pt x="982831" y="2577509"/>
                    <a:pt x="981152" y="2576820"/>
                    <a:pt x="979156" y="2576820"/>
                  </a:cubicBezTo>
                  <a:close/>
                  <a:moveTo>
                    <a:pt x="1610595" y="2569492"/>
                  </a:moveTo>
                  <a:lnTo>
                    <a:pt x="1606985" y="2573036"/>
                  </a:lnTo>
                  <a:cubicBezTo>
                    <a:pt x="1606985" y="2573036"/>
                    <a:pt x="1612208" y="2578253"/>
                    <a:pt x="1612208" y="2578253"/>
                  </a:cubicBezTo>
                  <a:lnTo>
                    <a:pt x="1615812" y="2574709"/>
                  </a:lnTo>
                  <a:close/>
                  <a:moveTo>
                    <a:pt x="955315" y="2567274"/>
                  </a:moveTo>
                  <a:lnTo>
                    <a:pt x="979156" y="2567274"/>
                  </a:lnTo>
                  <a:cubicBezTo>
                    <a:pt x="983727" y="2567274"/>
                    <a:pt x="987652" y="2568916"/>
                    <a:pt x="990926" y="2572190"/>
                  </a:cubicBezTo>
                  <a:cubicBezTo>
                    <a:pt x="994206" y="2575464"/>
                    <a:pt x="995852" y="2579394"/>
                    <a:pt x="995852" y="2583965"/>
                  </a:cubicBezTo>
                  <a:lnTo>
                    <a:pt x="995852" y="2586355"/>
                  </a:lnTo>
                  <a:lnTo>
                    <a:pt x="1036390" y="2586355"/>
                  </a:lnTo>
                  <a:cubicBezTo>
                    <a:pt x="1040960" y="2586355"/>
                    <a:pt x="1044886" y="2587992"/>
                    <a:pt x="1048166" y="2591271"/>
                  </a:cubicBezTo>
                  <a:cubicBezTo>
                    <a:pt x="1051439" y="2594546"/>
                    <a:pt x="1053085" y="2598480"/>
                    <a:pt x="1053085" y="2603042"/>
                  </a:cubicBezTo>
                  <a:lnTo>
                    <a:pt x="1053085" y="2614967"/>
                  </a:lnTo>
                  <a:lnTo>
                    <a:pt x="1067390" y="2614967"/>
                  </a:lnTo>
                  <a:cubicBezTo>
                    <a:pt x="1070078" y="2614967"/>
                    <a:pt x="1072534" y="2615570"/>
                    <a:pt x="1074767" y="2616794"/>
                  </a:cubicBezTo>
                  <a:cubicBezTo>
                    <a:pt x="1077000" y="2618008"/>
                    <a:pt x="1078666" y="2619757"/>
                    <a:pt x="1079759" y="2622050"/>
                  </a:cubicBezTo>
                  <a:cubicBezTo>
                    <a:pt x="1080510" y="2623634"/>
                    <a:pt x="1080879" y="2625324"/>
                    <a:pt x="1080879" y="2627117"/>
                  </a:cubicBezTo>
                  <a:cubicBezTo>
                    <a:pt x="1080879" y="2630196"/>
                    <a:pt x="1079739" y="2633179"/>
                    <a:pt x="1077454" y="2636055"/>
                  </a:cubicBezTo>
                  <a:lnTo>
                    <a:pt x="1055470" y="2663112"/>
                  </a:lnTo>
                  <a:cubicBezTo>
                    <a:pt x="1053329" y="2665740"/>
                    <a:pt x="1050451" y="2667912"/>
                    <a:pt x="1046822" y="2669627"/>
                  </a:cubicBezTo>
                  <a:cubicBezTo>
                    <a:pt x="1043193" y="2671337"/>
                    <a:pt x="1039722" y="2672201"/>
                    <a:pt x="1036396" y="2672201"/>
                  </a:cubicBezTo>
                  <a:lnTo>
                    <a:pt x="955315" y="2672201"/>
                  </a:lnTo>
                  <a:cubicBezTo>
                    <a:pt x="950744" y="2672201"/>
                    <a:pt x="946812" y="2670559"/>
                    <a:pt x="943539" y="2667285"/>
                  </a:cubicBezTo>
                  <a:cubicBezTo>
                    <a:pt x="940259" y="2664006"/>
                    <a:pt x="938619" y="2660071"/>
                    <a:pt x="938619" y="2655505"/>
                  </a:cubicBezTo>
                  <a:lnTo>
                    <a:pt x="938619" y="2583965"/>
                  </a:lnTo>
                  <a:cubicBezTo>
                    <a:pt x="938619" y="2579394"/>
                    <a:pt x="940259" y="2575464"/>
                    <a:pt x="943539" y="2572190"/>
                  </a:cubicBezTo>
                  <a:cubicBezTo>
                    <a:pt x="946812" y="2568916"/>
                    <a:pt x="950744" y="2567274"/>
                    <a:pt x="955315" y="2567274"/>
                  </a:cubicBezTo>
                  <a:close/>
                  <a:moveTo>
                    <a:pt x="1156072" y="2541438"/>
                  </a:moveTo>
                  <a:cubicBezTo>
                    <a:pt x="1157115" y="2541438"/>
                    <a:pt x="1158086" y="2542014"/>
                    <a:pt x="1158249" y="2542119"/>
                  </a:cubicBezTo>
                  <a:cubicBezTo>
                    <a:pt x="1168946" y="2549746"/>
                    <a:pt x="1201064" y="2572574"/>
                    <a:pt x="1201064" y="2572574"/>
                  </a:cubicBezTo>
                  <a:cubicBezTo>
                    <a:pt x="1202426" y="2573516"/>
                    <a:pt x="1202999" y="2575333"/>
                    <a:pt x="1202493" y="2576918"/>
                  </a:cubicBezTo>
                  <a:cubicBezTo>
                    <a:pt x="1201986" y="2578504"/>
                    <a:pt x="1200557" y="2579655"/>
                    <a:pt x="1198887" y="2579655"/>
                  </a:cubicBezTo>
                  <a:lnTo>
                    <a:pt x="1113504" y="2579655"/>
                  </a:lnTo>
                  <a:cubicBezTo>
                    <a:pt x="1111840" y="2579655"/>
                    <a:pt x="1110344" y="2578504"/>
                    <a:pt x="1109838" y="2576918"/>
                  </a:cubicBezTo>
                  <a:cubicBezTo>
                    <a:pt x="1109325" y="2575333"/>
                    <a:pt x="1109898" y="2573516"/>
                    <a:pt x="1111267" y="2572574"/>
                  </a:cubicBezTo>
                  <a:cubicBezTo>
                    <a:pt x="1111267" y="2572574"/>
                    <a:pt x="1143336" y="2549746"/>
                    <a:pt x="1154021" y="2542119"/>
                  </a:cubicBezTo>
                  <a:cubicBezTo>
                    <a:pt x="1154160" y="2542014"/>
                    <a:pt x="1155083" y="2541438"/>
                    <a:pt x="1156072" y="2541438"/>
                  </a:cubicBezTo>
                  <a:close/>
                  <a:moveTo>
                    <a:pt x="1659064" y="2526614"/>
                  </a:moveTo>
                  <a:cubicBezTo>
                    <a:pt x="1653203" y="2526614"/>
                    <a:pt x="1647801" y="2528798"/>
                    <a:pt x="1643841" y="2532763"/>
                  </a:cubicBezTo>
                  <a:lnTo>
                    <a:pt x="1638865" y="2537610"/>
                  </a:lnTo>
                  <a:cubicBezTo>
                    <a:pt x="1632119" y="2544372"/>
                    <a:pt x="1630554" y="2554621"/>
                    <a:pt x="1634953" y="2563090"/>
                  </a:cubicBezTo>
                  <a:cubicBezTo>
                    <a:pt x="1635839" y="2564797"/>
                    <a:pt x="1635283" y="2566690"/>
                    <a:pt x="1633835" y="2568060"/>
                  </a:cubicBezTo>
                  <a:lnTo>
                    <a:pt x="1591886" y="2610012"/>
                  </a:lnTo>
                  <a:cubicBezTo>
                    <a:pt x="1589807" y="2612090"/>
                    <a:pt x="1588654" y="2614841"/>
                    <a:pt x="1588654" y="2617779"/>
                  </a:cubicBezTo>
                  <a:cubicBezTo>
                    <a:pt x="1588654" y="2620710"/>
                    <a:pt x="1589807" y="2623473"/>
                    <a:pt x="1591886" y="2625546"/>
                  </a:cubicBezTo>
                  <a:cubicBezTo>
                    <a:pt x="1593952" y="2627624"/>
                    <a:pt x="1596663" y="2628775"/>
                    <a:pt x="1599594" y="2628775"/>
                  </a:cubicBezTo>
                  <a:cubicBezTo>
                    <a:pt x="1602524" y="2628775"/>
                    <a:pt x="1605290" y="2627624"/>
                    <a:pt x="1607363" y="2625546"/>
                  </a:cubicBezTo>
                  <a:lnTo>
                    <a:pt x="1649311" y="2583538"/>
                  </a:lnTo>
                  <a:cubicBezTo>
                    <a:pt x="1650636" y="2582128"/>
                    <a:pt x="1652633" y="2581595"/>
                    <a:pt x="1654342" y="2582482"/>
                  </a:cubicBezTo>
                  <a:cubicBezTo>
                    <a:pt x="1657410" y="2584077"/>
                    <a:pt x="1660855" y="2584902"/>
                    <a:pt x="1664349" y="2584902"/>
                  </a:cubicBezTo>
                  <a:cubicBezTo>
                    <a:pt x="1670169" y="2584902"/>
                    <a:pt x="1675646" y="2582611"/>
                    <a:pt x="1679757" y="2578500"/>
                  </a:cubicBezTo>
                  <a:lnTo>
                    <a:pt x="1684671" y="2573592"/>
                  </a:lnTo>
                  <a:cubicBezTo>
                    <a:pt x="1689475" y="2568790"/>
                    <a:pt x="1691603" y="2561888"/>
                    <a:pt x="1690635" y="2555137"/>
                  </a:cubicBezTo>
                  <a:lnTo>
                    <a:pt x="1680567" y="2565140"/>
                  </a:lnTo>
                  <a:cubicBezTo>
                    <a:pt x="1676792" y="2568925"/>
                    <a:pt x="1671747" y="2571031"/>
                    <a:pt x="1666401" y="2571048"/>
                  </a:cubicBezTo>
                  <a:cubicBezTo>
                    <a:pt x="1661041" y="2571048"/>
                    <a:pt x="1656003" y="2568925"/>
                    <a:pt x="1652228" y="2565140"/>
                  </a:cubicBezTo>
                  <a:cubicBezTo>
                    <a:pt x="1648440" y="2561360"/>
                    <a:pt x="1646387" y="2556384"/>
                    <a:pt x="1646387" y="2551032"/>
                  </a:cubicBezTo>
                  <a:cubicBezTo>
                    <a:pt x="1646387" y="2545680"/>
                    <a:pt x="1648453" y="2540648"/>
                    <a:pt x="1652228" y="2536863"/>
                  </a:cubicBezTo>
                  <a:lnTo>
                    <a:pt x="1662296" y="2526799"/>
                  </a:lnTo>
                  <a:cubicBezTo>
                    <a:pt x="1661212" y="2526653"/>
                    <a:pt x="1660148" y="2526614"/>
                    <a:pt x="1659064" y="2526614"/>
                  </a:cubicBezTo>
                  <a:close/>
                  <a:moveTo>
                    <a:pt x="1582195" y="2523632"/>
                  </a:moveTo>
                  <a:cubicBezTo>
                    <a:pt x="1579992" y="2523632"/>
                    <a:pt x="1577906" y="2524496"/>
                    <a:pt x="1576348" y="2526052"/>
                  </a:cubicBezTo>
                  <a:lnTo>
                    <a:pt x="1563548" y="2538857"/>
                  </a:lnTo>
                  <a:cubicBezTo>
                    <a:pt x="1562004" y="2540401"/>
                    <a:pt x="1561187" y="2542496"/>
                    <a:pt x="1561187" y="2544697"/>
                  </a:cubicBezTo>
                  <a:cubicBezTo>
                    <a:pt x="1561187" y="2546899"/>
                    <a:pt x="1562004" y="2548921"/>
                    <a:pt x="1563548" y="2550476"/>
                  </a:cubicBezTo>
                  <a:cubicBezTo>
                    <a:pt x="1565106" y="2552026"/>
                    <a:pt x="1567199" y="2552897"/>
                    <a:pt x="1569388" y="2552897"/>
                  </a:cubicBezTo>
                  <a:cubicBezTo>
                    <a:pt x="1570535" y="2552897"/>
                    <a:pt x="1571653" y="2552666"/>
                    <a:pt x="1572683" y="2552217"/>
                  </a:cubicBezTo>
                  <a:cubicBezTo>
                    <a:pt x="1573198" y="2551998"/>
                    <a:pt x="1573760" y="2551903"/>
                    <a:pt x="1574303" y="2551903"/>
                  </a:cubicBezTo>
                  <a:cubicBezTo>
                    <a:pt x="1575359" y="2551903"/>
                    <a:pt x="1576382" y="2552313"/>
                    <a:pt x="1577158" y="2553088"/>
                  </a:cubicBezTo>
                  <a:lnTo>
                    <a:pt x="1596361" y="2572289"/>
                  </a:lnTo>
                  <a:cubicBezTo>
                    <a:pt x="1596361" y="2572289"/>
                    <a:pt x="1609847" y="2558805"/>
                    <a:pt x="1609847" y="2558805"/>
                  </a:cubicBezTo>
                  <a:lnTo>
                    <a:pt x="1590582" y="2539598"/>
                  </a:lnTo>
                  <a:cubicBezTo>
                    <a:pt x="1589415" y="2538435"/>
                    <a:pt x="1589120" y="2536650"/>
                    <a:pt x="1589772" y="2535128"/>
                  </a:cubicBezTo>
                  <a:cubicBezTo>
                    <a:pt x="1591124" y="2532005"/>
                    <a:pt x="1590431" y="2528450"/>
                    <a:pt x="1588036" y="2526052"/>
                  </a:cubicBezTo>
                  <a:cubicBezTo>
                    <a:pt x="1586471" y="2524491"/>
                    <a:pt x="1584392" y="2523632"/>
                    <a:pt x="1582195" y="2523632"/>
                  </a:cubicBezTo>
                  <a:close/>
                  <a:moveTo>
                    <a:pt x="1484351" y="2522243"/>
                  </a:moveTo>
                  <a:lnTo>
                    <a:pt x="1484351" y="2538919"/>
                  </a:lnTo>
                  <a:cubicBezTo>
                    <a:pt x="1484351" y="2538919"/>
                    <a:pt x="1484738" y="2539060"/>
                    <a:pt x="1485319" y="2539277"/>
                  </a:cubicBezTo>
                  <a:cubicBezTo>
                    <a:pt x="1487859" y="2540248"/>
                    <a:pt x="1489533" y="2542692"/>
                    <a:pt x="1489533" y="2545409"/>
                  </a:cubicBezTo>
                  <a:lnTo>
                    <a:pt x="1489533" y="2557622"/>
                  </a:lnTo>
                  <a:lnTo>
                    <a:pt x="1496738" y="2557622"/>
                  </a:lnTo>
                  <a:cubicBezTo>
                    <a:pt x="1498194" y="2557622"/>
                    <a:pt x="1499323" y="2556452"/>
                    <a:pt x="1499323" y="2554992"/>
                  </a:cubicBezTo>
                  <a:lnTo>
                    <a:pt x="1499323" y="2541658"/>
                  </a:lnTo>
                  <a:cubicBezTo>
                    <a:pt x="1499323" y="2532488"/>
                    <a:pt x="1493167" y="2524516"/>
                    <a:pt x="1484351" y="2522243"/>
                  </a:cubicBezTo>
                  <a:close/>
                  <a:moveTo>
                    <a:pt x="1447262" y="2522243"/>
                  </a:moveTo>
                  <a:cubicBezTo>
                    <a:pt x="1438302" y="2524506"/>
                    <a:pt x="1432149" y="2532488"/>
                    <a:pt x="1432149" y="2541686"/>
                  </a:cubicBezTo>
                  <a:lnTo>
                    <a:pt x="1432149" y="2555028"/>
                  </a:lnTo>
                  <a:cubicBezTo>
                    <a:pt x="1432149" y="2556361"/>
                    <a:pt x="1433106" y="2557432"/>
                    <a:pt x="1434386" y="2557622"/>
                  </a:cubicBezTo>
                  <a:cubicBezTo>
                    <a:pt x="1434467" y="2557631"/>
                    <a:pt x="1434537" y="2557622"/>
                    <a:pt x="1434629" y="2557622"/>
                  </a:cubicBezTo>
                  <a:lnTo>
                    <a:pt x="1442087" y="2557622"/>
                  </a:lnTo>
                  <a:lnTo>
                    <a:pt x="1442087" y="2545409"/>
                  </a:lnTo>
                  <a:cubicBezTo>
                    <a:pt x="1442087" y="2542692"/>
                    <a:pt x="1443761" y="2540248"/>
                    <a:pt x="1446294" y="2539277"/>
                  </a:cubicBezTo>
                  <a:cubicBezTo>
                    <a:pt x="1446871" y="2539060"/>
                    <a:pt x="1447262" y="2538919"/>
                    <a:pt x="1447262" y="2538919"/>
                  </a:cubicBezTo>
                  <a:close/>
                  <a:moveTo>
                    <a:pt x="1458786" y="2519314"/>
                  </a:moveTo>
                  <a:lnTo>
                    <a:pt x="1453559" y="2520638"/>
                  </a:lnTo>
                  <a:cubicBezTo>
                    <a:pt x="1453559" y="2520638"/>
                    <a:pt x="1453566" y="2520638"/>
                    <a:pt x="1453566" y="2520638"/>
                  </a:cubicBezTo>
                  <a:lnTo>
                    <a:pt x="1453566" y="2539209"/>
                  </a:lnTo>
                  <a:cubicBezTo>
                    <a:pt x="1455803" y="2539908"/>
                    <a:pt x="1457759" y="2541200"/>
                    <a:pt x="1459230" y="2542933"/>
                  </a:cubicBezTo>
                  <a:cubicBezTo>
                    <a:pt x="1460837" y="2544806"/>
                    <a:pt x="1463166" y="2545872"/>
                    <a:pt x="1465622" y="2545872"/>
                  </a:cubicBezTo>
                  <a:lnTo>
                    <a:pt x="1465629" y="2545872"/>
                  </a:lnTo>
                  <a:cubicBezTo>
                    <a:pt x="1468770" y="2545881"/>
                    <a:pt x="1470776" y="2544738"/>
                    <a:pt x="1472524" y="2542774"/>
                  </a:cubicBezTo>
                  <a:cubicBezTo>
                    <a:pt x="1473980" y="2541119"/>
                    <a:pt x="1475950" y="2539881"/>
                    <a:pt x="1478058" y="2539209"/>
                  </a:cubicBezTo>
                  <a:lnTo>
                    <a:pt x="1478058" y="2520679"/>
                  </a:lnTo>
                  <a:lnTo>
                    <a:pt x="1472781" y="2519359"/>
                  </a:lnTo>
                  <a:cubicBezTo>
                    <a:pt x="1471208" y="2520098"/>
                    <a:pt x="1469541" y="2520611"/>
                    <a:pt x="1467813" y="2520833"/>
                  </a:cubicBezTo>
                  <a:cubicBezTo>
                    <a:pt x="1467145" y="2520919"/>
                    <a:pt x="1466477" y="2520974"/>
                    <a:pt x="1465801" y="2520974"/>
                  </a:cubicBezTo>
                  <a:cubicBezTo>
                    <a:pt x="1465126" y="2520974"/>
                    <a:pt x="1464461" y="2520919"/>
                    <a:pt x="1463796" y="2520833"/>
                  </a:cubicBezTo>
                  <a:cubicBezTo>
                    <a:pt x="1462041" y="2520611"/>
                    <a:pt x="1460384" y="2520080"/>
                    <a:pt x="1458786" y="2519314"/>
                  </a:cubicBezTo>
                  <a:close/>
                  <a:moveTo>
                    <a:pt x="1582195" y="2515550"/>
                  </a:moveTo>
                  <a:cubicBezTo>
                    <a:pt x="1586553" y="2515550"/>
                    <a:pt x="1590665" y="2517246"/>
                    <a:pt x="1593753" y="2520335"/>
                  </a:cubicBezTo>
                  <a:cubicBezTo>
                    <a:pt x="1597823" y="2524401"/>
                    <a:pt x="1599353" y="2530174"/>
                    <a:pt x="1598043" y="2535622"/>
                  </a:cubicBezTo>
                  <a:lnTo>
                    <a:pt x="1618358" y="2555946"/>
                  </a:lnTo>
                  <a:cubicBezTo>
                    <a:pt x="1619943" y="2557524"/>
                    <a:pt x="1619943" y="2560074"/>
                    <a:pt x="1618358" y="2561663"/>
                  </a:cubicBezTo>
                  <a:lnTo>
                    <a:pt x="1616313" y="2563775"/>
                  </a:lnTo>
                  <a:lnTo>
                    <a:pt x="1621467" y="2568992"/>
                  </a:lnTo>
                  <a:lnTo>
                    <a:pt x="1626505" y="2563960"/>
                  </a:lnTo>
                  <a:cubicBezTo>
                    <a:pt x="1622167" y="2552975"/>
                    <a:pt x="1624706" y="2540463"/>
                    <a:pt x="1633217" y="2531955"/>
                  </a:cubicBezTo>
                  <a:lnTo>
                    <a:pt x="1638124" y="2527046"/>
                  </a:lnTo>
                  <a:cubicBezTo>
                    <a:pt x="1643615" y="2521559"/>
                    <a:pt x="1651048" y="2518532"/>
                    <a:pt x="1659064" y="2518532"/>
                  </a:cubicBezTo>
                  <a:cubicBezTo>
                    <a:pt x="1663381" y="2518532"/>
                    <a:pt x="1667698" y="2519420"/>
                    <a:pt x="1671617" y="2521144"/>
                  </a:cubicBezTo>
                  <a:cubicBezTo>
                    <a:pt x="1672832" y="2521688"/>
                    <a:pt x="1673744" y="2522823"/>
                    <a:pt x="1673978" y="2524126"/>
                  </a:cubicBezTo>
                  <a:cubicBezTo>
                    <a:pt x="1674225" y="2525446"/>
                    <a:pt x="1673806" y="2526793"/>
                    <a:pt x="1672859" y="2527731"/>
                  </a:cubicBezTo>
                  <a:lnTo>
                    <a:pt x="1657945" y="2542586"/>
                  </a:lnTo>
                  <a:cubicBezTo>
                    <a:pt x="1655701" y="2544832"/>
                    <a:pt x="1654466" y="2547842"/>
                    <a:pt x="1654466" y="2551032"/>
                  </a:cubicBezTo>
                  <a:cubicBezTo>
                    <a:pt x="1654466" y="2554222"/>
                    <a:pt x="1655687" y="2557165"/>
                    <a:pt x="1657945" y="2559422"/>
                  </a:cubicBezTo>
                  <a:cubicBezTo>
                    <a:pt x="1660196" y="2561686"/>
                    <a:pt x="1663209" y="2562966"/>
                    <a:pt x="1666401" y="2562966"/>
                  </a:cubicBezTo>
                  <a:cubicBezTo>
                    <a:pt x="1669592" y="2562966"/>
                    <a:pt x="1672591" y="2561686"/>
                    <a:pt x="1674849" y="2559422"/>
                  </a:cubicBezTo>
                  <a:lnTo>
                    <a:pt x="1689763" y="2544635"/>
                  </a:lnTo>
                  <a:cubicBezTo>
                    <a:pt x="1690710" y="2543686"/>
                    <a:pt x="1692062" y="2543271"/>
                    <a:pt x="1693367" y="2543518"/>
                  </a:cubicBezTo>
                  <a:cubicBezTo>
                    <a:pt x="1694677" y="2543759"/>
                    <a:pt x="1695755" y="2544596"/>
                    <a:pt x="1696290" y="2545815"/>
                  </a:cubicBezTo>
                  <a:cubicBezTo>
                    <a:pt x="1701355" y="2557255"/>
                    <a:pt x="1698988" y="2570711"/>
                    <a:pt x="1690388" y="2579309"/>
                  </a:cubicBezTo>
                  <a:lnTo>
                    <a:pt x="1685481" y="2584217"/>
                  </a:lnTo>
                  <a:cubicBezTo>
                    <a:pt x="1679839" y="2589873"/>
                    <a:pt x="1672324" y="2592984"/>
                    <a:pt x="1664349" y="2592984"/>
                  </a:cubicBezTo>
                  <a:cubicBezTo>
                    <a:pt x="1660608" y="2592984"/>
                    <a:pt x="1656936" y="2592293"/>
                    <a:pt x="1653470" y="2590934"/>
                  </a:cubicBezTo>
                  <a:lnTo>
                    <a:pt x="1648440" y="2595904"/>
                  </a:lnTo>
                  <a:lnTo>
                    <a:pt x="1668700" y="2616161"/>
                  </a:lnTo>
                  <a:cubicBezTo>
                    <a:pt x="1669146" y="2616605"/>
                    <a:pt x="1669496" y="2617189"/>
                    <a:pt x="1669695" y="2617779"/>
                  </a:cubicBezTo>
                  <a:lnTo>
                    <a:pt x="1674170" y="2631572"/>
                  </a:lnTo>
                  <a:cubicBezTo>
                    <a:pt x="1674644" y="2633021"/>
                    <a:pt x="1674245" y="2634604"/>
                    <a:pt x="1673175" y="2635677"/>
                  </a:cubicBezTo>
                  <a:cubicBezTo>
                    <a:pt x="1672406" y="2636446"/>
                    <a:pt x="1671363" y="2636856"/>
                    <a:pt x="1670313" y="2636856"/>
                  </a:cubicBezTo>
                  <a:cubicBezTo>
                    <a:pt x="1669894" y="2636856"/>
                    <a:pt x="1669482" y="2636794"/>
                    <a:pt x="1669071" y="2636671"/>
                  </a:cubicBezTo>
                  <a:lnTo>
                    <a:pt x="1655337" y="2632133"/>
                  </a:lnTo>
                  <a:cubicBezTo>
                    <a:pt x="1654733" y="2631937"/>
                    <a:pt x="1654170" y="2631645"/>
                    <a:pt x="1653724" y="2631201"/>
                  </a:cubicBezTo>
                  <a:lnTo>
                    <a:pt x="1633464" y="2610944"/>
                  </a:lnTo>
                  <a:lnTo>
                    <a:pt x="1613080" y="2631263"/>
                  </a:lnTo>
                  <a:cubicBezTo>
                    <a:pt x="1609477" y="2634868"/>
                    <a:pt x="1604679" y="2636856"/>
                    <a:pt x="1599594" y="2636856"/>
                  </a:cubicBezTo>
                  <a:cubicBezTo>
                    <a:pt x="1594508" y="2636856"/>
                    <a:pt x="1589765" y="2634868"/>
                    <a:pt x="1586169" y="2631263"/>
                  </a:cubicBezTo>
                  <a:cubicBezTo>
                    <a:pt x="1582566" y="2627668"/>
                    <a:pt x="1580576" y="2622867"/>
                    <a:pt x="1580576" y="2617779"/>
                  </a:cubicBezTo>
                  <a:cubicBezTo>
                    <a:pt x="1580576" y="2612691"/>
                    <a:pt x="1582566" y="2607894"/>
                    <a:pt x="1586169" y="2604295"/>
                  </a:cubicBezTo>
                  <a:lnTo>
                    <a:pt x="1606491" y="2583970"/>
                  </a:lnTo>
                  <a:lnTo>
                    <a:pt x="1601268" y="2578753"/>
                  </a:lnTo>
                  <a:lnTo>
                    <a:pt x="1599223" y="2580864"/>
                  </a:lnTo>
                  <a:cubicBezTo>
                    <a:pt x="1598461" y="2581623"/>
                    <a:pt x="1597432" y="2582044"/>
                    <a:pt x="1596361" y="2582044"/>
                  </a:cubicBezTo>
                  <a:cubicBezTo>
                    <a:pt x="1595297" y="2582044"/>
                    <a:pt x="1594268" y="2581623"/>
                    <a:pt x="1593506" y="2580864"/>
                  </a:cubicBezTo>
                  <a:lnTo>
                    <a:pt x="1573184" y="2560540"/>
                  </a:lnTo>
                  <a:cubicBezTo>
                    <a:pt x="1571948" y="2560832"/>
                    <a:pt x="1570672" y="2560978"/>
                    <a:pt x="1569388" y="2560978"/>
                  </a:cubicBezTo>
                  <a:cubicBezTo>
                    <a:pt x="1565030" y="2560978"/>
                    <a:pt x="1560967" y="2559265"/>
                    <a:pt x="1557892" y="2556193"/>
                  </a:cubicBezTo>
                  <a:cubicBezTo>
                    <a:pt x="1554811" y="2553104"/>
                    <a:pt x="1553109" y="2549055"/>
                    <a:pt x="1553109" y="2544697"/>
                  </a:cubicBezTo>
                  <a:cubicBezTo>
                    <a:pt x="1553109" y="2540339"/>
                    <a:pt x="1554811" y="2536217"/>
                    <a:pt x="1557892" y="2533139"/>
                  </a:cubicBezTo>
                  <a:lnTo>
                    <a:pt x="1570631" y="2520335"/>
                  </a:lnTo>
                  <a:cubicBezTo>
                    <a:pt x="1573719" y="2517246"/>
                    <a:pt x="1577837" y="2515550"/>
                    <a:pt x="1582195" y="2515550"/>
                  </a:cubicBezTo>
                  <a:close/>
                  <a:moveTo>
                    <a:pt x="1386127" y="2514407"/>
                  </a:moveTo>
                  <a:cubicBezTo>
                    <a:pt x="1382140" y="2514407"/>
                    <a:pt x="1378914" y="2517618"/>
                    <a:pt x="1378914" y="2521617"/>
                  </a:cubicBezTo>
                  <a:cubicBezTo>
                    <a:pt x="1378914" y="2525615"/>
                    <a:pt x="1382140" y="2528883"/>
                    <a:pt x="1386127" y="2528883"/>
                  </a:cubicBezTo>
                  <a:cubicBezTo>
                    <a:pt x="1390131" y="2528883"/>
                    <a:pt x="1393398" y="2525615"/>
                    <a:pt x="1393398" y="2521617"/>
                  </a:cubicBezTo>
                  <a:cubicBezTo>
                    <a:pt x="1393398" y="2517618"/>
                    <a:pt x="1390131" y="2514407"/>
                    <a:pt x="1386127" y="2514407"/>
                  </a:cubicBezTo>
                  <a:close/>
                  <a:moveTo>
                    <a:pt x="1386127" y="2507633"/>
                  </a:moveTo>
                  <a:cubicBezTo>
                    <a:pt x="1393847" y="2507633"/>
                    <a:pt x="1400111" y="2513898"/>
                    <a:pt x="1400111" y="2521617"/>
                  </a:cubicBezTo>
                  <a:cubicBezTo>
                    <a:pt x="1400111" y="2529327"/>
                    <a:pt x="1393847" y="2535592"/>
                    <a:pt x="1386127" y="2535592"/>
                  </a:cubicBezTo>
                  <a:cubicBezTo>
                    <a:pt x="1378415" y="2535592"/>
                    <a:pt x="1372142" y="2529327"/>
                    <a:pt x="1372142" y="2521617"/>
                  </a:cubicBezTo>
                  <a:cubicBezTo>
                    <a:pt x="1372142" y="2513898"/>
                    <a:pt x="1378415" y="2507633"/>
                    <a:pt x="1386127" y="2507633"/>
                  </a:cubicBezTo>
                  <a:close/>
                  <a:moveTo>
                    <a:pt x="1001459" y="2505645"/>
                  </a:moveTo>
                  <a:cubicBezTo>
                    <a:pt x="1005374" y="2505645"/>
                    <a:pt x="1007617" y="2509804"/>
                    <a:pt x="1008110" y="2509804"/>
                  </a:cubicBezTo>
                  <a:cubicBezTo>
                    <a:pt x="1008669" y="2509804"/>
                    <a:pt x="1011080" y="2505645"/>
                    <a:pt x="1014820" y="2505645"/>
                  </a:cubicBezTo>
                  <a:cubicBezTo>
                    <a:pt x="1018627" y="2505645"/>
                    <a:pt x="1021699" y="2508802"/>
                    <a:pt x="1021904" y="2512600"/>
                  </a:cubicBezTo>
                  <a:cubicBezTo>
                    <a:pt x="1022018" y="2514748"/>
                    <a:pt x="1021326" y="2516336"/>
                    <a:pt x="1020352" y="2517823"/>
                  </a:cubicBezTo>
                  <a:cubicBezTo>
                    <a:pt x="1018392" y="2520803"/>
                    <a:pt x="1009932" y="2527887"/>
                    <a:pt x="1008110" y="2527887"/>
                  </a:cubicBezTo>
                  <a:cubicBezTo>
                    <a:pt x="1006318" y="2527887"/>
                    <a:pt x="997810" y="2520775"/>
                    <a:pt x="995867" y="2517823"/>
                  </a:cubicBezTo>
                  <a:cubicBezTo>
                    <a:pt x="994887" y="2516350"/>
                    <a:pt x="994196" y="2514748"/>
                    <a:pt x="994310" y="2512600"/>
                  </a:cubicBezTo>
                  <a:cubicBezTo>
                    <a:pt x="994520" y="2508802"/>
                    <a:pt x="997653" y="2505645"/>
                    <a:pt x="1001459" y="2505645"/>
                  </a:cubicBezTo>
                  <a:close/>
                  <a:moveTo>
                    <a:pt x="1126553" y="2485754"/>
                  </a:moveTo>
                  <a:lnTo>
                    <a:pt x="1184969" y="2485754"/>
                  </a:lnTo>
                  <a:cubicBezTo>
                    <a:pt x="1187743" y="2485754"/>
                    <a:pt x="1190004" y="2487907"/>
                    <a:pt x="1190004" y="2490667"/>
                  </a:cubicBezTo>
                  <a:cubicBezTo>
                    <a:pt x="1190004" y="2493441"/>
                    <a:pt x="1187743" y="2495639"/>
                    <a:pt x="1184969" y="2495639"/>
                  </a:cubicBezTo>
                  <a:lnTo>
                    <a:pt x="1126553" y="2495639"/>
                  </a:lnTo>
                  <a:cubicBezTo>
                    <a:pt x="1123792" y="2495639"/>
                    <a:pt x="1121585" y="2493441"/>
                    <a:pt x="1121585" y="2490667"/>
                  </a:cubicBezTo>
                  <a:cubicBezTo>
                    <a:pt x="1121585" y="2487907"/>
                    <a:pt x="1123792" y="2485754"/>
                    <a:pt x="1126553" y="2485754"/>
                  </a:cubicBezTo>
                  <a:close/>
                  <a:moveTo>
                    <a:pt x="965351" y="2483771"/>
                  </a:moveTo>
                  <a:cubicBezTo>
                    <a:pt x="969097" y="2483771"/>
                    <a:pt x="971280" y="2487746"/>
                    <a:pt x="971755" y="2487746"/>
                  </a:cubicBezTo>
                  <a:cubicBezTo>
                    <a:pt x="972290" y="2487746"/>
                    <a:pt x="974563" y="2483771"/>
                    <a:pt x="978153" y="2483771"/>
                  </a:cubicBezTo>
                  <a:cubicBezTo>
                    <a:pt x="981803" y="2483771"/>
                    <a:pt x="984797" y="2486778"/>
                    <a:pt x="984990" y="2490419"/>
                  </a:cubicBezTo>
                  <a:cubicBezTo>
                    <a:pt x="985098" y="2492478"/>
                    <a:pt x="984437" y="2494019"/>
                    <a:pt x="983499" y="2495451"/>
                  </a:cubicBezTo>
                  <a:cubicBezTo>
                    <a:pt x="981617" y="2498308"/>
                    <a:pt x="973505" y="2505086"/>
                    <a:pt x="971755" y="2505086"/>
                  </a:cubicBezTo>
                  <a:cubicBezTo>
                    <a:pt x="970036" y="2505086"/>
                    <a:pt x="961876" y="2498281"/>
                    <a:pt x="960012" y="2495451"/>
                  </a:cubicBezTo>
                  <a:cubicBezTo>
                    <a:pt x="959074" y="2494026"/>
                    <a:pt x="958406" y="2492478"/>
                    <a:pt x="958515" y="2490419"/>
                  </a:cubicBezTo>
                  <a:cubicBezTo>
                    <a:pt x="958707" y="2486778"/>
                    <a:pt x="961701" y="2483771"/>
                    <a:pt x="965351" y="2483771"/>
                  </a:cubicBezTo>
                  <a:close/>
                  <a:moveTo>
                    <a:pt x="1304033" y="2478919"/>
                  </a:moveTo>
                  <a:lnTo>
                    <a:pt x="1274211" y="2510491"/>
                  </a:lnTo>
                  <a:cubicBezTo>
                    <a:pt x="1273635" y="2511115"/>
                    <a:pt x="1272890" y="2511484"/>
                    <a:pt x="1272035" y="2511542"/>
                  </a:cubicBezTo>
                  <a:lnTo>
                    <a:pt x="1264823" y="2511977"/>
                  </a:lnTo>
                  <a:lnTo>
                    <a:pt x="1254758" y="2521863"/>
                  </a:lnTo>
                  <a:cubicBezTo>
                    <a:pt x="1249400" y="2527102"/>
                    <a:pt x="1248215" y="2532636"/>
                    <a:pt x="1249349" y="2533917"/>
                  </a:cubicBezTo>
                  <a:cubicBezTo>
                    <a:pt x="1250509" y="2535206"/>
                    <a:pt x="1256299" y="2534689"/>
                    <a:pt x="1262402" y="2530000"/>
                  </a:cubicBezTo>
                  <a:lnTo>
                    <a:pt x="1273830" y="2521181"/>
                  </a:lnTo>
                  <a:lnTo>
                    <a:pt x="1275819" y="2514654"/>
                  </a:lnTo>
                  <a:cubicBezTo>
                    <a:pt x="1276022" y="2514021"/>
                    <a:pt x="1276327" y="2513520"/>
                    <a:pt x="1276818" y="2513102"/>
                  </a:cubicBezTo>
                  <a:cubicBezTo>
                    <a:pt x="1276818" y="2513102"/>
                    <a:pt x="1310060" y="2484576"/>
                    <a:pt x="1310060" y="2484576"/>
                  </a:cubicBezTo>
                  <a:close/>
                  <a:moveTo>
                    <a:pt x="1474965" y="2478339"/>
                  </a:moveTo>
                  <a:cubicBezTo>
                    <a:pt x="1470448" y="2483214"/>
                    <a:pt x="1462157" y="2488838"/>
                    <a:pt x="1448219" y="2488312"/>
                  </a:cubicBezTo>
                  <a:cubicBezTo>
                    <a:pt x="1448120" y="2489572"/>
                    <a:pt x="1448078" y="2490910"/>
                    <a:pt x="1448078" y="2492357"/>
                  </a:cubicBezTo>
                  <a:cubicBezTo>
                    <a:pt x="1448078" y="2503414"/>
                    <a:pt x="1455990" y="2516742"/>
                    <a:pt x="1465801" y="2516742"/>
                  </a:cubicBezTo>
                  <a:cubicBezTo>
                    <a:pt x="1474849" y="2516742"/>
                    <a:pt x="1482269" y="2505400"/>
                    <a:pt x="1483363" y="2494978"/>
                  </a:cubicBezTo>
                  <a:cubicBezTo>
                    <a:pt x="1482571" y="2491042"/>
                    <a:pt x="1480425" y="2483790"/>
                    <a:pt x="1474965" y="2478339"/>
                  </a:cubicBezTo>
                  <a:close/>
                  <a:moveTo>
                    <a:pt x="1126553" y="2465871"/>
                  </a:moveTo>
                  <a:lnTo>
                    <a:pt x="1184969" y="2465871"/>
                  </a:lnTo>
                  <a:cubicBezTo>
                    <a:pt x="1187743" y="2465871"/>
                    <a:pt x="1190004" y="2468002"/>
                    <a:pt x="1190004" y="2470777"/>
                  </a:cubicBezTo>
                  <a:cubicBezTo>
                    <a:pt x="1190004" y="2473551"/>
                    <a:pt x="1187743" y="2475749"/>
                    <a:pt x="1184969" y="2475749"/>
                  </a:cubicBezTo>
                  <a:lnTo>
                    <a:pt x="1126553" y="2475749"/>
                  </a:lnTo>
                  <a:cubicBezTo>
                    <a:pt x="1123792" y="2475749"/>
                    <a:pt x="1121585" y="2473551"/>
                    <a:pt x="1121585" y="2470777"/>
                  </a:cubicBezTo>
                  <a:cubicBezTo>
                    <a:pt x="1121585" y="2468002"/>
                    <a:pt x="1123792" y="2465871"/>
                    <a:pt x="1126553" y="2465871"/>
                  </a:cubicBezTo>
                  <a:close/>
                  <a:moveTo>
                    <a:pt x="1459796" y="2463867"/>
                  </a:moveTo>
                  <a:lnTo>
                    <a:pt x="1471803" y="2463867"/>
                  </a:lnTo>
                  <a:cubicBezTo>
                    <a:pt x="1481787" y="2463867"/>
                    <a:pt x="1489952" y="2471931"/>
                    <a:pt x="1489952" y="2481926"/>
                  </a:cubicBezTo>
                  <a:lnTo>
                    <a:pt x="1489952" y="2519785"/>
                  </a:lnTo>
                  <a:cubicBezTo>
                    <a:pt x="1498254" y="2523758"/>
                    <a:pt x="1503802" y="2532184"/>
                    <a:pt x="1503802" y="2541686"/>
                  </a:cubicBezTo>
                  <a:lnTo>
                    <a:pt x="1503802" y="2555028"/>
                  </a:lnTo>
                  <a:cubicBezTo>
                    <a:pt x="1503802" y="2558819"/>
                    <a:pt x="1500629" y="2561826"/>
                    <a:pt x="1496843" y="2561826"/>
                  </a:cubicBezTo>
                  <a:lnTo>
                    <a:pt x="1434629" y="2561826"/>
                  </a:lnTo>
                  <a:cubicBezTo>
                    <a:pt x="1430833" y="2561826"/>
                    <a:pt x="1427815" y="2558783"/>
                    <a:pt x="1427815" y="2554992"/>
                  </a:cubicBezTo>
                  <a:lnTo>
                    <a:pt x="1427815" y="2541658"/>
                  </a:lnTo>
                  <a:cubicBezTo>
                    <a:pt x="1427815" y="2532067"/>
                    <a:pt x="1433363" y="2523559"/>
                    <a:pt x="1441813" y="2519658"/>
                  </a:cubicBezTo>
                  <a:lnTo>
                    <a:pt x="1441813" y="2481926"/>
                  </a:lnTo>
                  <a:cubicBezTo>
                    <a:pt x="1441813" y="2471931"/>
                    <a:pt x="1449805" y="2463867"/>
                    <a:pt x="1459796" y="2463867"/>
                  </a:cubicBezTo>
                  <a:close/>
                  <a:moveTo>
                    <a:pt x="996174" y="2461890"/>
                  </a:moveTo>
                  <a:cubicBezTo>
                    <a:pt x="999391" y="2461890"/>
                    <a:pt x="1001243" y="2465313"/>
                    <a:pt x="1001646" y="2465313"/>
                  </a:cubicBezTo>
                  <a:cubicBezTo>
                    <a:pt x="1002103" y="2465313"/>
                    <a:pt x="1004099" y="2461890"/>
                    <a:pt x="1007178" y="2461890"/>
                  </a:cubicBezTo>
                  <a:cubicBezTo>
                    <a:pt x="1010299" y="2461890"/>
                    <a:pt x="1012848" y="2464426"/>
                    <a:pt x="1013017" y="2467549"/>
                  </a:cubicBezTo>
                  <a:cubicBezTo>
                    <a:pt x="1013113" y="2469315"/>
                    <a:pt x="1012511" y="2470679"/>
                    <a:pt x="1011712" y="2471900"/>
                  </a:cubicBezTo>
                  <a:cubicBezTo>
                    <a:pt x="1010106" y="2474354"/>
                    <a:pt x="1003143" y="2480164"/>
                    <a:pt x="1001646" y="2480164"/>
                  </a:cubicBezTo>
                  <a:cubicBezTo>
                    <a:pt x="1000167" y="2480164"/>
                    <a:pt x="993180" y="2474327"/>
                    <a:pt x="991580" y="2471900"/>
                  </a:cubicBezTo>
                  <a:cubicBezTo>
                    <a:pt x="990780" y="2470693"/>
                    <a:pt x="990239" y="2469309"/>
                    <a:pt x="990335" y="2467549"/>
                  </a:cubicBezTo>
                  <a:cubicBezTo>
                    <a:pt x="990504" y="2464426"/>
                    <a:pt x="993047" y="2461890"/>
                    <a:pt x="996174" y="2461890"/>
                  </a:cubicBezTo>
                  <a:close/>
                  <a:moveTo>
                    <a:pt x="1693182" y="2453907"/>
                  </a:moveTo>
                  <a:lnTo>
                    <a:pt x="1695045" y="2453907"/>
                  </a:lnTo>
                  <a:cubicBezTo>
                    <a:pt x="1697741" y="2453907"/>
                    <a:pt x="1699956" y="2456108"/>
                    <a:pt x="1699956" y="2458813"/>
                  </a:cubicBezTo>
                  <a:cubicBezTo>
                    <a:pt x="1699956" y="2459880"/>
                    <a:pt x="1699603" y="2460871"/>
                    <a:pt x="1699025" y="2461669"/>
                  </a:cubicBezTo>
                  <a:lnTo>
                    <a:pt x="1699025" y="2475591"/>
                  </a:lnTo>
                  <a:cubicBezTo>
                    <a:pt x="1699025" y="2478296"/>
                    <a:pt x="1696804" y="2480503"/>
                    <a:pt x="1694114" y="2480503"/>
                  </a:cubicBezTo>
                  <a:cubicBezTo>
                    <a:pt x="1691409" y="2480503"/>
                    <a:pt x="1689264" y="2478296"/>
                    <a:pt x="1689264" y="2475591"/>
                  </a:cubicBezTo>
                  <a:cubicBezTo>
                    <a:pt x="1689264" y="2475591"/>
                    <a:pt x="1689264" y="2461669"/>
                    <a:pt x="1689264" y="2461669"/>
                  </a:cubicBezTo>
                  <a:cubicBezTo>
                    <a:pt x="1688685" y="2460871"/>
                    <a:pt x="1688333" y="2459880"/>
                    <a:pt x="1688333" y="2458813"/>
                  </a:cubicBezTo>
                  <a:cubicBezTo>
                    <a:pt x="1688333" y="2456108"/>
                    <a:pt x="1690478" y="2453907"/>
                    <a:pt x="1693182" y="2453907"/>
                  </a:cubicBezTo>
                  <a:close/>
                  <a:moveTo>
                    <a:pt x="946278" y="2452323"/>
                  </a:moveTo>
                  <a:cubicBezTo>
                    <a:pt x="942935" y="2452323"/>
                    <a:pt x="940247" y="2454976"/>
                    <a:pt x="940247" y="2458228"/>
                  </a:cubicBezTo>
                  <a:lnTo>
                    <a:pt x="940247" y="2527955"/>
                  </a:lnTo>
                  <a:cubicBezTo>
                    <a:pt x="940247" y="2531208"/>
                    <a:pt x="942935" y="2533853"/>
                    <a:pt x="946278" y="2533853"/>
                  </a:cubicBezTo>
                  <a:lnTo>
                    <a:pt x="1037002" y="2533853"/>
                  </a:lnTo>
                  <a:cubicBezTo>
                    <a:pt x="1040340" y="2533853"/>
                    <a:pt x="1043033" y="2531208"/>
                    <a:pt x="1043033" y="2527955"/>
                  </a:cubicBezTo>
                  <a:lnTo>
                    <a:pt x="1043033" y="2458228"/>
                  </a:lnTo>
                  <a:cubicBezTo>
                    <a:pt x="1043033" y="2454976"/>
                    <a:pt x="1040340" y="2452323"/>
                    <a:pt x="1037002" y="2452323"/>
                  </a:cubicBezTo>
                  <a:close/>
                  <a:moveTo>
                    <a:pt x="1126553" y="2445982"/>
                  </a:moveTo>
                  <a:lnTo>
                    <a:pt x="1152779" y="2445982"/>
                  </a:lnTo>
                  <a:cubicBezTo>
                    <a:pt x="1154920" y="2445982"/>
                    <a:pt x="1156940" y="2447350"/>
                    <a:pt x="1157314" y="2449212"/>
                  </a:cubicBezTo>
                  <a:lnTo>
                    <a:pt x="1157314" y="2452756"/>
                  </a:lnTo>
                  <a:cubicBezTo>
                    <a:pt x="1156940" y="2454610"/>
                    <a:pt x="1154920" y="2455867"/>
                    <a:pt x="1152779" y="2455867"/>
                  </a:cubicBezTo>
                  <a:lnTo>
                    <a:pt x="1126553" y="2455867"/>
                  </a:lnTo>
                  <a:cubicBezTo>
                    <a:pt x="1123792" y="2455867"/>
                    <a:pt x="1121585" y="2453668"/>
                    <a:pt x="1121585" y="2450894"/>
                  </a:cubicBezTo>
                  <a:cubicBezTo>
                    <a:pt x="1121585" y="2448135"/>
                    <a:pt x="1123792" y="2445982"/>
                    <a:pt x="1126553" y="2445982"/>
                  </a:cubicBezTo>
                  <a:close/>
                  <a:moveTo>
                    <a:pt x="1326465" y="2439334"/>
                  </a:moveTo>
                  <a:lnTo>
                    <a:pt x="1322741" y="2439646"/>
                  </a:lnTo>
                  <a:lnTo>
                    <a:pt x="1298878" y="2461331"/>
                  </a:lnTo>
                  <a:lnTo>
                    <a:pt x="1298878" y="2464812"/>
                  </a:lnTo>
                  <a:lnTo>
                    <a:pt x="1378110" y="2539328"/>
                  </a:lnTo>
                  <a:cubicBezTo>
                    <a:pt x="1383579" y="2544468"/>
                    <a:pt x="1392382" y="2544304"/>
                    <a:pt x="1397681" y="2539016"/>
                  </a:cubicBezTo>
                  <a:lnTo>
                    <a:pt x="1405080" y="2531552"/>
                  </a:lnTo>
                  <a:cubicBezTo>
                    <a:pt x="1407628" y="2529015"/>
                    <a:pt x="1408999" y="2525689"/>
                    <a:pt x="1408931" y="2522175"/>
                  </a:cubicBezTo>
                  <a:cubicBezTo>
                    <a:pt x="1408880" y="2518652"/>
                    <a:pt x="1407458" y="2515368"/>
                    <a:pt x="1404834" y="2512913"/>
                  </a:cubicBezTo>
                  <a:cubicBezTo>
                    <a:pt x="1404834" y="2512913"/>
                    <a:pt x="1326465" y="2439334"/>
                    <a:pt x="1326465" y="2439334"/>
                  </a:cubicBezTo>
                  <a:close/>
                  <a:moveTo>
                    <a:pt x="1514557" y="2437495"/>
                  </a:moveTo>
                  <a:lnTo>
                    <a:pt x="1574585" y="2437495"/>
                  </a:lnTo>
                  <a:cubicBezTo>
                    <a:pt x="1574585" y="2437495"/>
                    <a:pt x="1574585" y="2446069"/>
                    <a:pt x="1574585" y="2446069"/>
                  </a:cubicBezTo>
                  <a:lnTo>
                    <a:pt x="1514557" y="2446069"/>
                  </a:lnTo>
                  <a:close/>
                  <a:moveTo>
                    <a:pt x="1652352" y="2422148"/>
                  </a:moveTo>
                  <a:lnTo>
                    <a:pt x="1652352" y="2464967"/>
                  </a:lnTo>
                  <a:cubicBezTo>
                    <a:pt x="1652352" y="2479493"/>
                    <a:pt x="1664173" y="2491314"/>
                    <a:pt x="1678704" y="2491314"/>
                  </a:cubicBezTo>
                  <a:lnTo>
                    <a:pt x="1708033" y="2491314"/>
                  </a:lnTo>
                  <a:cubicBezTo>
                    <a:pt x="1722563" y="2491314"/>
                    <a:pt x="1734385" y="2479493"/>
                    <a:pt x="1734385" y="2464967"/>
                  </a:cubicBezTo>
                  <a:cubicBezTo>
                    <a:pt x="1734385" y="2464967"/>
                    <a:pt x="1734385" y="2422148"/>
                    <a:pt x="1734385" y="2422148"/>
                  </a:cubicBezTo>
                  <a:close/>
                  <a:moveTo>
                    <a:pt x="1514557" y="2420341"/>
                  </a:moveTo>
                  <a:lnTo>
                    <a:pt x="1574585" y="2420341"/>
                  </a:lnTo>
                  <a:cubicBezTo>
                    <a:pt x="1574585" y="2420341"/>
                    <a:pt x="1574585" y="2428921"/>
                    <a:pt x="1574585" y="2428921"/>
                  </a:cubicBezTo>
                  <a:lnTo>
                    <a:pt x="1514557" y="2428921"/>
                  </a:lnTo>
                  <a:close/>
                  <a:moveTo>
                    <a:pt x="1121398" y="2418143"/>
                  </a:moveTo>
                  <a:lnTo>
                    <a:pt x="1192241" y="2418143"/>
                  </a:lnTo>
                  <a:cubicBezTo>
                    <a:pt x="1202631" y="2418143"/>
                    <a:pt x="1211008" y="2426824"/>
                    <a:pt x="1211008" y="2437218"/>
                  </a:cubicBezTo>
                  <a:lnTo>
                    <a:pt x="1211008" y="2500544"/>
                  </a:lnTo>
                  <a:lnTo>
                    <a:pt x="1215916" y="2497067"/>
                  </a:lnTo>
                  <a:cubicBezTo>
                    <a:pt x="1217056" y="2496252"/>
                    <a:pt x="1218654" y="2496177"/>
                    <a:pt x="1219896" y="2496820"/>
                  </a:cubicBezTo>
                  <a:cubicBezTo>
                    <a:pt x="1221138" y="2497456"/>
                    <a:pt x="1222007" y="2498690"/>
                    <a:pt x="1222007" y="2500110"/>
                  </a:cubicBezTo>
                  <a:lnTo>
                    <a:pt x="1222007" y="2565986"/>
                  </a:lnTo>
                  <a:cubicBezTo>
                    <a:pt x="1222007" y="2567430"/>
                    <a:pt x="1221175" y="2568738"/>
                    <a:pt x="1219896" y="2569404"/>
                  </a:cubicBezTo>
                  <a:cubicBezTo>
                    <a:pt x="1218618" y="2570047"/>
                    <a:pt x="1217014" y="2569927"/>
                    <a:pt x="1215856" y="2569090"/>
                  </a:cubicBezTo>
                  <a:lnTo>
                    <a:pt x="1169682" y="2536152"/>
                  </a:lnTo>
                  <a:cubicBezTo>
                    <a:pt x="1168693" y="2535464"/>
                    <a:pt x="1168126" y="2534320"/>
                    <a:pt x="1168126" y="2533108"/>
                  </a:cubicBezTo>
                  <a:cubicBezTo>
                    <a:pt x="1168126" y="2531897"/>
                    <a:pt x="1168693" y="2530835"/>
                    <a:pt x="1169682" y="2530125"/>
                  </a:cubicBezTo>
                  <a:lnTo>
                    <a:pt x="1201124" y="2507752"/>
                  </a:lnTo>
                  <a:lnTo>
                    <a:pt x="1201124" y="2437218"/>
                  </a:lnTo>
                  <a:cubicBezTo>
                    <a:pt x="1201124" y="2432358"/>
                    <a:pt x="1197108" y="2428395"/>
                    <a:pt x="1192241" y="2428395"/>
                  </a:cubicBezTo>
                  <a:lnTo>
                    <a:pt x="1121398" y="2428395"/>
                  </a:lnTo>
                  <a:cubicBezTo>
                    <a:pt x="1116513" y="2428395"/>
                    <a:pt x="1112636" y="2432358"/>
                    <a:pt x="1112636" y="2437218"/>
                  </a:cubicBezTo>
                  <a:lnTo>
                    <a:pt x="1112636" y="2507752"/>
                  </a:lnTo>
                  <a:lnTo>
                    <a:pt x="1143951" y="2530125"/>
                  </a:lnTo>
                  <a:cubicBezTo>
                    <a:pt x="1144940" y="2530828"/>
                    <a:pt x="1145567" y="2531897"/>
                    <a:pt x="1145567" y="2533108"/>
                  </a:cubicBezTo>
                  <a:cubicBezTo>
                    <a:pt x="1145567" y="2534320"/>
                    <a:pt x="1145006" y="2535501"/>
                    <a:pt x="1144017" y="2536219"/>
                  </a:cubicBezTo>
                  <a:lnTo>
                    <a:pt x="1097783" y="2569090"/>
                  </a:lnTo>
                  <a:cubicBezTo>
                    <a:pt x="1096607" y="2569927"/>
                    <a:pt x="1095081" y="2570047"/>
                    <a:pt x="1093803" y="2569404"/>
                  </a:cubicBezTo>
                  <a:cubicBezTo>
                    <a:pt x="1092531" y="2568738"/>
                    <a:pt x="1091753" y="2567415"/>
                    <a:pt x="1091753" y="2565986"/>
                  </a:cubicBezTo>
                  <a:lnTo>
                    <a:pt x="1091753" y="2500110"/>
                  </a:lnTo>
                  <a:cubicBezTo>
                    <a:pt x="1091753" y="2498712"/>
                    <a:pt x="1092494" y="2497441"/>
                    <a:pt x="1093743" y="2496820"/>
                  </a:cubicBezTo>
                  <a:cubicBezTo>
                    <a:pt x="1094979" y="2496162"/>
                    <a:pt x="1096450" y="2496252"/>
                    <a:pt x="1097596" y="2497067"/>
                  </a:cubicBezTo>
                  <a:lnTo>
                    <a:pt x="1102378" y="2500544"/>
                  </a:lnTo>
                  <a:lnTo>
                    <a:pt x="1102378" y="2437218"/>
                  </a:lnTo>
                  <a:cubicBezTo>
                    <a:pt x="1102378" y="2426824"/>
                    <a:pt x="1110983" y="2418143"/>
                    <a:pt x="1121398" y="2418143"/>
                  </a:cubicBezTo>
                  <a:close/>
                  <a:moveTo>
                    <a:pt x="1032968" y="2408200"/>
                  </a:moveTo>
                  <a:cubicBezTo>
                    <a:pt x="1034122" y="2408200"/>
                    <a:pt x="1035078" y="2409141"/>
                    <a:pt x="1035078" y="2410314"/>
                  </a:cubicBezTo>
                  <a:cubicBezTo>
                    <a:pt x="1035078" y="2410941"/>
                    <a:pt x="1034826" y="2411480"/>
                    <a:pt x="1034393" y="2411869"/>
                  </a:cubicBezTo>
                  <a:lnTo>
                    <a:pt x="1008044" y="2438959"/>
                  </a:lnTo>
                  <a:lnTo>
                    <a:pt x="1045270" y="2438959"/>
                  </a:lnTo>
                  <a:cubicBezTo>
                    <a:pt x="1051506" y="2438959"/>
                    <a:pt x="1056581" y="2444093"/>
                    <a:pt x="1056581" y="2450332"/>
                  </a:cubicBezTo>
                  <a:lnTo>
                    <a:pt x="1056581" y="2534849"/>
                  </a:lnTo>
                  <a:cubicBezTo>
                    <a:pt x="1056581" y="2541095"/>
                    <a:pt x="1051506" y="2546161"/>
                    <a:pt x="1045270" y="2546161"/>
                  </a:cubicBezTo>
                  <a:lnTo>
                    <a:pt x="1022403" y="2546161"/>
                  </a:lnTo>
                  <a:cubicBezTo>
                    <a:pt x="1022734" y="2546952"/>
                    <a:pt x="1022896" y="2547859"/>
                    <a:pt x="1022896" y="2548773"/>
                  </a:cubicBezTo>
                  <a:cubicBezTo>
                    <a:pt x="1022896" y="2552475"/>
                    <a:pt x="1019895" y="2555482"/>
                    <a:pt x="1016185" y="2555482"/>
                  </a:cubicBezTo>
                  <a:lnTo>
                    <a:pt x="967095" y="2555482"/>
                  </a:lnTo>
                  <a:cubicBezTo>
                    <a:pt x="963385" y="2555482"/>
                    <a:pt x="960385" y="2552475"/>
                    <a:pt x="960385" y="2548773"/>
                  </a:cubicBezTo>
                  <a:cubicBezTo>
                    <a:pt x="960385" y="2547859"/>
                    <a:pt x="960547" y="2546952"/>
                    <a:pt x="960878" y="2546161"/>
                  </a:cubicBezTo>
                  <a:lnTo>
                    <a:pt x="938010" y="2546161"/>
                  </a:lnTo>
                  <a:cubicBezTo>
                    <a:pt x="931775" y="2546161"/>
                    <a:pt x="926700" y="2541095"/>
                    <a:pt x="926700" y="2534849"/>
                  </a:cubicBezTo>
                  <a:lnTo>
                    <a:pt x="926700" y="2450332"/>
                  </a:lnTo>
                  <a:cubicBezTo>
                    <a:pt x="926700" y="2444093"/>
                    <a:pt x="931775" y="2438959"/>
                    <a:pt x="938010" y="2438959"/>
                  </a:cubicBezTo>
                  <a:lnTo>
                    <a:pt x="994809" y="2438959"/>
                  </a:lnTo>
                  <a:lnTo>
                    <a:pt x="967468" y="2412489"/>
                  </a:lnTo>
                  <a:cubicBezTo>
                    <a:pt x="966891" y="2412107"/>
                    <a:pt x="966536" y="2411487"/>
                    <a:pt x="966536" y="2410750"/>
                  </a:cubicBezTo>
                  <a:cubicBezTo>
                    <a:pt x="966536" y="2409591"/>
                    <a:pt x="967480" y="2408637"/>
                    <a:pt x="968647" y="2408637"/>
                  </a:cubicBezTo>
                  <a:cubicBezTo>
                    <a:pt x="969278" y="2408637"/>
                    <a:pt x="969819" y="2408889"/>
                    <a:pt x="970198" y="2409318"/>
                  </a:cubicBezTo>
                  <a:lnTo>
                    <a:pt x="1000774" y="2438959"/>
                  </a:lnTo>
                  <a:lnTo>
                    <a:pt x="1002205" y="2438959"/>
                  </a:lnTo>
                  <a:lnTo>
                    <a:pt x="1031224" y="2409134"/>
                  </a:lnTo>
                  <a:cubicBezTo>
                    <a:pt x="1031597" y="2408568"/>
                    <a:pt x="1032228" y="2408200"/>
                    <a:pt x="1032968" y="2408200"/>
                  </a:cubicBezTo>
                  <a:close/>
                  <a:moveTo>
                    <a:pt x="1394202" y="2398254"/>
                  </a:moveTo>
                  <a:cubicBezTo>
                    <a:pt x="1395125" y="2398245"/>
                    <a:pt x="1396039" y="2398557"/>
                    <a:pt x="1396750" y="2399255"/>
                  </a:cubicBezTo>
                  <a:cubicBezTo>
                    <a:pt x="1398189" y="2400651"/>
                    <a:pt x="1398215" y="2402926"/>
                    <a:pt x="1396818" y="2404346"/>
                  </a:cubicBezTo>
                  <a:lnTo>
                    <a:pt x="1356482" y="2445919"/>
                  </a:lnTo>
                  <a:cubicBezTo>
                    <a:pt x="1355771" y="2446650"/>
                    <a:pt x="1354814" y="2447044"/>
                    <a:pt x="1353875" y="2447044"/>
                  </a:cubicBezTo>
                  <a:cubicBezTo>
                    <a:pt x="1352969" y="2447044"/>
                    <a:pt x="1352029" y="2446723"/>
                    <a:pt x="1351327" y="2446042"/>
                  </a:cubicBezTo>
                  <a:cubicBezTo>
                    <a:pt x="1349905" y="2444662"/>
                    <a:pt x="1349862" y="2442331"/>
                    <a:pt x="1351268" y="2440885"/>
                  </a:cubicBezTo>
                  <a:lnTo>
                    <a:pt x="1391654" y="2399313"/>
                  </a:lnTo>
                  <a:cubicBezTo>
                    <a:pt x="1392357" y="2398598"/>
                    <a:pt x="1393279" y="2398270"/>
                    <a:pt x="1394202" y="2398254"/>
                  </a:cubicBezTo>
                  <a:close/>
                  <a:moveTo>
                    <a:pt x="1386254" y="2392292"/>
                  </a:moveTo>
                  <a:cubicBezTo>
                    <a:pt x="1387176" y="2392276"/>
                    <a:pt x="1388090" y="2392596"/>
                    <a:pt x="1388801" y="2393286"/>
                  </a:cubicBezTo>
                  <a:cubicBezTo>
                    <a:pt x="1390232" y="2394665"/>
                    <a:pt x="1390241" y="2396948"/>
                    <a:pt x="1388861" y="2398385"/>
                  </a:cubicBezTo>
                  <a:lnTo>
                    <a:pt x="1348533" y="2439958"/>
                  </a:lnTo>
                  <a:cubicBezTo>
                    <a:pt x="1347822" y="2440680"/>
                    <a:pt x="1346857" y="2441074"/>
                    <a:pt x="1345918" y="2441074"/>
                  </a:cubicBezTo>
                  <a:cubicBezTo>
                    <a:pt x="1345012" y="2441074"/>
                    <a:pt x="1344115" y="2440754"/>
                    <a:pt x="1343438" y="2440081"/>
                  </a:cubicBezTo>
                  <a:cubicBezTo>
                    <a:pt x="1341998" y="2438677"/>
                    <a:pt x="1341922" y="2436336"/>
                    <a:pt x="1343311" y="2434924"/>
                  </a:cubicBezTo>
                  <a:lnTo>
                    <a:pt x="1383706" y="2393352"/>
                  </a:lnTo>
                  <a:cubicBezTo>
                    <a:pt x="1384400" y="2392637"/>
                    <a:pt x="1385322" y="2392309"/>
                    <a:pt x="1386254" y="2392292"/>
                  </a:cubicBezTo>
                  <a:close/>
                  <a:moveTo>
                    <a:pt x="1591726" y="2386058"/>
                  </a:moveTo>
                  <a:lnTo>
                    <a:pt x="1617447" y="2386058"/>
                  </a:lnTo>
                  <a:cubicBezTo>
                    <a:pt x="1617447" y="2386058"/>
                    <a:pt x="1617447" y="2411774"/>
                    <a:pt x="1617447" y="2411774"/>
                  </a:cubicBezTo>
                  <a:lnTo>
                    <a:pt x="1591726" y="2411774"/>
                  </a:lnTo>
                  <a:close/>
                  <a:moveTo>
                    <a:pt x="1384137" y="2384714"/>
                  </a:moveTo>
                  <a:cubicBezTo>
                    <a:pt x="1384137" y="2384714"/>
                    <a:pt x="1332501" y="2435729"/>
                    <a:pt x="1332501" y="2435729"/>
                  </a:cubicBezTo>
                  <a:lnTo>
                    <a:pt x="1356110" y="2457915"/>
                  </a:lnTo>
                  <a:lnTo>
                    <a:pt x="1407128" y="2405340"/>
                  </a:lnTo>
                  <a:close/>
                  <a:moveTo>
                    <a:pt x="1277690" y="2379179"/>
                  </a:moveTo>
                  <a:cubicBezTo>
                    <a:pt x="1274820" y="2379179"/>
                    <a:pt x="1271993" y="2379417"/>
                    <a:pt x="1269233" y="2380050"/>
                  </a:cubicBezTo>
                  <a:cubicBezTo>
                    <a:pt x="1268641" y="2380830"/>
                    <a:pt x="1269589" y="2384689"/>
                    <a:pt x="1274143" y="2389123"/>
                  </a:cubicBezTo>
                  <a:lnTo>
                    <a:pt x="1291852" y="2406399"/>
                  </a:lnTo>
                  <a:cubicBezTo>
                    <a:pt x="1292495" y="2407007"/>
                    <a:pt x="1292834" y="2407877"/>
                    <a:pt x="1292851" y="2408756"/>
                  </a:cubicBezTo>
                  <a:cubicBezTo>
                    <a:pt x="1292868" y="2409675"/>
                    <a:pt x="1292546" y="2410472"/>
                    <a:pt x="1291919" y="2411120"/>
                  </a:cubicBezTo>
                  <a:lnTo>
                    <a:pt x="1274769" y="2428708"/>
                  </a:lnTo>
                  <a:cubicBezTo>
                    <a:pt x="1274126" y="2429365"/>
                    <a:pt x="1273263" y="2429768"/>
                    <a:pt x="1272340" y="2429768"/>
                  </a:cubicBezTo>
                  <a:cubicBezTo>
                    <a:pt x="1271451" y="2429768"/>
                    <a:pt x="1270545" y="2429415"/>
                    <a:pt x="1269919" y="2428766"/>
                  </a:cubicBezTo>
                  <a:lnTo>
                    <a:pt x="1251465" y="2410127"/>
                  </a:lnTo>
                  <a:cubicBezTo>
                    <a:pt x="1247969" y="2406604"/>
                    <a:pt x="1244642" y="2405340"/>
                    <a:pt x="1242822" y="2405340"/>
                  </a:cubicBezTo>
                  <a:cubicBezTo>
                    <a:pt x="1241485" y="2405340"/>
                    <a:pt x="1241197" y="2405865"/>
                    <a:pt x="1241019" y="2406522"/>
                  </a:cubicBezTo>
                  <a:cubicBezTo>
                    <a:pt x="1240147" y="2409675"/>
                    <a:pt x="1239673" y="2412984"/>
                    <a:pt x="1239657" y="2416277"/>
                  </a:cubicBezTo>
                  <a:cubicBezTo>
                    <a:pt x="1239657" y="2436772"/>
                    <a:pt x="1256730" y="2453440"/>
                    <a:pt x="1277690" y="2453440"/>
                  </a:cubicBezTo>
                  <a:cubicBezTo>
                    <a:pt x="1277884" y="2453440"/>
                    <a:pt x="1278071" y="2453473"/>
                    <a:pt x="1278248" y="2453506"/>
                  </a:cubicBezTo>
                  <a:lnTo>
                    <a:pt x="1294400" y="2456240"/>
                  </a:lnTo>
                  <a:lnTo>
                    <a:pt x="1317772" y="2435047"/>
                  </a:lnTo>
                  <a:lnTo>
                    <a:pt x="1315715" y="2416655"/>
                  </a:lnTo>
                  <a:cubicBezTo>
                    <a:pt x="1315706" y="2416531"/>
                    <a:pt x="1315715" y="2416400"/>
                    <a:pt x="1315715" y="2416277"/>
                  </a:cubicBezTo>
                  <a:cubicBezTo>
                    <a:pt x="1315715" y="2395798"/>
                    <a:pt x="1298649" y="2379179"/>
                    <a:pt x="1277690" y="2379179"/>
                  </a:cubicBezTo>
                  <a:close/>
                  <a:moveTo>
                    <a:pt x="1505989" y="2377478"/>
                  </a:moveTo>
                  <a:lnTo>
                    <a:pt x="1505989" y="2463217"/>
                  </a:lnTo>
                  <a:lnTo>
                    <a:pt x="1626021" y="2463217"/>
                  </a:lnTo>
                  <a:cubicBezTo>
                    <a:pt x="1626021" y="2463217"/>
                    <a:pt x="1626021" y="2377478"/>
                    <a:pt x="1626021" y="2377478"/>
                  </a:cubicBezTo>
                  <a:close/>
                  <a:moveTo>
                    <a:pt x="1683116" y="2376162"/>
                  </a:moveTo>
                  <a:cubicBezTo>
                    <a:pt x="1674131" y="2376162"/>
                    <a:pt x="1666831" y="2383519"/>
                    <a:pt x="1666831" y="2392503"/>
                  </a:cubicBezTo>
                  <a:cubicBezTo>
                    <a:pt x="1666831" y="2392503"/>
                    <a:pt x="1666831" y="2412329"/>
                    <a:pt x="1666831" y="2412329"/>
                  </a:cubicBezTo>
                  <a:lnTo>
                    <a:pt x="1719901" y="2412329"/>
                  </a:lnTo>
                  <a:lnTo>
                    <a:pt x="1719901" y="2392503"/>
                  </a:lnTo>
                  <a:cubicBezTo>
                    <a:pt x="1719901" y="2383519"/>
                    <a:pt x="1712596" y="2376162"/>
                    <a:pt x="1703621" y="2376162"/>
                  </a:cubicBezTo>
                  <a:close/>
                  <a:moveTo>
                    <a:pt x="1277622" y="2372405"/>
                  </a:moveTo>
                  <a:cubicBezTo>
                    <a:pt x="1302281" y="2372405"/>
                    <a:pt x="1322334" y="2391964"/>
                    <a:pt x="1322427" y="2416096"/>
                  </a:cubicBezTo>
                  <a:lnTo>
                    <a:pt x="1324298" y="2432748"/>
                  </a:lnTo>
                  <a:lnTo>
                    <a:pt x="1326347" y="2432559"/>
                  </a:lnTo>
                  <a:cubicBezTo>
                    <a:pt x="1326457" y="2432387"/>
                    <a:pt x="1326507" y="2432173"/>
                    <a:pt x="1326651" y="2432001"/>
                  </a:cubicBezTo>
                  <a:lnTo>
                    <a:pt x="1381649" y="2377627"/>
                  </a:lnTo>
                  <a:cubicBezTo>
                    <a:pt x="1382918" y="2376363"/>
                    <a:pt x="1384975" y="2376363"/>
                    <a:pt x="1386313" y="2377562"/>
                  </a:cubicBezTo>
                  <a:lnTo>
                    <a:pt x="1414281" y="2402671"/>
                  </a:lnTo>
                  <a:cubicBezTo>
                    <a:pt x="1414975" y="2403287"/>
                    <a:pt x="1415382" y="2404133"/>
                    <a:pt x="1415399" y="2405028"/>
                  </a:cubicBezTo>
                  <a:cubicBezTo>
                    <a:pt x="1415441" y="2405956"/>
                    <a:pt x="1415085" y="2406867"/>
                    <a:pt x="1414467" y="2407516"/>
                  </a:cubicBezTo>
                  <a:lnTo>
                    <a:pt x="1361019" y="2462513"/>
                  </a:lnTo>
                  <a:lnTo>
                    <a:pt x="1409431" y="2508003"/>
                  </a:lnTo>
                  <a:cubicBezTo>
                    <a:pt x="1413392" y="2511730"/>
                    <a:pt x="1415627" y="2516690"/>
                    <a:pt x="1415703" y="2522052"/>
                  </a:cubicBezTo>
                  <a:cubicBezTo>
                    <a:pt x="1415788" y="2527405"/>
                    <a:pt x="1413689" y="2532496"/>
                    <a:pt x="1409862" y="2536339"/>
                  </a:cubicBezTo>
                  <a:lnTo>
                    <a:pt x="1402405" y="2543795"/>
                  </a:lnTo>
                  <a:cubicBezTo>
                    <a:pt x="1398409" y="2547793"/>
                    <a:pt x="1393093" y="2549764"/>
                    <a:pt x="1387743" y="2549764"/>
                  </a:cubicBezTo>
                  <a:cubicBezTo>
                    <a:pt x="1382614" y="2549764"/>
                    <a:pt x="1377484" y="2547958"/>
                    <a:pt x="1373514" y="2544230"/>
                  </a:cubicBezTo>
                  <a:lnTo>
                    <a:pt x="1315037" y="2489298"/>
                  </a:lnTo>
                  <a:lnTo>
                    <a:pt x="1281973" y="2517577"/>
                  </a:lnTo>
                  <a:lnTo>
                    <a:pt x="1279984" y="2524162"/>
                  </a:lnTo>
                  <a:cubicBezTo>
                    <a:pt x="1279781" y="2524835"/>
                    <a:pt x="1279434" y="2525410"/>
                    <a:pt x="1278866" y="2525837"/>
                  </a:cubicBezTo>
                  <a:lnTo>
                    <a:pt x="1266567" y="2535346"/>
                  </a:lnTo>
                  <a:cubicBezTo>
                    <a:pt x="1261539" y="2539221"/>
                    <a:pt x="1256053" y="2541249"/>
                    <a:pt x="1251584" y="2541249"/>
                  </a:cubicBezTo>
                  <a:cubicBezTo>
                    <a:pt x="1248570" y="2541249"/>
                    <a:pt x="1246039" y="2540313"/>
                    <a:pt x="1244312" y="2538392"/>
                  </a:cubicBezTo>
                  <a:cubicBezTo>
                    <a:pt x="1240054" y="2533597"/>
                    <a:pt x="1242492" y="2524417"/>
                    <a:pt x="1250035" y="2517010"/>
                  </a:cubicBezTo>
                  <a:lnTo>
                    <a:pt x="1260971" y="2506328"/>
                  </a:lnTo>
                  <a:cubicBezTo>
                    <a:pt x="1261547" y="2505745"/>
                    <a:pt x="1262292" y="2505400"/>
                    <a:pt x="1263079" y="2505334"/>
                  </a:cubicBezTo>
                  <a:lnTo>
                    <a:pt x="1270232" y="2504899"/>
                  </a:lnTo>
                  <a:lnTo>
                    <a:pt x="1299064" y="2474255"/>
                  </a:lnTo>
                  <a:lnTo>
                    <a:pt x="1293164" y="2468729"/>
                  </a:lnTo>
                  <a:cubicBezTo>
                    <a:pt x="1292478" y="2468089"/>
                    <a:pt x="1292106" y="2467177"/>
                    <a:pt x="1292106" y="2466241"/>
                  </a:cubicBezTo>
                  <a:lnTo>
                    <a:pt x="1292106" y="2462702"/>
                  </a:lnTo>
                  <a:lnTo>
                    <a:pt x="1277377" y="2460214"/>
                  </a:lnTo>
                  <a:cubicBezTo>
                    <a:pt x="1252837" y="2460066"/>
                    <a:pt x="1232944" y="2440417"/>
                    <a:pt x="1232944" y="2416277"/>
                  </a:cubicBezTo>
                  <a:cubicBezTo>
                    <a:pt x="1232944" y="2412352"/>
                    <a:pt x="1233460" y="2408460"/>
                    <a:pt x="1234501" y="2404724"/>
                  </a:cubicBezTo>
                  <a:cubicBezTo>
                    <a:pt x="1235568" y="2400873"/>
                    <a:pt x="1238700" y="2398566"/>
                    <a:pt x="1242822" y="2398566"/>
                  </a:cubicBezTo>
                  <a:cubicBezTo>
                    <a:pt x="1247072" y="2398566"/>
                    <a:pt x="1252109" y="2401103"/>
                    <a:pt x="1256307" y="2405340"/>
                  </a:cubicBezTo>
                  <a:lnTo>
                    <a:pt x="1272340" y="2421565"/>
                  </a:lnTo>
                  <a:lnTo>
                    <a:pt x="1284707" y="2408821"/>
                  </a:lnTo>
                  <a:lnTo>
                    <a:pt x="1269487" y="2393967"/>
                  </a:lnTo>
                  <a:cubicBezTo>
                    <a:pt x="1263960" y="2388597"/>
                    <a:pt x="1261302" y="2382603"/>
                    <a:pt x="1262520" y="2378309"/>
                  </a:cubicBezTo>
                  <a:cubicBezTo>
                    <a:pt x="1263215" y="2375854"/>
                    <a:pt x="1265111" y="2374039"/>
                    <a:pt x="1267743" y="2373464"/>
                  </a:cubicBezTo>
                  <a:cubicBezTo>
                    <a:pt x="1270977" y="2372734"/>
                    <a:pt x="1274295" y="2372405"/>
                    <a:pt x="1277622" y="2372405"/>
                  </a:cubicBezTo>
                  <a:close/>
                  <a:moveTo>
                    <a:pt x="1497416" y="2368904"/>
                  </a:moveTo>
                  <a:cubicBezTo>
                    <a:pt x="1497416" y="2368904"/>
                    <a:pt x="1634595" y="2368904"/>
                    <a:pt x="1634595" y="2368904"/>
                  </a:cubicBezTo>
                  <a:lnTo>
                    <a:pt x="1634595" y="2471791"/>
                  </a:lnTo>
                  <a:lnTo>
                    <a:pt x="1497416" y="2471791"/>
                  </a:lnTo>
                  <a:close/>
                  <a:moveTo>
                    <a:pt x="1683116" y="2366405"/>
                  </a:moveTo>
                  <a:lnTo>
                    <a:pt x="1703621" y="2366405"/>
                  </a:lnTo>
                  <a:cubicBezTo>
                    <a:pt x="1717986" y="2366405"/>
                    <a:pt x="1729723" y="2378139"/>
                    <a:pt x="1729723" y="2392503"/>
                  </a:cubicBezTo>
                  <a:lnTo>
                    <a:pt x="1729723" y="2412329"/>
                  </a:lnTo>
                  <a:lnTo>
                    <a:pt x="1739291" y="2412329"/>
                  </a:lnTo>
                  <a:cubicBezTo>
                    <a:pt x="1741986" y="2412329"/>
                    <a:pt x="1744202" y="2414542"/>
                    <a:pt x="1744202" y="2417242"/>
                  </a:cubicBezTo>
                  <a:lnTo>
                    <a:pt x="1744202" y="2464967"/>
                  </a:lnTo>
                  <a:cubicBezTo>
                    <a:pt x="1744202" y="2484880"/>
                    <a:pt x="1727945" y="2501071"/>
                    <a:pt x="1708033" y="2501071"/>
                  </a:cubicBezTo>
                  <a:lnTo>
                    <a:pt x="1678704" y="2501071"/>
                  </a:lnTo>
                  <a:cubicBezTo>
                    <a:pt x="1658787" y="2501071"/>
                    <a:pt x="1642596" y="2484880"/>
                    <a:pt x="1642596" y="2464967"/>
                  </a:cubicBezTo>
                  <a:lnTo>
                    <a:pt x="1642596" y="2417242"/>
                  </a:lnTo>
                  <a:cubicBezTo>
                    <a:pt x="1642596" y="2414542"/>
                    <a:pt x="1644802" y="2412329"/>
                    <a:pt x="1647507" y="2412329"/>
                  </a:cubicBezTo>
                  <a:lnTo>
                    <a:pt x="1657075" y="2412329"/>
                  </a:lnTo>
                  <a:lnTo>
                    <a:pt x="1657075" y="2392503"/>
                  </a:lnTo>
                  <a:cubicBezTo>
                    <a:pt x="1657075" y="2378139"/>
                    <a:pt x="1668745" y="2366405"/>
                    <a:pt x="1683116" y="2366405"/>
                  </a:cubicBezTo>
                  <a:close/>
                  <a:moveTo>
                    <a:pt x="1108352" y="2354701"/>
                  </a:moveTo>
                  <a:cubicBezTo>
                    <a:pt x="1104207" y="2354701"/>
                    <a:pt x="1100871" y="2358044"/>
                    <a:pt x="1100871" y="2362176"/>
                  </a:cubicBezTo>
                  <a:cubicBezTo>
                    <a:pt x="1100871" y="2366319"/>
                    <a:pt x="1104207" y="2369641"/>
                    <a:pt x="1108352" y="2369641"/>
                  </a:cubicBezTo>
                  <a:cubicBezTo>
                    <a:pt x="1112498" y="2369641"/>
                    <a:pt x="1115834" y="2366319"/>
                    <a:pt x="1115834" y="2362176"/>
                  </a:cubicBezTo>
                  <a:cubicBezTo>
                    <a:pt x="1115834" y="2358044"/>
                    <a:pt x="1112498" y="2354701"/>
                    <a:pt x="1108352" y="2354701"/>
                  </a:cubicBezTo>
                  <a:close/>
                  <a:moveTo>
                    <a:pt x="1505989" y="2351762"/>
                  </a:moveTo>
                  <a:lnTo>
                    <a:pt x="1626021" y="2351762"/>
                  </a:lnTo>
                  <a:cubicBezTo>
                    <a:pt x="1626021" y="2351762"/>
                    <a:pt x="1626021" y="2360330"/>
                    <a:pt x="1626021" y="2360330"/>
                  </a:cubicBezTo>
                  <a:lnTo>
                    <a:pt x="1505989" y="2360330"/>
                  </a:lnTo>
                  <a:close/>
                  <a:moveTo>
                    <a:pt x="1514557" y="2334608"/>
                  </a:moveTo>
                  <a:lnTo>
                    <a:pt x="1617447" y="2334608"/>
                  </a:lnTo>
                  <a:cubicBezTo>
                    <a:pt x="1617447" y="2334608"/>
                    <a:pt x="1617447" y="2343182"/>
                    <a:pt x="1617447" y="2343182"/>
                  </a:cubicBezTo>
                  <a:lnTo>
                    <a:pt x="1514557" y="2343182"/>
                  </a:lnTo>
                  <a:close/>
                  <a:moveTo>
                    <a:pt x="1755409" y="2320161"/>
                  </a:moveTo>
                  <a:cubicBezTo>
                    <a:pt x="1749816" y="2320161"/>
                    <a:pt x="1744537" y="2322596"/>
                    <a:pt x="1740539" y="2327015"/>
                  </a:cubicBezTo>
                  <a:lnTo>
                    <a:pt x="1739873" y="2327756"/>
                  </a:lnTo>
                  <a:cubicBezTo>
                    <a:pt x="1731405" y="2337135"/>
                    <a:pt x="1731394" y="2352390"/>
                    <a:pt x="1739853" y="2361773"/>
                  </a:cubicBezTo>
                  <a:lnTo>
                    <a:pt x="1780973" y="2406086"/>
                  </a:lnTo>
                  <a:lnTo>
                    <a:pt x="1822093" y="2361773"/>
                  </a:lnTo>
                  <a:cubicBezTo>
                    <a:pt x="1830552" y="2352390"/>
                    <a:pt x="1830537" y="2337135"/>
                    <a:pt x="1822068" y="2327756"/>
                  </a:cubicBezTo>
                  <a:lnTo>
                    <a:pt x="1821402" y="2327020"/>
                  </a:lnTo>
                  <a:cubicBezTo>
                    <a:pt x="1817409" y="2322596"/>
                    <a:pt x="1812136" y="2320161"/>
                    <a:pt x="1806548" y="2320161"/>
                  </a:cubicBezTo>
                  <a:cubicBezTo>
                    <a:pt x="1800954" y="2320161"/>
                    <a:pt x="1795676" y="2322596"/>
                    <a:pt x="1791677" y="2327015"/>
                  </a:cubicBezTo>
                  <a:lnTo>
                    <a:pt x="1783727" y="2335825"/>
                  </a:lnTo>
                  <a:cubicBezTo>
                    <a:pt x="1783021" y="2336603"/>
                    <a:pt x="1782020" y="2337049"/>
                    <a:pt x="1780973" y="2337049"/>
                  </a:cubicBezTo>
                  <a:cubicBezTo>
                    <a:pt x="1779922" y="2337049"/>
                    <a:pt x="1778921" y="2336603"/>
                    <a:pt x="1778220" y="2335825"/>
                  </a:cubicBezTo>
                  <a:lnTo>
                    <a:pt x="1770264" y="2327015"/>
                  </a:lnTo>
                  <a:cubicBezTo>
                    <a:pt x="1766276" y="2322596"/>
                    <a:pt x="1760997" y="2320161"/>
                    <a:pt x="1755409" y="2320161"/>
                  </a:cubicBezTo>
                  <a:close/>
                  <a:moveTo>
                    <a:pt x="1755399" y="2312733"/>
                  </a:moveTo>
                  <a:cubicBezTo>
                    <a:pt x="1763121" y="2312733"/>
                    <a:pt x="1770355" y="2316041"/>
                    <a:pt x="1775776" y="2322041"/>
                  </a:cubicBezTo>
                  <a:lnTo>
                    <a:pt x="1780973" y="2327794"/>
                  </a:lnTo>
                  <a:lnTo>
                    <a:pt x="1786170" y="2322041"/>
                  </a:lnTo>
                  <a:cubicBezTo>
                    <a:pt x="1791586" y="2316041"/>
                    <a:pt x="1798820" y="2312733"/>
                    <a:pt x="1806548" y="2312733"/>
                  </a:cubicBezTo>
                  <a:cubicBezTo>
                    <a:pt x="1814260" y="2312733"/>
                    <a:pt x="1821499" y="2316041"/>
                    <a:pt x="1826915" y="2322041"/>
                  </a:cubicBezTo>
                  <a:lnTo>
                    <a:pt x="1827580" y="2322777"/>
                  </a:lnTo>
                  <a:cubicBezTo>
                    <a:pt x="1832904" y="2328672"/>
                    <a:pt x="1835841" y="2336489"/>
                    <a:pt x="1835841" y="2344772"/>
                  </a:cubicBezTo>
                  <a:cubicBezTo>
                    <a:pt x="1835841" y="2353064"/>
                    <a:pt x="1832904" y="2360876"/>
                    <a:pt x="1827580" y="2366767"/>
                  </a:cubicBezTo>
                  <a:cubicBezTo>
                    <a:pt x="1827570" y="2366776"/>
                    <a:pt x="1827555" y="2366795"/>
                    <a:pt x="1827545" y="2366805"/>
                  </a:cubicBezTo>
                  <a:lnTo>
                    <a:pt x="1783691" y="2414074"/>
                  </a:lnTo>
                  <a:cubicBezTo>
                    <a:pt x="1782985" y="2414824"/>
                    <a:pt x="1782010" y="2415256"/>
                    <a:pt x="1780973" y="2415256"/>
                  </a:cubicBezTo>
                  <a:cubicBezTo>
                    <a:pt x="1779937" y="2415256"/>
                    <a:pt x="1778956" y="2414824"/>
                    <a:pt x="1778255" y="2414074"/>
                  </a:cubicBezTo>
                  <a:lnTo>
                    <a:pt x="1734397" y="2366805"/>
                  </a:lnTo>
                  <a:cubicBezTo>
                    <a:pt x="1734387" y="2366795"/>
                    <a:pt x="1734377" y="2366776"/>
                    <a:pt x="1734361" y="2366767"/>
                  </a:cubicBezTo>
                  <a:cubicBezTo>
                    <a:pt x="1729037" y="2360876"/>
                    <a:pt x="1726106" y="2353064"/>
                    <a:pt x="1726106" y="2344772"/>
                  </a:cubicBezTo>
                  <a:cubicBezTo>
                    <a:pt x="1726106" y="2336489"/>
                    <a:pt x="1729037" y="2328672"/>
                    <a:pt x="1734361" y="2322777"/>
                  </a:cubicBezTo>
                  <a:lnTo>
                    <a:pt x="1735027" y="2322041"/>
                  </a:lnTo>
                  <a:cubicBezTo>
                    <a:pt x="1740448" y="2316041"/>
                    <a:pt x="1747682" y="2312733"/>
                    <a:pt x="1755399" y="2312733"/>
                  </a:cubicBezTo>
                  <a:close/>
                  <a:moveTo>
                    <a:pt x="992150" y="2287020"/>
                  </a:moveTo>
                  <a:lnTo>
                    <a:pt x="968039" y="2331829"/>
                  </a:lnTo>
                  <a:cubicBezTo>
                    <a:pt x="965880" y="2335842"/>
                    <a:pt x="964779" y="2340178"/>
                    <a:pt x="964779" y="2344778"/>
                  </a:cubicBezTo>
                  <a:cubicBezTo>
                    <a:pt x="964779" y="2359845"/>
                    <a:pt x="977050" y="2372125"/>
                    <a:pt x="992150" y="2372125"/>
                  </a:cubicBezTo>
                  <a:cubicBezTo>
                    <a:pt x="1007222" y="2372125"/>
                    <a:pt x="1019497" y="2359845"/>
                    <a:pt x="1019497" y="2344778"/>
                  </a:cubicBezTo>
                  <a:cubicBezTo>
                    <a:pt x="1019497" y="2340178"/>
                    <a:pt x="1018410" y="2335842"/>
                    <a:pt x="1016258" y="2331829"/>
                  </a:cubicBezTo>
                  <a:close/>
                  <a:moveTo>
                    <a:pt x="1112336" y="2280162"/>
                  </a:moveTo>
                  <a:lnTo>
                    <a:pt x="1184610" y="2280162"/>
                  </a:lnTo>
                  <a:cubicBezTo>
                    <a:pt x="1186651" y="2280162"/>
                    <a:pt x="1188293" y="2281926"/>
                    <a:pt x="1188293" y="2284090"/>
                  </a:cubicBezTo>
                  <a:cubicBezTo>
                    <a:pt x="1188293" y="2286253"/>
                    <a:pt x="1186651" y="2288017"/>
                    <a:pt x="1184610" y="2288017"/>
                  </a:cubicBezTo>
                  <a:lnTo>
                    <a:pt x="1112336" y="2288017"/>
                  </a:lnTo>
                  <a:cubicBezTo>
                    <a:pt x="1110294" y="2288017"/>
                    <a:pt x="1108660" y="2286253"/>
                    <a:pt x="1108660" y="2284090"/>
                  </a:cubicBezTo>
                  <a:cubicBezTo>
                    <a:pt x="1108660" y="2281926"/>
                    <a:pt x="1110294" y="2280162"/>
                    <a:pt x="1112336" y="2280162"/>
                  </a:cubicBezTo>
                  <a:close/>
                  <a:moveTo>
                    <a:pt x="992150" y="2272961"/>
                  </a:moveTo>
                  <a:cubicBezTo>
                    <a:pt x="994752" y="2272961"/>
                    <a:pt x="997023" y="2274415"/>
                    <a:pt x="998173" y="2276573"/>
                  </a:cubicBezTo>
                  <a:lnTo>
                    <a:pt x="1025286" y="2326981"/>
                  </a:lnTo>
                  <a:cubicBezTo>
                    <a:pt x="1028146" y="2332260"/>
                    <a:pt x="1029766" y="2338329"/>
                    <a:pt x="1029766" y="2344778"/>
                  </a:cubicBezTo>
                  <a:cubicBezTo>
                    <a:pt x="1029766" y="2365539"/>
                    <a:pt x="1012917" y="2382389"/>
                    <a:pt x="992150" y="2382389"/>
                  </a:cubicBezTo>
                  <a:cubicBezTo>
                    <a:pt x="971376" y="2382389"/>
                    <a:pt x="954528" y="2365539"/>
                    <a:pt x="954528" y="2344778"/>
                  </a:cubicBezTo>
                  <a:cubicBezTo>
                    <a:pt x="954528" y="2338329"/>
                    <a:pt x="956147" y="2332260"/>
                    <a:pt x="959004" y="2326981"/>
                  </a:cubicBezTo>
                  <a:lnTo>
                    <a:pt x="986121" y="2276573"/>
                  </a:lnTo>
                  <a:cubicBezTo>
                    <a:pt x="987274" y="2274415"/>
                    <a:pt x="989541" y="2272961"/>
                    <a:pt x="992150" y="2272961"/>
                  </a:cubicBezTo>
                  <a:close/>
                  <a:moveTo>
                    <a:pt x="1874510" y="2263230"/>
                  </a:moveTo>
                  <a:cubicBezTo>
                    <a:pt x="1871563" y="2263230"/>
                    <a:pt x="1869177" y="2265621"/>
                    <a:pt x="1869177" y="2268565"/>
                  </a:cubicBezTo>
                  <a:lnTo>
                    <a:pt x="1869177" y="2298601"/>
                  </a:lnTo>
                  <a:cubicBezTo>
                    <a:pt x="1869177" y="2301539"/>
                    <a:pt x="1871563" y="2303941"/>
                    <a:pt x="1874510" y="2303941"/>
                  </a:cubicBezTo>
                  <a:lnTo>
                    <a:pt x="1895827" y="2303941"/>
                  </a:lnTo>
                  <a:cubicBezTo>
                    <a:pt x="1898774" y="2303941"/>
                    <a:pt x="1901165" y="2301539"/>
                    <a:pt x="1901165" y="2298601"/>
                  </a:cubicBezTo>
                  <a:cubicBezTo>
                    <a:pt x="1901165" y="2298601"/>
                    <a:pt x="1901165" y="2268565"/>
                    <a:pt x="1901165" y="2268565"/>
                  </a:cubicBezTo>
                  <a:cubicBezTo>
                    <a:pt x="1901165" y="2265621"/>
                    <a:pt x="1898774" y="2263230"/>
                    <a:pt x="1895827" y="2263230"/>
                  </a:cubicBezTo>
                  <a:close/>
                  <a:moveTo>
                    <a:pt x="1836935" y="2263230"/>
                  </a:moveTo>
                  <a:cubicBezTo>
                    <a:pt x="1833993" y="2263230"/>
                    <a:pt x="1831611" y="2265621"/>
                    <a:pt x="1831611" y="2268565"/>
                  </a:cubicBezTo>
                  <a:lnTo>
                    <a:pt x="1831611" y="2298601"/>
                  </a:lnTo>
                  <a:cubicBezTo>
                    <a:pt x="1831611" y="2301539"/>
                    <a:pt x="1833993" y="2303941"/>
                    <a:pt x="1836935" y="2303941"/>
                  </a:cubicBezTo>
                  <a:lnTo>
                    <a:pt x="1858270" y="2303941"/>
                  </a:lnTo>
                  <a:cubicBezTo>
                    <a:pt x="1861208" y="2303941"/>
                    <a:pt x="1863581" y="2301539"/>
                    <a:pt x="1863581" y="2298601"/>
                  </a:cubicBezTo>
                  <a:cubicBezTo>
                    <a:pt x="1863581" y="2298601"/>
                    <a:pt x="1863581" y="2268565"/>
                    <a:pt x="1863581" y="2268565"/>
                  </a:cubicBezTo>
                  <a:cubicBezTo>
                    <a:pt x="1863581" y="2265621"/>
                    <a:pt x="1861208" y="2263230"/>
                    <a:pt x="1858270" y="2263230"/>
                  </a:cubicBezTo>
                  <a:close/>
                  <a:moveTo>
                    <a:pt x="1112336" y="2258967"/>
                  </a:moveTo>
                  <a:lnTo>
                    <a:pt x="1184610" y="2258967"/>
                  </a:lnTo>
                  <a:cubicBezTo>
                    <a:pt x="1186651" y="2258967"/>
                    <a:pt x="1188293" y="2260731"/>
                    <a:pt x="1188293" y="2262853"/>
                  </a:cubicBezTo>
                  <a:cubicBezTo>
                    <a:pt x="1188293" y="2265027"/>
                    <a:pt x="1186651" y="2266791"/>
                    <a:pt x="1184610" y="2266791"/>
                  </a:cubicBezTo>
                  <a:lnTo>
                    <a:pt x="1112336" y="2266791"/>
                  </a:lnTo>
                  <a:cubicBezTo>
                    <a:pt x="1110294" y="2266791"/>
                    <a:pt x="1108660" y="2265027"/>
                    <a:pt x="1108660" y="2262853"/>
                  </a:cubicBezTo>
                  <a:cubicBezTo>
                    <a:pt x="1108660" y="2260731"/>
                    <a:pt x="1110294" y="2258967"/>
                    <a:pt x="1112336" y="2258967"/>
                  </a:cubicBezTo>
                  <a:close/>
                  <a:moveTo>
                    <a:pt x="1736361" y="2248408"/>
                  </a:moveTo>
                  <a:cubicBezTo>
                    <a:pt x="1739482" y="2248408"/>
                    <a:pt x="1742029" y="2250953"/>
                    <a:pt x="1742029" y="2254078"/>
                  </a:cubicBezTo>
                  <a:lnTo>
                    <a:pt x="1742029" y="2265411"/>
                  </a:lnTo>
                  <a:lnTo>
                    <a:pt x="1753364" y="2265411"/>
                  </a:lnTo>
                  <a:cubicBezTo>
                    <a:pt x="1756485" y="2265411"/>
                    <a:pt x="1759038" y="2267946"/>
                    <a:pt x="1759038" y="2271086"/>
                  </a:cubicBezTo>
                  <a:cubicBezTo>
                    <a:pt x="1759038" y="2274212"/>
                    <a:pt x="1756485" y="2276738"/>
                    <a:pt x="1753364" y="2276738"/>
                  </a:cubicBezTo>
                  <a:lnTo>
                    <a:pt x="1742029" y="2276738"/>
                  </a:lnTo>
                  <a:lnTo>
                    <a:pt x="1742029" y="2288080"/>
                  </a:lnTo>
                  <a:cubicBezTo>
                    <a:pt x="1742029" y="2291205"/>
                    <a:pt x="1739482" y="2293746"/>
                    <a:pt x="1736361" y="2293746"/>
                  </a:cubicBezTo>
                  <a:cubicBezTo>
                    <a:pt x="1733229" y="2293746"/>
                    <a:pt x="1730693" y="2291205"/>
                    <a:pt x="1730693" y="2288080"/>
                  </a:cubicBezTo>
                  <a:lnTo>
                    <a:pt x="1730693" y="2276738"/>
                  </a:lnTo>
                  <a:lnTo>
                    <a:pt x="1719346" y="2276738"/>
                  </a:lnTo>
                  <a:cubicBezTo>
                    <a:pt x="1716226" y="2276738"/>
                    <a:pt x="1713691" y="2274212"/>
                    <a:pt x="1713691" y="2271086"/>
                  </a:cubicBezTo>
                  <a:cubicBezTo>
                    <a:pt x="1713691" y="2267946"/>
                    <a:pt x="1716226" y="2265411"/>
                    <a:pt x="1719346" y="2265411"/>
                  </a:cubicBezTo>
                  <a:lnTo>
                    <a:pt x="1730693" y="2265411"/>
                  </a:lnTo>
                  <a:lnTo>
                    <a:pt x="1730693" y="2254078"/>
                  </a:lnTo>
                  <a:cubicBezTo>
                    <a:pt x="1730693" y="2250953"/>
                    <a:pt x="1733229" y="2248408"/>
                    <a:pt x="1736361" y="2248408"/>
                  </a:cubicBezTo>
                  <a:close/>
                  <a:moveTo>
                    <a:pt x="1112336" y="2237740"/>
                  </a:moveTo>
                  <a:lnTo>
                    <a:pt x="1184610" y="2237740"/>
                  </a:lnTo>
                  <a:cubicBezTo>
                    <a:pt x="1186651" y="2237740"/>
                    <a:pt x="1188293" y="2239494"/>
                    <a:pt x="1188293" y="2241657"/>
                  </a:cubicBezTo>
                  <a:cubicBezTo>
                    <a:pt x="1188293" y="2243821"/>
                    <a:pt x="1186651" y="2245554"/>
                    <a:pt x="1184610" y="2245554"/>
                  </a:cubicBezTo>
                  <a:lnTo>
                    <a:pt x="1112336" y="2245554"/>
                  </a:lnTo>
                  <a:cubicBezTo>
                    <a:pt x="1110294" y="2245554"/>
                    <a:pt x="1108660" y="2243821"/>
                    <a:pt x="1108660" y="2241657"/>
                  </a:cubicBezTo>
                  <a:cubicBezTo>
                    <a:pt x="1108660" y="2239494"/>
                    <a:pt x="1110294" y="2237740"/>
                    <a:pt x="1112336" y="2237740"/>
                  </a:cubicBezTo>
                  <a:close/>
                  <a:moveTo>
                    <a:pt x="1874510" y="2232071"/>
                  </a:moveTo>
                  <a:cubicBezTo>
                    <a:pt x="1871563" y="2232071"/>
                    <a:pt x="1869177" y="2234457"/>
                    <a:pt x="1869177" y="2237401"/>
                  </a:cubicBezTo>
                  <a:lnTo>
                    <a:pt x="1869177" y="2250727"/>
                  </a:lnTo>
                  <a:cubicBezTo>
                    <a:pt x="1869177" y="2253671"/>
                    <a:pt x="1871563" y="2256073"/>
                    <a:pt x="1874510" y="2256073"/>
                  </a:cubicBezTo>
                  <a:lnTo>
                    <a:pt x="1904551" y="2256073"/>
                  </a:lnTo>
                  <a:cubicBezTo>
                    <a:pt x="1907475" y="2256073"/>
                    <a:pt x="1909871" y="2253671"/>
                    <a:pt x="1909871" y="2250727"/>
                  </a:cubicBezTo>
                  <a:cubicBezTo>
                    <a:pt x="1909871" y="2250727"/>
                    <a:pt x="1909871" y="2237401"/>
                    <a:pt x="1909871" y="2237401"/>
                  </a:cubicBezTo>
                  <a:cubicBezTo>
                    <a:pt x="1909871" y="2234457"/>
                    <a:pt x="1907489" y="2232071"/>
                    <a:pt x="1904551" y="2232071"/>
                  </a:cubicBezTo>
                  <a:close/>
                  <a:moveTo>
                    <a:pt x="1828239" y="2232071"/>
                  </a:moveTo>
                  <a:cubicBezTo>
                    <a:pt x="1825296" y="2232071"/>
                    <a:pt x="1822919" y="2234457"/>
                    <a:pt x="1822919" y="2237401"/>
                  </a:cubicBezTo>
                  <a:lnTo>
                    <a:pt x="1822919" y="2250727"/>
                  </a:lnTo>
                  <a:cubicBezTo>
                    <a:pt x="1822919" y="2253671"/>
                    <a:pt x="1825296" y="2256073"/>
                    <a:pt x="1828239" y="2256073"/>
                  </a:cubicBezTo>
                  <a:lnTo>
                    <a:pt x="1858292" y="2256073"/>
                  </a:lnTo>
                  <a:cubicBezTo>
                    <a:pt x="1861217" y="2256073"/>
                    <a:pt x="1863617" y="2253671"/>
                    <a:pt x="1863617" y="2250727"/>
                  </a:cubicBezTo>
                  <a:lnTo>
                    <a:pt x="1863617" y="2237401"/>
                  </a:lnTo>
                  <a:cubicBezTo>
                    <a:pt x="1863617" y="2234457"/>
                    <a:pt x="1861217" y="2232071"/>
                    <a:pt x="1858292" y="2232071"/>
                  </a:cubicBezTo>
                  <a:close/>
                  <a:moveTo>
                    <a:pt x="1865244" y="2229381"/>
                  </a:moveTo>
                  <a:cubicBezTo>
                    <a:pt x="1865655" y="2229753"/>
                    <a:pt x="1866040" y="2230137"/>
                    <a:pt x="1866401" y="2230554"/>
                  </a:cubicBezTo>
                  <a:cubicBezTo>
                    <a:pt x="1866754" y="2230137"/>
                    <a:pt x="1867124" y="2229753"/>
                    <a:pt x="1867531" y="2229404"/>
                  </a:cubicBezTo>
                  <a:cubicBezTo>
                    <a:pt x="1866781" y="2229404"/>
                    <a:pt x="1866013" y="2229381"/>
                    <a:pt x="1865244" y="2229381"/>
                  </a:cubicBezTo>
                  <a:close/>
                  <a:moveTo>
                    <a:pt x="1100624" y="2219067"/>
                  </a:moveTo>
                  <a:cubicBezTo>
                    <a:pt x="1096209" y="2219067"/>
                    <a:pt x="1092649" y="2222595"/>
                    <a:pt x="1092649" y="2226953"/>
                  </a:cubicBezTo>
                  <a:lnTo>
                    <a:pt x="1092649" y="2299840"/>
                  </a:lnTo>
                  <a:cubicBezTo>
                    <a:pt x="1092649" y="2304199"/>
                    <a:pt x="1096240" y="2307716"/>
                    <a:pt x="1100624" y="2307716"/>
                  </a:cubicBezTo>
                  <a:lnTo>
                    <a:pt x="1115580" y="2307716"/>
                  </a:lnTo>
                  <a:lnTo>
                    <a:pt x="1115580" y="2323200"/>
                  </a:lnTo>
                  <a:lnTo>
                    <a:pt x="1131067" y="2307716"/>
                  </a:lnTo>
                  <a:lnTo>
                    <a:pt x="1196136" y="2307716"/>
                  </a:lnTo>
                  <a:cubicBezTo>
                    <a:pt x="1200559" y="2307716"/>
                    <a:pt x="1204111" y="2304199"/>
                    <a:pt x="1204111" y="2299840"/>
                  </a:cubicBezTo>
                  <a:cubicBezTo>
                    <a:pt x="1204111" y="2299840"/>
                    <a:pt x="1204111" y="2226953"/>
                    <a:pt x="1204111" y="2226953"/>
                  </a:cubicBezTo>
                  <a:cubicBezTo>
                    <a:pt x="1204111" y="2222595"/>
                    <a:pt x="1200528" y="2219067"/>
                    <a:pt x="1196136" y="2219067"/>
                  </a:cubicBezTo>
                  <a:close/>
                  <a:moveTo>
                    <a:pt x="1639999" y="2197394"/>
                  </a:moveTo>
                  <a:lnTo>
                    <a:pt x="1730693" y="2197394"/>
                  </a:lnTo>
                  <a:cubicBezTo>
                    <a:pt x="1736947" y="2197394"/>
                    <a:pt x="1742029" y="2202474"/>
                    <a:pt x="1742029" y="2208721"/>
                  </a:cubicBezTo>
                  <a:lnTo>
                    <a:pt x="1742029" y="2244307"/>
                  </a:lnTo>
                  <a:cubicBezTo>
                    <a:pt x="1740351" y="2243337"/>
                    <a:pt x="1738431" y="2242742"/>
                    <a:pt x="1736361" y="2242742"/>
                  </a:cubicBezTo>
                  <a:cubicBezTo>
                    <a:pt x="1734279" y="2242742"/>
                    <a:pt x="1732371" y="2243337"/>
                    <a:pt x="1730693" y="2244307"/>
                  </a:cubicBezTo>
                  <a:lnTo>
                    <a:pt x="1730693" y="2208721"/>
                  </a:lnTo>
                  <a:lnTo>
                    <a:pt x="1639999" y="2208721"/>
                  </a:lnTo>
                  <a:lnTo>
                    <a:pt x="1639999" y="2265411"/>
                  </a:lnTo>
                  <a:cubicBezTo>
                    <a:pt x="1639999" y="2265411"/>
                    <a:pt x="1709592" y="2265411"/>
                    <a:pt x="1709592" y="2265411"/>
                  </a:cubicBezTo>
                  <a:cubicBezTo>
                    <a:pt x="1708620" y="2267086"/>
                    <a:pt x="1708023" y="2269007"/>
                    <a:pt x="1708023" y="2271086"/>
                  </a:cubicBezTo>
                  <a:cubicBezTo>
                    <a:pt x="1708023" y="2273156"/>
                    <a:pt x="1708620" y="2275067"/>
                    <a:pt x="1709592" y="2276738"/>
                  </a:cubicBezTo>
                  <a:lnTo>
                    <a:pt x="1679498" y="2276738"/>
                  </a:lnTo>
                  <a:lnTo>
                    <a:pt x="1664052" y="2296209"/>
                  </a:lnTo>
                  <a:cubicBezTo>
                    <a:pt x="1660159" y="2301111"/>
                    <a:pt x="1657008" y="2300026"/>
                    <a:pt x="1657008" y="2293746"/>
                  </a:cubicBezTo>
                  <a:cubicBezTo>
                    <a:pt x="1657008" y="2293746"/>
                    <a:pt x="1657008" y="2276738"/>
                    <a:pt x="1657008" y="2276738"/>
                  </a:cubicBezTo>
                  <a:lnTo>
                    <a:pt x="1639999" y="2276738"/>
                  </a:lnTo>
                  <a:cubicBezTo>
                    <a:pt x="1633746" y="2276738"/>
                    <a:pt x="1628664" y="2271677"/>
                    <a:pt x="1628664" y="2265411"/>
                  </a:cubicBezTo>
                  <a:lnTo>
                    <a:pt x="1628664" y="2208721"/>
                  </a:lnTo>
                  <a:cubicBezTo>
                    <a:pt x="1628664" y="2202474"/>
                    <a:pt x="1633746" y="2197394"/>
                    <a:pt x="1639999" y="2197394"/>
                  </a:cubicBezTo>
                  <a:close/>
                  <a:moveTo>
                    <a:pt x="1842188" y="2193373"/>
                  </a:moveTo>
                  <a:cubicBezTo>
                    <a:pt x="1841333" y="2193373"/>
                    <a:pt x="1840488" y="2193722"/>
                    <a:pt x="1839891" y="2194343"/>
                  </a:cubicBezTo>
                  <a:lnTo>
                    <a:pt x="1833243" y="2201347"/>
                  </a:lnTo>
                  <a:cubicBezTo>
                    <a:pt x="1832673" y="2201939"/>
                    <a:pt x="1832366" y="2202700"/>
                    <a:pt x="1832366" y="2203524"/>
                  </a:cubicBezTo>
                  <a:cubicBezTo>
                    <a:pt x="1832366" y="2204353"/>
                    <a:pt x="1832705" y="2205148"/>
                    <a:pt x="1833319" y="2205723"/>
                  </a:cubicBezTo>
                  <a:lnTo>
                    <a:pt x="1857628" y="2223403"/>
                  </a:lnTo>
                  <a:cubicBezTo>
                    <a:pt x="1858306" y="2224029"/>
                    <a:pt x="1859029" y="2224322"/>
                    <a:pt x="1859829" y="2224322"/>
                  </a:cubicBezTo>
                  <a:cubicBezTo>
                    <a:pt x="1860765" y="2224300"/>
                    <a:pt x="1861533" y="2223950"/>
                    <a:pt x="1862103" y="2223341"/>
                  </a:cubicBezTo>
                  <a:lnTo>
                    <a:pt x="1863305" y="2222095"/>
                  </a:lnTo>
                  <a:cubicBezTo>
                    <a:pt x="1863784" y="2221570"/>
                    <a:pt x="1864073" y="2220882"/>
                    <a:pt x="1864128" y="2220110"/>
                  </a:cubicBezTo>
                  <a:cubicBezTo>
                    <a:pt x="1864128" y="2220059"/>
                    <a:pt x="1864132" y="2219963"/>
                    <a:pt x="1864132" y="2219862"/>
                  </a:cubicBezTo>
                  <a:cubicBezTo>
                    <a:pt x="1864105" y="2218987"/>
                    <a:pt x="1863802" y="2218277"/>
                    <a:pt x="1863224" y="2217724"/>
                  </a:cubicBezTo>
                  <a:lnTo>
                    <a:pt x="1844172" y="2194100"/>
                  </a:lnTo>
                  <a:cubicBezTo>
                    <a:pt x="1843693" y="2193643"/>
                    <a:pt x="1842961" y="2193373"/>
                    <a:pt x="1842188" y="2193373"/>
                  </a:cubicBezTo>
                  <a:close/>
                  <a:moveTo>
                    <a:pt x="1889996" y="2192521"/>
                  </a:moveTo>
                  <a:cubicBezTo>
                    <a:pt x="1889155" y="2192521"/>
                    <a:pt x="1888368" y="2192859"/>
                    <a:pt x="1887794" y="2193469"/>
                  </a:cubicBezTo>
                  <a:lnTo>
                    <a:pt x="1870108" y="2217786"/>
                  </a:lnTo>
                  <a:cubicBezTo>
                    <a:pt x="1869538" y="2218401"/>
                    <a:pt x="1869262" y="2219089"/>
                    <a:pt x="1869235" y="2219895"/>
                  </a:cubicBezTo>
                  <a:cubicBezTo>
                    <a:pt x="1869244" y="2220014"/>
                    <a:pt x="1869235" y="2220093"/>
                    <a:pt x="1869222" y="2220172"/>
                  </a:cubicBezTo>
                  <a:cubicBezTo>
                    <a:pt x="1869262" y="2220973"/>
                    <a:pt x="1869606" y="2221723"/>
                    <a:pt x="1870180" y="2222270"/>
                  </a:cubicBezTo>
                  <a:lnTo>
                    <a:pt x="1871423" y="2223454"/>
                  </a:lnTo>
                  <a:cubicBezTo>
                    <a:pt x="1872634" y="2224599"/>
                    <a:pt x="1874664" y="2224576"/>
                    <a:pt x="1875794" y="2223392"/>
                  </a:cubicBezTo>
                  <a:lnTo>
                    <a:pt x="1899411" y="2204325"/>
                  </a:lnTo>
                  <a:cubicBezTo>
                    <a:pt x="1900505" y="2203185"/>
                    <a:pt x="1900410" y="2201240"/>
                    <a:pt x="1899176" y="2200050"/>
                  </a:cubicBezTo>
                  <a:lnTo>
                    <a:pt x="1892170" y="2193395"/>
                  </a:lnTo>
                  <a:cubicBezTo>
                    <a:pt x="1891569" y="2192837"/>
                    <a:pt x="1890800" y="2192521"/>
                    <a:pt x="1889996" y="2192521"/>
                  </a:cubicBezTo>
                  <a:close/>
                  <a:moveTo>
                    <a:pt x="1986608" y="2192416"/>
                  </a:moveTo>
                  <a:lnTo>
                    <a:pt x="1986608" y="2227206"/>
                  </a:lnTo>
                  <a:lnTo>
                    <a:pt x="1994064" y="2227206"/>
                  </a:lnTo>
                  <a:cubicBezTo>
                    <a:pt x="1994064" y="2227206"/>
                    <a:pt x="1996549" y="2192416"/>
                    <a:pt x="1996549" y="2192416"/>
                  </a:cubicBezTo>
                  <a:close/>
                  <a:moveTo>
                    <a:pt x="1971693" y="2192416"/>
                  </a:moveTo>
                  <a:lnTo>
                    <a:pt x="1971693" y="2227206"/>
                  </a:lnTo>
                  <a:lnTo>
                    <a:pt x="1981634" y="2227206"/>
                  </a:lnTo>
                  <a:cubicBezTo>
                    <a:pt x="1981634" y="2227206"/>
                    <a:pt x="1981634" y="2192416"/>
                    <a:pt x="1981634" y="2192416"/>
                  </a:cubicBezTo>
                  <a:close/>
                  <a:moveTo>
                    <a:pt x="1956779" y="2192416"/>
                  </a:moveTo>
                  <a:lnTo>
                    <a:pt x="1959272" y="2227206"/>
                  </a:lnTo>
                  <a:lnTo>
                    <a:pt x="1966720" y="2227206"/>
                  </a:lnTo>
                  <a:cubicBezTo>
                    <a:pt x="1966720" y="2227206"/>
                    <a:pt x="1966720" y="2192416"/>
                    <a:pt x="1966720" y="2192416"/>
                  </a:cubicBezTo>
                  <a:close/>
                  <a:moveTo>
                    <a:pt x="1570743" y="2192364"/>
                  </a:moveTo>
                  <a:cubicBezTo>
                    <a:pt x="1562084" y="2212318"/>
                    <a:pt x="1541916" y="2228205"/>
                    <a:pt x="1541916" y="2228205"/>
                  </a:cubicBezTo>
                  <a:cubicBezTo>
                    <a:pt x="1541916" y="2228205"/>
                    <a:pt x="1536063" y="2223599"/>
                    <a:pt x="1529307" y="2216245"/>
                  </a:cubicBezTo>
                  <a:cubicBezTo>
                    <a:pt x="1547683" y="2212305"/>
                    <a:pt x="1562621" y="2203587"/>
                    <a:pt x="1570743" y="2192364"/>
                  </a:cubicBezTo>
                  <a:close/>
                  <a:moveTo>
                    <a:pt x="1890009" y="2187451"/>
                  </a:moveTo>
                  <a:cubicBezTo>
                    <a:pt x="1892120" y="2187451"/>
                    <a:pt x="1894136" y="2188258"/>
                    <a:pt x="1895673" y="2189718"/>
                  </a:cubicBezTo>
                  <a:lnTo>
                    <a:pt x="1902666" y="2196379"/>
                  </a:lnTo>
                  <a:cubicBezTo>
                    <a:pt x="1904248" y="2197873"/>
                    <a:pt x="1905156" y="2199898"/>
                    <a:pt x="1905229" y="2202091"/>
                  </a:cubicBezTo>
                  <a:cubicBezTo>
                    <a:pt x="1905274" y="2204280"/>
                    <a:pt x="1904492" y="2206349"/>
                    <a:pt x="1902991" y="2207917"/>
                  </a:cubicBezTo>
                  <a:lnTo>
                    <a:pt x="1879672" y="2226747"/>
                  </a:lnTo>
                  <a:lnTo>
                    <a:pt x="1904551" y="2226747"/>
                  </a:lnTo>
                  <a:cubicBezTo>
                    <a:pt x="1910418" y="2226747"/>
                    <a:pt x="1915213" y="2231524"/>
                    <a:pt x="1915213" y="2237401"/>
                  </a:cubicBezTo>
                  <a:lnTo>
                    <a:pt x="1915213" y="2250727"/>
                  </a:lnTo>
                  <a:cubicBezTo>
                    <a:pt x="1915213" y="2256620"/>
                    <a:pt x="1910418" y="2261397"/>
                    <a:pt x="1904542" y="2261397"/>
                  </a:cubicBezTo>
                  <a:lnTo>
                    <a:pt x="1903665" y="2261397"/>
                  </a:lnTo>
                  <a:cubicBezTo>
                    <a:pt x="1905405" y="2263292"/>
                    <a:pt x="1906485" y="2265790"/>
                    <a:pt x="1906485" y="2268565"/>
                  </a:cubicBezTo>
                  <a:lnTo>
                    <a:pt x="1906485" y="2298601"/>
                  </a:lnTo>
                  <a:cubicBezTo>
                    <a:pt x="1906485" y="2304488"/>
                    <a:pt x="1901698" y="2309265"/>
                    <a:pt x="1895827" y="2309265"/>
                  </a:cubicBezTo>
                  <a:lnTo>
                    <a:pt x="1874501" y="2309265"/>
                  </a:lnTo>
                  <a:cubicBezTo>
                    <a:pt x="1871229" y="2309265"/>
                    <a:pt x="1868336" y="2307754"/>
                    <a:pt x="1866379" y="2305442"/>
                  </a:cubicBezTo>
                  <a:cubicBezTo>
                    <a:pt x="1864422" y="2307754"/>
                    <a:pt x="1861533" y="2309265"/>
                    <a:pt x="1858270" y="2309265"/>
                  </a:cubicBezTo>
                  <a:lnTo>
                    <a:pt x="1836935" y="2309265"/>
                  </a:lnTo>
                  <a:cubicBezTo>
                    <a:pt x="1831050" y="2309265"/>
                    <a:pt x="1826273" y="2304488"/>
                    <a:pt x="1826273" y="2298601"/>
                  </a:cubicBezTo>
                  <a:lnTo>
                    <a:pt x="1826273" y="2268565"/>
                  </a:lnTo>
                  <a:cubicBezTo>
                    <a:pt x="1826273" y="2265790"/>
                    <a:pt x="1827367" y="2263292"/>
                    <a:pt x="1829102" y="2261397"/>
                  </a:cubicBezTo>
                  <a:lnTo>
                    <a:pt x="1828239" y="2261397"/>
                  </a:lnTo>
                  <a:cubicBezTo>
                    <a:pt x="1822358" y="2261397"/>
                    <a:pt x="1817581" y="2256620"/>
                    <a:pt x="1817581" y="2250727"/>
                  </a:cubicBezTo>
                  <a:lnTo>
                    <a:pt x="1817581" y="2237401"/>
                  </a:lnTo>
                  <a:cubicBezTo>
                    <a:pt x="1817581" y="2231524"/>
                    <a:pt x="1822358" y="2226747"/>
                    <a:pt x="1828239" y="2226747"/>
                  </a:cubicBezTo>
                  <a:lnTo>
                    <a:pt x="1853646" y="2226747"/>
                  </a:lnTo>
                  <a:lnTo>
                    <a:pt x="1829902" y="2209502"/>
                  </a:lnTo>
                  <a:cubicBezTo>
                    <a:pt x="1828194" y="2207872"/>
                    <a:pt x="1827285" y="2205774"/>
                    <a:pt x="1827285" y="2203513"/>
                  </a:cubicBezTo>
                  <a:cubicBezTo>
                    <a:pt x="1827285" y="2201403"/>
                    <a:pt x="1828090" y="2199384"/>
                    <a:pt x="1829550" y="2197850"/>
                  </a:cubicBezTo>
                  <a:lnTo>
                    <a:pt x="1836212" y="2190846"/>
                  </a:lnTo>
                  <a:cubicBezTo>
                    <a:pt x="1837717" y="2189273"/>
                    <a:pt x="1839742" y="2188359"/>
                    <a:pt x="1841935" y="2188291"/>
                  </a:cubicBezTo>
                  <a:lnTo>
                    <a:pt x="1842179" y="2188291"/>
                  </a:lnTo>
                  <a:cubicBezTo>
                    <a:pt x="1844276" y="2188291"/>
                    <a:pt x="1846251" y="2189087"/>
                    <a:pt x="1847774" y="2190519"/>
                  </a:cubicBezTo>
                  <a:lnTo>
                    <a:pt x="1864991" y="2211876"/>
                  </a:lnTo>
                  <a:cubicBezTo>
                    <a:pt x="1865927" y="2213021"/>
                    <a:pt x="1867373" y="2212987"/>
                    <a:pt x="1868236" y="2211808"/>
                  </a:cubicBezTo>
                  <a:lnTo>
                    <a:pt x="1884020" y="2190079"/>
                  </a:lnTo>
                  <a:cubicBezTo>
                    <a:pt x="1885652" y="2188359"/>
                    <a:pt x="1887749" y="2187451"/>
                    <a:pt x="1890009" y="2187451"/>
                  </a:cubicBezTo>
                  <a:close/>
                  <a:moveTo>
                    <a:pt x="1953051" y="2182479"/>
                  </a:moveTo>
                  <a:lnTo>
                    <a:pt x="2000277" y="2182479"/>
                  </a:lnTo>
                  <a:cubicBezTo>
                    <a:pt x="2003011" y="2182479"/>
                    <a:pt x="2005043" y="2184702"/>
                    <a:pt x="2004797" y="2187423"/>
                  </a:cubicBezTo>
                  <a:lnTo>
                    <a:pt x="2000727" y="2232195"/>
                  </a:lnTo>
                  <a:cubicBezTo>
                    <a:pt x="2000476" y="2234920"/>
                    <a:pt x="1998040" y="2237151"/>
                    <a:pt x="1995301" y="2237151"/>
                  </a:cubicBezTo>
                  <a:lnTo>
                    <a:pt x="1958027" y="2237151"/>
                  </a:lnTo>
                  <a:cubicBezTo>
                    <a:pt x="1955287" y="2237151"/>
                    <a:pt x="1952852" y="2234920"/>
                    <a:pt x="1952609" y="2232195"/>
                  </a:cubicBezTo>
                  <a:lnTo>
                    <a:pt x="1948530" y="2187423"/>
                  </a:lnTo>
                  <a:cubicBezTo>
                    <a:pt x="1948284" y="2184702"/>
                    <a:pt x="1950320" y="2182479"/>
                    <a:pt x="1953051" y="2182479"/>
                  </a:cubicBezTo>
                  <a:close/>
                  <a:moveTo>
                    <a:pt x="1054432" y="2179373"/>
                  </a:moveTo>
                  <a:lnTo>
                    <a:pt x="1054432" y="2349441"/>
                  </a:lnTo>
                  <a:lnTo>
                    <a:pt x="1162265" y="2349441"/>
                  </a:lnTo>
                  <a:cubicBezTo>
                    <a:pt x="1162265" y="2349441"/>
                    <a:pt x="1162265" y="2314063"/>
                    <a:pt x="1162265" y="2314063"/>
                  </a:cubicBezTo>
                  <a:lnTo>
                    <a:pt x="1133687" y="2314063"/>
                  </a:lnTo>
                  <a:lnTo>
                    <a:pt x="1109246" y="2338509"/>
                  </a:lnTo>
                  <a:lnTo>
                    <a:pt x="1109246" y="2314063"/>
                  </a:lnTo>
                  <a:lnTo>
                    <a:pt x="1100624" y="2314063"/>
                  </a:lnTo>
                  <a:cubicBezTo>
                    <a:pt x="1092749" y="2314063"/>
                    <a:pt x="1086316" y="2307695"/>
                    <a:pt x="1086316" y="2299840"/>
                  </a:cubicBezTo>
                  <a:lnTo>
                    <a:pt x="1086316" y="2226953"/>
                  </a:lnTo>
                  <a:cubicBezTo>
                    <a:pt x="1086316" y="2219098"/>
                    <a:pt x="1092749" y="2212740"/>
                    <a:pt x="1100624" y="2212740"/>
                  </a:cubicBezTo>
                  <a:lnTo>
                    <a:pt x="1162265" y="2212740"/>
                  </a:lnTo>
                  <a:lnTo>
                    <a:pt x="1162265" y="2179373"/>
                  </a:lnTo>
                  <a:close/>
                  <a:moveTo>
                    <a:pt x="1505537" y="2179308"/>
                  </a:moveTo>
                  <a:cubicBezTo>
                    <a:pt x="1507276" y="2203298"/>
                    <a:pt x="1518147" y="2223343"/>
                    <a:pt x="1533201" y="2229242"/>
                  </a:cubicBezTo>
                  <a:cubicBezTo>
                    <a:pt x="1534471" y="2229749"/>
                    <a:pt x="1535340" y="2231171"/>
                    <a:pt x="1535340" y="2232766"/>
                  </a:cubicBezTo>
                  <a:cubicBezTo>
                    <a:pt x="1535340" y="2234374"/>
                    <a:pt x="1534471" y="2235796"/>
                    <a:pt x="1533201" y="2236302"/>
                  </a:cubicBezTo>
                  <a:cubicBezTo>
                    <a:pt x="1518147" y="2242202"/>
                    <a:pt x="1507276" y="2262252"/>
                    <a:pt x="1505537" y="2286236"/>
                  </a:cubicBezTo>
                  <a:cubicBezTo>
                    <a:pt x="1506901" y="2285871"/>
                    <a:pt x="1508416" y="2285525"/>
                    <a:pt x="1509987" y="2285217"/>
                  </a:cubicBezTo>
                  <a:cubicBezTo>
                    <a:pt x="1514911" y="2265372"/>
                    <a:pt x="1541916" y="2247993"/>
                    <a:pt x="1541916" y="2247993"/>
                  </a:cubicBezTo>
                  <a:cubicBezTo>
                    <a:pt x="1541916" y="2247993"/>
                    <a:pt x="1568926" y="2265372"/>
                    <a:pt x="1573828" y="2285217"/>
                  </a:cubicBezTo>
                  <a:cubicBezTo>
                    <a:pt x="1575408" y="2285525"/>
                    <a:pt x="1576918" y="2285871"/>
                    <a:pt x="1578274" y="2286236"/>
                  </a:cubicBezTo>
                  <a:cubicBezTo>
                    <a:pt x="1576557" y="2262252"/>
                    <a:pt x="1565673" y="2242202"/>
                    <a:pt x="1550627" y="2236302"/>
                  </a:cubicBezTo>
                  <a:cubicBezTo>
                    <a:pt x="1549349" y="2235796"/>
                    <a:pt x="1548484" y="2234374"/>
                    <a:pt x="1548484" y="2232766"/>
                  </a:cubicBezTo>
                  <a:cubicBezTo>
                    <a:pt x="1548484" y="2231171"/>
                    <a:pt x="1549349" y="2229749"/>
                    <a:pt x="1550627" y="2229242"/>
                  </a:cubicBezTo>
                  <a:cubicBezTo>
                    <a:pt x="1565673" y="2223343"/>
                    <a:pt x="1576557" y="2203298"/>
                    <a:pt x="1578274" y="2179308"/>
                  </a:cubicBezTo>
                  <a:cubicBezTo>
                    <a:pt x="1569766" y="2181544"/>
                    <a:pt x="1556657" y="2182979"/>
                    <a:pt x="1541916" y="2182979"/>
                  </a:cubicBezTo>
                  <a:cubicBezTo>
                    <a:pt x="1527163" y="2182979"/>
                    <a:pt x="1514054" y="2181544"/>
                    <a:pt x="1505537" y="2179308"/>
                  </a:cubicBezTo>
                  <a:close/>
                  <a:moveTo>
                    <a:pt x="1966626" y="2167567"/>
                  </a:moveTo>
                  <a:lnTo>
                    <a:pt x="1986706" y="2167567"/>
                  </a:lnTo>
                  <a:lnTo>
                    <a:pt x="1987110" y="2170435"/>
                  </a:lnTo>
                  <a:lnTo>
                    <a:pt x="1966223" y="2170435"/>
                  </a:lnTo>
                  <a:close/>
                  <a:moveTo>
                    <a:pt x="1954299" y="2167567"/>
                  </a:moveTo>
                  <a:lnTo>
                    <a:pt x="1961609" y="2167567"/>
                  </a:lnTo>
                  <a:lnTo>
                    <a:pt x="1961031" y="2171716"/>
                  </a:lnTo>
                  <a:cubicBezTo>
                    <a:pt x="1960741" y="2173745"/>
                    <a:pt x="1962186" y="2175402"/>
                    <a:pt x="1964237" y="2175402"/>
                  </a:cubicBezTo>
                  <a:lnTo>
                    <a:pt x="1989090" y="2175402"/>
                  </a:lnTo>
                  <a:cubicBezTo>
                    <a:pt x="1991142" y="2175402"/>
                    <a:pt x="1992586" y="2173745"/>
                    <a:pt x="1992307" y="2171716"/>
                  </a:cubicBezTo>
                  <a:lnTo>
                    <a:pt x="1991725" y="2167567"/>
                  </a:lnTo>
                  <a:lnTo>
                    <a:pt x="1999029" y="2167567"/>
                  </a:lnTo>
                  <a:cubicBezTo>
                    <a:pt x="2003154" y="2167567"/>
                    <a:pt x="2006487" y="2170903"/>
                    <a:pt x="2006487" y="2175023"/>
                  </a:cubicBezTo>
                  <a:lnTo>
                    <a:pt x="2006487" y="2177501"/>
                  </a:lnTo>
                  <a:lnTo>
                    <a:pt x="1946840" y="2177501"/>
                  </a:lnTo>
                  <a:lnTo>
                    <a:pt x="1946840" y="2175023"/>
                  </a:lnTo>
                  <a:cubicBezTo>
                    <a:pt x="1946840" y="2170903"/>
                    <a:pt x="1950182" y="2167567"/>
                    <a:pt x="1954299" y="2167567"/>
                  </a:cubicBezTo>
                  <a:close/>
                  <a:moveTo>
                    <a:pt x="1092565" y="2166411"/>
                  </a:moveTo>
                  <a:cubicBezTo>
                    <a:pt x="1091540" y="2166411"/>
                    <a:pt x="1090738" y="2167232"/>
                    <a:pt x="1090738" y="2168237"/>
                  </a:cubicBezTo>
                  <a:cubicBezTo>
                    <a:pt x="1090738" y="2169231"/>
                    <a:pt x="1091540" y="2170031"/>
                    <a:pt x="1092565" y="2170031"/>
                  </a:cubicBezTo>
                  <a:lnTo>
                    <a:pt x="1124140" y="2170031"/>
                  </a:lnTo>
                  <a:cubicBezTo>
                    <a:pt x="1125126" y="2170031"/>
                    <a:pt x="1125966" y="2169231"/>
                    <a:pt x="1125966" y="2168237"/>
                  </a:cubicBezTo>
                  <a:cubicBezTo>
                    <a:pt x="1125966" y="2167232"/>
                    <a:pt x="1125126" y="2166411"/>
                    <a:pt x="1124140" y="2166411"/>
                  </a:cubicBezTo>
                  <a:close/>
                  <a:moveTo>
                    <a:pt x="1541916" y="2163588"/>
                  </a:moveTo>
                  <a:cubicBezTo>
                    <a:pt x="1567584" y="2163588"/>
                    <a:pt x="1588388" y="2167931"/>
                    <a:pt x="1588388" y="2173280"/>
                  </a:cubicBezTo>
                  <a:cubicBezTo>
                    <a:pt x="1588388" y="2174626"/>
                    <a:pt x="1587079" y="2175913"/>
                    <a:pt x="1584704" y="2177079"/>
                  </a:cubicBezTo>
                  <a:cubicBezTo>
                    <a:pt x="1583628" y="2201627"/>
                    <a:pt x="1573738" y="2222990"/>
                    <a:pt x="1559265" y="2232779"/>
                  </a:cubicBezTo>
                  <a:cubicBezTo>
                    <a:pt x="1573721" y="2242554"/>
                    <a:pt x="1583628" y="2263924"/>
                    <a:pt x="1584704" y="2288465"/>
                  </a:cubicBezTo>
                  <a:cubicBezTo>
                    <a:pt x="1587079" y="2289631"/>
                    <a:pt x="1588388" y="2290912"/>
                    <a:pt x="1588388" y="2292264"/>
                  </a:cubicBezTo>
                  <a:cubicBezTo>
                    <a:pt x="1588388" y="2297619"/>
                    <a:pt x="1567584" y="2301956"/>
                    <a:pt x="1541916" y="2301956"/>
                  </a:cubicBezTo>
                  <a:cubicBezTo>
                    <a:pt x="1516236" y="2301956"/>
                    <a:pt x="1495428" y="2297619"/>
                    <a:pt x="1495428" y="2292264"/>
                  </a:cubicBezTo>
                  <a:cubicBezTo>
                    <a:pt x="1495428" y="2290900"/>
                    <a:pt x="1496740" y="2289631"/>
                    <a:pt x="1499116" y="2288465"/>
                  </a:cubicBezTo>
                  <a:cubicBezTo>
                    <a:pt x="1500188" y="2263924"/>
                    <a:pt x="1510082" y="2242528"/>
                    <a:pt x="1524555" y="2232766"/>
                  </a:cubicBezTo>
                  <a:cubicBezTo>
                    <a:pt x="1510103" y="2222990"/>
                    <a:pt x="1500188" y="2201607"/>
                    <a:pt x="1499116" y="2177079"/>
                  </a:cubicBezTo>
                  <a:cubicBezTo>
                    <a:pt x="1496740" y="2175913"/>
                    <a:pt x="1495428" y="2174626"/>
                    <a:pt x="1495428" y="2173280"/>
                  </a:cubicBezTo>
                  <a:cubicBezTo>
                    <a:pt x="1495428" y="2167931"/>
                    <a:pt x="1516236" y="2163588"/>
                    <a:pt x="1541916" y="2163588"/>
                  </a:cubicBezTo>
                  <a:close/>
                  <a:moveTo>
                    <a:pt x="1305579" y="2162532"/>
                  </a:moveTo>
                  <a:cubicBezTo>
                    <a:pt x="1288544" y="2162951"/>
                    <a:pt x="1274639" y="2171147"/>
                    <a:pt x="1264169" y="2186797"/>
                  </a:cubicBezTo>
                  <a:cubicBezTo>
                    <a:pt x="1258225" y="2195752"/>
                    <a:pt x="1256419" y="2204597"/>
                    <a:pt x="1258647" y="2213851"/>
                  </a:cubicBezTo>
                  <a:cubicBezTo>
                    <a:pt x="1265072" y="2240465"/>
                    <a:pt x="1301534" y="2261013"/>
                    <a:pt x="1301874" y="2261263"/>
                  </a:cubicBezTo>
                  <a:cubicBezTo>
                    <a:pt x="1305204" y="2263052"/>
                    <a:pt x="1307244" y="2266550"/>
                    <a:pt x="1307244" y="2270318"/>
                  </a:cubicBezTo>
                  <a:lnTo>
                    <a:pt x="1307244" y="2336158"/>
                  </a:lnTo>
                  <a:lnTo>
                    <a:pt x="1423912" y="2336158"/>
                  </a:lnTo>
                  <a:lnTo>
                    <a:pt x="1423912" y="2278863"/>
                  </a:lnTo>
                  <a:cubicBezTo>
                    <a:pt x="1400288" y="2285738"/>
                    <a:pt x="1374366" y="2287178"/>
                    <a:pt x="1356873" y="2287178"/>
                  </a:cubicBezTo>
                  <a:cubicBezTo>
                    <a:pt x="1345418" y="2287178"/>
                    <a:pt x="1337551" y="2286568"/>
                    <a:pt x="1336426" y="2286458"/>
                  </a:cubicBezTo>
                  <a:cubicBezTo>
                    <a:pt x="1330681" y="2286008"/>
                    <a:pt x="1326448" y="2280991"/>
                    <a:pt x="1326941" y="2275235"/>
                  </a:cubicBezTo>
                  <a:cubicBezTo>
                    <a:pt x="1327386" y="2269528"/>
                    <a:pt x="1332463" y="2265221"/>
                    <a:pt x="1338126" y="2265760"/>
                  </a:cubicBezTo>
                  <a:cubicBezTo>
                    <a:pt x="1364998" y="2267969"/>
                    <a:pt x="1438498" y="2266650"/>
                    <a:pt x="1455732" y="2234269"/>
                  </a:cubicBezTo>
                  <a:cubicBezTo>
                    <a:pt x="1465112" y="2216590"/>
                    <a:pt x="1466319" y="2200249"/>
                    <a:pt x="1459144" y="2188266"/>
                  </a:cubicBezTo>
                  <a:cubicBezTo>
                    <a:pt x="1451887" y="2176264"/>
                    <a:pt x="1436727" y="2169328"/>
                    <a:pt x="1417570" y="2169328"/>
                  </a:cubicBezTo>
                  <a:cubicBezTo>
                    <a:pt x="1378410" y="2169328"/>
                    <a:pt x="1346473" y="2220917"/>
                    <a:pt x="1346180" y="2221457"/>
                  </a:cubicBezTo>
                  <a:cubicBezTo>
                    <a:pt x="1343191" y="2226364"/>
                    <a:pt x="1336766" y="2227913"/>
                    <a:pt x="1331888" y="2224925"/>
                  </a:cubicBezTo>
                  <a:cubicBezTo>
                    <a:pt x="1326976" y="2221936"/>
                    <a:pt x="1325428" y="2215560"/>
                    <a:pt x="1328371" y="2210643"/>
                  </a:cubicBezTo>
                  <a:cubicBezTo>
                    <a:pt x="1329098" y="2209474"/>
                    <a:pt x="1337668" y="2195572"/>
                    <a:pt x="1351843" y="2181241"/>
                  </a:cubicBezTo>
                  <a:cubicBezTo>
                    <a:pt x="1342851" y="2171337"/>
                    <a:pt x="1324139" y="2162072"/>
                    <a:pt x="1305579" y="2162532"/>
                  </a:cubicBezTo>
                  <a:close/>
                  <a:moveTo>
                    <a:pt x="1966720" y="2157622"/>
                  </a:moveTo>
                  <a:lnTo>
                    <a:pt x="1986608" y="2157622"/>
                  </a:lnTo>
                  <a:cubicBezTo>
                    <a:pt x="1988659" y="2157622"/>
                    <a:pt x="1990570" y="2159283"/>
                    <a:pt x="1990849" y="2161319"/>
                  </a:cubicBezTo>
                  <a:lnTo>
                    <a:pt x="1991725" y="2167567"/>
                  </a:lnTo>
                  <a:lnTo>
                    <a:pt x="1986706" y="2167567"/>
                  </a:lnTo>
                  <a:lnTo>
                    <a:pt x="1986006" y="2162593"/>
                  </a:lnTo>
                  <a:lnTo>
                    <a:pt x="1967325" y="2162593"/>
                  </a:lnTo>
                  <a:lnTo>
                    <a:pt x="1966626" y="2167567"/>
                  </a:lnTo>
                  <a:lnTo>
                    <a:pt x="1961609" y="2167567"/>
                  </a:lnTo>
                  <a:lnTo>
                    <a:pt x="1962478" y="2161319"/>
                  </a:lnTo>
                  <a:cubicBezTo>
                    <a:pt x="1962765" y="2159283"/>
                    <a:pt x="1964676" y="2157622"/>
                    <a:pt x="1966720" y="2157622"/>
                  </a:cubicBezTo>
                  <a:close/>
                  <a:moveTo>
                    <a:pt x="1058970" y="2155634"/>
                  </a:moveTo>
                  <a:lnTo>
                    <a:pt x="1157734" y="2155634"/>
                  </a:lnTo>
                  <a:cubicBezTo>
                    <a:pt x="1165956" y="2155634"/>
                    <a:pt x="1172682" y="2162371"/>
                    <a:pt x="1172682" y="2170595"/>
                  </a:cubicBezTo>
                  <a:lnTo>
                    <a:pt x="1172682" y="2212740"/>
                  </a:lnTo>
                  <a:lnTo>
                    <a:pt x="1196136" y="2212740"/>
                  </a:lnTo>
                  <a:cubicBezTo>
                    <a:pt x="1204019" y="2212740"/>
                    <a:pt x="1210445" y="2219098"/>
                    <a:pt x="1210445" y="2226953"/>
                  </a:cubicBezTo>
                  <a:lnTo>
                    <a:pt x="1210445" y="2299840"/>
                  </a:lnTo>
                  <a:cubicBezTo>
                    <a:pt x="1210445" y="2307695"/>
                    <a:pt x="1204019" y="2314063"/>
                    <a:pt x="1196136" y="2314063"/>
                  </a:cubicBezTo>
                  <a:lnTo>
                    <a:pt x="1172682" y="2314063"/>
                  </a:lnTo>
                  <a:lnTo>
                    <a:pt x="1172682" y="2362176"/>
                  </a:lnTo>
                  <a:cubicBezTo>
                    <a:pt x="1172682" y="2370390"/>
                    <a:pt x="1165956" y="2377127"/>
                    <a:pt x="1157734" y="2377127"/>
                  </a:cubicBezTo>
                  <a:lnTo>
                    <a:pt x="1058970" y="2377127"/>
                  </a:lnTo>
                  <a:cubicBezTo>
                    <a:pt x="1050749" y="2377127"/>
                    <a:pt x="1044015" y="2370390"/>
                    <a:pt x="1044015" y="2362176"/>
                  </a:cubicBezTo>
                  <a:lnTo>
                    <a:pt x="1044015" y="2170595"/>
                  </a:lnTo>
                  <a:cubicBezTo>
                    <a:pt x="1044015" y="2162371"/>
                    <a:pt x="1050749" y="2155634"/>
                    <a:pt x="1058970" y="2155634"/>
                  </a:cubicBezTo>
                  <a:close/>
                  <a:moveTo>
                    <a:pt x="1305051" y="2141744"/>
                  </a:moveTo>
                  <a:cubicBezTo>
                    <a:pt x="1330798" y="2141065"/>
                    <a:pt x="1354903" y="2153697"/>
                    <a:pt x="1367413" y="2167489"/>
                  </a:cubicBezTo>
                  <a:cubicBezTo>
                    <a:pt x="1381400" y="2156915"/>
                    <a:pt x="1398482" y="2148510"/>
                    <a:pt x="1417523" y="2148510"/>
                  </a:cubicBezTo>
                  <a:cubicBezTo>
                    <a:pt x="1444207" y="2148510"/>
                    <a:pt x="1465874" y="2159094"/>
                    <a:pt x="1476942" y="2177533"/>
                  </a:cubicBezTo>
                  <a:cubicBezTo>
                    <a:pt x="1488044" y="2196062"/>
                    <a:pt x="1487036" y="2219638"/>
                    <a:pt x="1474069" y="2244023"/>
                  </a:cubicBezTo>
                  <a:cubicBezTo>
                    <a:pt x="1467761" y="2255876"/>
                    <a:pt x="1457209" y="2264541"/>
                    <a:pt x="1444700" y="2270847"/>
                  </a:cubicBezTo>
                  <a:lnTo>
                    <a:pt x="1444700" y="2346542"/>
                  </a:lnTo>
                  <a:cubicBezTo>
                    <a:pt x="1444700" y="2352289"/>
                    <a:pt x="1440010" y="2356936"/>
                    <a:pt x="1434300" y="2356936"/>
                  </a:cubicBezTo>
                  <a:lnTo>
                    <a:pt x="1296856" y="2356936"/>
                  </a:lnTo>
                  <a:cubicBezTo>
                    <a:pt x="1291111" y="2356936"/>
                    <a:pt x="1286468" y="2352289"/>
                    <a:pt x="1286468" y="2346542"/>
                  </a:cubicBezTo>
                  <a:lnTo>
                    <a:pt x="1286468" y="2276184"/>
                  </a:lnTo>
                  <a:cubicBezTo>
                    <a:pt x="1274287" y="2268389"/>
                    <a:pt x="1245386" y="2247271"/>
                    <a:pt x="1238457" y="2218798"/>
                  </a:cubicBezTo>
                  <a:cubicBezTo>
                    <a:pt x="1234799" y="2203757"/>
                    <a:pt x="1237637" y="2189146"/>
                    <a:pt x="1246887" y="2175274"/>
                  </a:cubicBezTo>
                  <a:cubicBezTo>
                    <a:pt x="1264849" y="2148320"/>
                    <a:pt x="1288426" y="2142164"/>
                    <a:pt x="1305051" y="2141744"/>
                  </a:cubicBezTo>
                  <a:close/>
                  <a:moveTo>
                    <a:pt x="1753220" y="2107242"/>
                  </a:moveTo>
                  <a:lnTo>
                    <a:pt x="1773255" y="2107242"/>
                  </a:lnTo>
                  <a:lnTo>
                    <a:pt x="1773255" y="2127287"/>
                  </a:lnTo>
                  <a:lnTo>
                    <a:pt x="1753220" y="2127287"/>
                  </a:lnTo>
                  <a:cubicBezTo>
                    <a:pt x="1753220" y="2127287"/>
                    <a:pt x="1753220" y="2107242"/>
                    <a:pt x="1753220" y="2107242"/>
                  </a:cubicBezTo>
                  <a:close/>
                  <a:moveTo>
                    <a:pt x="1713151" y="2107242"/>
                  </a:moveTo>
                  <a:lnTo>
                    <a:pt x="1733175" y="2107242"/>
                  </a:lnTo>
                  <a:lnTo>
                    <a:pt x="1733175" y="2127287"/>
                  </a:lnTo>
                  <a:lnTo>
                    <a:pt x="1713151" y="2127287"/>
                  </a:lnTo>
                  <a:cubicBezTo>
                    <a:pt x="1713151" y="2127287"/>
                    <a:pt x="1713151" y="2107242"/>
                    <a:pt x="1713151" y="2107242"/>
                  </a:cubicBezTo>
                  <a:close/>
                  <a:moveTo>
                    <a:pt x="1673093" y="2107242"/>
                  </a:moveTo>
                  <a:lnTo>
                    <a:pt x="1693116" y="2107242"/>
                  </a:lnTo>
                  <a:lnTo>
                    <a:pt x="1693116" y="2127287"/>
                  </a:lnTo>
                  <a:lnTo>
                    <a:pt x="1673093" y="2127287"/>
                  </a:lnTo>
                  <a:cubicBezTo>
                    <a:pt x="1673093" y="2127287"/>
                    <a:pt x="1673093" y="2107242"/>
                    <a:pt x="1673093" y="2107242"/>
                  </a:cubicBezTo>
                  <a:close/>
                  <a:moveTo>
                    <a:pt x="1633012" y="2107242"/>
                  </a:moveTo>
                  <a:lnTo>
                    <a:pt x="1653047" y="2107242"/>
                  </a:lnTo>
                  <a:lnTo>
                    <a:pt x="1653047" y="2127287"/>
                  </a:lnTo>
                  <a:lnTo>
                    <a:pt x="1633012" y="2127287"/>
                  </a:lnTo>
                  <a:cubicBezTo>
                    <a:pt x="1633012" y="2127287"/>
                    <a:pt x="1633012" y="2107242"/>
                    <a:pt x="1633012" y="2107242"/>
                  </a:cubicBezTo>
                  <a:close/>
                  <a:moveTo>
                    <a:pt x="2129053" y="2105900"/>
                  </a:moveTo>
                  <a:cubicBezTo>
                    <a:pt x="2136040" y="2105900"/>
                    <a:pt x="2136040" y="2116715"/>
                    <a:pt x="2129053" y="2116715"/>
                  </a:cubicBezTo>
                  <a:cubicBezTo>
                    <a:pt x="2122075" y="2116715"/>
                    <a:pt x="2122075" y="2105900"/>
                    <a:pt x="2129053" y="2105900"/>
                  </a:cubicBezTo>
                  <a:close/>
                  <a:moveTo>
                    <a:pt x="2039566" y="2103913"/>
                  </a:moveTo>
                  <a:cubicBezTo>
                    <a:pt x="2046534" y="2103913"/>
                    <a:pt x="2046534" y="2114729"/>
                    <a:pt x="2039566" y="2114729"/>
                  </a:cubicBezTo>
                  <a:cubicBezTo>
                    <a:pt x="2032597" y="2114729"/>
                    <a:pt x="2032597" y="2103913"/>
                    <a:pt x="2039566" y="2103913"/>
                  </a:cubicBezTo>
                  <a:close/>
                  <a:moveTo>
                    <a:pt x="2086798" y="2099379"/>
                  </a:moveTo>
                  <a:cubicBezTo>
                    <a:pt x="2081543" y="2100426"/>
                    <a:pt x="2078254" y="2109087"/>
                    <a:pt x="2085927" y="2112120"/>
                  </a:cubicBezTo>
                  <a:cubicBezTo>
                    <a:pt x="2090245" y="2113813"/>
                    <a:pt x="2093507" y="2111334"/>
                    <a:pt x="2094313" y="2108017"/>
                  </a:cubicBezTo>
                  <a:cubicBezTo>
                    <a:pt x="2094850" y="2105838"/>
                    <a:pt x="2094350" y="2103298"/>
                    <a:pt x="2092385" y="2101365"/>
                  </a:cubicBezTo>
                  <a:cubicBezTo>
                    <a:pt x="2090541" y="2099533"/>
                    <a:pt x="2088549" y="2099025"/>
                    <a:pt x="2086798" y="2099379"/>
                  </a:cubicBezTo>
                  <a:close/>
                  <a:moveTo>
                    <a:pt x="2088540" y="2086015"/>
                  </a:moveTo>
                  <a:cubicBezTo>
                    <a:pt x="2089763" y="2086000"/>
                    <a:pt x="2090903" y="2086400"/>
                    <a:pt x="2091894" y="2087008"/>
                  </a:cubicBezTo>
                  <a:cubicBezTo>
                    <a:pt x="2095508" y="2087678"/>
                    <a:pt x="2098770" y="2088948"/>
                    <a:pt x="2101708" y="2091419"/>
                  </a:cubicBezTo>
                  <a:cubicBezTo>
                    <a:pt x="2104830" y="2094044"/>
                    <a:pt x="2106869" y="2097801"/>
                    <a:pt x="2107740" y="2101743"/>
                  </a:cubicBezTo>
                  <a:cubicBezTo>
                    <a:pt x="2107888" y="2102382"/>
                    <a:pt x="2107879" y="2103051"/>
                    <a:pt x="2107861" y="2103667"/>
                  </a:cubicBezTo>
                  <a:cubicBezTo>
                    <a:pt x="2107879" y="2103829"/>
                    <a:pt x="2107972" y="2103998"/>
                    <a:pt x="2107990" y="2104160"/>
                  </a:cubicBezTo>
                  <a:cubicBezTo>
                    <a:pt x="2108648" y="2109341"/>
                    <a:pt x="2107722" y="2114783"/>
                    <a:pt x="2104506" y="2119017"/>
                  </a:cubicBezTo>
                  <a:cubicBezTo>
                    <a:pt x="2104135" y="2119510"/>
                    <a:pt x="2103709" y="2119933"/>
                    <a:pt x="2103264" y="2120318"/>
                  </a:cubicBezTo>
                  <a:cubicBezTo>
                    <a:pt x="2102773" y="2120942"/>
                    <a:pt x="2102208" y="2121534"/>
                    <a:pt x="2101522" y="2121996"/>
                  </a:cubicBezTo>
                  <a:cubicBezTo>
                    <a:pt x="2094544" y="2126854"/>
                    <a:pt x="2086214" y="2126623"/>
                    <a:pt x="2078782" y="2123182"/>
                  </a:cubicBezTo>
                  <a:cubicBezTo>
                    <a:pt x="2077689" y="2122982"/>
                    <a:pt x="2076623" y="2122527"/>
                    <a:pt x="2075613" y="2121627"/>
                  </a:cubicBezTo>
                  <a:cubicBezTo>
                    <a:pt x="2071600" y="2118093"/>
                    <a:pt x="2067634" y="2112674"/>
                    <a:pt x="2068218" y="2106962"/>
                  </a:cubicBezTo>
                  <a:cubicBezTo>
                    <a:pt x="2068524" y="2103998"/>
                    <a:pt x="2069358" y="2101396"/>
                    <a:pt x="2070637" y="2099002"/>
                  </a:cubicBezTo>
                  <a:cubicBezTo>
                    <a:pt x="2070257" y="2097439"/>
                    <a:pt x="2070359" y="2095769"/>
                    <a:pt x="2071322" y="2094406"/>
                  </a:cubicBezTo>
                  <a:cubicBezTo>
                    <a:pt x="2075492" y="2088494"/>
                    <a:pt x="2081432" y="2086100"/>
                    <a:pt x="2088540" y="2086015"/>
                  </a:cubicBezTo>
                  <a:close/>
                  <a:moveTo>
                    <a:pt x="1242855" y="2068538"/>
                  </a:moveTo>
                  <a:cubicBezTo>
                    <a:pt x="1249812" y="2068538"/>
                    <a:pt x="1255481" y="2074213"/>
                    <a:pt x="1255481" y="2081164"/>
                  </a:cubicBezTo>
                  <a:cubicBezTo>
                    <a:pt x="1255481" y="2084691"/>
                    <a:pt x="1254038" y="2087891"/>
                    <a:pt x="1251682" y="2090184"/>
                  </a:cubicBezTo>
                  <a:cubicBezTo>
                    <a:pt x="1254038" y="2092476"/>
                    <a:pt x="1255481" y="2095660"/>
                    <a:pt x="1255481" y="2099192"/>
                  </a:cubicBezTo>
                  <a:cubicBezTo>
                    <a:pt x="1255481" y="2106155"/>
                    <a:pt x="1249812" y="2111824"/>
                    <a:pt x="1242855" y="2111824"/>
                  </a:cubicBezTo>
                  <a:cubicBezTo>
                    <a:pt x="1235898" y="2111824"/>
                    <a:pt x="1230229" y="2106155"/>
                    <a:pt x="1230229" y="2099192"/>
                  </a:cubicBezTo>
                  <a:cubicBezTo>
                    <a:pt x="1230229" y="2097210"/>
                    <a:pt x="1231853" y="2095580"/>
                    <a:pt x="1233836" y="2095580"/>
                  </a:cubicBezTo>
                  <a:cubicBezTo>
                    <a:pt x="1235829" y="2095580"/>
                    <a:pt x="1237448" y="2097210"/>
                    <a:pt x="1237448" y="2099192"/>
                  </a:cubicBezTo>
                  <a:cubicBezTo>
                    <a:pt x="1237448" y="2102174"/>
                    <a:pt x="1239879" y="2104600"/>
                    <a:pt x="1242855" y="2104600"/>
                  </a:cubicBezTo>
                  <a:cubicBezTo>
                    <a:pt x="1245852" y="2104600"/>
                    <a:pt x="1248262" y="2102174"/>
                    <a:pt x="1248262" y="2099192"/>
                  </a:cubicBezTo>
                  <a:cubicBezTo>
                    <a:pt x="1248262" y="2096205"/>
                    <a:pt x="1245852" y="2093796"/>
                    <a:pt x="1242855" y="2093796"/>
                  </a:cubicBezTo>
                  <a:cubicBezTo>
                    <a:pt x="1240867" y="2093796"/>
                    <a:pt x="1239243" y="2092171"/>
                    <a:pt x="1239243" y="2090184"/>
                  </a:cubicBezTo>
                  <a:cubicBezTo>
                    <a:pt x="1239243" y="2088191"/>
                    <a:pt x="1240867" y="2086577"/>
                    <a:pt x="1242855" y="2086577"/>
                  </a:cubicBezTo>
                  <a:cubicBezTo>
                    <a:pt x="1245852" y="2086577"/>
                    <a:pt x="1248262" y="2084146"/>
                    <a:pt x="1248262" y="2081164"/>
                  </a:cubicBezTo>
                  <a:cubicBezTo>
                    <a:pt x="1248262" y="2078172"/>
                    <a:pt x="1245852" y="2075757"/>
                    <a:pt x="1242855" y="2075757"/>
                  </a:cubicBezTo>
                  <a:cubicBezTo>
                    <a:pt x="1239879" y="2075757"/>
                    <a:pt x="1237448" y="2078172"/>
                    <a:pt x="1237448" y="2081164"/>
                  </a:cubicBezTo>
                  <a:cubicBezTo>
                    <a:pt x="1237448" y="2083157"/>
                    <a:pt x="1235829" y="2084776"/>
                    <a:pt x="1233836" y="2084776"/>
                  </a:cubicBezTo>
                  <a:cubicBezTo>
                    <a:pt x="1231853" y="2084776"/>
                    <a:pt x="1230229" y="2083157"/>
                    <a:pt x="1230229" y="2081164"/>
                  </a:cubicBezTo>
                  <a:cubicBezTo>
                    <a:pt x="1230229" y="2074213"/>
                    <a:pt x="1235898" y="2068538"/>
                    <a:pt x="1242855" y="2068538"/>
                  </a:cubicBezTo>
                  <a:close/>
                  <a:moveTo>
                    <a:pt x="1203182" y="2068538"/>
                  </a:moveTo>
                  <a:cubicBezTo>
                    <a:pt x="1210154" y="2068538"/>
                    <a:pt x="1215802" y="2074213"/>
                    <a:pt x="1215802" y="2081164"/>
                  </a:cubicBezTo>
                  <a:cubicBezTo>
                    <a:pt x="1215802" y="2087362"/>
                    <a:pt x="1210331" y="2093106"/>
                    <a:pt x="1205046" y="2098653"/>
                  </a:cubicBezTo>
                  <a:cubicBezTo>
                    <a:pt x="1203305" y="2100469"/>
                    <a:pt x="1201194" y="2102687"/>
                    <a:pt x="1199693" y="2104600"/>
                  </a:cubicBezTo>
                  <a:lnTo>
                    <a:pt x="1212201" y="2104600"/>
                  </a:lnTo>
                  <a:cubicBezTo>
                    <a:pt x="1214205" y="2104600"/>
                    <a:pt x="1215802" y="2106224"/>
                    <a:pt x="1215802" y="2108212"/>
                  </a:cubicBezTo>
                  <a:cubicBezTo>
                    <a:pt x="1215802" y="2110199"/>
                    <a:pt x="1214205" y="2111824"/>
                    <a:pt x="1212201" y="2111824"/>
                  </a:cubicBezTo>
                  <a:lnTo>
                    <a:pt x="1194162" y="2111824"/>
                  </a:lnTo>
                  <a:cubicBezTo>
                    <a:pt x="1192175" y="2111824"/>
                    <a:pt x="1190572" y="2110199"/>
                    <a:pt x="1190572" y="2108212"/>
                  </a:cubicBezTo>
                  <a:cubicBezTo>
                    <a:pt x="1190572" y="2103355"/>
                    <a:pt x="1194852" y="2098861"/>
                    <a:pt x="1199837" y="2093667"/>
                  </a:cubicBezTo>
                  <a:cubicBezTo>
                    <a:pt x="1203727" y="2089569"/>
                    <a:pt x="1208605" y="2084482"/>
                    <a:pt x="1208605" y="2081164"/>
                  </a:cubicBezTo>
                  <a:cubicBezTo>
                    <a:pt x="1208605" y="2078172"/>
                    <a:pt x="1206179" y="2075757"/>
                    <a:pt x="1203182" y="2075757"/>
                  </a:cubicBezTo>
                  <a:cubicBezTo>
                    <a:pt x="1200205" y="2075757"/>
                    <a:pt x="1197774" y="2078172"/>
                    <a:pt x="1197774" y="2081164"/>
                  </a:cubicBezTo>
                  <a:cubicBezTo>
                    <a:pt x="1197774" y="2083157"/>
                    <a:pt x="1196177" y="2084776"/>
                    <a:pt x="1194162" y="2084776"/>
                  </a:cubicBezTo>
                  <a:cubicBezTo>
                    <a:pt x="1192175" y="2084776"/>
                    <a:pt x="1190572" y="2083157"/>
                    <a:pt x="1190572" y="2081164"/>
                  </a:cubicBezTo>
                  <a:cubicBezTo>
                    <a:pt x="1190572" y="2074213"/>
                    <a:pt x="1196230" y="2068538"/>
                    <a:pt x="1203182" y="2068538"/>
                  </a:cubicBezTo>
                  <a:close/>
                  <a:moveTo>
                    <a:pt x="1753220" y="2067184"/>
                  </a:moveTo>
                  <a:lnTo>
                    <a:pt x="1773255" y="2067184"/>
                  </a:lnTo>
                  <a:lnTo>
                    <a:pt x="1773255" y="2087219"/>
                  </a:lnTo>
                  <a:lnTo>
                    <a:pt x="1753220" y="2087219"/>
                  </a:lnTo>
                  <a:cubicBezTo>
                    <a:pt x="1753220" y="2087219"/>
                    <a:pt x="1753220" y="2067184"/>
                    <a:pt x="1753220" y="2067184"/>
                  </a:cubicBezTo>
                  <a:close/>
                  <a:moveTo>
                    <a:pt x="1713151" y="2067184"/>
                  </a:moveTo>
                  <a:lnTo>
                    <a:pt x="1733175" y="2067184"/>
                  </a:lnTo>
                  <a:lnTo>
                    <a:pt x="1733175" y="2087219"/>
                  </a:lnTo>
                  <a:lnTo>
                    <a:pt x="1713151" y="2087219"/>
                  </a:lnTo>
                  <a:cubicBezTo>
                    <a:pt x="1713151" y="2087219"/>
                    <a:pt x="1713151" y="2067184"/>
                    <a:pt x="1713151" y="2067184"/>
                  </a:cubicBezTo>
                  <a:close/>
                  <a:moveTo>
                    <a:pt x="1673093" y="2067184"/>
                  </a:moveTo>
                  <a:lnTo>
                    <a:pt x="1693116" y="2067184"/>
                  </a:lnTo>
                  <a:lnTo>
                    <a:pt x="1693116" y="2087219"/>
                  </a:lnTo>
                  <a:lnTo>
                    <a:pt x="1673093" y="2087219"/>
                  </a:lnTo>
                  <a:cubicBezTo>
                    <a:pt x="1673093" y="2087219"/>
                    <a:pt x="1673093" y="2067184"/>
                    <a:pt x="1673093" y="2067184"/>
                  </a:cubicBezTo>
                  <a:close/>
                  <a:moveTo>
                    <a:pt x="1633012" y="2067184"/>
                  </a:moveTo>
                  <a:lnTo>
                    <a:pt x="1653047" y="2067184"/>
                  </a:lnTo>
                  <a:lnTo>
                    <a:pt x="1653047" y="2087219"/>
                  </a:lnTo>
                  <a:lnTo>
                    <a:pt x="1633012" y="2087219"/>
                  </a:lnTo>
                  <a:cubicBezTo>
                    <a:pt x="1633012" y="2087219"/>
                    <a:pt x="1633012" y="2067184"/>
                    <a:pt x="1633012" y="2067184"/>
                  </a:cubicBezTo>
                  <a:close/>
                  <a:moveTo>
                    <a:pt x="1915284" y="2059104"/>
                  </a:moveTo>
                  <a:lnTo>
                    <a:pt x="1912240" y="2069544"/>
                  </a:lnTo>
                  <a:lnTo>
                    <a:pt x="1914912" y="2072030"/>
                  </a:lnTo>
                  <a:cubicBezTo>
                    <a:pt x="1914912" y="2072030"/>
                    <a:pt x="1925037" y="2068175"/>
                    <a:pt x="1925037" y="2068175"/>
                  </a:cubicBezTo>
                  <a:lnTo>
                    <a:pt x="1924789" y="2067244"/>
                  </a:lnTo>
                  <a:lnTo>
                    <a:pt x="1916089" y="2059226"/>
                  </a:lnTo>
                  <a:close/>
                  <a:moveTo>
                    <a:pt x="2002222" y="2059049"/>
                  </a:moveTo>
                  <a:cubicBezTo>
                    <a:pt x="1997820" y="2059927"/>
                    <a:pt x="1995114" y="2067201"/>
                    <a:pt x="2001536" y="2069734"/>
                  </a:cubicBezTo>
                  <a:cubicBezTo>
                    <a:pt x="2005141" y="2071158"/>
                    <a:pt x="2007819" y="2069026"/>
                    <a:pt x="2008495" y="2066254"/>
                  </a:cubicBezTo>
                  <a:cubicBezTo>
                    <a:pt x="2008949" y="2064422"/>
                    <a:pt x="2008514" y="2062328"/>
                    <a:pt x="2006883" y="2060727"/>
                  </a:cubicBezTo>
                  <a:cubicBezTo>
                    <a:pt x="2005326" y="2059188"/>
                    <a:pt x="2003686" y="2058756"/>
                    <a:pt x="2002222" y="2059049"/>
                  </a:cubicBezTo>
                  <a:close/>
                  <a:moveTo>
                    <a:pt x="1172544" y="2057729"/>
                  </a:moveTo>
                  <a:lnTo>
                    <a:pt x="1172544" y="2119026"/>
                  </a:lnTo>
                  <a:cubicBezTo>
                    <a:pt x="1172544" y="2121019"/>
                    <a:pt x="1174147" y="2122638"/>
                    <a:pt x="1176134" y="2122638"/>
                  </a:cubicBezTo>
                  <a:lnTo>
                    <a:pt x="1269907" y="2122638"/>
                  </a:lnTo>
                  <a:cubicBezTo>
                    <a:pt x="1271895" y="2122638"/>
                    <a:pt x="1273514" y="2121019"/>
                    <a:pt x="1273514" y="2119026"/>
                  </a:cubicBezTo>
                  <a:cubicBezTo>
                    <a:pt x="1273514" y="2119026"/>
                    <a:pt x="1273514" y="2057729"/>
                    <a:pt x="1273514" y="2057729"/>
                  </a:cubicBezTo>
                  <a:close/>
                  <a:moveTo>
                    <a:pt x="2168084" y="2052583"/>
                  </a:moveTo>
                  <a:cubicBezTo>
                    <a:pt x="2163692" y="2053460"/>
                    <a:pt x="2160986" y="2060673"/>
                    <a:pt x="2167398" y="2063206"/>
                  </a:cubicBezTo>
                  <a:cubicBezTo>
                    <a:pt x="2171012" y="2064630"/>
                    <a:pt x="2173681" y="2062590"/>
                    <a:pt x="2174357" y="2059788"/>
                  </a:cubicBezTo>
                  <a:cubicBezTo>
                    <a:pt x="2174802" y="2057971"/>
                    <a:pt x="2174385" y="2055808"/>
                    <a:pt x="2172745" y="2054199"/>
                  </a:cubicBezTo>
                  <a:cubicBezTo>
                    <a:pt x="2171198" y="2052667"/>
                    <a:pt x="2169548" y="2052290"/>
                    <a:pt x="2168084" y="2052583"/>
                  </a:cubicBezTo>
                  <a:close/>
                  <a:moveTo>
                    <a:pt x="2089216" y="2048857"/>
                  </a:moveTo>
                  <a:cubicBezTo>
                    <a:pt x="2085945" y="2062321"/>
                    <a:pt x="2080811" y="2075107"/>
                    <a:pt x="2071943" y="2084714"/>
                  </a:cubicBezTo>
                  <a:cubicBezTo>
                    <a:pt x="2056867" y="2101011"/>
                    <a:pt x="2037166" y="2097624"/>
                    <a:pt x="2019680" y="2088871"/>
                  </a:cubicBezTo>
                  <a:cubicBezTo>
                    <a:pt x="2023572" y="2098371"/>
                    <a:pt x="2027566" y="2107870"/>
                    <a:pt x="2032106" y="2117085"/>
                  </a:cubicBezTo>
                  <a:cubicBezTo>
                    <a:pt x="2032292" y="2117447"/>
                    <a:pt x="2032375" y="2117785"/>
                    <a:pt x="2032486" y="2118147"/>
                  </a:cubicBezTo>
                  <a:cubicBezTo>
                    <a:pt x="2067023" y="2134044"/>
                    <a:pt x="2106100" y="2130418"/>
                    <a:pt x="2141609" y="2119825"/>
                  </a:cubicBezTo>
                  <a:cubicBezTo>
                    <a:pt x="2144982" y="2109602"/>
                    <a:pt x="2148235" y="2099333"/>
                    <a:pt x="2151488" y="2089064"/>
                  </a:cubicBezTo>
                  <a:cubicBezTo>
                    <a:pt x="2143917" y="2094653"/>
                    <a:pt x="2135039" y="2098163"/>
                    <a:pt x="2125328" y="2097201"/>
                  </a:cubicBezTo>
                  <a:cubicBezTo>
                    <a:pt x="2114560" y="2096154"/>
                    <a:pt x="2105878" y="2090403"/>
                    <a:pt x="2100345" y="2081042"/>
                  </a:cubicBezTo>
                  <a:cubicBezTo>
                    <a:pt x="2094517" y="2071189"/>
                    <a:pt x="2091255" y="2060188"/>
                    <a:pt x="2089216" y="2048857"/>
                  </a:cubicBezTo>
                  <a:close/>
                  <a:moveTo>
                    <a:pt x="1471456" y="2048398"/>
                  </a:moveTo>
                  <a:cubicBezTo>
                    <a:pt x="1475044" y="2048398"/>
                    <a:pt x="1477956" y="2051315"/>
                    <a:pt x="1477956" y="2054905"/>
                  </a:cubicBezTo>
                  <a:lnTo>
                    <a:pt x="1477956" y="2069692"/>
                  </a:lnTo>
                  <a:cubicBezTo>
                    <a:pt x="1481834" y="2071935"/>
                    <a:pt x="1484422" y="2076103"/>
                    <a:pt x="1484422" y="2080887"/>
                  </a:cubicBezTo>
                  <a:cubicBezTo>
                    <a:pt x="1484422" y="2088059"/>
                    <a:pt x="1478624" y="2093893"/>
                    <a:pt x="1471456" y="2093893"/>
                  </a:cubicBezTo>
                  <a:cubicBezTo>
                    <a:pt x="1464288" y="2093893"/>
                    <a:pt x="1458444" y="2088059"/>
                    <a:pt x="1458444" y="2080887"/>
                  </a:cubicBezTo>
                  <a:cubicBezTo>
                    <a:pt x="1458444" y="2076103"/>
                    <a:pt x="1461078" y="2071935"/>
                    <a:pt x="1464943" y="2069692"/>
                  </a:cubicBezTo>
                  <a:lnTo>
                    <a:pt x="1464943" y="2054905"/>
                  </a:lnTo>
                  <a:cubicBezTo>
                    <a:pt x="1464943" y="2051315"/>
                    <a:pt x="1467869" y="2048398"/>
                    <a:pt x="1471456" y="2048398"/>
                  </a:cubicBezTo>
                  <a:close/>
                  <a:moveTo>
                    <a:pt x="1875819" y="2042265"/>
                  </a:moveTo>
                  <a:lnTo>
                    <a:pt x="1896329" y="2042265"/>
                  </a:lnTo>
                  <a:cubicBezTo>
                    <a:pt x="1897732" y="2042265"/>
                    <a:pt x="1898817" y="2043415"/>
                    <a:pt x="1898817" y="2044809"/>
                  </a:cubicBezTo>
                  <a:cubicBezTo>
                    <a:pt x="1898817" y="2046210"/>
                    <a:pt x="1897732" y="2047418"/>
                    <a:pt x="1896329" y="2047418"/>
                  </a:cubicBezTo>
                  <a:lnTo>
                    <a:pt x="1875819" y="2047418"/>
                  </a:lnTo>
                  <a:cubicBezTo>
                    <a:pt x="1874421" y="2047418"/>
                    <a:pt x="1873271" y="2046210"/>
                    <a:pt x="1873271" y="2044809"/>
                  </a:cubicBezTo>
                  <a:cubicBezTo>
                    <a:pt x="1873271" y="2043415"/>
                    <a:pt x="1874421" y="2042265"/>
                    <a:pt x="1875819" y="2042265"/>
                  </a:cubicBezTo>
                  <a:close/>
                  <a:moveTo>
                    <a:pt x="1942503" y="2029089"/>
                  </a:moveTo>
                  <a:lnTo>
                    <a:pt x="1940015" y="2031697"/>
                  </a:lnTo>
                  <a:lnTo>
                    <a:pt x="1950394" y="2041270"/>
                  </a:lnTo>
                  <a:cubicBezTo>
                    <a:pt x="1950394" y="2041270"/>
                    <a:pt x="1952882" y="2038597"/>
                    <a:pt x="1952882" y="2038597"/>
                  </a:cubicBezTo>
                  <a:close/>
                  <a:moveTo>
                    <a:pt x="1419460" y="2028923"/>
                  </a:moveTo>
                  <a:cubicBezTo>
                    <a:pt x="1415899" y="2028923"/>
                    <a:pt x="1412980" y="2031840"/>
                    <a:pt x="1412980" y="2035421"/>
                  </a:cubicBezTo>
                  <a:lnTo>
                    <a:pt x="1412980" y="2113377"/>
                  </a:lnTo>
                  <a:cubicBezTo>
                    <a:pt x="1412980" y="2116968"/>
                    <a:pt x="1415899" y="2119875"/>
                    <a:pt x="1419460" y="2119875"/>
                  </a:cubicBezTo>
                  <a:lnTo>
                    <a:pt x="1523426" y="2119875"/>
                  </a:lnTo>
                  <a:cubicBezTo>
                    <a:pt x="1527007" y="2119875"/>
                    <a:pt x="1529925" y="2116968"/>
                    <a:pt x="1529925" y="2113377"/>
                  </a:cubicBezTo>
                  <a:cubicBezTo>
                    <a:pt x="1529925" y="2113377"/>
                    <a:pt x="1529925" y="2035421"/>
                    <a:pt x="1529925" y="2035421"/>
                  </a:cubicBezTo>
                  <a:cubicBezTo>
                    <a:pt x="1529925" y="2031840"/>
                    <a:pt x="1527007" y="2028923"/>
                    <a:pt x="1523426" y="2028923"/>
                  </a:cubicBezTo>
                  <a:close/>
                  <a:moveTo>
                    <a:pt x="1753220" y="2027105"/>
                  </a:moveTo>
                  <a:lnTo>
                    <a:pt x="1773255" y="2027105"/>
                  </a:lnTo>
                  <a:lnTo>
                    <a:pt x="1773255" y="2047150"/>
                  </a:lnTo>
                  <a:lnTo>
                    <a:pt x="1753220" y="2047150"/>
                  </a:lnTo>
                  <a:cubicBezTo>
                    <a:pt x="1753220" y="2047150"/>
                    <a:pt x="1753220" y="2027105"/>
                    <a:pt x="1753220" y="2027105"/>
                  </a:cubicBezTo>
                  <a:close/>
                  <a:moveTo>
                    <a:pt x="1713151" y="2027105"/>
                  </a:moveTo>
                  <a:lnTo>
                    <a:pt x="1733175" y="2027105"/>
                  </a:lnTo>
                  <a:lnTo>
                    <a:pt x="1733175" y="2047150"/>
                  </a:lnTo>
                  <a:lnTo>
                    <a:pt x="1713151" y="2047150"/>
                  </a:lnTo>
                  <a:cubicBezTo>
                    <a:pt x="1713151" y="2047150"/>
                    <a:pt x="1713151" y="2027105"/>
                    <a:pt x="1713151" y="2027105"/>
                  </a:cubicBezTo>
                  <a:close/>
                  <a:moveTo>
                    <a:pt x="1673093" y="2027105"/>
                  </a:moveTo>
                  <a:lnTo>
                    <a:pt x="1693116" y="2027105"/>
                  </a:lnTo>
                  <a:lnTo>
                    <a:pt x="1693116" y="2047150"/>
                  </a:lnTo>
                  <a:lnTo>
                    <a:pt x="1673093" y="2047150"/>
                  </a:lnTo>
                  <a:cubicBezTo>
                    <a:pt x="1673093" y="2047150"/>
                    <a:pt x="1673093" y="2027105"/>
                    <a:pt x="1673093" y="2027105"/>
                  </a:cubicBezTo>
                  <a:close/>
                  <a:moveTo>
                    <a:pt x="1633012" y="2027105"/>
                  </a:moveTo>
                  <a:lnTo>
                    <a:pt x="1653047" y="2027105"/>
                  </a:lnTo>
                  <a:lnTo>
                    <a:pt x="1653047" y="2047150"/>
                  </a:lnTo>
                  <a:lnTo>
                    <a:pt x="1633012" y="2047150"/>
                  </a:lnTo>
                  <a:cubicBezTo>
                    <a:pt x="1633012" y="2047150"/>
                    <a:pt x="1633012" y="2027105"/>
                    <a:pt x="1633012" y="2027105"/>
                  </a:cubicBezTo>
                  <a:close/>
                  <a:moveTo>
                    <a:pt x="1948284" y="2024367"/>
                  </a:moveTo>
                  <a:cubicBezTo>
                    <a:pt x="1950437" y="2024277"/>
                    <a:pt x="1952602" y="2025016"/>
                    <a:pt x="1954307" y="2026603"/>
                  </a:cubicBezTo>
                  <a:cubicBezTo>
                    <a:pt x="1957745" y="2029757"/>
                    <a:pt x="1957977" y="2035121"/>
                    <a:pt x="1954809" y="2038533"/>
                  </a:cubicBezTo>
                  <a:lnTo>
                    <a:pt x="1951452" y="2042201"/>
                  </a:lnTo>
                  <a:lnTo>
                    <a:pt x="1949336" y="2044437"/>
                  </a:lnTo>
                  <a:lnTo>
                    <a:pt x="1926657" y="2069049"/>
                  </a:lnTo>
                  <a:lnTo>
                    <a:pt x="1916089" y="2073083"/>
                  </a:lnTo>
                  <a:lnTo>
                    <a:pt x="1909067" y="2075698"/>
                  </a:lnTo>
                  <a:lnTo>
                    <a:pt x="1911118" y="2068490"/>
                  </a:lnTo>
                  <a:lnTo>
                    <a:pt x="1914286" y="2057613"/>
                  </a:lnTo>
                  <a:lnTo>
                    <a:pt x="1936971" y="2033001"/>
                  </a:lnTo>
                  <a:lnTo>
                    <a:pt x="1939022" y="2030766"/>
                  </a:lnTo>
                  <a:lnTo>
                    <a:pt x="1942438" y="2027097"/>
                  </a:lnTo>
                  <a:cubicBezTo>
                    <a:pt x="1944009" y="2025382"/>
                    <a:pt x="1946125" y="2024450"/>
                    <a:pt x="1948284" y="2024367"/>
                  </a:cubicBezTo>
                  <a:close/>
                  <a:moveTo>
                    <a:pt x="1176134" y="2021662"/>
                  </a:moveTo>
                  <a:cubicBezTo>
                    <a:pt x="1178143" y="2021662"/>
                    <a:pt x="1179746" y="2023265"/>
                    <a:pt x="1179746" y="2025247"/>
                  </a:cubicBezTo>
                  <a:cubicBezTo>
                    <a:pt x="1179746" y="2027267"/>
                    <a:pt x="1178143" y="2028859"/>
                    <a:pt x="1176134" y="2028859"/>
                  </a:cubicBezTo>
                  <a:cubicBezTo>
                    <a:pt x="1174147" y="2028859"/>
                    <a:pt x="1172544" y="2030484"/>
                    <a:pt x="1172544" y="2032471"/>
                  </a:cubicBezTo>
                  <a:lnTo>
                    <a:pt x="1172544" y="2050505"/>
                  </a:lnTo>
                  <a:lnTo>
                    <a:pt x="1273514" y="2050505"/>
                  </a:lnTo>
                  <a:lnTo>
                    <a:pt x="1273514" y="2032471"/>
                  </a:lnTo>
                  <a:cubicBezTo>
                    <a:pt x="1273514" y="2030484"/>
                    <a:pt x="1271895" y="2028859"/>
                    <a:pt x="1269907" y="2028859"/>
                  </a:cubicBezTo>
                  <a:cubicBezTo>
                    <a:pt x="1267909" y="2028859"/>
                    <a:pt x="1266295" y="2027267"/>
                    <a:pt x="1266295" y="2025247"/>
                  </a:cubicBezTo>
                  <a:cubicBezTo>
                    <a:pt x="1266295" y="2023265"/>
                    <a:pt x="1267909" y="2021662"/>
                    <a:pt x="1269907" y="2021662"/>
                  </a:cubicBezTo>
                  <a:cubicBezTo>
                    <a:pt x="1275876" y="2021662"/>
                    <a:pt x="1280733" y="2026508"/>
                    <a:pt x="1280733" y="2032471"/>
                  </a:cubicBezTo>
                  <a:lnTo>
                    <a:pt x="1280733" y="2119026"/>
                  </a:lnTo>
                  <a:cubicBezTo>
                    <a:pt x="1280733" y="2125000"/>
                    <a:pt x="1275876" y="2129857"/>
                    <a:pt x="1269907" y="2129857"/>
                  </a:cubicBezTo>
                  <a:lnTo>
                    <a:pt x="1176134" y="2129857"/>
                  </a:lnTo>
                  <a:cubicBezTo>
                    <a:pt x="1170182" y="2129857"/>
                    <a:pt x="1165320" y="2125000"/>
                    <a:pt x="1165320" y="2119026"/>
                  </a:cubicBezTo>
                  <a:lnTo>
                    <a:pt x="1165320" y="2032471"/>
                  </a:lnTo>
                  <a:cubicBezTo>
                    <a:pt x="1165320" y="2026508"/>
                    <a:pt x="1170182" y="2021662"/>
                    <a:pt x="1176134" y="2021662"/>
                  </a:cubicBezTo>
                  <a:close/>
                  <a:moveTo>
                    <a:pt x="1875819" y="2020390"/>
                  </a:moveTo>
                  <a:lnTo>
                    <a:pt x="1905089" y="2020390"/>
                  </a:lnTo>
                  <a:cubicBezTo>
                    <a:pt x="1906487" y="2020390"/>
                    <a:pt x="1907636" y="2021598"/>
                    <a:pt x="1907636" y="2022998"/>
                  </a:cubicBezTo>
                  <a:cubicBezTo>
                    <a:pt x="1907636" y="2024405"/>
                    <a:pt x="1906487" y="2025549"/>
                    <a:pt x="1905089" y="2025549"/>
                  </a:cubicBezTo>
                  <a:lnTo>
                    <a:pt x="1875819" y="2025549"/>
                  </a:lnTo>
                  <a:cubicBezTo>
                    <a:pt x="1874421" y="2025549"/>
                    <a:pt x="1873271" y="2024405"/>
                    <a:pt x="1873271" y="2022998"/>
                  </a:cubicBezTo>
                  <a:cubicBezTo>
                    <a:pt x="1873271" y="2021598"/>
                    <a:pt x="1874421" y="2020390"/>
                    <a:pt x="1875819" y="2020390"/>
                  </a:cubicBezTo>
                  <a:close/>
                  <a:moveTo>
                    <a:pt x="1259093" y="2014443"/>
                  </a:moveTo>
                  <a:cubicBezTo>
                    <a:pt x="1261080" y="2014443"/>
                    <a:pt x="1262705" y="2016057"/>
                    <a:pt x="1262705" y="2018055"/>
                  </a:cubicBezTo>
                  <a:lnTo>
                    <a:pt x="1262705" y="2032471"/>
                  </a:lnTo>
                  <a:cubicBezTo>
                    <a:pt x="1262705" y="2034459"/>
                    <a:pt x="1261080" y="2036083"/>
                    <a:pt x="1259093" y="2036083"/>
                  </a:cubicBezTo>
                  <a:cubicBezTo>
                    <a:pt x="1257100" y="2036083"/>
                    <a:pt x="1255481" y="2034459"/>
                    <a:pt x="1255481" y="2032471"/>
                  </a:cubicBezTo>
                  <a:lnTo>
                    <a:pt x="1255481" y="2018055"/>
                  </a:lnTo>
                  <a:cubicBezTo>
                    <a:pt x="1255481" y="2016057"/>
                    <a:pt x="1257100" y="2014443"/>
                    <a:pt x="1259093" y="2014443"/>
                  </a:cubicBezTo>
                  <a:close/>
                  <a:moveTo>
                    <a:pt x="1244672" y="2014443"/>
                  </a:moveTo>
                  <a:cubicBezTo>
                    <a:pt x="1246659" y="2014443"/>
                    <a:pt x="1248262" y="2016057"/>
                    <a:pt x="1248262" y="2018055"/>
                  </a:cubicBezTo>
                  <a:lnTo>
                    <a:pt x="1248262" y="2032471"/>
                  </a:lnTo>
                  <a:cubicBezTo>
                    <a:pt x="1248262" y="2034459"/>
                    <a:pt x="1246659" y="2036083"/>
                    <a:pt x="1244672" y="2036083"/>
                  </a:cubicBezTo>
                  <a:cubicBezTo>
                    <a:pt x="1242662" y="2036083"/>
                    <a:pt x="1241060" y="2034459"/>
                    <a:pt x="1241060" y="2032471"/>
                  </a:cubicBezTo>
                  <a:lnTo>
                    <a:pt x="1241060" y="2018055"/>
                  </a:lnTo>
                  <a:cubicBezTo>
                    <a:pt x="1241060" y="2016057"/>
                    <a:pt x="1242662" y="2014443"/>
                    <a:pt x="1244672" y="2014443"/>
                  </a:cubicBezTo>
                  <a:close/>
                  <a:moveTo>
                    <a:pt x="1230229" y="2014443"/>
                  </a:moveTo>
                  <a:cubicBezTo>
                    <a:pt x="1232238" y="2014443"/>
                    <a:pt x="1233836" y="2016057"/>
                    <a:pt x="1233836" y="2018055"/>
                  </a:cubicBezTo>
                  <a:lnTo>
                    <a:pt x="1233836" y="2032471"/>
                  </a:lnTo>
                  <a:cubicBezTo>
                    <a:pt x="1233836" y="2034459"/>
                    <a:pt x="1232238" y="2036083"/>
                    <a:pt x="1230229" y="2036083"/>
                  </a:cubicBezTo>
                  <a:cubicBezTo>
                    <a:pt x="1228241" y="2036083"/>
                    <a:pt x="1226638" y="2034459"/>
                    <a:pt x="1226638" y="2032471"/>
                  </a:cubicBezTo>
                  <a:lnTo>
                    <a:pt x="1226638" y="2018055"/>
                  </a:lnTo>
                  <a:cubicBezTo>
                    <a:pt x="1226638" y="2016057"/>
                    <a:pt x="1228241" y="2014443"/>
                    <a:pt x="1230229" y="2014443"/>
                  </a:cubicBezTo>
                  <a:close/>
                  <a:moveTo>
                    <a:pt x="1215802" y="2014443"/>
                  </a:moveTo>
                  <a:cubicBezTo>
                    <a:pt x="1217795" y="2014443"/>
                    <a:pt x="1219414" y="2016057"/>
                    <a:pt x="1219414" y="2018055"/>
                  </a:cubicBezTo>
                  <a:lnTo>
                    <a:pt x="1219414" y="2032471"/>
                  </a:lnTo>
                  <a:cubicBezTo>
                    <a:pt x="1219414" y="2034459"/>
                    <a:pt x="1217795" y="2036083"/>
                    <a:pt x="1215802" y="2036083"/>
                  </a:cubicBezTo>
                  <a:cubicBezTo>
                    <a:pt x="1213815" y="2036083"/>
                    <a:pt x="1212201" y="2034459"/>
                    <a:pt x="1212201" y="2032471"/>
                  </a:cubicBezTo>
                  <a:lnTo>
                    <a:pt x="1212201" y="2018055"/>
                  </a:lnTo>
                  <a:cubicBezTo>
                    <a:pt x="1212201" y="2016057"/>
                    <a:pt x="1213815" y="2014443"/>
                    <a:pt x="1215802" y="2014443"/>
                  </a:cubicBezTo>
                  <a:close/>
                  <a:moveTo>
                    <a:pt x="1201392" y="2014443"/>
                  </a:moveTo>
                  <a:cubicBezTo>
                    <a:pt x="1203374" y="2014443"/>
                    <a:pt x="1204993" y="2016057"/>
                    <a:pt x="1204993" y="2018055"/>
                  </a:cubicBezTo>
                  <a:lnTo>
                    <a:pt x="1204993" y="2032471"/>
                  </a:lnTo>
                  <a:cubicBezTo>
                    <a:pt x="1204993" y="2034459"/>
                    <a:pt x="1203374" y="2036083"/>
                    <a:pt x="1201392" y="2036083"/>
                  </a:cubicBezTo>
                  <a:cubicBezTo>
                    <a:pt x="1199393" y="2036083"/>
                    <a:pt x="1197774" y="2034459"/>
                    <a:pt x="1197774" y="2032471"/>
                  </a:cubicBezTo>
                  <a:lnTo>
                    <a:pt x="1197774" y="2018055"/>
                  </a:lnTo>
                  <a:cubicBezTo>
                    <a:pt x="1197774" y="2016057"/>
                    <a:pt x="1199393" y="2014443"/>
                    <a:pt x="1201392" y="2014443"/>
                  </a:cubicBezTo>
                  <a:close/>
                  <a:moveTo>
                    <a:pt x="1186965" y="2014443"/>
                  </a:moveTo>
                  <a:cubicBezTo>
                    <a:pt x="1188947" y="2014443"/>
                    <a:pt x="1190572" y="2016057"/>
                    <a:pt x="1190572" y="2018055"/>
                  </a:cubicBezTo>
                  <a:lnTo>
                    <a:pt x="1190572" y="2032471"/>
                  </a:lnTo>
                  <a:cubicBezTo>
                    <a:pt x="1190572" y="2034459"/>
                    <a:pt x="1188947" y="2036083"/>
                    <a:pt x="1186965" y="2036083"/>
                  </a:cubicBezTo>
                  <a:cubicBezTo>
                    <a:pt x="1184972" y="2036083"/>
                    <a:pt x="1183353" y="2034459"/>
                    <a:pt x="1183353" y="2032471"/>
                  </a:cubicBezTo>
                  <a:lnTo>
                    <a:pt x="1183353" y="2018055"/>
                  </a:lnTo>
                  <a:cubicBezTo>
                    <a:pt x="1183353" y="2016057"/>
                    <a:pt x="1184972" y="2014443"/>
                    <a:pt x="1186965" y="2014443"/>
                  </a:cubicBezTo>
                  <a:close/>
                  <a:moveTo>
                    <a:pt x="1875819" y="2008453"/>
                  </a:moveTo>
                  <a:lnTo>
                    <a:pt x="1934359" y="2008453"/>
                  </a:lnTo>
                  <a:cubicBezTo>
                    <a:pt x="1935773" y="2008453"/>
                    <a:pt x="1936847" y="2009603"/>
                    <a:pt x="1936847" y="2011004"/>
                  </a:cubicBezTo>
                  <a:cubicBezTo>
                    <a:pt x="1936847" y="2012417"/>
                    <a:pt x="1935773" y="2013612"/>
                    <a:pt x="1934359" y="2013612"/>
                  </a:cubicBezTo>
                  <a:lnTo>
                    <a:pt x="1875819" y="2013612"/>
                  </a:lnTo>
                  <a:cubicBezTo>
                    <a:pt x="1874421" y="2013612"/>
                    <a:pt x="1873271" y="2012437"/>
                    <a:pt x="1873271" y="2011004"/>
                  </a:cubicBezTo>
                  <a:cubicBezTo>
                    <a:pt x="1873271" y="2009603"/>
                    <a:pt x="1874421" y="2008453"/>
                    <a:pt x="1875819" y="2008453"/>
                  </a:cubicBezTo>
                  <a:close/>
                  <a:moveTo>
                    <a:pt x="1612978" y="2007081"/>
                  </a:moveTo>
                  <a:lnTo>
                    <a:pt x="1612978" y="2147311"/>
                  </a:lnTo>
                  <a:cubicBezTo>
                    <a:pt x="1612978" y="2147311"/>
                    <a:pt x="1793290" y="2147311"/>
                    <a:pt x="1793290" y="2147311"/>
                  </a:cubicBezTo>
                  <a:lnTo>
                    <a:pt x="1793290" y="2007081"/>
                  </a:lnTo>
                  <a:close/>
                  <a:moveTo>
                    <a:pt x="1875819" y="1996523"/>
                  </a:moveTo>
                  <a:lnTo>
                    <a:pt x="1934359" y="1996523"/>
                  </a:lnTo>
                  <a:cubicBezTo>
                    <a:pt x="1935773" y="1996523"/>
                    <a:pt x="1936847" y="1997731"/>
                    <a:pt x="1936847" y="1999138"/>
                  </a:cubicBezTo>
                  <a:cubicBezTo>
                    <a:pt x="1936847" y="2000539"/>
                    <a:pt x="1935773" y="2001682"/>
                    <a:pt x="1934359" y="2001682"/>
                  </a:cubicBezTo>
                  <a:lnTo>
                    <a:pt x="1875819" y="2001682"/>
                  </a:lnTo>
                  <a:cubicBezTo>
                    <a:pt x="1874421" y="2001682"/>
                    <a:pt x="1873271" y="2000539"/>
                    <a:pt x="1873271" y="1999138"/>
                  </a:cubicBezTo>
                  <a:cubicBezTo>
                    <a:pt x="1873271" y="1997731"/>
                    <a:pt x="1874421" y="1996523"/>
                    <a:pt x="1875819" y="1996523"/>
                  </a:cubicBezTo>
                  <a:close/>
                  <a:moveTo>
                    <a:pt x="2089596" y="1989820"/>
                  </a:moveTo>
                  <a:cubicBezTo>
                    <a:pt x="2085204" y="1990698"/>
                    <a:pt x="2082424" y="1997972"/>
                    <a:pt x="2088846" y="2000505"/>
                  </a:cubicBezTo>
                  <a:cubicBezTo>
                    <a:pt x="2092450" y="2001937"/>
                    <a:pt x="2095193" y="1999805"/>
                    <a:pt x="2095870" y="1997026"/>
                  </a:cubicBezTo>
                  <a:cubicBezTo>
                    <a:pt x="2096314" y="1995201"/>
                    <a:pt x="2095897" y="1993107"/>
                    <a:pt x="2094257" y="1991498"/>
                  </a:cubicBezTo>
                  <a:cubicBezTo>
                    <a:pt x="2092710" y="1989959"/>
                    <a:pt x="2091060" y="1989528"/>
                    <a:pt x="2089596" y="1989820"/>
                  </a:cubicBezTo>
                  <a:close/>
                  <a:moveTo>
                    <a:pt x="1875819" y="1984593"/>
                  </a:moveTo>
                  <a:lnTo>
                    <a:pt x="1934359" y="1984593"/>
                  </a:lnTo>
                  <a:cubicBezTo>
                    <a:pt x="1935773" y="1984593"/>
                    <a:pt x="1936847" y="1985794"/>
                    <a:pt x="1936847" y="1987201"/>
                  </a:cubicBezTo>
                  <a:cubicBezTo>
                    <a:pt x="1936847" y="1988608"/>
                    <a:pt x="1935773" y="1989752"/>
                    <a:pt x="1934359" y="1989752"/>
                  </a:cubicBezTo>
                  <a:lnTo>
                    <a:pt x="1875819" y="1989752"/>
                  </a:lnTo>
                  <a:cubicBezTo>
                    <a:pt x="1874421" y="1989752"/>
                    <a:pt x="1873271" y="1988628"/>
                    <a:pt x="1873271" y="1987201"/>
                  </a:cubicBezTo>
                  <a:cubicBezTo>
                    <a:pt x="1873271" y="1985794"/>
                    <a:pt x="1874421" y="1984593"/>
                    <a:pt x="1875819" y="1984593"/>
                  </a:cubicBezTo>
                  <a:close/>
                  <a:moveTo>
                    <a:pt x="2091023" y="1978635"/>
                  </a:moveTo>
                  <a:cubicBezTo>
                    <a:pt x="2092061" y="1978619"/>
                    <a:pt x="2093053" y="1978920"/>
                    <a:pt x="2093877" y="1979435"/>
                  </a:cubicBezTo>
                  <a:cubicBezTo>
                    <a:pt x="2096898" y="1979997"/>
                    <a:pt x="2099641" y="1981044"/>
                    <a:pt x="2102087" y="1983107"/>
                  </a:cubicBezTo>
                  <a:cubicBezTo>
                    <a:pt x="2104710" y="1985301"/>
                    <a:pt x="2106322" y="1988519"/>
                    <a:pt x="2107054" y="1991806"/>
                  </a:cubicBezTo>
                  <a:cubicBezTo>
                    <a:pt x="2107175" y="1992353"/>
                    <a:pt x="2107193" y="1992892"/>
                    <a:pt x="2107175" y="1993423"/>
                  </a:cubicBezTo>
                  <a:cubicBezTo>
                    <a:pt x="2107193" y="1993546"/>
                    <a:pt x="2107230" y="1993654"/>
                    <a:pt x="2107240" y="1993792"/>
                  </a:cubicBezTo>
                  <a:cubicBezTo>
                    <a:pt x="2107805" y="1998119"/>
                    <a:pt x="2107054" y="2002730"/>
                    <a:pt x="2104386" y="2006286"/>
                  </a:cubicBezTo>
                  <a:cubicBezTo>
                    <a:pt x="2104061" y="2006687"/>
                    <a:pt x="2103700" y="2007002"/>
                    <a:pt x="2103329" y="2007341"/>
                  </a:cubicBezTo>
                  <a:cubicBezTo>
                    <a:pt x="2102921" y="2007864"/>
                    <a:pt x="2102458" y="2008373"/>
                    <a:pt x="2101893" y="2008773"/>
                  </a:cubicBezTo>
                  <a:cubicBezTo>
                    <a:pt x="2100012" y="2010081"/>
                    <a:pt x="2097992" y="2010905"/>
                    <a:pt x="2095934" y="2011382"/>
                  </a:cubicBezTo>
                  <a:cubicBezTo>
                    <a:pt x="2097667" y="2029850"/>
                    <a:pt x="2098520" y="2049088"/>
                    <a:pt x="2105257" y="2066501"/>
                  </a:cubicBezTo>
                  <a:cubicBezTo>
                    <a:pt x="2108176" y="2074053"/>
                    <a:pt x="2113041" y="2083567"/>
                    <a:pt x="2121658" y="2085707"/>
                  </a:cubicBezTo>
                  <a:cubicBezTo>
                    <a:pt x="2135818" y="2089256"/>
                    <a:pt x="2148383" y="2079688"/>
                    <a:pt x="2156464" y="2068864"/>
                  </a:cubicBezTo>
                  <a:cubicBezTo>
                    <a:pt x="2154036" y="2066070"/>
                    <a:pt x="2152164" y="2062598"/>
                    <a:pt x="2152544" y="2058918"/>
                  </a:cubicBezTo>
                  <a:cubicBezTo>
                    <a:pt x="2152794" y="2056439"/>
                    <a:pt x="2153471" y="2054215"/>
                    <a:pt x="2154536" y="2052213"/>
                  </a:cubicBezTo>
                  <a:cubicBezTo>
                    <a:pt x="2154212" y="2050904"/>
                    <a:pt x="2154351" y="2049550"/>
                    <a:pt x="2155157" y="2048418"/>
                  </a:cubicBezTo>
                  <a:cubicBezTo>
                    <a:pt x="2158641" y="2043468"/>
                    <a:pt x="2163608" y="2041474"/>
                    <a:pt x="2169576" y="2041397"/>
                  </a:cubicBezTo>
                  <a:cubicBezTo>
                    <a:pt x="2170595" y="2041382"/>
                    <a:pt x="2171540" y="2041690"/>
                    <a:pt x="2172365" y="2042206"/>
                  </a:cubicBezTo>
                  <a:cubicBezTo>
                    <a:pt x="2175386" y="2042768"/>
                    <a:pt x="2178110" y="2043807"/>
                    <a:pt x="2180575" y="2045870"/>
                  </a:cubicBezTo>
                  <a:cubicBezTo>
                    <a:pt x="2183179" y="2048064"/>
                    <a:pt x="2184875" y="2051259"/>
                    <a:pt x="2185607" y="2054569"/>
                  </a:cubicBezTo>
                  <a:cubicBezTo>
                    <a:pt x="2185718" y="2055092"/>
                    <a:pt x="2185755" y="2055600"/>
                    <a:pt x="2185728" y="2056124"/>
                  </a:cubicBezTo>
                  <a:cubicBezTo>
                    <a:pt x="2185765" y="2056255"/>
                    <a:pt x="2185783" y="2056424"/>
                    <a:pt x="2185792" y="2056563"/>
                  </a:cubicBezTo>
                  <a:cubicBezTo>
                    <a:pt x="2186339" y="2060897"/>
                    <a:pt x="2185552" y="2065446"/>
                    <a:pt x="2182873" y="2068987"/>
                  </a:cubicBezTo>
                  <a:cubicBezTo>
                    <a:pt x="2182568" y="2069395"/>
                    <a:pt x="2182253" y="2069772"/>
                    <a:pt x="2181873" y="2070111"/>
                  </a:cubicBezTo>
                  <a:cubicBezTo>
                    <a:pt x="2181474" y="2070619"/>
                    <a:pt x="2180955" y="2071081"/>
                    <a:pt x="2180381" y="2071474"/>
                  </a:cubicBezTo>
                  <a:cubicBezTo>
                    <a:pt x="2176415" y="2074237"/>
                    <a:pt x="2171948" y="2075015"/>
                    <a:pt x="2167519" y="2074330"/>
                  </a:cubicBezTo>
                  <a:cubicBezTo>
                    <a:pt x="2162228" y="2090881"/>
                    <a:pt x="2157066" y="2107431"/>
                    <a:pt x="2151608" y="2123921"/>
                  </a:cubicBezTo>
                  <a:cubicBezTo>
                    <a:pt x="2151089" y="2125460"/>
                    <a:pt x="2150144" y="2126500"/>
                    <a:pt x="2149004" y="2127092"/>
                  </a:cubicBezTo>
                  <a:cubicBezTo>
                    <a:pt x="2148439" y="2128332"/>
                    <a:pt x="2147336" y="2129363"/>
                    <a:pt x="2145650" y="2129887"/>
                  </a:cubicBezTo>
                  <a:cubicBezTo>
                    <a:pt x="2106563" y="2141742"/>
                    <a:pt x="2064187" y="2144898"/>
                    <a:pt x="2026333" y="2127154"/>
                  </a:cubicBezTo>
                  <a:cubicBezTo>
                    <a:pt x="2024628" y="2126361"/>
                    <a:pt x="2023803" y="2125099"/>
                    <a:pt x="2023600" y="2123736"/>
                  </a:cubicBezTo>
                  <a:cubicBezTo>
                    <a:pt x="2023285" y="2123390"/>
                    <a:pt x="2023034" y="2123051"/>
                    <a:pt x="2022784" y="2122558"/>
                  </a:cubicBezTo>
                  <a:cubicBezTo>
                    <a:pt x="2016121" y="2109033"/>
                    <a:pt x="2010552" y="2095007"/>
                    <a:pt x="2004890" y="2081042"/>
                  </a:cubicBezTo>
                  <a:cubicBezTo>
                    <a:pt x="2001730" y="2081104"/>
                    <a:pt x="1998524" y="2080396"/>
                    <a:pt x="1995503" y="2078995"/>
                  </a:cubicBezTo>
                  <a:cubicBezTo>
                    <a:pt x="1994586" y="2078833"/>
                    <a:pt x="1993678" y="2078440"/>
                    <a:pt x="1992835" y="2077686"/>
                  </a:cubicBezTo>
                  <a:cubicBezTo>
                    <a:pt x="1989480" y="2074715"/>
                    <a:pt x="1986181" y="2070157"/>
                    <a:pt x="1986682" y="2065385"/>
                  </a:cubicBezTo>
                  <a:cubicBezTo>
                    <a:pt x="1986923" y="2062913"/>
                    <a:pt x="1987599" y="2060743"/>
                    <a:pt x="1988674" y="2058733"/>
                  </a:cubicBezTo>
                  <a:cubicBezTo>
                    <a:pt x="1988359" y="2057432"/>
                    <a:pt x="1988489" y="2056016"/>
                    <a:pt x="1989295" y="2054884"/>
                  </a:cubicBezTo>
                  <a:cubicBezTo>
                    <a:pt x="1992770" y="2049927"/>
                    <a:pt x="1997755" y="2047941"/>
                    <a:pt x="2003714" y="2047856"/>
                  </a:cubicBezTo>
                  <a:cubicBezTo>
                    <a:pt x="2004742" y="2047841"/>
                    <a:pt x="2005687" y="2048149"/>
                    <a:pt x="2006503" y="2048664"/>
                  </a:cubicBezTo>
                  <a:cubicBezTo>
                    <a:pt x="2009524" y="2049226"/>
                    <a:pt x="2012257" y="2050273"/>
                    <a:pt x="2014713" y="2052336"/>
                  </a:cubicBezTo>
                  <a:cubicBezTo>
                    <a:pt x="2017326" y="2054538"/>
                    <a:pt x="2019013" y="2057725"/>
                    <a:pt x="2019745" y="2061035"/>
                  </a:cubicBezTo>
                  <a:cubicBezTo>
                    <a:pt x="2019856" y="2061559"/>
                    <a:pt x="2019828" y="2062136"/>
                    <a:pt x="2019810" y="2062652"/>
                  </a:cubicBezTo>
                  <a:cubicBezTo>
                    <a:pt x="2019828" y="2062790"/>
                    <a:pt x="2019912" y="2062890"/>
                    <a:pt x="2019930" y="2063021"/>
                  </a:cubicBezTo>
                  <a:cubicBezTo>
                    <a:pt x="2020468" y="2067240"/>
                    <a:pt x="2019698" y="2071697"/>
                    <a:pt x="2017196" y="2075200"/>
                  </a:cubicBezTo>
                  <a:cubicBezTo>
                    <a:pt x="2033496" y="2085107"/>
                    <a:pt x="2054680" y="2092897"/>
                    <a:pt x="2067097" y="2073398"/>
                  </a:cubicBezTo>
                  <a:cubicBezTo>
                    <a:pt x="2078773" y="2055046"/>
                    <a:pt x="2081859" y="2031690"/>
                    <a:pt x="2084555" y="2010451"/>
                  </a:cubicBezTo>
                  <a:cubicBezTo>
                    <a:pt x="2083990" y="2010228"/>
                    <a:pt x="2083425" y="2010028"/>
                    <a:pt x="2082878" y="2009766"/>
                  </a:cubicBezTo>
                  <a:cubicBezTo>
                    <a:pt x="2081960" y="2009597"/>
                    <a:pt x="2081052" y="2009204"/>
                    <a:pt x="2080209" y="2008457"/>
                  </a:cubicBezTo>
                  <a:cubicBezTo>
                    <a:pt x="2076845" y="2005486"/>
                    <a:pt x="2073556" y="2000936"/>
                    <a:pt x="2074056" y="1996156"/>
                  </a:cubicBezTo>
                  <a:cubicBezTo>
                    <a:pt x="2074297" y="1993677"/>
                    <a:pt x="2074992" y="1991506"/>
                    <a:pt x="2076048" y="1989505"/>
                  </a:cubicBezTo>
                  <a:cubicBezTo>
                    <a:pt x="2075743" y="1988204"/>
                    <a:pt x="2075863" y="1986795"/>
                    <a:pt x="2076669" y="1985655"/>
                  </a:cubicBezTo>
                  <a:cubicBezTo>
                    <a:pt x="2080154" y="1980706"/>
                    <a:pt x="2085083" y="1978712"/>
                    <a:pt x="2091023" y="1978635"/>
                  </a:cubicBezTo>
                  <a:close/>
                  <a:moveTo>
                    <a:pt x="1863270" y="1964337"/>
                  </a:moveTo>
                  <a:cubicBezTo>
                    <a:pt x="1858677" y="1964337"/>
                    <a:pt x="1854942" y="1968076"/>
                    <a:pt x="1854942" y="1972663"/>
                  </a:cubicBezTo>
                  <a:lnTo>
                    <a:pt x="1854942" y="2083652"/>
                  </a:lnTo>
                  <a:cubicBezTo>
                    <a:pt x="1854942" y="2088252"/>
                    <a:pt x="1858677" y="2091978"/>
                    <a:pt x="1863270" y="2091978"/>
                  </a:cubicBezTo>
                  <a:lnTo>
                    <a:pt x="1952073" y="2091978"/>
                  </a:lnTo>
                  <a:cubicBezTo>
                    <a:pt x="1956660" y="2091978"/>
                    <a:pt x="1960401" y="2088252"/>
                    <a:pt x="1960401" y="2083652"/>
                  </a:cubicBezTo>
                  <a:cubicBezTo>
                    <a:pt x="1960401" y="2083652"/>
                    <a:pt x="1960401" y="1972663"/>
                    <a:pt x="1960401" y="1972663"/>
                  </a:cubicBezTo>
                  <a:cubicBezTo>
                    <a:pt x="1960401" y="1968076"/>
                    <a:pt x="1956660" y="1964337"/>
                    <a:pt x="1952073" y="1964337"/>
                  </a:cubicBezTo>
                  <a:close/>
                  <a:moveTo>
                    <a:pt x="1863270" y="1958741"/>
                  </a:moveTo>
                  <a:lnTo>
                    <a:pt x="1952073" y="1958741"/>
                  </a:lnTo>
                  <a:cubicBezTo>
                    <a:pt x="1959726" y="1958741"/>
                    <a:pt x="1965992" y="1965011"/>
                    <a:pt x="1965992" y="1972663"/>
                  </a:cubicBezTo>
                  <a:lnTo>
                    <a:pt x="1965992" y="2083652"/>
                  </a:lnTo>
                  <a:cubicBezTo>
                    <a:pt x="1965992" y="2091322"/>
                    <a:pt x="1959726" y="2097509"/>
                    <a:pt x="1952073" y="2097509"/>
                  </a:cubicBezTo>
                  <a:lnTo>
                    <a:pt x="1863270" y="2097509"/>
                  </a:lnTo>
                  <a:cubicBezTo>
                    <a:pt x="1855617" y="2097509"/>
                    <a:pt x="1849410" y="2091322"/>
                    <a:pt x="1849410" y="2083652"/>
                  </a:cubicBezTo>
                  <a:lnTo>
                    <a:pt x="1849410" y="1972663"/>
                  </a:lnTo>
                  <a:cubicBezTo>
                    <a:pt x="1849410" y="1965011"/>
                    <a:pt x="1855617" y="1958741"/>
                    <a:pt x="1863270" y="1958741"/>
                  </a:cubicBezTo>
                  <a:close/>
                  <a:moveTo>
                    <a:pt x="1592943" y="1956996"/>
                  </a:moveTo>
                  <a:lnTo>
                    <a:pt x="1622995" y="1956996"/>
                  </a:lnTo>
                  <a:lnTo>
                    <a:pt x="1622995" y="1977030"/>
                  </a:lnTo>
                  <a:lnTo>
                    <a:pt x="1663064" y="1977030"/>
                  </a:lnTo>
                  <a:lnTo>
                    <a:pt x="1663064" y="1956996"/>
                  </a:lnTo>
                  <a:lnTo>
                    <a:pt x="1743203" y="1956996"/>
                  </a:lnTo>
                  <a:lnTo>
                    <a:pt x="1743203" y="1977030"/>
                  </a:lnTo>
                  <a:lnTo>
                    <a:pt x="1783272" y="1977030"/>
                  </a:lnTo>
                  <a:lnTo>
                    <a:pt x="1783272" y="1956996"/>
                  </a:lnTo>
                  <a:lnTo>
                    <a:pt x="1813324" y="1956996"/>
                  </a:lnTo>
                  <a:cubicBezTo>
                    <a:pt x="1818856" y="1956996"/>
                    <a:pt x="1823342" y="1961481"/>
                    <a:pt x="1823342" y="1967013"/>
                  </a:cubicBezTo>
                  <a:lnTo>
                    <a:pt x="1823342" y="1997053"/>
                  </a:lnTo>
                  <a:cubicBezTo>
                    <a:pt x="1823342" y="2002596"/>
                    <a:pt x="1818856" y="2007081"/>
                    <a:pt x="1813324" y="2007081"/>
                  </a:cubicBezTo>
                  <a:lnTo>
                    <a:pt x="1813324" y="2167356"/>
                  </a:lnTo>
                  <a:lnTo>
                    <a:pt x="1592943" y="2167356"/>
                  </a:lnTo>
                  <a:lnTo>
                    <a:pt x="1592943" y="2007081"/>
                  </a:lnTo>
                  <a:cubicBezTo>
                    <a:pt x="1587411" y="2007081"/>
                    <a:pt x="1582926" y="2002596"/>
                    <a:pt x="1582926" y="1997053"/>
                  </a:cubicBezTo>
                  <a:lnTo>
                    <a:pt x="1582926" y="1967013"/>
                  </a:lnTo>
                  <a:cubicBezTo>
                    <a:pt x="1582926" y="1961481"/>
                    <a:pt x="1587411" y="1956996"/>
                    <a:pt x="1592943" y="1956996"/>
                  </a:cubicBezTo>
                  <a:close/>
                  <a:moveTo>
                    <a:pt x="1471456" y="1937971"/>
                  </a:moveTo>
                  <a:cubicBezTo>
                    <a:pt x="1449946" y="1937971"/>
                    <a:pt x="1432459" y="1955443"/>
                    <a:pt x="1432459" y="1976920"/>
                  </a:cubicBezTo>
                  <a:cubicBezTo>
                    <a:pt x="1432459" y="1976920"/>
                    <a:pt x="1432459" y="2015908"/>
                    <a:pt x="1432459" y="2015908"/>
                  </a:cubicBezTo>
                  <a:lnTo>
                    <a:pt x="1510447" y="2015908"/>
                  </a:lnTo>
                  <a:lnTo>
                    <a:pt x="1510447" y="1976920"/>
                  </a:lnTo>
                  <a:cubicBezTo>
                    <a:pt x="1510447" y="1955443"/>
                    <a:pt x="1492934" y="1937971"/>
                    <a:pt x="1471456" y="1937971"/>
                  </a:cubicBezTo>
                  <a:close/>
                  <a:moveTo>
                    <a:pt x="2240183" y="1935059"/>
                  </a:moveTo>
                  <a:cubicBezTo>
                    <a:pt x="2232036" y="1935059"/>
                    <a:pt x="2225411" y="1941693"/>
                    <a:pt x="2225411" y="1949840"/>
                  </a:cubicBezTo>
                  <a:cubicBezTo>
                    <a:pt x="2225411" y="1957972"/>
                    <a:pt x="2232036" y="1964605"/>
                    <a:pt x="2240183" y="1964605"/>
                  </a:cubicBezTo>
                  <a:cubicBezTo>
                    <a:pt x="2248323" y="1964605"/>
                    <a:pt x="2254940" y="1957972"/>
                    <a:pt x="2254940" y="1949840"/>
                  </a:cubicBezTo>
                  <a:cubicBezTo>
                    <a:pt x="2254940" y="1941693"/>
                    <a:pt x="2248323" y="1935059"/>
                    <a:pt x="2240183" y="1935059"/>
                  </a:cubicBezTo>
                  <a:close/>
                  <a:moveTo>
                    <a:pt x="1753220" y="1926944"/>
                  </a:moveTo>
                  <a:lnTo>
                    <a:pt x="1773255" y="1926944"/>
                  </a:lnTo>
                  <a:cubicBezTo>
                    <a:pt x="1773255" y="1926944"/>
                    <a:pt x="1773255" y="1967013"/>
                    <a:pt x="1773255" y="1967013"/>
                  </a:cubicBezTo>
                  <a:lnTo>
                    <a:pt x="1753220" y="1967013"/>
                  </a:lnTo>
                  <a:close/>
                  <a:moveTo>
                    <a:pt x="1633012" y="1926944"/>
                  </a:moveTo>
                  <a:lnTo>
                    <a:pt x="1653047" y="1926944"/>
                  </a:lnTo>
                  <a:cubicBezTo>
                    <a:pt x="1653047" y="1926944"/>
                    <a:pt x="1653047" y="1967013"/>
                    <a:pt x="1653047" y="1967013"/>
                  </a:cubicBezTo>
                  <a:lnTo>
                    <a:pt x="1633012" y="1967013"/>
                  </a:lnTo>
                  <a:close/>
                  <a:moveTo>
                    <a:pt x="1471456" y="1924956"/>
                  </a:moveTo>
                  <a:cubicBezTo>
                    <a:pt x="1500102" y="1924956"/>
                    <a:pt x="1523426" y="1948272"/>
                    <a:pt x="1523426" y="1976920"/>
                  </a:cubicBezTo>
                  <a:lnTo>
                    <a:pt x="1523426" y="2015908"/>
                  </a:lnTo>
                  <a:cubicBezTo>
                    <a:pt x="1534181" y="2015908"/>
                    <a:pt x="1542938" y="2024668"/>
                    <a:pt x="1542938" y="2035421"/>
                  </a:cubicBezTo>
                  <a:lnTo>
                    <a:pt x="1542938" y="2113377"/>
                  </a:lnTo>
                  <a:cubicBezTo>
                    <a:pt x="1542938" y="2124130"/>
                    <a:pt x="1534181" y="2132890"/>
                    <a:pt x="1523426" y="2132890"/>
                  </a:cubicBezTo>
                  <a:lnTo>
                    <a:pt x="1419460" y="2132890"/>
                  </a:lnTo>
                  <a:cubicBezTo>
                    <a:pt x="1408731" y="2132890"/>
                    <a:pt x="1399975" y="2124130"/>
                    <a:pt x="1399975" y="2113377"/>
                  </a:cubicBezTo>
                  <a:lnTo>
                    <a:pt x="1399975" y="2035421"/>
                  </a:lnTo>
                  <a:cubicBezTo>
                    <a:pt x="1399975" y="2024668"/>
                    <a:pt x="1408731" y="2015908"/>
                    <a:pt x="1419460" y="2015908"/>
                  </a:cubicBezTo>
                  <a:lnTo>
                    <a:pt x="1419460" y="1976920"/>
                  </a:lnTo>
                  <a:cubicBezTo>
                    <a:pt x="1419460" y="1948272"/>
                    <a:pt x="1442778" y="1924956"/>
                    <a:pt x="1471456" y="1924956"/>
                  </a:cubicBezTo>
                  <a:close/>
                  <a:moveTo>
                    <a:pt x="2240183" y="1924396"/>
                  </a:moveTo>
                  <a:cubicBezTo>
                    <a:pt x="2254203" y="1924396"/>
                    <a:pt x="2265619" y="1935812"/>
                    <a:pt x="2265619" y="1949840"/>
                  </a:cubicBezTo>
                  <a:cubicBezTo>
                    <a:pt x="2265619" y="1963852"/>
                    <a:pt x="2254203" y="1975276"/>
                    <a:pt x="2240183" y="1975276"/>
                  </a:cubicBezTo>
                  <a:cubicBezTo>
                    <a:pt x="2226156" y="1975276"/>
                    <a:pt x="2214748" y="1963852"/>
                    <a:pt x="2214748" y="1949840"/>
                  </a:cubicBezTo>
                  <a:cubicBezTo>
                    <a:pt x="2214748" y="1935812"/>
                    <a:pt x="2226156" y="1924396"/>
                    <a:pt x="2240183" y="1924396"/>
                  </a:cubicBezTo>
                  <a:close/>
                  <a:moveTo>
                    <a:pt x="1326890" y="1911106"/>
                  </a:moveTo>
                  <a:cubicBezTo>
                    <a:pt x="1318365" y="1911106"/>
                    <a:pt x="1310392" y="1912564"/>
                    <a:pt x="1302974" y="1915466"/>
                  </a:cubicBezTo>
                  <a:cubicBezTo>
                    <a:pt x="1295552" y="1918368"/>
                    <a:pt x="1289664" y="1922283"/>
                    <a:pt x="1285295" y="1927218"/>
                  </a:cubicBezTo>
                  <a:cubicBezTo>
                    <a:pt x="1280921" y="1932148"/>
                    <a:pt x="1278741" y="1937480"/>
                    <a:pt x="1278741" y="1943204"/>
                  </a:cubicBezTo>
                  <a:cubicBezTo>
                    <a:pt x="1278741" y="1947889"/>
                    <a:pt x="1280234" y="1952347"/>
                    <a:pt x="1283225" y="1956587"/>
                  </a:cubicBezTo>
                  <a:cubicBezTo>
                    <a:pt x="1286211" y="1960831"/>
                    <a:pt x="1290429" y="1964504"/>
                    <a:pt x="1295859" y="1967589"/>
                  </a:cubicBezTo>
                  <a:lnTo>
                    <a:pt x="1301310" y="1970727"/>
                  </a:lnTo>
                  <a:lnTo>
                    <a:pt x="1299614" y="1976741"/>
                  </a:lnTo>
                  <a:cubicBezTo>
                    <a:pt x="1298616" y="1980544"/>
                    <a:pt x="1297149" y="1984141"/>
                    <a:pt x="1295230" y="1987534"/>
                  </a:cubicBezTo>
                  <a:cubicBezTo>
                    <a:pt x="1301586" y="1984895"/>
                    <a:pt x="1307328" y="1981319"/>
                    <a:pt x="1312467" y="1976808"/>
                  </a:cubicBezTo>
                  <a:lnTo>
                    <a:pt x="1315166" y="1974423"/>
                  </a:lnTo>
                  <a:lnTo>
                    <a:pt x="1318740" y="1974797"/>
                  </a:lnTo>
                  <a:cubicBezTo>
                    <a:pt x="1321626" y="1975136"/>
                    <a:pt x="1324336" y="1975301"/>
                    <a:pt x="1326890" y="1975301"/>
                  </a:cubicBezTo>
                  <a:cubicBezTo>
                    <a:pt x="1335410" y="1975301"/>
                    <a:pt x="1343389" y="1973848"/>
                    <a:pt x="1350806" y="1970941"/>
                  </a:cubicBezTo>
                  <a:cubicBezTo>
                    <a:pt x="1358223" y="1968048"/>
                    <a:pt x="1364116" y="1964116"/>
                    <a:pt x="1368491" y="1959190"/>
                  </a:cubicBezTo>
                  <a:cubicBezTo>
                    <a:pt x="1372855" y="1954260"/>
                    <a:pt x="1375039" y="1948937"/>
                    <a:pt x="1375039" y="1943204"/>
                  </a:cubicBezTo>
                  <a:cubicBezTo>
                    <a:pt x="1375039" y="1937480"/>
                    <a:pt x="1372855" y="1932148"/>
                    <a:pt x="1368491" y="1927218"/>
                  </a:cubicBezTo>
                  <a:cubicBezTo>
                    <a:pt x="1364116" y="1922283"/>
                    <a:pt x="1358223" y="1918368"/>
                    <a:pt x="1350806" y="1915457"/>
                  </a:cubicBezTo>
                  <a:cubicBezTo>
                    <a:pt x="1343389" y="1912560"/>
                    <a:pt x="1335420" y="1911106"/>
                    <a:pt x="1326890" y="1911106"/>
                  </a:cubicBezTo>
                  <a:close/>
                  <a:moveTo>
                    <a:pt x="1326890" y="1903082"/>
                  </a:moveTo>
                  <a:cubicBezTo>
                    <a:pt x="1337095" y="1903082"/>
                    <a:pt x="1346494" y="1904870"/>
                    <a:pt x="1355102" y="1908436"/>
                  </a:cubicBezTo>
                  <a:cubicBezTo>
                    <a:pt x="1363711" y="1912025"/>
                    <a:pt x="1370530" y="1916880"/>
                    <a:pt x="1375538" y="1923045"/>
                  </a:cubicBezTo>
                  <a:cubicBezTo>
                    <a:pt x="1380558" y="1929215"/>
                    <a:pt x="1383065" y="1935933"/>
                    <a:pt x="1383065" y="1943204"/>
                  </a:cubicBezTo>
                  <a:cubicBezTo>
                    <a:pt x="1383065" y="1950475"/>
                    <a:pt x="1380558" y="1957193"/>
                    <a:pt x="1375538" y="1963363"/>
                  </a:cubicBezTo>
                  <a:cubicBezTo>
                    <a:pt x="1370530" y="1969524"/>
                    <a:pt x="1363711" y="1974387"/>
                    <a:pt x="1355102" y="1977958"/>
                  </a:cubicBezTo>
                  <a:cubicBezTo>
                    <a:pt x="1346494" y="1981542"/>
                    <a:pt x="1337095" y="1983317"/>
                    <a:pt x="1326890" y="1983317"/>
                  </a:cubicBezTo>
                  <a:cubicBezTo>
                    <a:pt x="1323967" y="1983317"/>
                    <a:pt x="1320935" y="1983156"/>
                    <a:pt x="1317798" y="1982826"/>
                  </a:cubicBezTo>
                  <a:cubicBezTo>
                    <a:pt x="1309523" y="1990142"/>
                    <a:pt x="1299911" y="1995197"/>
                    <a:pt x="1288962" y="1998001"/>
                  </a:cubicBezTo>
                  <a:cubicBezTo>
                    <a:pt x="1286913" y="1998581"/>
                    <a:pt x="1284536" y="1999040"/>
                    <a:pt x="1281810" y="1999374"/>
                  </a:cubicBezTo>
                  <a:lnTo>
                    <a:pt x="1281503" y="1999374"/>
                  </a:lnTo>
                  <a:cubicBezTo>
                    <a:pt x="1280874" y="1999374"/>
                    <a:pt x="1280307" y="1999156"/>
                    <a:pt x="1279802" y="1998719"/>
                  </a:cubicBezTo>
                  <a:cubicBezTo>
                    <a:pt x="1279308" y="1998277"/>
                    <a:pt x="1278975" y="1997698"/>
                    <a:pt x="1278804" y="1996998"/>
                  </a:cubicBezTo>
                  <a:lnTo>
                    <a:pt x="1278804" y="1996927"/>
                  </a:lnTo>
                  <a:cubicBezTo>
                    <a:pt x="1278679" y="1996766"/>
                    <a:pt x="1278669" y="1996508"/>
                    <a:pt x="1278773" y="1996182"/>
                  </a:cubicBezTo>
                  <a:cubicBezTo>
                    <a:pt x="1278877" y="1995848"/>
                    <a:pt x="1278918" y="1995638"/>
                    <a:pt x="1278897" y="1995554"/>
                  </a:cubicBezTo>
                  <a:cubicBezTo>
                    <a:pt x="1278877" y="1995469"/>
                    <a:pt x="1278975" y="1995273"/>
                    <a:pt x="1279184" y="1994961"/>
                  </a:cubicBezTo>
                  <a:lnTo>
                    <a:pt x="1279558" y="1994386"/>
                  </a:lnTo>
                  <a:cubicBezTo>
                    <a:pt x="1279558" y="1994386"/>
                    <a:pt x="1279704" y="1994216"/>
                    <a:pt x="1279990" y="1993860"/>
                  </a:cubicBezTo>
                  <a:cubicBezTo>
                    <a:pt x="1280291" y="1993503"/>
                    <a:pt x="1280458" y="1993316"/>
                    <a:pt x="1280499" y="1993293"/>
                  </a:cubicBezTo>
                  <a:cubicBezTo>
                    <a:pt x="1280791" y="1992964"/>
                    <a:pt x="1281436" y="1992241"/>
                    <a:pt x="1282440" y="1991131"/>
                  </a:cubicBezTo>
                  <a:cubicBezTo>
                    <a:pt x="1283443" y="1990026"/>
                    <a:pt x="1284161" y="1989232"/>
                    <a:pt x="1284603" y="1988746"/>
                  </a:cubicBezTo>
                  <a:cubicBezTo>
                    <a:pt x="1285045" y="1988274"/>
                    <a:pt x="1285690" y="1987445"/>
                    <a:pt x="1286549" y="1986272"/>
                  </a:cubicBezTo>
                  <a:cubicBezTo>
                    <a:pt x="1287402" y="1985104"/>
                    <a:pt x="1288078" y="1984039"/>
                    <a:pt x="1288588" y="1983076"/>
                  </a:cubicBezTo>
                  <a:cubicBezTo>
                    <a:pt x="1289087" y="1982113"/>
                    <a:pt x="1289654" y="1980887"/>
                    <a:pt x="1290278" y="1979376"/>
                  </a:cubicBezTo>
                  <a:cubicBezTo>
                    <a:pt x="1290907" y="1977873"/>
                    <a:pt x="1291448" y="1976282"/>
                    <a:pt x="1291906" y="1974619"/>
                  </a:cubicBezTo>
                  <a:cubicBezTo>
                    <a:pt x="1285342" y="1970897"/>
                    <a:pt x="1280172" y="1966296"/>
                    <a:pt x="1276396" y="1960822"/>
                  </a:cubicBezTo>
                  <a:cubicBezTo>
                    <a:pt x="1272609" y="1955347"/>
                    <a:pt x="1270716" y="1949472"/>
                    <a:pt x="1270716" y="1943204"/>
                  </a:cubicBezTo>
                  <a:cubicBezTo>
                    <a:pt x="1270716" y="1935933"/>
                    <a:pt x="1273223" y="1929215"/>
                    <a:pt x="1278237" y="1923045"/>
                  </a:cubicBezTo>
                  <a:cubicBezTo>
                    <a:pt x="1283251" y="1916880"/>
                    <a:pt x="1290065" y="1912025"/>
                    <a:pt x="1298678" y="1908436"/>
                  </a:cubicBezTo>
                  <a:cubicBezTo>
                    <a:pt x="1307286" y="1904870"/>
                    <a:pt x="1316696" y="1903082"/>
                    <a:pt x="1326890" y="1903082"/>
                  </a:cubicBezTo>
                  <a:close/>
                  <a:moveTo>
                    <a:pt x="2231075" y="1873973"/>
                  </a:moveTo>
                  <a:cubicBezTo>
                    <a:pt x="2229849" y="1873973"/>
                    <a:pt x="2228848" y="1874975"/>
                    <a:pt x="2228848" y="1876200"/>
                  </a:cubicBezTo>
                  <a:lnTo>
                    <a:pt x="2228848" y="1899665"/>
                  </a:lnTo>
                  <a:cubicBezTo>
                    <a:pt x="2228848" y="1901965"/>
                    <a:pt x="2227373" y="1904000"/>
                    <a:pt x="2225202" y="1904721"/>
                  </a:cubicBezTo>
                  <a:cubicBezTo>
                    <a:pt x="2223104" y="1905418"/>
                    <a:pt x="2220981" y="1906299"/>
                    <a:pt x="2218890" y="1907356"/>
                  </a:cubicBezTo>
                  <a:cubicBezTo>
                    <a:pt x="2216847" y="1908406"/>
                    <a:pt x="2214363" y="1907981"/>
                    <a:pt x="2212737" y="1906363"/>
                  </a:cubicBezTo>
                  <a:lnTo>
                    <a:pt x="2196130" y="1889755"/>
                  </a:lnTo>
                  <a:cubicBezTo>
                    <a:pt x="2195545" y="1889187"/>
                    <a:pt x="2194888" y="1889107"/>
                    <a:pt x="2194544" y="1889107"/>
                  </a:cubicBezTo>
                  <a:cubicBezTo>
                    <a:pt x="2194199" y="1889107"/>
                    <a:pt x="2193535" y="1889187"/>
                    <a:pt x="2192974" y="1889755"/>
                  </a:cubicBezTo>
                  <a:lnTo>
                    <a:pt x="2180108" y="1902630"/>
                  </a:lnTo>
                  <a:cubicBezTo>
                    <a:pt x="2179227" y="1903487"/>
                    <a:pt x="2179227" y="1904905"/>
                    <a:pt x="2180108" y="1905778"/>
                  </a:cubicBezTo>
                  <a:lnTo>
                    <a:pt x="2196715" y="1922385"/>
                  </a:lnTo>
                  <a:cubicBezTo>
                    <a:pt x="2198325" y="1923996"/>
                    <a:pt x="2198726" y="1926487"/>
                    <a:pt x="2197700" y="1928538"/>
                  </a:cubicBezTo>
                  <a:cubicBezTo>
                    <a:pt x="2196643" y="1930637"/>
                    <a:pt x="2195762" y="1932760"/>
                    <a:pt x="2195073" y="1934851"/>
                  </a:cubicBezTo>
                  <a:cubicBezTo>
                    <a:pt x="2194344" y="1937030"/>
                    <a:pt x="2192309" y="1938504"/>
                    <a:pt x="2190010" y="1938504"/>
                  </a:cubicBezTo>
                  <a:lnTo>
                    <a:pt x="2166545" y="1938504"/>
                  </a:lnTo>
                  <a:cubicBezTo>
                    <a:pt x="2165319" y="1938504"/>
                    <a:pt x="2164310" y="1939506"/>
                    <a:pt x="2164310" y="1940723"/>
                  </a:cubicBezTo>
                  <a:lnTo>
                    <a:pt x="2164310" y="1958941"/>
                  </a:lnTo>
                  <a:cubicBezTo>
                    <a:pt x="2164310" y="1960159"/>
                    <a:pt x="2165319" y="1961160"/>
                    <a:pt x="2166545" y="1961160"/>
                  </a:cubicBezTo>
                  <a:lnTo>
                    <a:pt x="2190010" y="1961160"/>
                  </a:lnTo>
                  <a:cubicBezTo>
                    <a:pt x="2192309" y="1961160"/>
                    <a:pt x="2194344" y="1962634"/>
                    <a:pt x="2195073" y="1964821"/>
                  </a:cubicBezTo>
                  <a:cubicBezTo>
                    <a:pt x="2195762" y="1966904"/>
                    <a:pt x="2196643" y="1969035"/>
                    <a:pt x="2197700" y="1971118"/>
                  </a:cubicBezTo>
                  <a:cubicBezTo>
                    <a:pt x="2198726" y="1973177"/>
                    <a:pt x="2198325" y="1975661"/>
                    <a:pt x="2196715" y="1977287"/>
                  </a:cubicBezTo>
                  <a:lnTo>
                    <a:pt x="2180108" y="1993894"/>
                  </a:lnTo>
                  <a:cubicBezTo>
                    <a:pt x="2179227" y="1994767"/>
                    <a:pt x="2179227" y="1996169"/>
                    <a:pt x="2180108" y="1997035"/>
                  </a:cubicBezTo>
                  <a:lnTo>
                    <a:pt x="2192974" y="2009917"/>
                  </a:lnTo>
                  <a:cubicBezTo>
                    <a:pt x="2193535" y="2010478"/>
                    <a:pt x="2194199" y="2010566"/>
                    <a:pt x="2194544" y="2010566"/>
                  </a:cubicBezTo>
                  <a:cubicBezTo>
                    <a:pt x="2194888" y="2010566"/>
                    <a:pt x="2195545" y="2010478"/>
                    <a:pt x="2196130" y="2009917"/>
                  </a:cubicBezTo>
                  <a:lnTo>
                    <a:pt x="2212737" y="1993309"/>
                  </a:lnTo>
                  <a:cubicBezTo>
                    <a:pt x="2213747" y="1992284"/>
                    <a:pt x="2215108" y="1991747"/>
                    <a:pt x="2216494" y="1991747"/>
                  </a:cubicBezTo>
                  <a:cubicBezTo>
                    <a:pt x="2217312" y="1991747"/>
                    <a:pt x="2218121" y="1991931"/>
                    <a:pt x="2218890" y="1992308"/>
                  </a:cubicBezTo>
                  <a:cubicBezTo>
                    <a:pt x="2220981" y="1993366"/>
                    <a:pt x="2223104" y="1994263"/>
                    <a:pt x="2225194" y="1994936"/>
                  </a:cubicBezTo>
                  <a:cubicBezTo>
                    <a:pt x="2227373" y="1995665"/>
                    <a:pt x="2228848" y="1997708"/>
                    <a:pt x="2228848" y="1999999"/>
                  </a:cubicBezTo>
                  <a:lnTo>
                    <a:pt x="2228848" y="2023464"/>
                  </a:lnTo>
                  <a:cubicBezTo>
                    <a:pt x="2228848" y="2024690"/>
                    <a:pt x="2229849" y="2025691"/>
                    <a:pt x="2231075" y="2025691"/>
                  </a:cubicBezTo>
                  <a:lnTo>
                    <a:pt x="2249276" y="2025691"/>
                  </a:lnTo>
                  <a:cubicBezTo>
                    <a:pt x="2250502" y="2025691"/>
                    <a:pt x="2251511" y="2024690"/>
                    <a:pt x="2251511" y="2023464"/>
                  </a:cubicBezTo>
                  <a:lnTo>
                    <a:pt x="2251511" y="1999999"/>
                  </a:lnTo>
                  <a:cubicBezTo>
                    <a:pt x="2251511" y="1997708"/>
                    <a:pt x="2252977" y="1995665"/>
                    <a:pt x="2255164" y="1994936"/>
                  </a:cubicBezTo>
                  <a:cubicBezTo>
                    <a:pt x="2257247" y="1994255"/>
                    <a:pt x="2259370" y="1993366"/>
                    <a:pt x="2261461" y="1992308"/>
                  </a:cubicBezTo>
                  <a:cubicBezTo>
                    <a:pt x="2263520" y="1991283"/>
                    <a:pt x="2266011" y="1991691"/>
                    <a:pt x="2267637" y="1993309"/>
                  </a:cubicBezTo>
                  <a:lnTo>
                    <a:pt x="2284228" y="2009901"/>
                  </a:lnTo>
                  <a:cubicBezTo>
                    <a:pt x="2284805" y="2010478"/>
                    <a:pt x="2285470" y="2010566"/>
                    <a:pt x="2285815" y="2010566"/>
                  </a:cubicBezTo>
                  <a:cubicBezTo>
                    <a:pt x="2286151" y="2010566"/>
                    <a:pt x="2286816" y="2010478"/>
                    <a:pt x="2287377" y="2009917"/>
                  </a:cubicBezTo>
                  <a:lnTo>
                    <a:pt x="2300259" y="1997051"/>
                  </a:lnTo>
                  <a:cubicBezTo>
                    <a:pt x="2301124" y="1996169"/>
                    <a:pt x="2301124" y="1994767"/>
                    <a:pt x="2300243" y="1993894"/>
                  </a:cubicBezTo>
                  <a:lnTo>
                    <a:pt x="2283652" y="1977287"/>
                  </a:lnTo>
                  <a:cubicBezTo>
                    <a:pt x="2282025" y="1975661"/>
                    <a:pt x="2281625" y="1973177"/>
                    <a:pt x="2282650" y="1971118"/>
                  </a:cubicBezTo>
                  <a:cubicBezTo>
                    <a:pt x="2283708" y="1969019"/>
                    <a:pt x="2284589" y="1966904"/>
                    <a:pt x="2285278" y="1964821"/>
                  </a:cubicBezTo>
                  <a:cubicBezTo>
                    <a:pt x="2286007" y="1962634"/>
                    <a:pt x="2288050" y="1961160"/>
                    <a:pt x="2290341" y="1961160"/>
                  </a:cubicBezTo>
                  <a:lnTo>
                    <a:pt x="2313805" y="1961160"/>
                  </a:lnTo>
                  <a:cubicBezTo>
                    <a:pt x="2314622" y="1961160"/>
                    <a:pt x="2315143" y="1960760"/>
                    <a:pt x="2315392" y="1960511"/>
                  </a:cubicBezTo>
                  <a:cubicBezTo>
                    <a:pt x="2315632" y="1960263"/>
                    <a:pt x="2316040" y="1959742"/>
                    <a:pt x="2316040" y="1958941"/>
                  </a:cubicBezTo>
                  <a:lnTo>
                    <a:pt x="2316040" y="1940723"/>
                  </a:lnTo>
                  <a:cubicBezTo>
                    <a:pt x="2316040" y="1939506"/>
                    <a:pt x="2315039" y="1938504"/>
                    <a:pt x="2313805" y="1938504"/>
                  </a:cubicBezTo>
                  <a:lnTo>
                    <a:pt x="2290341" y="1938504"/>
                  </a:lnTo>
                  <a:cubicBezTo>
                    <a:pt x="2288050" y="1938504"/>
                    <a:pt x="2286007" y="1937030"/>
                    <a:pt x="2285278" y="1934851"/>
                  </a:cubicBezTo>
                  <a:cubicBezTo>
                    <a:pt x="2284589" y="1932760"/>
                    <a:pt x="2283708" y="1930637"/>
                    <a:pt x="2282650" y="1928538"/>
                  </a:cubicBezTo>
                  <a:cubicBezTo>
                    <a:pt x="2281625" y="1926487"/>
                    <a:pt x="2282025" y="1924020"/>
                    <a:pt x="2283652" y="1922385"/>
                  </a:cubicBezTo>
                  <a:lnTo>
                    <a:pt x="2300259" y="1905770"/>
                  </a:lnTo>
                  <a:cubicBezTo>
                    <a:pt x="2300827" y="1905209"/>
                    <a:pt x="2300915" y="1904544"/>
                    <a:pt x="2300915" y="1904208"/>
                  </a:cubicBezTo>
                  <a:cubicBezTo>
                    <a:pt x="2300915" y="1903855"/>
                    <a:pt x="2300827" y="1903190"/>
                    <a:pt x="2300259" y="1902630"/>
                  </a:cubicBezTo>
                  <a:lnTo>
                    <a:pt x="2287377" y="1889739"/>
                  </a:lnTo>
                  <a:cubicBezTo>
                    <a:pt x="2286816" y="1889187"/>
                    <a:pt x="2286151" y="1889107"/>
                    <a:pt x="2285815" y="1889107"/>
                  </a:cubicBezTo>
                  <a:cubicBezTo>
                    <a:pt x="2285470" y="1889107"/>
                    <a:pt x="2284805" y="1889187"/>
                    <a:pt x="2284228" y="1889755"/>
                  </a:cubicBezTo>
                  <a:lnTo>
                    <a:pt x="2267637" y="1906363"/>
                  </a:lnTo>
                  <a:cubicBezTo>
                    <a:pt x="2266011" y="1907981"/>
                    <a:pt x="2263520" y="1908406"/>
                    <a:pt x="2261461" y="1907356"/>
                  </a:cubicBezTo>
                  <a:cubicBezTo>
                    <a:pt x="2259370" y="1906299"/>
                    <a:pt x="2257247" y="1905418"/>
                    <a:pt x="2255164" y="1904721"/>
                  </a:cubicBezTo>
                  <a:cubicBezTo>
                    <a:pt x="2252977" y="1904000"/>
                    <a:pt x="2251511" y="1901965"/>
                    <a:pt x="2251511" y="1899665"/>
                  </a:cubicBezTo>
                  <a:lnTo>
                    <a:pt x="2251511" y="1876200"/>
                  </a:lnTo>
                  <a:cubicBezTo>
                    <a:pt x="2251511" y="1874975"/>
                    <a:pt x="2250502" y="1873973"/>
                    <a:pt x="2249276" y="1873973"/>
                  </a:cubicBezTo>
                  <a:close/>
                  <a:moveTo>
                    <a:pt x="2231075" y="1863310"/>
                  </a:moveTo>
                  <a:lnTo>
                    <a:pt x="2249276" y="1863310"/>
                  </a:lnTo>
                  <a:cubicBezTo>
                    <a:pt x="2256390" y="1863310"/>
                    <a:pt x="2262166" y="1869086"/>
                    <a:pt x="2262166" y="1876200"/>
                  </a:cubicBezTo>
                  <a:lnTo>
                    <a:pt x="2262166" y="1895972"/>
                  </a:lnTo>
                  <a:cubicBezTo>
                    <a:pt x="2262350" y="1896028"/>
                    <a:pt x="2262534" y="1896108"/>
                    <a:pt x="2262719" y="1896188"/>
                  </a:cubicBezTo>
                  <a:lnTo>
                    <a:pt x="2276706" y="1882209"/>
                  </a:lnTo>
                  <a:cubicBezTo>
                    <a:pt x="2279141" y="1879773"/>
                    <a:pt x="2282370" y="1878435"/>
                    <a:pt x="2285815" y="1878435"/>
                  </a:cubicBezTo>
                  <a:cubicBezTo>
                    <a:pt x="2289251" y="1878435"/>
                    <a:pt x="2292496" y="1879773"/>
                    <a:pt x="2294931" y="1882209"/>
                  </a:cubicBezTo>
                  <a:lnTo>
                    <a:pt x="2307797" y="1895099"/>
                  </a:lnTo>
                  <a:cubicBezTo>
                    <a:pt x="2310232" y="1897526"/>
                    <a:pt x="2311570" y="1900763"/>
                    <a:pt x="2311570" y="1904208"/>
                  </a:cubicBezTo>
                  <a:cubicBezTo>
                    <a:pt x="2311570" y="1907653"/>
                    <a:pt x="2310232" y="1910889"/>
                    <a:pt x="2307789" y="1913317"/>
                  </a:cubicBezTo>
                  <a:lnTo>
                    <a:pt x="2293818" y="1927288"/>
                  </a:lnTo>
                  <a:cubicBezTo>
                    <a:pt x="2293898" y="1927481"/>
                    <a:pt x="2293970" y="1927657"/>
                    <a:pt x="2294042" y="1927841"/>
                  </a:cubicBezTo>
                  <a:lnTo>
                    <a:pt x="2313805" y="1927841"/>
                  </a:lnTo>
                  <a:cubicBezTo>
                    <a:pt x="2320919" y="1927841"/>
                    <a:pt x="2326695" y="1933617"/>
                    <a:pt x="2326695" y="1940723"/>
                  </a:cubicBezTo>
                  <a:lnTo>
                    <a:pt x="2326695" y="1958941"/>
                  </a:lnTo>
                  <a:cubicBezTo>
                    <a:pt x="2326695" y="1962378"/>
                    <a:pt x="2325357" y="1965614"/>
                    <a:pt x="2322922" y="1968050"/>
                  </a:cubicBezTo>
                  <a:cubicBezTo>
                    <a:pt x="2320487" y="1970485"/>
                    <a:pt x="2317258" y="1971823"/>
                    <a:pt x="2313821" y="1971823"/>
                  </a:cubicBezTo>
                  <a:lnTo>
                    <a:pt x="2294058" y="1971823"/>
                  </a:lnTo>
                  <a:cubicBezTo>
                    <a:pt x="2293970" y="1971999"/>
                    <a:pt x="2293898" y="1972184"/>
                    <a:pt x="2293818" y="1972368"/>
                  </a:cubicBezTo>
                  <a:lnTo>
                    <a:pt x="2307797" y="1986348"/>
                  </a:lnTo>
                  <a:cubicBezTo>
                    <a:pt x="2312828" y="1991371"/>
                    <a:pt x="2312828" y="1999542"/>
                    <a:pt x="2307797" y="2004581"/>
                  </a:cubicBezTo>
                  <a:lnTo>
                    <a:pt x="2294931" y="2017455"/>
                  </a:lnTo>
                  <a:cubicBezTo>
                    <a:pt x="2292480" y="2019891"/>
                    <a:pt x="2289251" y="2021229"/>
                    <a:pt x="2285815" y="2021229"/>
                  </a:cubicBezTo>
                  <a:cubicBezTo>
                    <a:pt x="2282370" y="2021229"/>
                    <a:pt x="2279125" y="2019891"/>
                    <a:pt x="2276690" y="2017439"/>
                  </a:cubicBezTo>
                  <a:lnTo>
                    <a:pt x="2262719" y="2003484"/>
                  </a:lnTo>
                  <a:cubicBezTo>
                    <a:pt x="2262542" y="2003556"/>
                    <a:pt x="2262350" y="2003628"/>
                    <a:pt x="2262166" y="2003700"/>
                  </a:cubicBezTo>
                  <a:lnTo>
                    <a:pt x="2262166" y="2023464"/>
                  </a:lnTo>
                  <a:cubicBezTo>
                    <a:pt x="2262166" y="2030578"/>
                    <a:pt x="2256390" y="2036354"/>
                    <a:pt x="2249276" y="2036354"/>
                  </a:cubicBezTo>
                  <a:lnTo>
                    <a:pt x="2231075" y="2036354"/>
                  </a:lnTo>
                  <a:cubicBezTo>
                    <a:pt x="2223969" y="2036354"/>
                    <a:pt x="2218185" y="2030578"/>
                    <a:pt x="2218185" y="2023464"/>
                  </a:cubicBezTo>
                  <a:lnTo>
                    <a:pt x="2218185" y="2003700"/>
                  </a:lnTo>
                  <a:cubicBezTo>
                    <a:pt x="2218000" y="2003628"/>
                    <a:pt x="2217824" y="2003556"/>
                    <a:pt x="2217640" y="2003484"/>
                  </a:cubicBezTo>
                  <a:lnTo>
                    <a:pt x="2203661" y="2017439"/>
                  </a:lnTo>
                  <a:cubicBezTo>
                    <a:pt x="2201225" y="2019891"/>
                    <a:pt x="2197981" y="2021221"/>
                    <a:pt x="2194544" y="2021221"/>
                  </a:cubicBezTo>
                  <a:cubicBezTo>
                    <a:pt x="2191115" y="2021221"/>
                    <a:pt x="2187871" y="2019891"/>
                    <a:pt x="2185435" y="2017439"/>
                  </a:cubicBezTo>
                  <a:lnTo>
                    <a:pt x="2172569" y="2004565"/>
                  </a:lnTo>
                  <a:cubicBezTo>
                    <a:pt x="2167547" y="1999542"/>
                    <a:pt x="2167547" y="1991371"/>
                    <a:pt x="2172569" y="1986348"/>
                  </a:cubicBezTo>
                  <a:lnTo>
                    <a:pt x="2186533" y="1972384"/>
                  </a:lnTo>
                  <a:cubicBezTo>
                    <a:pt x="2186453" y="1972184"/>
                    <a:pt x="2186381" y="1971999"/>
                    <a:pt x="2186309" y="1971823"/>
                  </a:cubicBezTo>
                  <a:lnTo>
                    <a:pt x="2166545" y="1971823"/>
                  </a:lnTo>
                  <a:cubicBezTo>
                    <a:pt x="2159431" y="1971823"/>
                    <a:pt x="2153655" y="1966047"/>
                    <a:pt x="2153655" y="1958941"/>
                  </a:cubicBezTo>
                  <a:lnTo>
                    <a:pt x="2153655" y="1940723"/>
                  </a:lnTo>
                  <a:cubicBezTo>
                    <a:pt x="2153655" y="1933617"/>
                    <a:pt x="2159431" y="1927841"/>
                    <a:pt x="2166545" y="1927841"/>
                  </a:cubicBezTo>
                  <a:lnTo>
                    <a:pt x="2186309" y="1927841"/>
                  </a:lnTo>
                  <a:cubicBezTo>
                    <a:pt x="2186381" y="1927657"/>
                    <a:pt x="2186453" y="1927481"/>
                    <a:pt x="2186533" y="1927288"/>
                  </a:cubicBezTo>
                  <a:lnTo>
                    <a:pt x="2172553" y="1913317"/>
                  </a:lnTo>
                  <a:cubicBezTo>
                    <a:pt x="2167530" y="1908294"/>
                    <a:pt x="2167530" y="1900122"/>
                    <a:pt x="2172553" y="1895099"/>
                  </a:cubicBezTo>
                  <a:lnTo>
                    <a:pt x="2185435" y="1882209"/>
                  </a:lnTo>
                  <a:cubicBezTo>
                    <a:pt x="2187871" y="1879773"/>
                    <a:pt x="2191107" y="1878435"/>
                    <a:pt x="2194544" y="1878435"/>
                  </a:cubicBezTo>
                  <a:cubicBezTo>
                    <a:pt x="2197981" y="1878435"/>
                    <a:pt x="2201225" y="1879789"/>
                    <a:pt x="2203661" y="1882225"/>
                  </a:cubicBezTo>
                  <a:lnTo>
                    <a:pt x="2217640" y="1896188"/>
                  </a:lnTo>
                  <a:cubicBezTo>
                    <a:pt x="2217824" y="1896108"/>
                    <a:pt x="2218000" y="1896028"/>
                    <a:pt x="2218185" y="1895972"/>
                  </a:cubicBezTo>
                  <a:lnTo>
                    <a:pt x="2218185" y="1876200"/>
                  </a:lnTo>
                  <a:cubicBezTo>
                    <a:pt x="2218185" y="1869086"/>
                    <a:pt x="2223969" y="1863310"/>
                    <a:pt x="2231075" y="1863310"/>
                  </a:cubicBezTo>
                  <a:close/>
                  <a:moveTo>
                    <a:pt x="1793850" y="1846321"/>
                  </a:moveTo>
                  <a:cubicBezTo>
                    <a:pt x="1792420" y="1845909"/>
                    <a:pt x="1791118" y="1846166"/>
                    <a:pt x="1790091" y="1846564"/>
                  </a:cubicBezTo>
                  <a:cubicBezTo>
                    <a:pt x="1795172" y="1853225"/>
                    <a:pt x="1798469" y="1861329"/>
                    <a:pt x="1799220" y="1870138"/>
                  </a:cubicBezTo>
                  <a:cubicBezTo>
                    <a:pt x="1804794" y="1864430"/>
                    <a:pt x="1801452" y="1855740"/>
                    <a:pt x="1801413" y="1855644"/>
                  </a:cubicBezTo>
                  <a:cubicBezTo>
                    <a:pt x="1799322" y="1850339"/>
                    <a:pt x="1796711" y="1847114"/>
                    <a:pt x="1793850" y="1846321"/>
                  </a:cubicBezTo>
                  <a:close/>
                  <a:moveTo>
                    <a:pt x="1727439" y="1842336"/>
                  </a:moveTo>
                  <a:cubicBezTo>
                    <a:pt x="1718375" y="1849931"/>
                    <a:pt x="1712595" y="1861315"/>
                    <a:pt x="1712595" y="1874036"/>
                  </a:cubicBezTo>
                  <a:cubicBezTo>
                    <a:pt x="1712595" y="1889250"/>
                    <a:pt x="1720877" y="1903135"/>
                    <a:pt x="1734251" y="1910382"/>
                  </a:cubicBezTo>
                  <a:lnTo>
                    <a:pt x="1773625" y="1910382"/>
                  </a:lnTo>
                  <a:cubicBezTo>
                    <a:pt x="1786993" y="1903135"/>
                    <a:pt x="1795275" y="1889250"/>
                    <a:pt x="1795275" y="1874036"/>
                  </a:cubicBezTo>
                  <a:cubicBezTo>
                    <a:pt x="1795275" y="1861471"/>
                    <a:pt x="1789623" y="1850220"/>
                    <a:pt x="1780758" y="1842638"/>
                  </a:cubicBezTo>
                  <a:cubicBezTo>
                    <a:pt x="1771649" y="1846569"/>
                    <a:pt x="1762803" y="1847911"/>
                    <a:pt x="1754984" y="1847911"/>
                  </a:cubicBezTo>
                  <a:cubicBezTo>
                    <a:pt x="1739511" y="1847911"/>
                    <a:pt x="1728209" y="1842716"/>
                    <a:pt x="1727503" y="1842382"/>
                  </a:cubicBezTo>
                  <a:cubicBezTo>
                    <a:pt x="1727471" y="1842368"/>
                    <a:pt x="1727458" y="1842345"/>
                    <a:pt x="1727439" y="1842336"/>
                  </a:cubicBezTo>
                  <a:close/>
                  <a:moveTo>
                    <a:pt x="1442248" y="1841419"/>
                  </a:moveTo>
                  <a:cubicBezTo>
                    <a:pt x="1443804" y="1841605"/>
                    <a:pt x="1445361" y="1841994"/>
                    <a:pt x="1446849" y="1842595"/>
                  </a:cubicBezTo>
                  <a:cubicBezTo>
                    <a:pt x="1448041" y="1842925"/>
                    <a:pt x="1449233" y="1843436"/>
                    <a:pt x="1450326" y="1844091"/>
                  </a:cubicBezTo>
                  <a:cubicBezTo>
                    <a:pt x="1454988" y="1846895"/>
                    <a:pt x="1457593" y="1851297"/>
                    <a:pt x="1459339" y="1856331"/>
                  </a:cubicBezTo>
                  <a:cubicBezTo>
                    <a:pt x="1459711" y="1857401"/>
                    <a:pt x="1459711" y="1858375"/>
                    <a:pt x="1459529" y="1859253"/>
                  </a:cubicBezTo>
                  <a:cubicBezTo>
                    <a:pt x="1459529" y="1859327"/>
                    <a:pt x="1459582" y="1859412"/>
                    <a:pt x="1459590" y="1859498"/>
                  </a:cubicBezTo>
                  <a:cubicBezTo>
                    <a:pt x="1459855" y="1864633"/>
                    <a:pt x="1456978" y="1868997"/>
                    <a:pt x="1453561" y="1872552"/>
                  </a:cubicBezTo>
                  <a:cubicBezTo>
                    <a:pt x="1453159" y="1872994"/>
                    <a:pt x="1452695" y="1873287"/>
                    <a:pt x="1452255" y="1873542"/>
                  </a:cubicBezTo>
                  <a:cubicBezTo>
                    <a:pt x="1451602" y="1874176"/>
                    <a:pt x="1450835" y="1874564"/>
                    <a:pt x="1449954" y="1874724"/>
                  </a:cubicBezTo>
                  <a:cubicBezTo>
                    <a:pt x="1449833" y="1874777"/>
                    <a:pt x="1449719" y="1874851"/>
                    <a:pt x="1449582" y="1874910"/>
                  </a:cubicBezTo>
                  <a:cubicBezTo>
                    <a:pt x="1440729" y="1878359"/>
                    <a:pt x="1429325" y="1875815"/>
                    <a:pt x="1423297" y="1868263"/>
                  </a:cubicBezTo>
                  <a:cubicBezTo>
                    <a:pt x="1418293" y="1862015"/>
                    <a:pt x="1419159" y="1855139"/>
                    <a:pt x="1423418" y="1850057"/>
                  </a:cubicBezTo>
                  <a:cubicBezTo>
                    <a:pt x="1423638" y="1850690"/>
                    <a:pt x="1423934" y="1851323"/>
                    <a:pt x="1424413" y="1851855"/>
                  </a:cubicBezTo>
                  <a:cubicBezTo>
                    <a:pt x="1426554" y="1854261"/>
                    <a:pt x="1429204" y="1856496"/>
                    <a:pt x="1432370" y="1857385"/>
                  </a:cubicBezTo>
                  <a:cubicBezTo>
                    <a:pt x="1435407" y="1858252"/>
                    <a:pt x="1438383" y="1857443"/>
                    <a:pt x="1440760" y="1855464"/>
                  </a:cubicBezTo>
                  <a:cubicBezTo>
                    <a:pt x="1442354" y="1854122"/>
                    <a:pt x="1443432" y="1851834"/>
                    <a:pt x="1443744" y="1849806"/>
                  </a:cubicBezTo>
                  <a:cubicBezTo>
                    <a:pt x="1444146" y="1847092"/>
                    <a:pt x="1443880" y="1844580"/>
                    <a:pt x="1442620" y="1842100"/>
                  </a:cubicBezTo>
                  <a:cubicBezTo>
                    <a:pt x="1442514" y="1841877"/>
                    <a:pt x="1442385" y="1841632"/>
                    <a:pt x="1442248" y="1841419"/>
                  </a:cubicBezTo>
                  <a:close/>
                  <a:moveTo>
                    <a:pt x="1625632" y="1838308"/>
                  </a:moveTo>
                  <a:cubicBezTo>
                    <a:pt x="1624210" y="1838308"/>
                    <a:pt x="1623084" y="1839451"/>
                    <a:pt x="1623084" y="1840853"/>
                  </a:cubicBezTo>
                  <a:cubicBezTo>
                    <a:pt x="1623084" y="1842280"/>
                    <a:pt x="1624210" y="1843406"/>
                    <a:pt x="1625632" y="1843406"/>
                  </a:cubicBezTo>
                  <a:cubicBezTo>
                    <a:pt x="1627034" y="1843406"/>
                    <a:pt x="1628180" y="1842280"/>
                    <a:pt x="1628180" y="1840853"/>
                  </a:cubicBezTo>
                  <a:cubicBezTo>
                    <a:pt x="1628180" y="1839451"/>
                    <a:pt x="1627065" y="1838308"/>
                    <a:pt x="1625632" y="1838308"/>
                  </a:cubicBezTo>
                  <a:close/>
                  <a:moveTo>
                    <a:pt x="1797796" y="1837521"/>
                  </a:moveTo>
                  <a:cubicBezTo>
                    <a:pt x="1792022" y="1836005"/>
                    <a:pt x="1786493" y="1839042"/>
                    <a:pt x="1784414" y="1840380"/>
                  </a:cubicBezTo>
                  <a:cubicBezTo>
                    <a:pt x="1785428" y="1841296"/>
                    <a:pt x="1786409" y="1842267"/>
                    <a:pt x="1787340" y="1843275"/>
                  </a:cubicBezTo>
                  <a:cubicBezTo>
                    <a:pt x="1789110" y="1842336"/>
                    <a:pt x="1791804" y="1841434"/>
                    <a:pt x="1794960" y="1842322"/>
                  </a:cubicBezTo>
                  <a:cubicBezTo>
                    <a:pt x="1799181" y="1843500"/>
                    <a:pt x="1802651" y="1847471"/>
                    <a:pt x="1805256" y="1854127"/>
                  </a:cubicBezTo>
                  <a:cubicBezTo>
                    <a:pt x="1807167" y="1858873"/>
                    <a:pt x="1808418" y="1869446"/>
                    <a:pt x="1799457" y="1875310"/>
                  </a:cubicBezTo>
                  <a:cubicBezTo>
                    <a:pt x="1799438" y="1875319"/>
                    <a:pt x="1799399" y="1875328"/>
                    <a:pt x="1799380" y="1875342"/>
                  </a:cubicBezTo>
                  <a:cubicBezTo>
                    <a:pt x="1799322" y="1877019"/>
                    <a:pt x="1799213" y="1878700"/>
                    <a:pt x="1798982" y="1880344"/>
                  </a:cubicBezTo>
                  <a:cubicBezTo>
                    <a:pt x="1804345" y="1878086"/>
                    <a:pt x="1808123" y="1874778"/>
                    <a:pt x="1810202" y="1870440"/>
                  </a:cubicBezTo>
                  <a:cubicBezTo>
                    <a:pt x="1814410" y="1861617"/>
                    <a:pt x="1810433" y="1851448"/>
                    <a:pt x="1810388" y="1851356"/>
                  </a:cubicBezTo>
                  <a:cubicBezTo>
                    <a:pt x="1807167" y="1843550"/>
                    <a:pt x="1802934" y="1838896"/>
                    <a:pt x="1797796" y="1837521"/>
                  </a:cubicBezTo>
                  <a:close/>
                  <a:moveTo>
                    <a:pt x="1565418" y="1836006"/>
                  </a:moveTo>
                  <a:cubicBezTo>
                    <a:pt x="1563760" y="1836006"/>
                    <a:pt x="1562429" y="1837265"/>
                    <a:pt x="1562429" y="1838926"/>
                  </a:cubicBezTo>
                  <a:cubicBezTo>
                    <a:pt x="1562429" y="1840553"/>
                    <a:pt x="1563760" y="1841913"/>
                    <a:pt x="1565418" y="1841913"/>
                  </a:cubicBezTo>
                  <a:cubicBezTo>
                    <a:pt x="1567065" y="1841913"/>
                    <a:pt x="1568334" y="1840553"/>
                    <a:pt x="1568334" y="1838926"/>
                  </a:cubicBezTo>
                  <a:cubicBezTo>
                    <a:pt x="1568334" y="1837265"/>
                    <a:pt x="1567065" y="1836006"/>
                    <a:pt x="1565418" y="1836006"/>
                  </a:cubicBezTo>
                  <a:close/>
                  <a:moveTo>
                    <a:pt x="1684512" y="1834351"/>
                  </a:moveTo>
                  <a:lnTo>
                    <a:pt x="1684512" y="1839413"/>
                  </a:lnTo>
                  <a:cubicBezTo>
                    <a:pt x="1687392" y="1839638"/>
                    <a:pt x="1689778" y="1840682"/>
                    <a:pt x="1691645" y="1842538"/>
                  </a:cubicBezTo>
                  <a:cubicBezTo>
                    <a:pt x="1695898" y="1846766"/>
                    <a:pt x="1695590" y="1853637"/>
                    <a:pt x="1695571" y="1853935"/>
                  </a:cubicBezTo>
                  <a:cubicBezTo>
                    <a:pt x="1694628" y="1870912"/>
                    <a:pt x="1703980" y="1877293"/>
                    <a:pt x="1708791" y="1879437"/>
                  </a:cubicBezTo>
                  <a:cubicBezTo>
                    <a:pt x="1708586" y="1877651"/>
                    <a:pt x="1708458" y="1875855"/>
                    <a:pt x="1708458" y="1874036"/>
                  </a:cubicBezTo>
                  <a:cubicBezTo>
                    <a:pt x="1708458" y="1867014"/>
                    <a:pt x="1710106" y="1860380"/>
                    <a:pt x="1712961" y="1854453"/>
                  </a:cubicBezTo>
                  <a:cubicBezTo>
                    <a:pt x="1706283" y="1851667"/>
                    <a:pt x="1703551" y="1843220"/>
                    <a:pt x="1703429" y="1842840"/>
                  </a:cubicBezTo>
                  <a:cubicBezTo>
                    <a:pt x="1701710" y="1838648"/>
                    <a:pt x="1699067" y="1835735"/>
                    <a:pt x="1695654" y="1834351"/>
                  </a:cubicBezTo>
                  <a:cubicBezTo>
                    <a:pt x="1691318" y="1832601"/>
                    <a:pt x="1686680" y="1833669"/>
                    <a:pt x="1684512" y="1834351"/>
                  </a:cubicBezTo>
                  <a:close/>
                  <a:moveTo>
                    <a:pt x="1753932" y="1832693"/>
                  </a:moveTo>
                  <a:cubicBezTo>
                    <a:pt x="1745593" y="1832693"/>
                    <a:pt x="1737831" y="1835199"/>
                    <a:pt x="1731333" y="1839468"/>
                  </a:cubicBezTo>
                  <a:cubicBezTo>
                    <a:pt x="1737484" y="1841777"/>
                    <a:pt x="1756639" y="1847558"/>
                    <a:pt x="1776961" y="1839711"/>
                  </a:cubicBezTo>
                  <a:cubicBezTo>
                    <a:pt x="1770373" y="1835281"/>
                    <a:pt x="1762450" y="1832693"/>
                    <a:pt x="1753932" y="1832693"/>
                  </a:cubicBezTo>
                  <a:close/>
                  <a:moveTo>
                    <a:pt x="1432309" y="1829359"/>
                  </a:moveTo>
                  <a:cubicBezTo>
                    <a:pt x="1419386" y="1833340"/>
                    <a:pt x="1408020" y="1843787"/>
                    <a:pt x="1407451" y="1858071"/>
                  </a:cubicBezTo>
                  <a:cubicBezTo>
                    <a:pt x="1406767" y="1875368"/>
                    <a:pt x="1421763" y="1892866"/>
                    <a:pt x="1439887" y="1891812"/>
                  </a:cubicBezTo>
                  <a:cubicBezTo>
                    <a:pt x="1454791" y="1890940"/>
                    <a:pt x="1469149" y="1879444"/>
                    <a:pt x="1471267" y="1864224"/>
                  </a:cubicBezTo>
                  <a:cubicBezTo>
                    <a:pt x="1473666" y="1847007"/>
                    <a:pt x="1461510" y="1833638"/>
                    <a:pt x="1446166" y="1829423"/>
                  </a:cubicBezTo>
                  <a:cubicBezTo>
                    <a:pt x="1445809" y="1829477"/>
                    <a:pt x="1445452" y="1829461"/>
                    <a:pt x="1445042" y="1829423"/>
                  </a:cubicBezTo>
                  <a:cubicBezTo>
                    <a:pt x="1440790" y="1829040"/>
                    <a:pt x="1436561" y="1829040"/>
                    <a:pt x="1432309" y="1829359"/>
                  </a:cubicBezTo>
                  <a:close/>
                  <a:moveTo>
                    <a:pt x="1425779" y="1821717"/>
                  </a:moveTo>
                  <a:cubicBezTo>
                    <a:pt x="1402834" y="1826709"/>
                    <a:pt x="1382585" y="1840599"/>
                    <a:pt x="1374514" y="1863787"/>
                  </a:cubicBezTo>
                  <a:cubicBezTo>
                    <a:pt x="1384255" y="1878114"/>
                    <a:pt x="1397853" y="1886852"/>
                    <a:pt x="1413039" y="1891067"/>
                  </a:cubicBezTo>
                  <a:cubicBezTo>
                    <a:pt x="1403024" y="1882611"/>
                    <a:pt x="1396912" y="1869817"/>
                    <a:pt x="1398309" y="1856022"/>
                  </a:cubicBezTo>
                  <a:cubicBezTo>
                    <a:pt x="1399964" y="1839743"/>
                    <a:pt x="1411422" y="1827438"/>
                    <a:pt x="1425779" y="1821717"/>
                  </a:cubicBezTo>
                  <a:close/>
                  <a:moveTo>
                    <a:pt x="1753444" y="1819733"/>
                  </a:moveTo>
                  <a:cubicBezTo>
                    <a:pt x="1751545" y="1819733"/>
                    <a:pt x="1750019" y="1821254"/>
                    <a:pt x="1750019" y="1823142"/>
                  </a:cubicBezTo>
                  <a:cubicBezTo>
                    <a:pt x="1750019" y="1825020"/>
                    <a:pt x="1751545" y="1826559"/>
                    <a:pt x="1753444" y="1826559"/>
                  </a:cubicBezTo>
                  <a:cubicBezTo>
                    <a:pt x="1755324" y="1826559"/>
                    <a:pt x="1756850" y="1825020"/>
                    <a:pt x="1756850" y="1823142"/>
                  </a:cubicBezTo>
                  <a:cubicBezTo>
                    <a:pt x="1756850" y="1821254"/>
                    <a:pt x="1755324" y="1819733"/>
                    <a:pt x="1753444" y="1819733"/>
                  </a:cubicBezTo>
                  <a:close/>
                  <a:moveTo>
                    <a:pt x="1446166" y="1819668"/>
                  </a:moveTo>
                  <a:cubicBezTo>
                    <a:pt x="1446204" y="1819721"/>
                    <a:pt x="1446249" y="1819796"/>
                    <a:pt x="1446287" y="1819855"/>
                  </a:cubicBezTo>
                  <a:cubicBezTo>
                    <a:pt x="1466727" y="1824522"/>
                    <a:pt x="1483727" y="1842244"/>
                    <a:pt x="1480591" y="1864782"/>
                  </a:cubicBezTo>
                  <a:cubicBezTo>
                    <a:pt x="1479308" y="1874021"/>
                    <a:pt x="1474532" y="1882712"/>
                    <a:pt x="1467729" y="1889327"/>
                  </a:cubicBezTo>
                  <a:cubicBezTo>
                    <a:pt x="1486468" y="1883686"/>
                    <a:pt x="1503908" y="1873393"/>
                    <a:pt x="1516390" y="1859998"/>
                  </a:cubicBezTo>
                  <a:cubicBezTo>
                    <a:pt x="1501714" y="1835022"/>
                    <a:pt x="1474858" y="1820153"/>
                    <a:pt x="1446166" y="1819668"/>
                  </a:cubicBezTo>
                  <a:close/>
                  <a:moveTo>
                    <a:pt x="1753444" y="1815583"/>
                  </a:moveTo>
                  <a:cubicBezTo>
                    <a:pt x="1757607" y="1815583"/>
                    <a:pt x="1760994" y="1818968"/>
                    <a:pt x="1760994" y="1823142"/>
                  </a:cubicBezTo>
                  <a:cubicBezTo>
                    <a:pt x="1760994" y="1825386"/>
                    <a:pt x="1759994" y="1827384"/>
                    <a:pt x="1758435" y="1828781"/>
                  </a:cubicBezTo>
                  <a:cubicBezTo>
                    <a:pt x="1766883" y="1829610"/>
                    <a:pt x="1774626" y="1832808"/>
                    <a:pt x="1781098" y="1837636"/>
                  </a:cubicBezTo>
                  <a:cubicBezTo>
                    <a:pt x="1782003" y="1836940"/>
                    <a:pt x="1789938" y="1831181"/>
                    <a:pt x="1798815" y="1833513"/>
                  </a:cubicBezTo>
                  <a:cubicBezTo>
                    <a:pt x="1805288" y="1835213"/>
                    <a:pt x="1810471" y="1840682"/>
                    <a:pt x="1814236" y="1849785"/>
                  </a:cubicBezTo>
                  <a:cubicBezTo>
                    <a:pt x="1814429" y="1850289"/>
                    <a:pt x="1818926" y="1861787"/>
                    <a:pt x="1813941" y="1872236"/>
                  </a:cubicBezTo>
                  <a:cubicBezTo>
                    <a:pt x="1811074" y="1878210"/>
                    <a:pt x="1805718" y="1882520"/>
                    <a:pt x="1798039" y="1885122"/>
                  </a:cubicBezTo>
                  <a:cubicBezTo>
                    <a:pt x="1794928" y="1897495"/>
                    <a:pt x="1786737" y="1908155"/>
                    <a:pt x="1775107" y="1914280"/>
                  </a:cubicBezTo>
                  <a:cubicBezTo>
                    <a:pt x="1774818" y="1914441"/>
                    <a:pt x="1774478" y="1914532"/>
                    <a:pt x="1774138" y="1914532"/>
                  </a:cubicBezTo>
                  <a:lnTo>
                    <a:pt x="1733732" y="1914532"/>
                  </a:lnTo>
                  <a:cubicBezTo>
                    <a:pt x="1733392" y="1914532"/>
                    <a:pt x="1733065" y="1914441"/>
                    <a:pt x="1732757" y="1914280"/>
                  </a:cubicBezTo>
                  <a:cubicBezTo>
                    <a:pt x="1720819" y="1908000"/>
                    <a:pt x="1712512" y="1896941"/>
                    <a:pt x="1709612" y="1884151"/>
                  </a:cubicBezTo>
                  <a:cubicBezTo>
                    <a:pt x="1705475" y="1882786"/>
                    <a:pt x="1690195" y="1876221"/>
                    <a:pt x="1691440" y="1853715"/>
                  </a:cubicBezTo>
                  <a:cubicBezTo>
                    <a:pt x="1691440" y="1853669"/>
                    <a:pt x="1691658" y="1848374"/>
                    <a:pt x="1688707" y="1845465"/>
                  </a:cubicBezTo>
                  <a:cubicBezTo>
                    <a:pt x="1687251" y="1844022"/>
                    <a:pt x="1685198" y="1843385"/>
                    <a:pt x="1682555" y="1843532"/>
                  </a:cubicBezTo>
                  <a:cubicBezTo>
                    <a:pt x="1681997" y="1843577"/>
                    <a:pt x="1681439" y="1843371"/>
                    <a:pt x="1681016" y="1842973"/>
                  </a:cubicBezTo>
                  <a:cubicBezTo>
                    <a:pt x="1680612" y="1842579"/>
                    <a:pt x="1680368" y="1842043"/>
                    <a:pt x="1680368" y="1841475"/>
                  </a:cubicBezTo>
                  <a:lnTo>
                    <a:pt x="1680368" y="1832904"/>
                  </a:lnTo>
                  <a:cubicBezTo>
                    <a:pt x="1680368" y="1832088"/>
                    <a:pt x="1680855" y="1831360"/>
                    <a:pt x="1681593" y="1831016"/>
                  </a:cubicBezTo>
                  <a:cubicBezTo>
                    <a:pt x="1681914" y="1830870"/>
                    <a:pt x="1689650" y="1827494"/>
                    <a:pt x="1697168" y="1830503"/>
                  </a:cubicBezTo>
                  <a:cubicBezTo>
                    <a:pt x="1701684" y="1832308"/>
                    <a:pt x="1705103" y="1835982"/>
                    <a:pt x="1707329" y="1841434"/>
                  </a:cubicBezTo>
                  <a:cubicBezTo>
                    <a:pt x="1707406" y="1841663"/>
                    <a:pt x="1709798" y="1848933"/>
                    <a:pt x="1714937" y="1850751"/>
                  </a:cubicBezTo>
                  <a:cubicBezTo>
                    <a:pt x="1722019" y="1838932"/>
                    <a:pt x="1734290" y="1830577"/>
                    <a:pt x="1748601" y="1828895"/>
                  </a:cubicBezTo>
                  <a:cubicBezTo>
                    <a:pt x="1746953" y="1827498"/>
                    <a:pt x="1745868" y="1825455"/>
                    <a:pt x="1745868" y="1823142"/>
                  </a:cubicBezTo>
                  <a:cubicBezTo>
                    <a:pt x="1745868" y="1818968"/>
                    <a:pt x="1749275" y="1815583"/>
                    <a:pt x="1753444" y="1815583"/>
                  </a:cubicBezTo>
                  <a:close/>
                  <a:moveTo>
                    <a:pt x="1438520" y="1809722"/>
                  </a:moveTo>
                  <a:cubicBezTo>
                    <a:pt x="1474858" y="1807960"/>
                    <a:pt x="1509716" y="1825405"/>
                    <a:pt x="1526952" y="1858135"/>
                  </a:cubicBezTo>
                  <a:cubicBezTo>
                    <a:pt x="1528075" y="1860280"/>
                    <a:pt x="1527559" y="1862345"/>
                    <a:pt x="1526329" y="1863787"/>
                  </a:cubicBezTo>
                  <a:cubicBezTo>
                    <a:pt x="1526139" y="1864117"/>
                    <a:pt x="1525919" y="1864463"/>
                    <a:pt x="1525646" y="1864782"/>
                  </a:cubicBezTo>
                  <a:cubicBezTo>
                    <a:pt x="1486635" y="1909891"/>
                    <a:pt x="1400997" y="1922914"/>
                    <a:pt x="1365000" y="1867768"/>
                  </a:cubicBezTo>
                  <a:cubicBezTo>
                    <a:pt x="1364195" y="1866528"/>
                    <a:pt x="1364074" y="1865357"/>
                    <a:pt x="1364317" y="1864287"/>
                  </a:cubicBezTo>
                  <a:cubicBezTo>
                    <a:pt x="1364188" y="1863569"/>
                    <a:pt x="1364203" y="1862733"/>
                    <a:pt x="1364506" y="1861861"/>
                  </a:cubicBezTo>
                  <a:cubicBezTo>
                    <a:pt x="1375129" y="1830009"/>
                    <a:pt x="1405757" y="1811313"/>
                    <a:pt x="1438520" y="1809722"/>
                  </a:cubicBezTo>
                  <a:close/>
                  <a:moveTo>
                    <a:pt x="1652536" y="1803633"/>
                  </a:moveTo>
                  <a:cubicBezTo>
                    <a:pt x="1652536" y="1803633"/>
                    <a:pt x="1672359" y="1803633"/>
                    <a:pt x="1672359" y="1803633"/>
                  </a:cubicBezTo>
                  <a:lnTo>
                    <a:pt x="1689142" y="1804501"/>
                  </a:lnTo>
                  <a:lnTo>
                    <a:pt x="1689142" y="1816056"/>
                  </a:lnTo>
                  <a:lnTo>
                    <a:pt x="1652536" y="1816056"/>
                  </a:lnTo>
                  <a:close/>
                  <a:moveTo>
                    <a:pt x="2409508" y="1792052"/>
                  </a:moveTo>
                  <a:cubicBezTo>
                    <a:pt x="2406327" y="1792052"/>
                    <a:pt x="2401795" y="1793007"/>
                    <a:pt x="2396985" y="1794009"/>
                  </a:cubicBezTo>
                  <a:cubicBezTo>
                    <a:pt x="2391146" y="1795240"/>
                    <a:pt x="2384501" y="1796633"/>
                    <a:pt x="2378618" y="1796633"/>
                  </a:cubicBezTo>
                  <a:cubicBezTo>
                    <a:pt x="2373657" y="1796633"/>
                    <a:pt x="2369763" y="1795663"/>
                    <a:pt x="2366737" y="1793664"/>
                  </a:cubicBezTo>
                  <a:cubicBezTo>
                    <a:pt x="2366596" y="1793581"/>
                    <a:pt x="2366489" y="1793539"/>
                    <a:pt x="2366432" y="1793513"/>
                  </a:cubicBezTo>
                  <a:cubicBezTo>
                    <a:pt x="2366268" y="1793633"/>
                    <a:pt x="2365953" y="1793982"/>
                    <a:pt x="2365581" y="1794682"/>
                  </a:cubicBezTo>
                  <a:cubicBezTo>
                    <a:pt x="2365546" y="1794755"/>
                    <a:pt x="2365510" y="1794807"/>
                    <a:pt x="2365475" y="1794869"/>
                  </a:cubicBezTo>
                  <a:cubicBezTo>
                    <a:pt x="2362130" y="1800181"/>
                    <a:pt x="2358750" y="1807079"/>
                    <a:pt x="2358750" y="1809964"/>
                  </a:cubicBezTo>
                  <a:cubicBezTo>
                    <a:pt x="2358750" y="1812323"/>
                    <a:pt x="2359543" y="1814498"/>
                    <a:pt x="2360863" y="1815782"/>
                  </a:cubicBezTo>
                  <a:cubicBezTo>
                    <a:pt x="2361723" y="1816627"/>
                    <a:pt x="2362028" y="1817885"/>
                    <a:pt x="2361643" y="1819033"/>
                  </a:cubicBezTo>
                  <a:cubicBezTo>
                    <a:pt x="2361253" y="1820222"/>
                    <a:pt x="2361209" y="1820822"/>
                    <a:pt x="2361209" y="1821015"/>
                  </a:cubicBezTo>
                  <a:cubicBezTo>
                    <a:pt x="2361209" y="1823478"/>
                    <a:pt x="2362449" y="1825064"/>
                    <a:pt x="2363309" y="1825210"/>
                  </a:cubicBezTo>
                  <a:cubicBezTo>
                    <a:pt x="2364824" y="1825482"/>
                    <a:pt x="2365918" y="1826786"/>
                    <a:pt x="2365918" y="1828310"/>
                  </a:cubicBezTo>
                  <a:lnTo>
                    <a:pt x="2365918" y="1879380"/>
                  </a:lnTo>
                  <a:cubicBezTo>
                    <a:pt x="2365918" y="1879448"/>
                    <a:pt x="2365913" y="1879526"/>
                    <a:pt x="2365904" y="1879594"/>
                  </a:cubicBezTo>
                  <a:cubicBezTo>
                    <a:pt x="2365466" y="1886002"/>
                    <a:pt x="2360385" y="1889623"/>
                    <a:pt x="2355375" y="1892164"/>
                  </a:cubicBezTo>
                  <a:lnTo>
                    <a:pt x="2424494" y="1892164"/>
                  </a:lnTo>
                  <a:cubicBezTo>
                    <a:pt x="2418992" y="1889085"/>
                    <a:pt x="2411900" y="1884838"/>
                    <a:pt x="2412042" y="1876573"/>
                  </a:cubicBezTo>
                  <a:lnTo>
                    <a:pt x="2412042" y="1813904"/>
                  </a:lnTo>
                  <a:cubicBezTo>
                    <a:pt x="2412042" y="1812161"/>
                    <a:pt x="2413459" y="1810757"/>
                    <a:pt x="2415196" y="1810757"/>
                  </a:cubicBezTo>
                  <a:cubicBezTo>
                    <a:pt x="2416113" y="1810757"/>
                    <a:pt x="2417455" y="1809108"/>
                    <a:pt x="2417455" y="1806536"/>
                  </a:cubicBezTo>
                  <a:cubicBezTo>
                    <a:pt x="2417455" y="1804595"/>
                    <a:pt x="2414903" y="1799393"/>
                    <a:pt x="2412538" y="1795683"/>
                  </a:cubicBezTo>
                  <a:cubicBezTo>
                    <a:pt x="2412219" y="1795172"/>
                    <a:pt x="2412042" y="1794588"/>
                    <a:pt x="2412042" y="1793993"/>
                  </a:cubicBezTo>
                  <a:lnTo>
                    <a:pt x="2412042" y="1792386"/>
                  </a:lnTo>
                  <a:cubicBezTo>
                    <a:pt x="2411559" y="1792198"/>
                    <a:pt x="2410744" y="1792052"/>
                    <a:pt x="2409508" y="1792052"/>
                  </a:cubicBezTo>
                  <a:close/>
                  <a:moveTo>
                    <a:pt x="2409508" y="1785754"/>
                  </a:moveTo>
                  <a:cubicBezTo>
                    <a:pt x="2411001" y="1785754"/>
                    <a:pt x="2415537" y="1785754"/>
                    <a:pt x="2417836" y="1789292"/>
                  </a:cubicBezTo>
                  <a:cubicBezTo>
                    <a:pt x="2418164" y="1789798"/>
                    <a:pt x="2418341" y="1790398"/>
                    <a:pt x="2418341" y="1791008"/>
                  </a:cubicBezTo>
                  <a:lnTo>
                    <a:pt x="2418341" y="1793090"/>
                  </a:lnTo>
                  <a:cubicBezTo>
                    <a:pt x="2419918" y="1795663"/>
                    <a:pt x="2423745" y="1802341"/>
                    <a:pt x="2423745" y="1806536"/>
                  </a:cubicBezTo>
                  <a:cubicBezTo>
                    <a:pt x="2423745" y="1811060"/>
                    <a:pt x="2421539" y="1814832"/>
                    <a:pt x="2418341" y="1816340"/>
                  </a:cubicBezTo>
                  <a:lnTo>
                    <a:pt x="2418341" y="1876615"/>
                  </a:lnTo>
                  <a:cubicBezTo>
                    <a:pt x="2418341" y="1876636"/>
                    <a:pt x="2418341" y="1876651"/>
                    <a:pt x="2418341" y="1876651"/>
                  </a:cubicBezTo>
                  <a:cubicBezTo>
                    <a:pt x="2418257" y="1881113"/>
                    <a:pt x="2422541" y="1883862"/>
                    <a:pt x="2428153" y="1886993"/>
                  </a:cubicBezTo>
                  <a:cubicBezTo>
                    <a:pt x="2432242" y="1889283"/>
                    <a:pt x="2436109" y="1891444"/>
                    <a:pt x="2436109" y="1895310"/>
                  </a:cubicBezTo>
                  <a:cubicBezTo>
                    <a:pt x="2436109" y="1897053"/>
                    <a:pt x="2434701" y="1898456"/>
                    <a:pt x="2432960" y="1898456"/>
                  </a:cubicBezTo>
                  <a:lnTo>
                    <a:pt x="2343733" y="1898456"/>
                  </a:lnTo>
                  <a:cubicBezTo>
                    <a:pt x="2342718" y="1898456"/>
                    <a:pt x="2341762" y="1897976"/>
                    <a:pt x="2341181" y="1897146"/>
                  </a:cubicBezTo>
                  <a:cubicBezTo>
                    <a:pt x="2340588" y="1896327"/>
                    <a:pt x="2340424" y="1895263"/>
                    <a:pt x="2340752" y="1894303"/>
                  </a:cubicBezTo>
                  <a:cubicBezTo>
                    <a:pt x="2341704" y="1891506"/>
                    <a:pt x="2344849" y="1890082"/>
                    <a:pt x="2348823" y="1888287"/>
                  </a:cubicBezTo>
                  <a:cubicBezTo>
                    <a:pt x="2353470" y="1886195"/>
                    <a:pt x="2359242" y="1883586"/>
                    <a:pt x="2359614" y="1879255"/>
                  </a:cubicBezTo>
                  <a:lnTo>
                    <a:pt x="2359614" y="1830428"/>
                  </a:lnTo>
                  <a:cubicBezTo>
                    <a:pt x="2356783" y="1828706"/>
                    <a:pt x="2354905" y="1825132"/>
                    <a:pt x="2354905" y="1821015"/>
                  </a:cubicBezTo>
                  <a:cubicBezTo>
                    <a:pt x="2354905" y="1820342"/>
                    <a:pt x="2355003" y="1819612"/>
                    <a:pt x="2355175" y="1818813"/>
                  </a:cubicBezTo>
                  <a:cubicBezTo>
                    <a:pt x="2353425" y="1816424"/>
                    <a:pt x="2352460" y="1813293"/>
                    <a:pt x="2352460" y="1809964"/>
                  </a:cubicBezTo>
                  <a:cubicBezTo>
                    <a:pt x="2352460" y="1804261"/>
                    <a:pt x="2358227" y="1794582"/>
                    <a:pt x="2360088" y="1791603"/>
                  </a:cubicBezTo>
                  <a:cubicBezTo>
                    <a:pt x="2362086" y="1787966"/>
                    <a:pt x="2364602" y="1787194"/>
                    <a:pt x="2366361" y="1787194"/>
                  </a:cubicBezTo>
                  <a:cubicBezTo>
                    <a:pt x="2367597" y="1787194"/>
                    <a:pt x="2368850" y="1787570"/>
                    <a:pt x="2370064" y="1788321"/>
                  </a:cubicBezTo>
                  <a:cubicBezTo>
                    <a:pt x="2370100" y="1788342"/>
                    <a:pt x="2370135" y="1788363"/>
                    <a:pt x="2370170" y="1788384"/>
                  </a:cubicBezTo>
                  <a:cubicBezTo>
                    <a:pt x="2372137" y="1789699"/>
                    <a:pt x="2374902" y="1790340"/>
                    <a:pt x="2378618" y="1790325"/>
                  </a:cubicBezTo>
                  <a:cubicBezTo>
                    <a:pt x="2383850" y="1790325"/>
                    <a:pt x="2389875" y="1789067"/>
                    <a:pt x="2395700" y="1787852"/>
                  </a:cubicBezTo>
                  <a:cubicBezTo>
                    <a:pt x="2400825" y="1786777"/>
                    <a:pt x="2405676" y="1785754"/>
                    <a:pt x="2409508" y="1785754"/>
                  </a:cubicBezTo>
                  <a:close/>
                  <a:moveTo>
                    <a:pt x="1640174" y="1783183"/>
                  </a:moveTo>
                  <a:lnTo>
                    <a:pt x="1609975" y="1783250"/>
                  </a:lnTo>
                  <a:cubicBezTo>
                    <a:pt x="1609975" y="1783250"/>
                    <a:pt x="1609975" y="1834637"/>
                    <a:pt x="1609975" y="1834637"/>
                  </a:cubicBezTo>
                  <a:cubicBezTo>
                    <a:pt x="1615706" y="1834687"/>
                    <a:pt x="1628610" y="1834646"/>
                    <a:pt x="1640174" y="1834579"/>
                  </a:cubicBezTo>
                  <a:close/>
                  <a:moveTo>
                    <a:pt x="1619666" y="1778528"/>
                  </a:moveTo>
                  <a:cubicBezTo>
                    <a:pt x="1619666" y="1778528"/>
                    <a:pt x="1619666" y="1779521"/>
                    <a:pt x="1619666" y="1779521"/>
                  </a:cubicBezTo>
                  <a:lnTo>
                    <a:pt x="1632468" y="1779521"/>
                  </a:lnTo>
                  <a:lnTo>
                    <a:pt x="1632468" y="1778528"/>
                  </a:lnTo>
                  <a:close/>
                  <a:moveTo>
                    <a:pt x="1626062" y="1774923"/>
                  </a:moveTo>
                  <a:cubicBezTo>
                    <a:pt x="1625458" y="1774923"/>
                    <a:pt x="1625008" y="1775449"/>
                    <a:pt x="1625008" y="1776041"/>
                  </a:cubicBezTo>
                  <a:cubicBezTo>
                    <a:pt x="1625008" y="1776634"/>
                    <a:pt x="1625458" y="1777093"/>
                    <a:pt x="1626062" y="1777093"/>
                  </a:cubicBezTo>
                  <a:cubicBezTo>
                    <a:pt x="1626656" y="1777093"/>
                    <a:pt x="1627126" y="1776634"/>
                    <a:pt x="1627126" y="1776041"/>
                  </a:cubicBezTo>
                  <a:cubicBezTo>
                    <a:pt x="1627126" y="1775424"/>
                    <a:pt x="1626656" y="1774923"/>
                    <a:pt x="1626062" y="1774923"/>
                  </a:cubicBezTo>
                  <a:close/>
                  <a:moveTo>
                    <a:pt x="1602822" y="1771811"/>
                  </a:moveTo>
                  <a:lnTo>
                    <a:pt x="1647317" y="1771811"/>
                  </a:lnTo>
                  <a:lnTo>
                    <a:pt x="1647317" y="1846635"/>
                  </a:lnTo>
                  <a:lnTo>
                    <a:pt x="1602822" y="1846635"/>
                  </a:lnTo>
                  <a:cubicBezTo>
                    <a:pt x="1602822" y="1846635"/>
                    <a:pt x="1602822" y="1771811"/>
                    <a:pt x="1602822" y="1771811"/>
                  </a:cubicBezTo>
                  <a:close/>
                  <a:moveTo>
                    <a:pt x="1542106" y="1762867"/>
                  </a:moveTo>
                  <a:cubicBezTo>
                    <a:pt x="1542106" y="1762867"/>
                    <a:pt x="1542106" y="1831225"/>
                    <a:pt x="1542106" y="1831225"/>
                  </a:cubicBezTo>
                  <a:lnTo>
                    <a:pt x="1586049" y="1831225"/>
                  </a:lnTo>
                  <a:lnTo>
                    <a:pt x="1586049" y="1762867"/>
                  </a:lnTo>
                  <a:close/>
                  <a:moveTo>
                    <a:pt x="1533223" y="1753915"/>
                  </a:moveTo>
                  <a:lnTo>
                    <a:pt x="1594931" y="1753915"/>
                  </a:lnTo>
                  <a:lnTo>
                    <a:pt x="1594931" y="1846577"/>
                  </a:lnTo>
                  <a:lnTo>
                    <a:pt x="1533223" y="1846577"/>
                  </a:lnTo>
                  <a:cubicBezTo>
                    <a:pt x="1533223" y="1846577"/>
                    <a:pt x="1533223" y="1753915"/>
                    <a:pt x="1533223" y="1753915"/>
                  </a:cubicBezTo>
                  <a:close/>
                  <a:moveTo>
                    <a:pt x="2151514" y="1746958"/>
                  </a:moveTo>
                  <a:lnTo>
                    <a:pt x="2237016" y="1746958"/>
                  </a:lnTo>
                  <a:cubicBezTo>
                    <a:pt x="2240193" y="1746958"/>
                    <a:pt x="2242767" y="1749537"/>
                    <a:pt x="2242767" y="1752707"/>
                  </a:cubicBezTo>
                  <a:cubicBezTo>
                    <a:pt x="2242767" y="1755886"/>
                    <a:pt x="2240193" y="1758465"/>
                    <a:pt x="2237016" y="1758465"/>
                  </a:cubicBezTo>
                  <a:lnTo>
                    <a:pt x="2151514" y="1758465"/>
                  </a:lnTo>
                  <a:cubicBezTo>
                    <a:pt x="2148345" y="1758465"/>
                    <a:pt x="2145763" y="1755886"/>
                    <a:pt x="2145763" y="1752707"/>
                  </a:cubicBezTo>
                  <a:cubicBezTo>
                    <a:pt x="2145763" y="1749537"/>
                    <a:pt x="2148345" y="1746958"/>
                    <a:pt x="2151514" y="1746958"/>
                  </a:cubicBezTo>
                  <a:close/>
                  <a:moveTo>
                    <a:pt x="2387145" y="1743847"/>
                  </a:moveTo>
                  <a:cubicBezTo>
                    <a:pt x="2382349" y="1749370"/>
                    <a:pt x="2374728" y="1759814"/>
                    <a:pt x="2374728" y="1767740"/>
                  </a:cubicBezTo>
                  <a:cubicBezTo>
                    <a:pt x="2374728" y="1777139"/>
                    <a:pt x="2378900" y="1781906"/>
                    <a:pt x="2387145" y="1781906"/>
                  </a:cubicBezTo>
                  <a:cubicBezTo>
                    <a:pt x="2395387" y="1781906"/>
                    <a:pt x="2399567" y="1777139"/>
                    <a:pt x="2399567" y="1767740"/>
                  </a:cubicBezTo>
                  <a:cubicBezTo>
                    <a:pt x="2399567" y="1759814"/>
                    <a:pt x="2391950" y="1749370"/>
                    <a:pt x="2387145" y="1743847"/>
                  </a:cubicBezTo>
                  <a:close/>
                  <a:moveTo>
                    <a:pt x="2387145" y="1736039"/>
                  </a:moveTo>
                  <a:cubicBezTo>
                    <a:pt x="2387987" y="1736039"/>
                    <a:pt x="2388804" y="1736372"/>
                    <a:pt x="2389390" y="1736979"/>
                  </a:cubicBezTo>
                  <a:cubicBezTo>
                    <a:pt x="2390062" y="1737662"/>
                    <a:pt x="2405862" y="1753898"/>
                    <a:pt x="2405862" y="1767740"/>
                  </a:cubicBezTo>
                  <a:cubicBezTo>
                    <a:pt x="2405862" y="1774591"/>
                    <a:pt x="2404009" y="1779868"/>
                    <a:pt x="2400351" y="1783425"/>
                  </a:cubicBezTo>
                  <a:cubicBezTo>
                    <a:pt x="2397135" y="1786548"/>
                    <a:pt x="2392567" y="1788202"/>
                    <a:pt x="2387145" y="1788202"/>
                  </a:cubicBezTo>
                  <a:cubicBezTo>
                    <a:pt x="2381720" y="1788202"/>
                    <a:pt x="2377163" y="1786548"/>
                    <a:pt x="2373939" y="1783425"/>
                  </a:cubicBezTo>
                  <a:cubicBezTo>
                    <a:pt x="2370289" y="1779868"/>
                    <a:pt x="2368424" y="1774591"/>
                    <a:pt x="2368424" y="1767740"/>
                  </a:cubicBezTo>
                  <a:cubicBezTo>
                    <a:pt x="2368424" y="1753898"/>
                    <a:pt x="2384224" y="1737672"/>
                    <a:pt x="2384900" y="1736979"/>
                  </a:cubicBezTo>
                  <a:cubicBezTo>
                    <a:pt x="2385495" y="1736372"/>
                    <a:pt x="2386299" y="1736039"/>
                    <a:pt x="2387145" y="1736039"/>
                  </a:cubicBezTo>
                  <a:close/>
                  <a:moveTo>
                    <a:pt x="1911698" y="1734990"/>
                  </a:moveTo>
                  <a:cubicBezTo>
                    <a:pt x="1918335" y="1743500"/>
                    <a:pt x="1923191" y="1754369"/>
                    <a:pt x="1925509" y="1767472"/>
                  </a:cubicBezTo>
                  <a:cubicBezTo>
                    <a:pt x="1930633" y="1796995"/>
                    <a:pt x="1918689" y="1828163"/>
                    <a:pt x="1898411" y="1838221"/>
                  </a:cubicBezTo>
                  <a:cubicBezTo>
                    <a:pt x="1890773" y="1842077"/>
                    <a:pt x="1882427" y="1842077"/>
                    <a:pt x="1874985" y="1838295"/>
                  </a:cubicBezTo>
                  <a:cubicBezTo>
                    <a:pt x="1864834" y="1833186"/>
                    <a:pt x="1857489" y="1821605"/>
                    <a:pt x="1854878" y="1806697"/>
                  </a:cubicBezTo>
                  <a:cubicBezTo>
                    <a:pt x="1851364" y="1786397"/>
                    <a:pt x="1859807" y="1764955"/>
                    <a:pt x="1873985" y="1757942"/>
                  </a:cubicBezTo>
                  <a:cubicBezTo>
                    <a:pt x="1878572" y="1755732"/>
                    <a:pt x="1884038" y="1757525"/>
                    <a:pt x="1886295" y="1762093"/>
                  </a:cubicBezTo>
                  <a:cubicBezTo>
                    <a:pt x="1888625" y="1766662"/>
                    <a:pt x="1886734" y="1772127"/>
                    <a:pt x="1882159" y="1774386"/>
                  </a:cubicBezTo>
                  <a:cubicBezTo>
                    <a:pt x="1875973" y="1777530"/>
                    <a:pt x="1870751" y="1790633"/>
                    <a:pt x="1872996" y="1803565"/>
                  </a:cubicBezTo>
                  <a:cubicBezTo>
                    <a:pt x="1874802" y="1814151"/>
                    <a:pt x="1879463" y="1819960"/>
                    <a:pt x="1883233" y="1821851"/>
                  </a:cubicBezTo>
                  <a:cubicBezTo>
                    <a:pt x="1885575" y="1823054"/>
                    <a:pt x="1887723" y="1822944"/>
                    <a:pt x="1890248" y="1821789"/>
                  </a:cubicBezTo>
                  <a:cubicBezTo>
                    <a:pt x="1901730" y="1816042"/>
                    <a:pt x="1911429" y="1794060"/>
                    <a:pt x="1907378" y="1770628"/>
                  </a:cubicBezTo>
                  <a:cubicBezTo>
                    <a:pt x="1904694" y="1754995"/>
                    <a:pt x="1897606" y="1742886"/>
                    <a:pt x="1888540" y="1738306"/>
                  </a:cubicBezTo>
                  <a:cubicBezTo>
                    <a:pt x="1883599" y="1735776"/>
                    <a:pt x="1878304" y="1735776"/>
                    <a:pt x="1873094" y="1738404"/>
                  </a:cubicBezTo>
                  <a:cubicBezTo>
                    <a:pt x="1850937" y="1749444"/>
                    <a:pt x="1837370" y="1788669"/>
                    <a:pt x="1843483" y="1823939"/>
                  </a:cubicBezTo>
                  <a:cubicBezTo>
                    <a:pt x="1847960" y="1849974"/>
                    <a:pt x="1860003" y="1870261"/>
                    <a:pt x="1875619" y="1878158"/>
                  </a:cubicBezTo>
                  <a:cubicBezTo>
                    <a:pt x="1879389" y="1880049"/>
                    <a:pt x="1883062" y="1881117"/>
                    <a:pt x="1886917" y="1881486"/>
                  </a:cubicBezTo>
                  <a:cubicBezTo>
                    <a:pt x="1887906" y="1881031"/>
                    <a:pt x="1889089" y="1880761"/>
                    <a:pt x="1890346" y="1880761"/>
                  </a:cubicBezTo>
                  <a:lnTo>
                    <a:pt x="1897776" y="1880491"/>
                  </a:lnTo>
                  <a:cubicBezTo>
                    <a:pt x="1900046" y="1879865"/>
                    <a:pt x="1902279" y="1879066"/>
                    <a:pt x="1904511" y="1877887"/>
                  </a:cubicBezTo>
                  <a:cubicBezTo>
                    <a:pt x="1941589" y="1859393"/>
                    <a:pt x="1963587" y="1796909"/>
                    <a:pt x="1953522" y="1738748"/>
                  </a:cubicBezTo>
                  <a:cubicBezTo>
                    <a:pt x="1953265" y="1737507"/>
                    <a:pt x="1952899" y="1736242"/>
                    <a:pt x="1952716" y="1734990"/>
                  </a:cubicBezTo>
                  <a:close/>
                  <a:moveTo>
                    <a:pt x="1555102" y="1724087"/>
                  </a:moveTo>
                  <a:lnTo>
                    <a:pt x="1671489" y="1724087"/>
                  </a:lnTo>
                  <a:lnTo>
                    <a:pt x="1671489" y="1800838"/>
                  </a:lnTo>
                  <a:lnTo>
                    <a:pt x="1651605" y="1800838"/>
                  </a:lnTo>
                  <a:lnTo>
                    <a:pt x="1651605" y="1792136"/>
                  </a:lnTo>
                  <a:lnTo>
                    <a:pt x="1662729" y="1792136"/>
                  </a:lnTo>
                  <a:lnTo>
                    <a:pt x="1662729" y="1732789"/>
                  </a:lnTo>
                  <a:lnTo>
                    <a:pt x="1563801" y="1732789"/>
                  </a:lnTo>
                  <a:cubicBezTo>
                    <a:pt x="1563801" y="1732789"/>
                    <a:pt x="1563801" y="1750936"/>
                    <a:pt x="1563801" y="1750936"/>
                  </a:cubicBezTo>
                  <a:lnTo>
                    <a:pt x="1555102" y="1750936"/>
                  </a:lnTo>
                  <a:close/>
                  <a:moveTo>
                    <a:pt x="2151514" y="1707438"/>
                  </a:moveTo>
                  <a:lnTo>
                    <a:pt x="2237016" y="1707438"/>
                  </a:lnTo>
                  <a:cubicBezTo>
                    <a:pt x="2240193" y="1707438"/>
                    <a:pt x="2242767" y="1710027"/>
                    <a:pt x="2242767" y="1713196"/>
                  </a:cubicBezTo>
                  <a:cubicBezTo>
                    <a:pt x="2242767" y="1716366"/>
                    <a:pt x="2240193" y="1718936"/>
                    <a:pt x="2237016" y="1718936"/>
                  </a:cubicBezTo>
                  <a:lnTo>
                    <a:pt x="2151514" y="1718936"/>
                  </a:lnTo>
                  <a:cubicBezTo>
                    <a:pt x="2148345" y="1718936"/>
                    <a:pt x="2145763" y="1716366"/>
                    <a:pt x="2145763" y="1713196"/>
                  </a:cubicBezTo>
                  <a:cubicBezTo>
                    <a:pt x="2145763" y="1710027"/>
                    <a:pt x="2148345" y="1707438"/>
                    <a:pt x="2151514" y="1707438"/>
                  </a:cubicBezTo>
                  <a:close/>
                  <a:moveTo>
                    <a:pt x="2491173" y="1682326"/>
                  </a:moveTo>
                  <a:cubicBezTo>
                    <a:pt x="2493862" y="1682326"/>
                    <a:pt x="2494961" y="1684803"/>
                    <a:pt x="2495025" y="1686180"/>
                  </a:cubicBezTo>
                  <a:lnTo>
                    <a:pt x="2496331" y="1716069"/>
                  </a:lnTo>
                  <a:cubicBezTo>
                    <a:pt x="2498871" y="1717730"/>
                    <a:pt x="2500552" y="1720626"/>
                    <a:pt x="2500552" y="1723905"/>
                  </a:cubicBezTo>
                  <a:cubicBezTo>
                    <a:pt x="2500552" y="1724047"/>
                    <a:pt x="2500552" y="1724196"/>
                    <a:pt x="2500552" y="1724338"/>
                  </a:cubicBezTo>
                  <a:cubicBezTo>
                    <a:pt x="2500552" y="1724338"/>
                    <a:pt x="2516714" y="1742976"/>
                    <a:pt x="2516714" y="1742976"/>
                  </a:cubicBezTo>
                  <a:cubicBezTo>
                    <a:pt x="2517622" y="1743991"/>
                    <a:pt x="2518466" y="1746660"/>
                    <a:pt x="2516274" y="1748818"/>
                  </a:cubicBezTo>
                  <a:cubicBezTo>
                    <a:pt x="2514096" y="1751011"/>
                    <a:pt x="2511457" y="1750166"/>
                    <a:pt x="2510435" y="1749258"/>
                  </a:cubicBezTo>
                  <a:lnTo>
                    <a:pt x="2492287" y="1733160"/>
                  </a:lnTo>
                  <a:cubicBezTo>
                    <a:pt x="2491918" y="1733210"/>
                    <a:pt x="2491549" y="1733288"/>
                    <a:pt x="2491173" y="1733288"/>
                  </a:cubicBezTo>
                  <a:cubicBezTo>
                    <a:pt x="2485972" y="1733288"/>
                    <a:pt x="2481786" y="1729065"/>
                    <a:pt x="2481786" y="1723905"/>
                  </a:cubicBezTo>
                  <a:cubicBezTo>
                    <a:pt x="2481786" y="1720746"/>
                    <a:pt x="2483333" y="1717957"/>
                    <a:pt x="2485703" y="1716260"/>
                  </a:cubicBezTo>
                  <a:lnTo>
                    <a:pt x="2487256" y="1686180"/>
                  </a:lnTo>
                  <a:cubicBezTo>
                    <a:pt x="2487334" y="1684825"/>
                    <a:pt x="2488477" y="1682326"/>
                    <a:pt x="2491173" y="1682326"/>
                  </a:cubicBezTo>
                  <a:close/>
                  <a:moveTo>
                    <a:pt x="2137144" y="1667918"/>
                  </a:moveTo>
                  <a:lnTo>
                    <a:pt x="2250677" y="1667918"/>
                  </a:lnTo>
                  <a:cubicBezTo>
                    <a:pt x="2253838" y="1667918"/>
                    <a:pt x="2256412" y="1670497"/>
                    <a:pt x="2256412" y="1673667"/>
                  </a:cubicBezTo>
                  <a:cubicBezTo>
                    <a:pt x="2256412" y="1676846"/>
                    <a:pt x="2253838" y="1679425"/>
                    <a:pt x="2250677" y="1679425"/>
                  </a:cubicBezTo>
                  <a:lnTo>
                    <a:pt x="2137144" y="1679425"/>
                  </a:lnTo>
                  <a:cubicBezTo>
                    <a:pt x="2133975" y="1679425"/>
                    <a:pt x="2131393" y="1676846"/>
                    <a:pt x="2131393" y="1673667"/>
                  </a:cubicBezTo>
                  <a:cubicBezTo>
                    <a:pt x="2131393" y="1670497"/>
                    <a:pt x="2133975" y="1667918"/>
                    <a:pt x="2137144" y="1667918"/>
                  </a:cubicBezTo>
                  <a:close/>
                  <a:moveTo>
                    <a:pt x="1586919" y="1666417"/>
                  </a:moveTo>
                  <a:lnTo>
                    <a:pt x="1754269" y="1666417"/>
                  </a:lnTo>
                  <a:lnTo>
                    <a:pt x="1754269" y="1773680"/>
                  </a:lnTo>
                  <a:cubicBezTo>
                    <a:pt x="1754269" y="1773680"/>
                    <a:pt x="1684547" y="1773680"/>
                    <a:pt x="1684547" y="1773680"/>
                  </a:cubicBezTo>
                  <a:lnTo>
                    <a:pt x="1684547" y="1780572"/>
                  </a:lnTo>
                  <a:lnTo>
                    <a:pt x="1719464" y="1780572"/>
                  </a:lnTo>
                  <a:lnTo>
                    <a:pt x="1719464" y="1786229"/>
                  </a:lnTo>
                  <a:lnTo>
                    <a:pt x="1675286" y="1786229"/>
                  </a:lnTo>
                  <a:lnTo>
                    <a:pt x="1675286" y="1757894"/>
                  </a:lnTo>
                  <a:lnTo>
                    <a:pt x="1742029" y="1757894"/>
                  </a:lnTo>
                  <a:lnTo>
                    <a:pt x="1742029" y="1678657"/>
                  </a:lnTo>
                  <a:lnTo>
                    <a:pt x="1599158" y="1678657"/>
                  </a:lnTo>
                  <a:lnTo>
                    <a:pt x="1599158" y="1720541"/>
                  </a:lnTo>
                  <a:lnTo>
                    <a:pt x="1586919" y="1720541"/>
                  </a:lnTo>
                  <a:close/>
                  <a:moveTo>
                    <a:pt x="2485951" y="1663745"/>
                  </a:moveTo>
                  <a:cubicBezTo>
                    <a:pt x="2455812" y="1666101"/>
                    <a:pt x="2431704" y="1690162"/>
                    <a:pt x="2429335" y="1720299"/>
                  </a:cubicBezTo>
                  <a:cubicBezTo>
                    <a:pt x="2430562" y="1719170"/>
                    <a:pt x="2432151" y="1718432"/>
                    <a:pt x="2433932" y="1718432"/>
                  </a:cubicBezTo>
                  <a:lnTo>
                    <a:pt x="2436983" y="1718432"/>
                  </a:lnTo>
                  <a:cubicBezTo>
                    <a:pt x="2440701" y="1718432"/>
                    <a:pt x="2443695" y="1721442"/>
                    <a:pt x="2443695" y="1725147"/>
                  </a:cubicBezTo>
                  <a:cubicBezTo>
                    <a:pt x="2443695" y="1728859"/>
                    <a:pt x="2440701" y="1731918"/>
                    <a:pt x="2436983" y="1731918"/>
                  </a:cubicBezTo>
                  <a:lnTo>
                    <a:pt x="2433932" y="1731918"/>
                  </a:lnTo>
                  <a:cubicBezTo>
                    <a:pt x="2432151" y="1731918"/>
                    <a:pt x="2430562" y="1731166"/>
                    <a:pt x="2429335" y="1729994"/>
                  </a:cubicBezTo>
                  <a:cubicBezTo>
                    <a:pt x="2431704" y="1760160"/>
                    <a:pt x="2455812" y="1784263"/>
                    <a:pt x="2485951" y="1786606"/>
                  </a:cubicBezTo>
                  <a:cubicBezTo>
                    <a:pt x="2484809" y="1785399"/>
                    <a:pt x="2484085" y="1783767"/>
                    <a:pt x="2484085" y="1781942"/>
                  </a:cubicBezTo>
                  <a:lnTo>
                    <a:pt x="2484085" y="1779025"/>
                  </a:lnTo>
                  <a:cubicBezTo>
                    <a:pt x="2484085" y="1775320"/>
                    <a:pt x="2487079" y="1772311"/>
                    <a:pt x="2490797" y="1772311"/>
                  </a:cubicBezTo>
                  <a:cubicBezTo>
                    <a:pt x="2494500" y="1772311"/>
                    <a:pt x="2497508" y="1775320"/>
                    <a:pt x="2497508" y="1779025"/>
                  </a:cubicBezTo>
                  <a:lnTo>
                    <a:pt x="2497508" y="1781942"/>
                  </a:lnTo>
                  <a:cubicBezTo>
                    <a:pt x="2497508" y="1783767"/>
                    <a:pt x="2496778" y="1785399"/>
                    <a:pt x="2495642" y="1786606"/>
                  </a:cubicBezTo>
                  <a:cubicBezTo>
                    <a:pt x="2525781" y="1784263"/>
                    <a:pt x="2549861" y="1760124"/>
                    <a:pt x="2552195" y="1729994"/>
                  </a:cubicBezTo>
                  <a:cubicBezTo>
                    <a:pt x="2551003" y="1731130"/>
                    <a:pt x="2549400" y="1731918"/>
                    <a:pt x="2547597" y="1731918"/>
                  </a:cubicBezTo>
                  <a:lnTo>
                    <a:pt x="2544611" y="1731918"/>
                  </a:lnTo>
                  <a:cubicBezTo>
                    <a:pt x="2540907" y="1731918"/>
                    <a:pt x="2537899" y="1728859"/>
                    <a:pt x="2537899" y="1725147"/>
                  </a:cubicBezTo>
                  <a:cubicBezTo>
                    <a:pt x="2537899" y="1721442"/>
                    <a:pt x="2540907" y="1718432"/>
                    <a:pt x="2544611" y="1718432"/>
                  </a:cubicBezTo>
                  <a:lnTo>
                    <a:pt x="2547597" y="1718432"/>
                  </a:lnTo>
                  <a:cubicBezTo>
                    <a:pt x="2549378" y="1718432"/>
                    <a:pt x="2551031" y="1719170"/>
                    <a:pt x="2552259" y="1720299"/>
                  </a:cubicBezTo>
                  <a:cubicBezTo>
                    <a:pt x="2549889" y="1690162"/>
                    <a:pt x="2525781" y="1666101"/>
                    <a:pt x="2495642" y="1663745"/>
                  </a:cubicBezTo>
                  <a:cubicBezTo>
                    <a:pt x="2496778" y="1664973"/>
                    <a:pt x="2497508" y="1666555"/>
                    <a:pt x="2497508" y="1668344"/>
                  </a:cubicBezTo>
                  <a:lnTo>
                    <a:pt x="2497508" y="1671325"/>
                  </a:lnTo>
                  <a:cubicBezTo>
                    <a:pt x="2497508" y="1675030"/>
                    <a:pt x="2494500" y="1678039"/>
                    <a:pt x="2490797" y="1678039"/>
                  </a:cubicBezTo>
                  <a:cubicBezTo>
                    <a:pt x="2487079" y="1678039"/>
                    <a:pt x="2484085" y="1675030"/>
                    <a:pt x="2484085" y="1671325"/>
                  </a:cubicBezTo>
                  <a:lnTo>
                    <a:pt x="2484085" y="1668344"/>
                  </a:lnTo>
                  <a:cubicBezTo>
                    <a:pt x="2484085" y="1666555"/>
                    <a:pt x="2484809" y="1664973"/>
                    <a:pt x="2485951" y="1663745"/>
                  </a:cubicBezTo>
                  <a:close/>
                  <a:moveTo>
                    <a:pt x="2589994" y="1658699"/>
                  </a:moveTo>
                  <a:lnTo>
                    <a:pt x="2575227" y="1677291"/>
                  </a:lnTo>
                  <a:cubicBezTo>
                    <a:pt x="2571518" y="1681973"/>
                    <a:pt x="2568500" y="1680932"/>
                    <a:pt x="2568500" y="1674943"/>
                  </a:cubicBezTo>
                  <a:cubicBezTo>
                    <a:pt x="2568500" y="1674943"/>
                    <a:pt x="2568500" y="1658718"/>
                    <a:pt x="2568500" y="1658718"/>
                  </a:cubicBezTo>
                  <a:close/>
                  <a:moveTo>
                    <a:pt x="1933952" y="1653017"/>
                  </a:moveTo>
                  <a:cubicBezTo>
                    <a:pt x="1952448" y="1672506"/>
                    <a:pt x="1965722" y="1701316"/>
                    <a:pt x="1971652" y="1735628"/>
                  </a:cubicBezTo>
                  <a:cubicBezTo>
                    <a:pt x="1981254" y="1791186"/>
                    <a:pt x="1964917" y="1848795"/>
                    <a:pt x="1933415" y="1879410"/>
                  </a:cubicBezTo>
                  <a:lnTo>
                    <a:pt x="2013037" y="1876979"/>
                  </a:lnTo>
                  <a:cubicBezTo>
                    <a:pt x="2024896" y="1870531"/>
                    <a:pt x="2034852" y="1859307"/>
                    <a:pt x="2042916" y="1845381"/>
                  </a:cubicBezTo>
                  <a:lnTo>
                    <a:pt x="1991563" y="1845381"/>
                  </a:lnTo>
                  <a:cubicBezTo>
                    <a:pt x="1986561" y="1845381"/>
                    <a:pt x="1982437" y="1841267"/>
                    <a:pt x="1982437" y="1836219"/>
                  </a:cubicBezTo>
                  <a:cubicBezTo>
                    <a:pt x="1982437" y="1831209"/>
                    <a:pt x="1986561" y="1827082"/>
                    <a:pt x="1991563" y="1827082"/>
                  </a:cubicBezTo>
                  <a:lnTo>
                    <a:pt x="2051725" y="1827082"/>
                  </a:lnTo>
                  <a:cubicBezTo>
                    <a:pt x="2057643" y="1811732"/>
                    <a:pt x="2061242" y="1794502"/>
                    <a:pt x="2062230" y="1776449"/>
                  </a:cubicBezTo>
                  <a:lnTo>
                    <a:pt x="2007742" y="1776449"/>
                  </a:lnTo>
                  <a:cubicBezTo>
                    <a:pt x="2002727" y="1776449"/>
                    <a:pt x="1998493" y="1772421"/>
                    <a:pt x="1998493" y="1767288"/>
                  </a:cubicBezTo>
                  <a:cubicBezTo>
                    <a:pt x="1998493" y="1762277"/>
                    <a:pt x="2002727" y="1758151"/>
                    <a:pt x="2007742" y="1758151"/>
                  </a:cubicBezTo>
                  <a:lnTo>
                    <a:pt x="2062303" y="1758151"/>
                  </a:lnTo>
                  <a:cubicBezTo>
                    <a:pt x="2061962" y="1751581"/>
                    <a:pt x="2061413" y="1745146"/>
                    <a:pt x="2060266" y="1738662"/>
                  </a:cubicBezTo>
                  <a:cubicBezTo>
                    <a:pt x="2058375" y="1727621"/>
                    <a:pt x="2055495" y="1717207"/>
                    <a:pt x="2051896" y="1707518"/>
                  </a:cubicBezTo>
                  <a:lnTo>
                    <a:pt x="1991673" y="1707518"/>
                  </a:lnTo>
                  <a:cubicBezTo>
                    <a:pt x="1986647" y="1707518"/>
                    <a:pt x="1982437" y="1703465"/>
                    <a:pt x="1982437" y="1698357"/>
                  </a:cubicBezTo>
                  <a:cubicBezTo>
                    <a:pt x="1982437" y="1693334"/>
                    <a:pt x="1986647" y="1689208"/>
                    <a:pt x="1991673" y="1689208"/>
                  </a:cubicBezTo>
                  <a:lnTo>
                    <a:pt x="2043746" y="1689208"/>
                  </a:lnTo>
                  <a:cubicBezTo>
                    <a:pt x="2035303" y="1673329"/>
                    <a:pt x="2024530" y="1660741"/>
                    <a:pt x="2012146" y="1653017"/>
                  </a:cubicBezTo>
                  <a:close/>
                  <a:moveTo>
                    <a:pt x="2490797" y="1648520"/>
                  </a:moveTo>
                  <a:cubicBezTo>
                    <a:pt x="2533103" y="1648520"/>
                    <a:pt x="2567420" y="1682837"/>
                    <a:pt x="2567420" y="1725147"/>
                  </a:cubicBezTo>
                  <a:cubicBezTo>
                    <a:pt x="2567420" y="1767463"/>
                    <a:pt x="2533103" y="1801830"/>
                    <a:pt x="2490797" y="1801830"/>
                  </a:cubicBezTo>
                  <a:cubicBezTo>
                    <a:pt x="2448476" y="1801830"/>
                    <a:pt x="2414173" y="1767463"/>
                    <a:pt x="2414173" y="1725147"/>
                  </a:cubicBezTo>
                  <a:cubicBezTo>
                    <a:pt x="2414173" y="1682837"/>
                    <a:pt x="2448476" y="1648520"/>
                    <a:pt x="2490797" y="1648520"/>
                  </a:cubicBezTo>
                  <a:close/>
                  <a:moveTo>
                    <a:pt x="1907830" y="1634620"/>
                  </a:moveTo>
                  <a:lnTo>
                    <a:pt x="2014659" y="1634620"/>
                  </a:lnTo>
                  <a:cubicBezTo>
                    <a:pt x="2016270" y="1634620"/>
                    <a:pt x="2017880" y="1635087"/>
                    <a:pt x="2019223" y="1635885"/>
                  </a:cubicBezTo>
                  <a:cubicBezTo>
                    <a:pt x="2048846" y="1652771"/>
                    <a:pt x="2070392" y="1689109"/>
                    <a:pt x="2078384" y="1735628"/>
                  </a:cubicBezTo>
                  <a:cubicBezTo>
                    <a:pt x="2080177" y="1745760"/>
                    <a:pt x="2080983" y="1755892"/>
                    <a:pt x="2081068" y="1766048"/>
                  </a:cubicBezTo>
                  <a:cubicBezTo>
                    <a:pt x="2081068" y="1766477"/>
                    <a:pt x="2081263" y="1766846"/>
                    <a:pt x="2081263" y="1767288"/>
                  </a:cubicBezTo>
                  <a:cubicBezTo>
                    <a:pt x="2081263" y="1767742"/>
                    <a:pt x="2081068" y="1768123"/>
                    <a:pt x="2080983" y="1768553"/>
                  </a:cubicBezTo>
                  <a:cubicBezTo>
                    <a:pt x="2080800" y="1823939"/>
                    <a:pt x="2056654" y="1875738"/>
                    <a:pt x="2019503" y="1894319"/>
                  </a:cubicBezTo>
                  <a:cubicBezTo>
                    <a:pt x="2018344" y="1894945"/>
                    <a:pt x="2017002" y="1895203"/>
                    <a:pt x="2015636" y="1895301"/>
                  </a:cubicBezTo>
                  <a:lnTo>
                    <a:pt x="1900119" y="1898789"/>
                  </a:lnTo>
                  <a:cubicBezTo>
                    <a:pt x="1896630" y="1899514"/>
                    <a:pt x="1893103" y="1899882"/>
                    <a:pt x="1889614" y="1899882"/>
                  </a:cubicBezTo>
                  <a:cubicBezTo>
                    <a:pt x="1881988" y="1899882"/>
                    <a:pt x="1874448" y="1898089"/>
                    <a:pt x="1867262" y="1894503"/>
                  </a:cubicBezTo>
                  <a:cubicBezTo>
                    <a:pt x="1846167" y="1883807"/>
                    <a:pt x="1830904" y="1859196"/>
                    <a:pt x="1825340" y="1826996"/>
                  </a:cubicBezTo>
                  <a:cubicBezTo>
                    <a:pt x="1817727" y="1782921"/>
                    <a:pt x="1835040" y="1736758"/>
                    <a:pt x="1864834" y="1721874"/>
                  </a:cubicBezTo>
                  <a:cubicBezTo>
                    <a:pt x="1870495" y="1719086"/>
                    <a:pt x="1876413" y="1717932"/>
                    <a:pt x="1882257" y="1718116"/>
                  </a:cubicBezTo>
                  <a:cubicBezTo>
                    <a:pt x="1883696" y="1717207"/>
                    <a:pt x="1885295" y="1716569"/>
                    <a:pt x="1887088" y="1716569"/>
                  </a:cubicBezTo>
                  <a:lnTo>
                    <a:pt x="1948141" y="1716569"/>
                  </a:lnTo>
                  <a:cubicBezTo>
                    <a:pt x="1938978" y="1686702"/>
                    <a:pt x="1923081" y="1663074"/>
                    <a:pt x="1903255" y="1651776"/>
                  </a:cubicBezTo>
                  <a:cubicBezTo>
                    <a:pt x="1899668" y="1649701"/>
                    <a:pt x="1897874" y="1645501"/>
                    <a:pt x="1898948" y="1641448"/>
                  </a:cubicBezTo>
                  <a:cubicBezTo>
                    <a:pt x="1900046" y="1637408"/>
                    <a:pt x="1903706" y="1634620"/>
                    <a:pt x="1907830" y="1634620"/>
                  </a:cubicBezTo>
                  <a:close/>
                  <a:moveTo>
                    <a:pt x="2246254" y="1627494"/>
                  </a:moveTo>
                  <a:cubicBezTo>
                    <a:pt x="2246368" y="1629464"/>
                    <a:pt x="2246572" y="1631444"/>
                    <a:pt x="2246832" y="1633328"/>
                  </a:cubicBezTo>
                  <a:cubicBezTo>
                    <a:pt x="2247126" y="1635346"/>
                    <a:pt x="2245733" y="1637221"/>
                    <a:pt x="2243696" y="1637526"/>
                  </a:cubicBezTo>
                  <a:cubicBezTo>
                    <a:pt x="2243525" y="1637545"/>
                    <a:pt x="2243338" y="1637554"/>
                    <a:pt x="2243167" y="1637554"/>
                  </a:cubicBezTo>
                  <a:cubicBezTo>
                    <a:pt x="2241350" y="1637554"/>
                    <a:pt x="2239761" y="1636231"/>
                    <a:pt x="2239493" y="1634375"/>
                  </a:cubicBezTo>
                  <a:cubicBezTo>
                    <a:pt x="2239297" y="1633005"/>
                    <a:pt x="2239045" y="1630882"/>
                    <a:pt x="2238857" y="1628388"/>
                  </a:cubicBezTo>
                  <a:cubicBezTo>
                    <a:pt x="2237709" y="1629521"/>
                    <a:pt x="2236992" y="1631072"/>
                    <a:pt x="2236992" y="1632805"/>
                  </a:cubicBezTo>
                  <a:cubicBezTo>
                    <a:pt x="2236992" y="1636203"/>
                    <a:pt x="2239761" y="1638973"/>
                    <a:pt x="2243167" y="1638973"/>
                  </a:cubicBezTo>
                  <a:cubicBezTo>
                    <a:pt x="2246580" y="1638973"/>
                    <a:pt x="2249341" y="1636203"/>
                    <a:pt x="2249341" y="1632805"/>
                  </a:cubicBezTo>
                  <a:cubicBezTo>
                    <a:pt x="2249341" y="1630530"/>
                    <a:pt x="2248087" y="1628560"/>
                    <a:pt x="2246254" y="1627494"/>
                  </a:cubicBezTo>
                  <a:close/>
                  <a:moveTo>
                    <a:pt x="2210891" y="1627494"/>
                  </a:moveTo>
                  <a:cubicBezTo>
                    <a:pt x="2210997" y="1629464"/>
                    <a:pt x="2211193" y="1631444"/>
                    <a:pt x="2211478" y="1633328"/>
                  </a:cubicBezTo>
                  <a:cubicBezTo>
                    <a:pt x="2211771" y="1635346"/>
                    <a:pt x="2210362" y="1637221"/>
                    <a:pt x="2208342" y="1637526"/>
                  </a:cubicBezTo>
                  <a:cubicBezTo>
                    <a:pt x="2208154" y="1637545"/>
                    <a:pt x="2207975" y="1637554"/>
                    <a:pt x="2207788" y="1637554"/>
                  </a:cubicBezTo>
                  <a:cubicBezTo>
                    <a:pt x="2205987" y="1637554"/>
                    <a:pt x="2204407" y="1636231"/>
                    <a:pt x="2204138" y="1634375"/>
                  </a:cubicBezTo>
                  <a:cubicBezTo>
                    <a:pt x="2203943" y="1633005"/>
                    <a:pt x="2203674" y="1630882"/>
                    <a:pt x="2203503" y="1628388"/>
                  </a:cubicBezTo>
                  <a:cubicBezTo>
                    <a:pt x="2202346" y="1629521"/>
                    <a:pt x="2201629" y="1631072"/>
                    <a:pt x="2201629" y="1632805"/>
                  </a:cubicBezTo>
                  <a:cubicBezTo>
                    <a:pt x="2201629" y="1636203"/>
                    <a:pt x="2204399" y="1638973"/>
                    <a:pt x="2207804" y="1638973"/>
                  </a:cubicBezTo>
                  <a:cubicBezTo>
                    <a:pt x="2211201" y="1638973"/>
                    <a:pt x="2213979" y="1636203"/>
                    <a:pt x="2213979" y="1632805"/>
                  </a:cubicBezTo>
                  <a:cubicBezTo>
                    <a:pt x="2213979" y="1630530"/>
                    <a:pt x="2212733" y="1628560"/>
                    <a:pt x="2210891" y="1627494"/>
                  </a:cubicBezTo>
                  <a:close/>
                  <a:moveTo>
                    <a:pt x="2174771" y="1627494"/>
                  </a:moveTo>
                  <a:cubicBezTo>
                    <a:pt x="2174877" y="1629464"/>
                    <a:pt x="2175081" y="1631444"/>
                    <a:pt x="2175342" y="1633328"/>
                  </a:cubicBezTo>
                  <a:cubicBezTo>
                    <a:pt x="2175643" y="1635346"/>
                    <a:pt x="2174242" y="1637221"/>
                    <a:pt x="2172214" y="1637526"/>
                  </a:cubicBezTo>
                  <a:cubicBezTo>
                    <a:pt x="2172026" y="1637545"/>
                    <a:pt x="2171847" y="1637554"/>
                    <a:pt x="2171676" y="1637554"/>
                  </a:cubicBezTo>
                  <a:cubicBezTo>
                    <a:pt x="2169876" y="1637554"/>
                    <a:pt x="2168287" y="1636231"/>
                    <a:pt x="2168018" y="1634375"/>
                  </a:cubicBezTo>
                  <a:cubicBezTo>
                    <a:pt x="2167823" y="1633005"/>
                    <a:pt x="2167554" y="1630882"/>
                    <a:pt x="2167383" y="1628388"/>
                  </a:cubicBezTo>
                  <a:cubicBezTo>
                    <a:pt x="2166226" y="1629521"/>
                    <a:pt x="2165509" y="1631072"/>
                    <a:pt x="2165509" y="1632805"/>
                  </a:cubicBezTo>
                  <a:cubicBezTo>
                    <a:pt x="2165509" y="1636203"/>
                    <a:pt x="2168279" y="1638973"/>
                    <a:pt x="2171684" y="1638973"/>
                  </a:cubicBezTo>
                  <a:cubicBezTo>
                    <a:pt x="2175089" y="1638973"/>
                    <a:pt x="2177859" y="1636203"/>
                    <a:pt x="2177859" y="1632805"/>
                  </a:cubicBezTo>
                  <a:cubicBezTo>
                    <a:pt x="2177859" y="1630530"/>
                    <a:pt x="2176612" y="1628560"/>
                    <a:pt x="2174771" y="1627494"/>
                  </a:cubicBezTo>
                  <a:close/>
                  <a:moveTo>
                    <a:pt x="2140810" y="1627494"/>
                  </a:moveTo>
                  <a:cubicBezTo>
                    <a:pt x="2140916" y="1629464"/>
                    <a:pt x="2141120" y="1631444"/>
                    <a:pt x="2141397" y="1633328"/>
                  </a:cubicBezTo>
                  <a:cubicBezTo>
                    <a:pt x="2141690" y="1635346"/>
                    <a:pt x="2140281" y="1637221"/>
                    <a:pt x="2138260" y="1637526"/>
                  </a:cubicBezTo>
                  <a:cubicBezTo>
                    <a:pt x="2138073" y="1637545"/>
                    <a:pt x="2137902" y="1637554"/>
                    <a:pt x="2137723" y="1637554"/>
                  </a:cubicBezTo>
                  <a:cubicBezTo>
                    <a:pt x="2135906" y="1637554"/>
                    <a:pt x="2134326" y="1636231"/>
                    <a:pt x="2134057" y="1634375"/>
                  </a:cubicBezTo>
                  <a:cubicBezTo>
                    <a:pt x="2133861" y="1633005"/>
                    <a:pt x="2133601" y="1630882"/>
                    <a:pt x="2133413" y="1628388"/>
                  </a:cubicBezTo>
                  <a:cubicBezTo>
                    <a:pt x="2132281" y="1629521"/>
                    <a:pt x="2131548" y="1631072"/>
                    <a:pt x="2131548" y="1632805"/>
                  </a:cubicBezTo>
                  <a:cubicBezTo>
                    <a:pt x="2131548" y="1636203"/>
                    <a:pt x="2134326" y="1638973"/>
                    <a:pt x="2137723" y="1638973"/>
                  </a:cubicBezTo>
                  <a:cubicBezTo>
                    <a:pt x="2141128" y="1638973"/>
                    <a:pt x="2143897" y="1636203"/>
                    <a:pt x="2143897" y="1632805"/>
                  </a:cubicBezTo>
                  <a:cubicBezTo>
                    <a:pt x="2143897" y="1630530"/>
                    <a:pt x="2142651" y="1628560"/>
                    <a:pt x="2140810" y="1627494"/>
                  </a:cubicBezTo>
                  <a:close/>
                  <a:moveTo>
                    <a:pt x="2119826" y="1620583"/>
                  </a:moveTo>
                  <a:cubicBezTo>
                    <a:pt x="2117268" y="1620583"/>
                    <a:pt x="2115190" y="1622668"/>
                    <a:pt x="2115190" y="1625209"/>
                  </a:cubicBezTo>
                  <a:lnTo>
                    <a:pt x="2115190" y="1791912"/>
                  </a:lnTo>
                  <a:cubicBezTo>
                    <a:pt x="2115190" y="1794473"/>
                    <a:pt x="2117268" y="1796538"/>
                    <a:pt x="2119826" y="1796538"/>
                  </a:cubicBezTo>
                  <a:lnTo>
                    <a:pt x="2267996" y="1796538"/>
                  </a:lnTo>
                  <a:cubicBezTo>
                    <a:pt x="2270546" y="1796538"/>
                    <a:pt x="2272631" y="1794473"/>
                    <a:pt x="2272631" y="1791912"/>
                  </a:cubicBezTo>
                  <a:cubicBezTo>
                    <a:pt x="2272631" y="1791912"/>
                    <a:pt x="2272631" y="1625209"/>
                    <a:pt x="2272631" y="1625209"/>
                  </a:cubicBezTo>
                  <a:cubicBezTo>
                    <a:pt x="2272631" y="1622668"/>
                    <a:pt x="2270562" y="1620583"/>
                    <a:pt x="2268004" y="1620583"/>
                  </a:cubicBezTo>
                  <a:lnTo>
                    <a:pt x="2249048" y="1620583"/>
                  </a:lnTo>
                  <a:cubicBezTo>
                    <a:pt x="2253594" y="1622782"/>
                    <a:pt x="2256754" y="1627427"/>
                    <a:pt x="2256754" y="1632805"/>
                  </a:cubicBezTo>
                  <a:cubicBezTo>
                    <a:pt x="2256754" y="1640296"/>
                    <a:pt x="2250653" y="1646397"/>
                    <a:pt x="2243167" y="1646397"/>
                  </a:cubicBezTo>
                  <a:cubicBezTo>
                    <a:pt x="2235680" y="1646397"/>
                    <a:pt x="2229595" y="1640296"/>
                    <a:pt x="2229595" y="1632805"/>
                  </a:cubicBezTo>
                  <a:cubicBezTo>
                    <a:pt x="2229595" y="1627427"/>
                    <a:pt x="2232748" y="1622782"/>
                    <a:pt x="2237301" y="1620583"/>
                  </a:cubicBezTo>
                  <a:lnTo>
                    <a:pt x="2213677" y="1620583"/>
                  </a:lnTo>
                  <a:cubicBezTo>
                    <a:pt x="2218231" y="1622782"/>
                    <a:pt x="2221384" y="1627427"/>
                    <a:pt x="2221384" y="1632805"/>
                  </a:cubicBezTo>
                  <a:cubicBezTo>
                    <a:pt x="2221384" y="1640296"/>
                    <a:pt x="2215290" y="1646397"/>
                    <a:pt x="2207804" y="1646397"/>
                  </a:cubicBezTo>
                  <a:cubicBezTo>
                    <a:pt x="2200310" y="1646397"/>
                    <a:pt x="2194216" y="1640296"/>
                    <a:pt x="2194216" y="1632805"/>
                  </a:cubicBezTo>
                  <a:cubicBezTo>
                    <a:pt x="2194216" y="1627427"/>
                    <a:pt x="2197377" y="1622782"/>
                    <a:pt x="2201931" y="1620583"/>
                  </a:cubicBezTo>
                  <a:lnTo>
                    <a:pt x="2177549" y="1620583"/>
                  </a:lnTo>
                  <a:cubicBezTo>
                    <a:pt x="2182111" y="1622782"/>
                    <a:pt x="2185256" y="1627427"/>
                    <a:pt x="2185256" y="1632805"/>
                  </a:cubicBezTo>
                  <a:cubicBezTo>
                    <a:pt x="2185256" y="1640296"/>
                    <a:pt x="2179170" y="1646397"/>
                    <a:pt x="2171684" y="1646397"/>
                  </a:cubicBezTo>
                  <a:cubicBezTo>
                    <a:pt x="2164190" y="1646397"/>
                    <a:pt x="2158096" y="1640296"/>
                    <a:pt x="2158096" y="1632805"/>
                  </a:cubicBezTo>
                  <a:cubicBezTo>
                    <a:pt x="2158096" y="1627427"/>
                    <a:pt x="2161249" y="1622782"/>
                    <a:pt x="2165811" y="1620583"/>
                  </a:cubicBezTo>
                  <a:lnTo>
                    <a:pt x="2143604" y="1620583"/>
                  </a:lnTo>
                  <a:cubicBezTo>
                    <a:pt x="2148150" y="1622782"/>
                    <a:pt x="2151302" y="1627427"/>
                    <a:pt x="2151302" y="1632805"/>
                  </a:cubicBezTo>
                  <a:cubicBezTo>
                    <a:pt x="2151302" y="1640296"/>
                    <a:pt x="2145217" y="1646397"/>
                    <a:pt x="2137723" y="1646397"/>
                  </a:cubicBezTo>
                  <a:cubicBezTo>
                    <a:pt x="2130245" y="1646397"/>
                    <a:pt x="2124143" y="1640296"/>
                    <a:pt x="2124143" y="1632805"/>
                  </a:cubicBezTo>
                  <a:cubicBezTo>
                    <a:pt x="2124143" y="1627427"/>
                    <a:pt x="2127296" y="1622782"/>
                    <a:pt x="2131849" y="1620583"/>
                  </a:cubicBezTo>
                  <a:close/>
                  <a:moveTo>
                    <a:pt x="2249138" y="1610351"/>
                  </a:moveTo>
                  <a:cubicBezTo>
                    <a:pt x="2248771" y="1610532"/>
                    <a:pt x="2248453" y="1610865"/>
                    <a:pt x="2248160" y="1611312"/>
                  </a:cubicBezTo>
                  <a:lnTo>
                    <a:pt x="2253113" y="1611312"/>
                  </a:lnTo>
                  <a:cubicBezTo>
                    <a:pt x="2250449" y="1609866"/>
                    <a:pt x="2249333" y="1610265"/>
                    <a:pt x="2249138" y="1610351"/>
                  </a:cubicBezTo>
                  <a:close/>
                  <a:moveTo>
                    <a:pt x="2213783" y="1610351"/>
                  </a:moveTo>
                  <a:cubicBezTo>
                    <a:pt x="2213417" y="1610532"/>
                    <a:pt x="2213083" y="1610865"/>
                    <a:pt x="2212790" y="1611312"/>
                  </a:cubicBezTo>
                  <a:lnTo>
                    <a:pt x="2217751" y="1611312"/>
                  </a:lnTo>
                  <a:cubicBezTo>
                    <a:pt x="2215087" y="1609866"/>
                    <a:pt x="2213963" y="1610265"/>
                    <a:pt x="2213783" y="1610351"/>
                  </a:cubicBezTo>
                  <a:close/>
                  <a:moveTo>
                    <a:pt x="2177663" y="1610351"/>
                  </a:moveTo>
                  <a:cubicBezTo>
                    <a:pt x="2177297" y="1610532"/>
                    <a:pt x="2176971" y="1610865"/>
                    <a:pt x="2176669" y="1611312"/>
                  </a:cubicBezTo>
                  <a:lnTo>
                    <a:pt x="2181630" y="1611312"/>
                  </a:lnTo>
                  <a:cubicBezTo>
                    <a:pt x="2178967" y="1609866"/>
                    <a:pt x="2177843" y="1610265"/>
                    <a:pt x="2177663" y="1610351"/>
                  </a:cubicBezTo>
                  <a:close/>
                  <a:moveTo>
                    <a:pt x="2143702" y="1610351"/>
                  </a:moveTo>
                  <a:cubicBezTo>
                    <a:pt x="2143344" y="1610532"/>
                    <a:pt x="2143001" y="1610865"/>
                    <a:pt x="2142716" y="1611312"/>
                  </a:cubicBezTo>
                  <a:lnTo>
                    <a:pt x="2147677" y="1611312"/>
                  </a:lnTo>
                  <a:cubicBezTo>
                    <a:pt x="2145005" y="1609866"/>
                    <a:pt x="2143889" y="1610265"/>
                    <a:pt x="2143702" y="1610351"/>
                  </a:cubicBezTo>
                  <a:close/>
                  <a:moveTo>
                    <a:pt x="2140378" y="1603726"/>
                  </a:moveTo>
                  <a:cubicBezTo>
                    <a:pt x="2147384" y="1600214"/>
                    <a:pt x="2155766" y="1607562"/>
                    <a:pt x="2159620" y="1611312"/>
                  </a:cubicBezTo>
                  <a:lnTo>
                    <a:pt x="2168703" y="1611312"/>
                  </a:lnTo>
                  <a:cubicBezTo>
                    <a:pt x="2169786" y="1607933"/>
                    <a:pt x="2171537" y="1605135"/>
                    <a:pt x="2174340" y="1603726"/>
                  </a:cubicBezTo>
                  <a:cubicBezTo>
                    <a:pt x="2181345" y="1600214"/>
                    <a:pt x="2189728" y="1607562"/>
                    <a:pt x="2193589" y="1611312"/>
                  </a:cubicBezTo>
                  <a:lnTo>
                    <a:pt x="2204823" y="1611312"/>
                  </a:lnTo>
                  <a:cubicBezTo>
                    <a:pt x="2205906" y="1607933"/>
                    <a:pt x="2207657" y="1605135"/>
                    <a:pt x="2210460" y="1603726"/>
                  </a:cubicBezTo>
                  <a:cubicBezTo>
                    <a:pt x="2217457" y="1600214"/>
                    <a:pt x="2225840" y="1607562"/>
                    <a:pt x="2229701" y="1611312"/>
                  </a:cubicBezTo>
                  <a:lnTo>
                    <a:pt x="2240193" y="1611312"/>
                  </a:lnTo>
                  <a:cubicBezTo>
                    <a:pt x="2241269" y="1607933"/>
                    <a:pt x="2243020" y="1605135"/>
                    <a:pt x="2245822" y="1603726"/>
                  </a:cubicBezTo>
                  <a:cubicBezTo>
                    <a:pt x="2252836" y="1600214"/>
                    <a:pt x="2261210" y="1607562"/>
                    <a:pt x="2265063" y="1611312"/>
                  </a:cubicBezTo>
                  <a:lnTo>
                    <a:pt x="2268004" y="1611312"/>
                  </a:lnTo>
                  <a:cubicBezTo>
                    <a:pt x="2275662" y="1611312"/>
                    <a:pt x="2281885" y="1617556"/>
                    <a:pt x="2281885" y="1625209"/>
                  </a:cubicBezTo>
                  <a:lnTo>
                    <a:pt x="2281885" y="1791912"/>
                  </a:lnTo>
                  <a:cubicBezTo>
                    <a:pt x="2281885" y="1799575"/>
                    <a:pt x="2275662" y="1805809"/>
                    <a:pt x="2268004" y="1805809"/>
                  </a:cubicBezTo>
                  <a:lnTo>
                    <a:pt x="2119826" y="1805809"/>
                  </a:lnTo>
                  <a:cubicBezTo>
                    <a:pt x="2112160" y="1805809"/>
                    <a:pt x="2105928" y="1799575"/>
                    <a:pt x="2105928" y="1791912"/>
                  </a:cubicBezTo>
                  <a:lnTo>
                    <a:pt x="2105928" y="1625209"/>
                  </a:lnTo>
                  <a:cubicBezTo>
                    <a:pt x="2105928" y="1617556"/>
                    <a:pt x="2112160" y="1611312"/>
                    <a:pt x="2119826" y="1611312"/>
                  </a:cubicBezTo>
                  <a:lnTo>
                    <a:pt x="2134741" y="1611312"/>
                  </a:lnTo>
                  <a:cubicBezTo>
                    <a:pt x="2135817" y="1607933"/>
                    <a:pt x="2137576" y="1605135"/>
                    <a:pt x="2140378" y="1603726"/>
                  </a:cubicBezTo>
                  <a:close/>
                  <a:moveTo>
                    <a:pt x="2552259" y="1593744"/>
                  </a:moveTo>
                  <a:lnTo>
                    <a:pt x="2552259" y="1647881"/>
                  </a:lnTo>
                  <a:lnTo>
                    <a:pt x="2638876" y="1647881"/>
                  </a:lnTo>
                  <a:cubicBezTo>
                    <a:pt x="2638876" y="1647881"/>
                    <a:pt x="2638876" y="1593744"/>
                    <a:pt x="2638876" y="1593744"/>
                  </a:cubicBezTo>
                  <a:close/>
                  <a:moveTo>
                    <a:pt x="2552259" y="1582917"/>
                  </a:moveTo>
                  <a:lnTo>
                    <a:pt x="2638876" y="1582917"/>
                  </a:lnTo>
                  <a:cubicBezTo>
                    <a:pt x="2644856" y="1582917"/>
                    <a:pt x="2649703" y="1587774"/>
                    <a:pt x="2649703" y="1593744"/>
                  </a:cubicBezTo>
                  <a:lnTo>
                    <a:pt x="2649703" y="1647881"/>
                  </a:lnTo>
                  <a:cubicBezTo>
                    <a:pt x="2649703" y="1653870"/>
                    <a:pt x="2644856" y="1658699"/>
                    <a:pt x="2638876" y="1658699"/>
                  </a:cubicBezTo>
                  <a:lnTo>
                    <a:pt x="2589994" y="1658699"/>
                  </a:lnTo>
                  <a:lnTo>
                    <a:pt x="2552259" y="1658699"/>
                  </a:lnTo>
                  <a:cubicBezTo>
                    <a:pt x="2546284" y="1658699"/>
                    <a:pt x="2541432" y="1653870"/>
                    <a:pt x="2541432" y="1647881"/>
                  </a:cubicBezTo>
                  <a:lnTo>
                    <a:pt x="2541432" y="1593744"/>
                  </a:lnTo>
                  <a:cubicBezTo>
                    <a:pt x="2541432" y="1587774"/>
                    <a:pt x="2546284" y="1582917"/>
                    <a:pt x="2552259" y="1582917"/>
                  </a:cubicBezTo>
                  <a:close/>
                  <a:moveTo>
                    <a:pt x="2365227" y="1575165"/>
                  </a:moveTo>
                  <a:cubicBezTo>
                    <a:pt x="2364422" y="1575165"/>
                    <a:pt x="2363912" y="1575740"/>
                    <a:pt x="2363750" y="1576305"/>
                  </a:cubicBezTo>
                  <a:lnTo>
                    <a:pt x="2351747" y="1613390"/>
                  </a:lnTo>
                  <a:lnTo>
                    <a:pt x="2312466" y="1613390"/>
                  </a:lnTo>
                  <a:cubicBezTo>
                    <a:pt x="2311665" y="1613390"/>
                    <a:pt x="2310966" y="1614196"/>
                    <a:pt x="2310966" y="1615115"/>
                  </a:cubicBezTo>
                  <a:cubicBezTo>
                    <a:pt x="2310966" y="1615637"/>
                    <a:pt x="2311218" y="1616115"/>
                    <a:pt x="2311637" y="1616410"/>
                  </a:cubicBezTo>
                  <a:cubicBezTo>
                    <a:pt x="2312337" y="1616894"/>
                    <a:pt x="2336717" y="1634703"/>
                    <a:pt x="2341597" y="1638266"/>
                  </a:cubicBezTo>
                  <a:lnTo>
                    <a:pt x="2343404" y="1639583"/>
                  </a:lnTo>
                  <a:lnTo>
                    <a:pt x="2342716" y="1641705"/>
                  </a:lnTo>
                  <a:cubicBezTo>
                    <a:pt x="2337808" y="1656769"/>
                    <a:pt x="2331967" y="1674680"/>
                    <a:pt x="2331284" y="1676684"/>
                  </a:cubicBezTo>
                  <a:cubicBezTo>
                    <a:pt x="2331178" y="1677001"/>
                    <a:pt x="2331155" y="1677211"/>
                    <a:pt x="2331155" y="1677335"/>
                  </a:cubicBezTo>
                  <a:cubicBezTo>
                    <a:pt x="2331155" y="1678211"/>
                    <a:pt x="2331855" y="1678909"/>
                    <a:pt x="2332705" y="1678909"/>
                  </a:cubicBezTo>
                  <a:cubicBezTo>
                    <a:pt x="2333019" y="1678909"/>
                    <a:pt x="2333326" y="1678818"/>
                    <a:pt x="2333606" y="1678619"/>
                  </a:cubicBezTo>
                  <a:lnTo>
                    <a:pt x="2365227" y="1655608"/>
                  </a:lnTo>
                  <a:lnTo>
                    <a:pt x="2367046" y="1656924"/>
                  </a:lnTo>
                  <a:cubicBezTo>
                    <a:pt x="2377113" y="1664255"/>
                    <a:pt x="2396323" y="1678243"/>
                    <a:pt x="2396888" y="1678651"/>
                  </a:cubicBezTo>
                  <a:cubicBezTo>
                    <a:pt x="2397128" y="1678818"/>
                    <a:pt x="2397425" y="1678909"/>
                    <a:pt x="2397750" y="1678909"/>
                  </a:cubicBezTo>
                  <a:cubicBezTo>
                    <a:pt x="2398589" y="1678909"/>
                    <a:pt x="2399300" y="1678189"/>
                    <a:pt x="2399300" y="1677335"/>
                  </a:cubicBezTo>
                  <a:cubicBezTo>
                    <a:pt x="2399300" y="1677211"/>
                    <a:pt x="2399277" y="1677001"/>
                    <a:pt x="2399171" y="1676690"/>
                  </a:cubicBezTo>
                  <a:cubicBezTo>
                    <a:pt x="2398483" y="1674680"/>
                    <a:pt x="2391785" y="1654114"/>
                    <a:pt x="2387739" y="1641705"/>
                  </a:cubicBezTo>
                  <a:lnTo>
                    <a:pt x="2387051" y="1639583"/>
                  </a:lnTo>
                  <a:lnTo>
                    <a:pt x="2388858" y="1638266"/>
                  </a:lnTo>
                  <a:cubicBezTo>
                    <a:pt x="2393737" y="1634703"/>
                    <a:pt x="2418118" y="1616883"/>
                    <a:pt x="2418868" y="1616383"/>
                  </a:cubicBezTo>
                  <a:cubicBezTo>
                    <a:pt x="2419237" y="1616115"/>
                    <a:pt x="2419489" y="1615620"/>
                    <a:pt x="2419489" y="1615094"/>
                  </a:cubicBezTo>
                  <a:cubicBezTo>
                    <a:pt x="2419489" y="1614175"/>
                    <a:pt x="2418828" y="1613401"/>
                    <a:pt x="2418034" y="1613401"/>
                  </a:cubicBezTo>
                  <a:lnTo>
                    <a:pt x="2378758" y="1613401"/>
                  </a:lnTo>
                  <a:lnTo>
                    <a:pt x="2366693" y="1576305"/>
                  </a:lnTo>
                  <a:cubicBezTo>
                    <a:pt x="2366542" y="1575740"/>
                    <a:pt x="2366022" y="1575165"/>
                    <a:pt x="2365227" y="1575165"/>
                  </a:cubicBezTo>
                  <a:close/>
                  <a:moveTo>
                    <a:pt x="2365227" y="1568996"/>
                  </a:moveTo>
                  <a:cubicBezTo>
                    <a:pt x="2368630" y="1568996"/>
                    <a:pt x="2371674" y="1571285"/>
                    <a:pt x="2372614" y="1574564"/>
                  </a:cubicBezTo>
                  <a:lnTo>
                    <a:pt x="2383240" y="1607226"/>
                  </a:lnTo>
                  <a:lnTo>
                    <a:pt x="2418034" y="1607226"/>
                  </a:lnTo>
                  <a:cubicBezTo>
                    <a:pt x="2422242" y="1607226"/>
                    <a:pt x="2425655" y="1610757"/>
                    <a:pt x="2425655" y="1615094"/>
                  </a:cubicBezTo>
                  <a:cubicBezTo>
                    <a:pt x="2425655" y="1617630"/>
                    <a:pt x="2424419" y="1620022"/>
                    <a:pt x="2422359" y="1621467"/>
                  </a:cubicBezTo>
                  <a:cubicBezTo>
                    <a:pt x="2421565" y="1622010"/>
                    <a:pt x="2405785" y="1633537"/>
                    <a:pt x="2394297" y="1641926"/>
                  </a:cubicBezTo>
                  <a:cubicBezTo>
                    <a:pt x="2398667" y="1655355"/>
                    <a:pt x="2404694" y="1673793"/>
                    <a:pt x="2404996" y="1674642"/>
                  </a:cubicBezTo>
                  <a:cubicBezTo>
                    <a:pt x="2405309" y="1675610"/>
                    <a:pt x="2405466" y="1676496"/>
                    <a:pt x="2405466" y="1677335"/>
                  </a:cubicBezTo>
                  <a:cubicBezTo>
                    <a:pt x="2405466" y="1681602"/>
                    <a:pt x="2402002" y="1685073"/>
                    <a:pt x="2397744" y="1685073"/>
                  </a:cubicBezTo>
                  <a:cubicBezTo>
                    <a:pt x="2396177" y="1685073"/>
                    <a:pt x="2394650" y="1684600"/>
                    <a:pt x="2393346" y="1683697"/>
                  </a:cubicBezTo>
                  <a:cubicBezTo>
                    <a:pt x="2392719" y="1683257"/>
                    <a:pt x="2371674" y="1667920"/>
                    <a:pt x="2365227" y="1663228"/>
                  </a:cubicBezTo>
                  <a:lnTo>
                    <a:pt x="2337171" y="1683649"/>
                  </a:lnTo>
                  <a:cubicBezTo>
                    <a:pt x="2335788" y="1684606"/>
                    <a:pt x="2334266" y="1685073"/>
                    <a:pt x="2332705" y="1685073"/>
                  </a:cubicBezTo>
                  <a:cubicBezTo>
                    <a:pt x="2328447" y="1685073"/>
                    <a:pt x="2324983" y="1681602"/>
                    <a:pt x="2324983" y="1677335"/>
                  </a:cubicBezTo>
                  <a:cubicBezTo>
                    <a:pt x="2324983" y="1676496"/>
                    <a:pt x="2325134" y="1675626"/>
                    <a:pt x="2325425" y="1674739"/>
                  </a:cubicBezTo>
                  <a:lnTo>
                    <a:pt x="2325481" y="1674572"/>
                  </a:lnTo>
                  <a:cubicBezTo>
                    <a:pt x="2325767" y="1673772"/>
                    <a:pt x="2331787" y="1655345"/>
                    <a:pt x="2336158" y="1641926"/>
                  </a:cubicBezTo>
                  <a:cubicBezTo>
                    <a:pt x="2324653" y="1633526"/>
                    <a:pt x="2308862" y="1621999"/>
                    <a:pt x="2308123" y="1621489"/>
                  </a:cubicBezTo>
                  <a:cubicBezTo>
                    <a:pt x="2306025" y="1620022"/>
                    <a:pt x="2304788" y="1617641"/>
                    <a:pt x="2304788" y="1615121"/>
                  </a:cubicBezTo>
                  <a:cubicBezTo>
                    <a:pt x="2304788" y="1610768"/>
                    <a:pt x="2308235" y="1607226"/>
                    <a:pt x="2312466" y="1607226"/>
                  </a:cubicBezTo>
                  <a:lnTo>
                    <a:pt x="2347260" y="1607226"/>
                  </a:lnTo>
                  <a:lnTo>
                    <a:pt x="2357841" y="1574521"/>
                  </a:lnTo>
                  <a:cubicBezTo>
                    <a:pt x="2358748" y="1571312"/>
                    <a:pt x="2361792" y="1568996"/>
                    <a:pt x="2365227" y="1568996"/>
                  </a:cubicBezTo>
                  <a:close/>
                  <a:moveTo>
                    <a:pt x="2012140" y="1528527"/>
                  </a:moveTo>
                  <a:cubicBezTo>
                    <a:pt x="2019774" y="1528527"/>
                    <a:pt x="2025969" y="1534732"/>
                    <a:pt x="2025969" y="1542391"/>
                  </a:cubicBezTo>
                  <a:cubicBezTo>
                    <a:pt x="2025969" y="1547495"/>
                    <a:pt x="2023174" y="1551899"/>
                    <a:pt x="2019050" y="1554298"/>
                  </a:cubicBezTo>
                  <a:lnTo>
                    <a:pt x="2019050" y="1563145"/>
                  </a:lnTo>
                  <a:cubicBezTo>
                    <a:pt x="2019050" y="1566967"/>
                    <a:pt x="2015960" y="1570057"/>
                    <a:pt x="2012140" y="1570057"/>
                  </a:cubicBezTo>
                  <a:cubicBezTo>
                    <a:pt x="2008326" y="1570057"/>
                    <a:pt x="2005215" y="1566967"/>
                    <a:pt x="2005215" y="1563145"/>
                  </a:cubicBezTo>
                  <a:lnTo>
                    <a:pt x="2005215" y="1554298"/>
                  </a:lnTo>
                  <a:cubicBezTo>
                    <a:pt x="2001091" y="1551899"/>
                    <a:pt x="1998306" y="1547495"/>
                    <a:pt x="1998306" y="1542391"/>
                  </a:cubicBezTo>
                  <a:cubicBezTo>
                    <a:pt x="1998306" y="1534732"/>
                    <a:pt x="2004481" y="1528527"/>
                    <a:pt x="2012140" y="1528527"/>
                  </a:cubicBezTo>
                  <a:close/>
                  <a:moveTo>
                    <a:pt x="1783290" y="1518012"/>
                  </a:moveTo>
                  <a:cubicBezTo>
                    <a:pt x="1781238" y="1517938"/>
                    <a:pt x="1780006" y="1518738"/>
                    <a:pt x="1780074" y="1520477"/>
                  </a:cubicBezTo>
                  <a:cubicBezTo>
                    <a:pt x="1780199" y="1523239"/>
                    <a:pt x="1780329" y="1525489"/>
                    <a:pt x="1780329" y="1525489"/>
                  </a:cubicBezTo>
                  <a:cubicBezTo>
                    <a:pt x="1780329" y="1532130"/>
                    <a:pt x="1790955" y="1542453"/>
                    <a:pt x="1798704" y="1549958"/>
                  </a:cubicBezTo>
                  <a:cubicBezTo>
                    <a:pt x="1809298" y="1560254"/>
                    <a:pt x="1819381" y="1567973"/>
                    <a:pt x="1819381" y="1579942"/>
                  </a:cubicBezTo>
                  <a:cubicBezTo>
                    <a:pt x="1819381" y="1591949"/>
                    <a:pt x="1809528" y="1599650"/>
                    <a:pt x="1798928" y="1609963"/>
                  </a:cubicBezTo>
                  <a:cubicBezTo>
                    <a:pt x="1791185" y="1617469"/>
                    <a:pt x="1780867" y="1627783"/>
                    <a:pt x="1780867" y="1634414"/>
                  </a:cubicBezTo>
                  <a:lnTo>
                    <a:pt x="1780867" y="1641101"/>
                  </a:lnTo>
                  <a:cubicBezTo>
                    <a:pt x="1780867" y="1644784"/>
                    <a:pt x="1784146" y="1645230"/>
                    <a:pt x="1788684" y="1643686"/>
                  </a:cubicBezTo>
                  <a:cubicBezTo>
                    <a:pt x="1801127" y="1639520"/>
                    <a:pt x="1819177" y="1633670"/>
                    <a:pt x="1819177" y="1620649"/>
                  </a:cubicBezTo>
                  <a:cubicBezTo>
                    <a:pt x="1819177" y="1616325"/>
                    <a:pt x="1829359" y="1616325"/>
                    <a:pt x="1829359" y="1620649"/>
                  </a:cubicBezTo>
                  <a:cubicBezTo>
                    <a:pt x="1829359" y="1633670"/>
                    <a:pt x="1847394" y="1639492"/>
                    <a:pt x="1859821" y="1643686"/>
                  </a:cubicBezTo>
                  <a:cubicBezTo>
                    <a:pt x="1864374" y="1645230"/>
                    <a:pt x="1867638" y="1644784"/>
                    <a:pt x="1867638" y="1641101"/>
                  </a:cubicBezTo>
                  <a:lnTo>
                    <a:pt x="1867638" y="1634414"/>
                  </a:lnTo>
                  <a:cubicBezTo>
                    <a:pt x="1867638" y="1627783"/>
                    <a:pt x="1857325" y="1617469"/>
                    <a:pt x="1849613" y="1609963"/>
                  </a:cubicBezTo>
                  <a:cubicBezTo>
                    <a:pt x="1839008" y="1599650"/>
                    <a:pt x="1829291" y="1591949"/>
                    <a:pt x="1829291" y="1579942"/>
                  </a:cubicBezTo>
                  <a:cubicBezTo>
                    <a:pt x="1829291" y="1567973"/>
                    <a:pt x="1839301" y="1560254"/>
                    <a:pt x="1849906" y="1549958"/>
                  </a:cubicBezTo>
                  <a:cubicBezTo>
                    <a:pt x="1857628" y="1542425"/>
                    <a:pt x="1868244" y="1532130"/>
                    <a:pt x="1868244" y="1525489"/>
                  </a:cubicBezTo>
                  <a:lnTo>
                    <a:pt x="1868499" y="1520477"/>
                  </a:lnTo>
                  <a:cubicBezTo>
                    <a:pt x="1868604" y="1518738"/>
                    <a:pt x="1867345" y="1517938"/>
                    <a:pt x="1865319" y="1518012"/>
                  </a:cubicBezTo>
                  <a:cubicBezTo>
                    <a:pt x="1864098" y="1518068"/>
                    <a:pt x="1862604" y="1518449"/>
                    <a:pt x="1860933" y="1519119"/>
                  </a:cubicBezTo>
                  <a:cubicBezTo>
                    <a:pt x="1850997" y="1523127"/>
                    <a:pt x="1838048" y="1526280"/>
                    <a:pt x="1824268" y="1526280"/>
                  </a:cubicBezTo>
                  <a:cubicBezTo>
                    <a:pt x="1810483" y="1526280"/>
                    <a:pt x="1797597" y="1523127"/>
                    <a:pt x="1787692" y="1519119"/>
                  </a:cubicBezTo>
                  <a:cubicBezTo>
                    <a:pt x="1786026" y="1518449"/>
                    <a:pt x="1784512" y="1518077"/>
                    <a:pt x="1783290" y="1518012"/>
                  </a:cubicBezTo>
                  <a:close/>
                  <a:moveTo>
                    <a:pt x="2494385" y="1515920"/>
                  </a:moveTo>
                  <a:cubicBezTo>
                    <a:pt x="2483387" y="1515920"/>
                    <a:pt x="2474437" y="1524869"/>
                    <a:pt x="2474437" y="1535871"/>
                  </a:cubicBezTo>
                  <a:cubicBezTo>
                    <a:pt x="2474437" y="1546868"/>
                    <a:pt x="2483387" y="1555817"/>
                    <a:pt x="2494385" y="1555817"/>
                  </a:cubicBezTo>
                  <a:cubicBezTo>
                    <a:pt x="2505383" y="1555817"/>
                    <a:pt x="2514329" y="1546868"/>
                    <a:pt x="2514329" y="1535871"/>
                  </a:cubicBezTo>
                  <a:cubicBezTo>
                    <a:pt x="2514329" y="1524869"/>
                    <a:pt x="2505383" y="1515920"/>
                    <a:pt x="2494385" y="1515920"/>
                  </a:cubicBezTo>
                  <a:close/>
                  <a:moveTo>
                    <a:pt x="1970622" y="1514702"/>
                  </a:moveTo>
                  <a:lnTo>
                    <a:pt x="1970622" y="1583890"/>
                  </a:lnTo>
                  <a:lnTo>
                    <a:pt x="2053642" y="1583890"/>
                  </a:lnTo>
                  <a:cubicBezTo>
                    <a:pt x="2053642" y="1583890"/>
                    <a:pt x="2053642" y="1514702"/>
                    <a:pt x="2053642" y="1514702"/>
                  </a:cubicBezTo>
                  <a:close/>
                  <a:moveTo>
                    <a:pt x="2494385" y="1512775"/>
                  </a:moveTo>
                  <a:cubicBezTo>
                    <a:pt x="2507119" y="1512775"/>
                    <a:pt x="2517478" y="1523142"/>
                    <a:pt x="2517478" y="1535871"/>
                  </a:cubicBezTo>
                  <a:cubicBezTo>
                    <a:pt x="2517478" y="1548599"/>
                    <a:pt x="2507119" y="1558962"/>
                    <a:pt x="2494385" y="1558962"/>
                  </a:cubicBezTo>
                  <a:cubicBezTo>
                    <a:pt x="2481651" y="1558962"/>
                    <a:pt x="2471292" y="1548599"/>
                    <a:pt x="2471292" y="1535871"/>
                  </a:cubicBezTo>
                  <a:cubicBezTo>
                    <a:pt x="2471292" y="1523142"/>
                    <a:pt x="2481651" y="1512775"/>
                    <a:pt x="2494385" y="1512775"/>
                  </a:cubicBezTo>
                  <a:close/>
                  <a:moveTo>
                    <a:pt x="1824816" y="1492027"/>
                  </a:moveTo>
                  <a:cubicBezTo>
                    <a:pt x="1803586" y="1492027"/>
                    <a:pt x="1790480" y="1498482"/>
                    <a:pt x="1783499" y="1502890"/>
                  </a:cubicBezTo>
                  <a:cubicBezTo>
                    <a:pt x="1783499" y="1502890"/>
                    <a:pt x="1777009" y="1506210"/>
                    <a:pt x="1780820" y="1508479"/>
                  </a:cubicBezTo>
                  <a:cubicBezTo>
                    <a:pt x="1789253" y="1513474"/>
                    <a:pt x="1805173" y="1519249"/>
                    <a:pt x="1824268" y="1519249"/>
                  </a:cubicBezTo>
                  <a:cubicBezTo>
                    <a:pt x="1843332" y="1519249"/>
                    <a:pt x="1859795" y="1514004"/>
                    <a:pt x="1868223" y="1509009"/>
                  </a:cubicBezTo>
                  <a:cubicBezTo>
                    <a:pt x="1872060" y="1506740"/>
                    <a:pt x="1866473" y="1503764"/>
                    <a:pt x="1865038" y="1502890"/>
                  </a:cubicBezTo>
                  <a:cubicBezTo>
                    <a:pt x="1865038" y="1502890"/>
                    <a:pt x="1846047" y="1492027"/>
                    <a:pt x="1824816" y="1492027"/>
                  </a:cubicBezTo>
                  <a:close/>
                  <a:moveTo>
                    <a:pt x="2487661" y="1488620"/>
                  </a:moveTo>
                  <a:cubicBezTo>
                    <a:pt x="2487321" y="1488620"/>
                    <a:pt x="2487045" y="1488909"/>
                    <a:pt x="2487045" y="1489240"/>
                  </a:cubicBezTo>
                  <a:lnTo>
                    <a:pt x="2487045" y="1501689"/>
                  </a:lnTo>
                  <a:lnTo>
                    <a:pt x="2485837" y="1501983"/>
                  </a:lnTo>
                  <a:cubicBezTo>
                    <a:pt x="2482519" y="1502790"/>
                    <a:pt x="2479327" y="1504073"/>
                    <a:pt x="2476369" y="1505809"/>
                  </a:cubicBezTo>
                  <a:lnTo>
                    <a:pt x="2475324" y="1506425"/>
                  </a:lnTo>
                  <a:lnTo>
                    <a:pt x="2466603" y="1497709"/>
                  </a:lnTo>
                  <a:cubicBezTo>
                    <a:pt x="2466453" y="1497560"/>
                    <a:pt x="2466257" y="1497536"/>
                    <a:pt x="2466164" y="1497536"/>
                  </a:cubicBezTo>
                  <a:cubicBezTo>
                    <a:pt x="2466066" y="1497536"/>
                    <a:pt x="2465879" y="1497560"/>
                    <a:pt x="2465716" y="1497718"/>
                  </a:cubicBezTo>
                  <a:lnTo>
                    <a:pt x="2456225" y="1507218"/>
                  </a:lnTo>
                  <a:cubicBezTo>
                    <a:pt x="2456071" y="1507381"/>
                    <a:pt x="2456048" y="1507554"/>
                    <a:pt x="2456048" y="1507652"/>
                  </a:cubicBezTo>
                  <a:cubicBezTo>
                    <a:pt x="2456048" y="1507745"/>
                    <a:pt x="2456071" y="1507927"/>
                    <a:pt x="2456225" y="1508081"/>
                  </a:cubicBezTo>
                  <a:lnTo>
                    <a:pt x="2464788" y="1516643"/>
                  </a:lnTo>
                  <a:lnTo>
                    <a:pt x="2464125" y="1517711"/>
                  </a:lnTo>
                  <a:cubicBezTo>
                    <a:pt x="2462258" y="1520712"/>
                    <a:pt x="2460854" y="1523959"/>
                    <a:pt x="2459963" y="1527351"/>
                  </a:cubicBezTo>
                  <a:lnTo>
                    <a:pt x="2459650" y="1528531"/>
                  </a:lnTo>
                  <a:lnTo>
                    <a:pt x="2447756" y="1528531"/>
                  </a:lnTo>
                  <a:cubicBezTo>
                    <a:pt x="2447415" y="1528531"/>
                    <a:pt x="2447135" y="1528807"/>
                    <a:pt x="2447135" y="1529157"/>
                  </a:cubicBezTo>
                  <a:lnTo>
                    <a:pt x="2447135" y="1542594"/>
                  </a:lnTo>
                  <a:cubicBezTo>
                    <a:pt x="2447135" y="1542930"/>
                    <a:pt x="2447415" y="1543210"/>
                    <a:pt x="2447756" y="1543210"/>
                  </a:cubicBezTo>
                  <a:lnTo>
                    <a:pt x="2459431" y="1543210"/>
                  </a:lnTo>
                  <a:lnTo>
                    <a:pt x="2459711" y="1544433"/>
                  </a:lnTo>
                  <a:cubicBezTo>
                    <a:pt x="2460527" y="1547969"/>
                    <a:pt x="2461880" y="1551347"/>
                    <a:pt x="2463728" y="1554469"/>
                  </a:cubicBezTo>
                  <a:lnTo>
                    <a:pt x="2464349" y="1555519"/>
                  </a:lnTo>
                  <a:lnTo>
                    <a:pt x="2456234" y="1563647"/>
                  </a:lnTo>
                  <a:cubicBezTo>
                    <a:pt x="2456071" y="1563810"/>
                    <a:pt x="2456052" y="1563992"/>
                    <a:pt x="2456052" y="1564080"/>
                  </a:cubicBezTo>
                  <a:cubicBezTo>
                    <a:pt x="2456052" y="1564178"/>
                    <a:pt x="2456071" y="1564365"/>
                    <a:pt x="2456225" y="1564524"/>
                  </a:cubicBezTo>
                  <a:lnTo>
                    <a:pt x="2465725" y="1574023"/>
                  </a:lnTo>
                  <a:cubicBezTo>
                    <a:pt x="2465884" y="1574182"/>
                    <a:pt x="2466071" y="1574205"/>
                    <a:pt x="2466164" y="1574205"/>
                  </a:cubicBezTo>
                  <a:cubicBezTo>
                    <a:pt x="2466257" y="1574205"/>
                    <a:pt x="2466453" y="1574182"/>
                    <a:pt x="2466607" y="1574023"/>
                  </a:cubicBezTo>
                  <a:cubicBezTo>
                    <a:pt x="2466607" y="1574023"/>
                    <a:pt x="2474647" y="1565989"/>
                    <a:pt x="2474647" y="1565989"/>
                  </a:cubicBezTo>
                  <a:lnTo>
                    <a:pt x="2475697" y="1566633"/>
                  </a:lnTo>
                  <a:cubicBezTo>
                    <a:pt x="2478842" y="1568564"/>
                    <a:pt x="2482258" y="1569983"/>
                    <a:pt x="2485837" y="1570855"/>
                  </a:cubicBezTo>
                  <a:lnTo>
                    <a:pt x="2487045" y="1571140"/>
                  </a:lnTo>
                  <a:lnTo>
                    <a:pt x="2487045" y="1582496"/>
                  </a:lnTo>
                  <a:cubicBezTo>
                    <a:pt x="2487045" y="1582828"/>
                    <a:pt x="2487321" y="1583112"/>
                    <a:pt x="2487661" y="1583112"/>
                  </a:cubicBezTo>
                  <a:lnTo>
                    <a:pt x="2501095" y="1583112"/>
                  </a:lnTo>
                  <a:cubicBezTo>
                    <a:pt x="2501445" y="1583112"/>
                    <a:pt x="2501716" y="1582837"/>
                    <a:pt x="2501716" y="1582496"/>
                  </a:cubicBezTo>
                  <a:lnTo>
                    <a:pt x="2501716" y="1571093"/>
                  </a:lnTo>
                  <a:lnTo>
                    <a:pt x="2502915" y="1570799"/>
                  </a:lnTo>
                  <a:cubicBezTo>
                    <a:pt x="2506452" y="1569903"/>
                    <a:pt x="2509830" y="1568462"/>
                    <a:pt x="2512947" y="1566535"/>
                  </a:cubicBezTo>
                  <a:lnTo>
                    <a:pt x="2514011" y="1565872"/>
                  </a:lnTo>
                  <a:lnTo>
                    <a:pt x="2522163" y="1574023"/>
                  </a:lnTo>
                  <a:cubicBezTo>
                    <a:pt x="2522317" y="1574182"/>
                    <a:pt x="2522504" y="1574205"/>
                    <a:pt x="2522606" y="1574205"/>
                  </a:cubicBezTo>
                  <a:cubicBezTo>
                    <a:pt x="2522695" y="1574205"/>
                    <a:pt x="2522882" y="1574182"/>
                    <a:pt x="2523031" y="1574028"/>
                  </a:cubicBezTo>
                  <a:lnTo>
                    <a:pt x="2532545" y="1564524"/>
                  </a:lnTo>
                  <a:cubicBezTo>
                    <a:pt x="2532788" y="1564290"/>
                    <a:pt x="2532788" y="1563884"/>
                    <a:pt x="2532536" y="1563647"/>
                  </a:cubicBezTo>
                  <a:lnTo>
                    <a:pt x="2524240" y="1555346"/>
                  </a:lnTo>
                  <a:lnTo>
                    <a:pt x="2524856" y="1554292"/>
                  </a:lnTo>
                  <a:cubicBezTo>
                    <a:pt x="2526657" y="1551226"/>
                    <a:pt x="2527977" y="1547913"/>
                    <a:pt x="2528780" y="1544433"/>
                  </a:cubicBezTo>
                  <a:lnTo>
                    <a:pt x="2529060" y="1543210"/>
                  </a:lnTo>
                  <a:lnTo>
                    <a:pt x="2540991" y="1543210"/>
                  </a:lnTo>
                  <a:cubicBezTo>
                    <a:pt x="2541346" y="1543210"/>
                    <a:pt x="2541626" y="1542935"/>
                    <a:pt x="2541626" y="1542594"/>
                  </a:cubicBezTo>
                  <a:lnTo>
                    <a:pt x="2541626" y="1529157"/>
                  </a:lnTo>
                  <a:cubicBezTo>
                    <a:pt x="2541626" y="1528807"/>
                    <a:pt x="2541346" y="1528531"/>
                    <a:pt x="2540991" y="1528531"/>
                  </a:cubicBezTo>
                  <a:lnTo>
                    <a:pt x="2528831" y="1528531"/>
                  </a:lnTo>
                  <a:lnTo>
                    <a:pt x="2528528" y="1527360"/>
                  </a:lnTo>
                  <a:cubicBezTo>
                    <a:pt x="2527641" y="1524020"/>
                    <a:pt x="2526279" y="1520833"/>
                    <a:pt x="2524459" y="1517879"/>
                  </a:cubicBezTo>
                  <a:lnTo>
                    <a:pt x="2523820" y="1516811"/>
                  </a:lnTo>
                  <a:lnTo>
                    <a:pt x="2532536" y="1508086"/>
                  </a:lnTo>
                  <a:cubicBezTo>
                    <a:pt x="2532779" y="1507852"/>
                    <a:pt x="2532779" y="1507461"/>
                    <a:pt x="2532536" y="1507218"/>
                  </a:cubicBezTo>
                  <a:lnTo>
                    <a:pt x="2523031" y="1497709"/>
                  </a:lnTo>
                  <a:cubicBezTo>
                    <a:pt x="2522882" y="1497560"/>
                    <a:pt x="2522695" y="1497536"/>
                    <a:pt x="2522602" y="1497536"/>
                  </a:cubicBezTo>
                  <a:cubicBezTo>
                    <a:pt x="2522504" y="1497536"/>
                    <a:pt x="2522317" y="1497560"/>
                    <a:pt x="2522163" y="1497718"/>
                  </a:cubicBezTo>
                  <a:lnTo>
                    <a:pt x="2513344" y="1506532"/>
                  </a:lnTo>
                  <a:lnTo>
                    <a:pt x="2512285" y="1505907"/>
                  </a:lnTo>
                  <a:cubicBezTo>
                    <a:pt x="2509359" y="1504171"/>
                    <a:pt x="2506200" y="1502869"/>
                    <a:pt x="2502901" y="1502034"/>
                  </a:cubicBezTo>
                  <a:lnTo>
                    <a:pt x="2501716" y="1501740"/>
                  </a:lnTo>
                  <a:lnTo>
                    <a:pt x="2501716" y="1489240"/>
                  </a:lnTo>
                  <a:cubicBezTo>
                    <a:pt x="2501716" y="1488895"/>
                    <a:pt x="2501445" y="1488620"/>
                    <a:pt x="2501095" y="1488620"/>
                  </a:cubicBezTo>
                  <a:close/>
                  <a:moveTo>
                    <a:pt x="2487661" y="1485475"/>
                  </a:moveTo>
                  <a:lnTo>
                    <a:pt x="2501095" y="1485475"/>
                  </a:lnTo>
                  <a:cubicBezTo>
                    <a:pt x="2503176" y="1485475"/>
                    <a:pt x="2504870" y="1487164"/>
                    <a:pt x="2504870" y="1489240"/>
                  </a:cubicBezTo>
                  <a:lnTo>
                    <a:pt x="2504870" y="1499305"/>
                  </a:lnTo>
                  <a:cubicBezTo>
                    <a:pt x="2507633" y="1500098"/>
                    <a:pt x="2510306" y="1501199"/>
                    <a:pt x="2512831" y="1502594"/>
                  </a:cubicBezTo>
                  <a:lnTo>
                    <a:pt x="2519937" y="1495483"/>
                  </a:lnTo>
                  <a:cubicBezTo>
                    <a:pt x="2521361" y="1494065"/>
                    <a:pt x="2523843" y="1494065"/>
                    <a:pt x="2525262" y="1495483"/>
                  </a:cubicBezTo>
                  <a:lnTo>
                    <a:pt x="2534767" y="1504992"/>
                  </a:lnTo>
                  <a:cubicBezTo>
                    <a:pt x="2536236" y="1506462"/>
                    <a:pt x="2536236" y="1508851"/>
                    <a:pt x="2534767" y="1510316"/>
                  </a:cubicBezTo>
                  <a:lnTo>
                    <a:pt x="2527786" y="1517296"/>
                  </a:lnTo>
                  <a:cubicBezTo>
                    <a:pt x="2529246" y="1519858"/>
                    <a:pt x="2530408" y="1522564"/>
                    <a:pt x="2531239" y="1525382"/>
                  </a:cubicBezTo>
                  <a:lnTo>
                    <a:pt x="2540991" y="1525382"/>
                  </a:lnTo>
                  <a:cubicBezTo>
                    <a:pt x="2543077" y="1525382"/>
                    <a:pt x="2544780" y="1527071"/>
                    <a:pt x="2544780" y="1529157"/>
                  </a:cubicBezTo>
                  <a:lnTo>
                    <a:pt x="2544780" y="1542594"/>
                  </a:lnTo>
                  <a:cubicBezTo>
                    <a:pt x="2544780" y="1544666"/>
                    <a:pt x="2543086" y="1546355"/>
                    <a:pt x="2540991" y="1546355"/>
                  </a:cubicBezTo>
                  <a:lnTo>
                    <a:pt x="2531552" y="1546355"/>
                  </a:lnTo>
                  <a:cubicBezTo>
                    <a:pt x="2530763" y="1549304"/>
                    <a:pt x="2529634" y="1552150"/>
                    <a:pt x="2528178" y="1554819"/>
                  </a:cubicBezTo>
                  <a:lnTo>
                    <a:pt x="2534767" y="1561416"/>
                  </a:lnTo>
                  <a:cubicBezTo>
                    <a:pt x="2536236" y="1562891"/>
                    <a:pt x="2536236" y="1565280"/>
                    <a:pt x="2534771" y="1566745"/>
                  </a:cubicBezTo>
                  <a:lnTo>
                    <a:pt x="2525262" y="1576244"/>
                  </a:lnTo>
                  <a:cubicBezTo>
                    <a:pt x="2523852" y="1577667"/>
                    <a:pt x="2521342" y="1577677"/>
                    <a:pt x="2519928" y="1576244"/>
                  </a:cubicBezTo>
                  <a:lnTo>
                    <a:pt x="2513531" y="1569847"/>
                  </a:lnTo>
                  <a:cubicBezTo>
                    <a:pt x="2510796" y="1571434"/>
                    <a:pt x="2507889" y="1572666"/>
                    <a:pt x="2504870" y="1573529"/>
                  </a:cubicBezTo>
                  <a:lnTo>
                    <a:pt x="2504870" y="1582482"/>
                  </a:lnTo>
                  <a:cubicBezTo>
                    <a:pt x="2504870" y="1584573"/>
                    <a:pt x="2503176" y="1586257"/>
                    <a:pt x="2501095" y="1586257"/>
                  </a:cubicBezTo>
                  <a:lnTo>
                    <a:pt x="2487661" y="1586257"/>
                  </a:lnTo>
                  <a:cubicBezTo>
                    <a:pt x="2485589" y="1586257"/>
                    <a:pt x="2483886" y="1584573"/>
                    <a:pt x="2483886" y="1582482"/>
                  </a:cubicBezTo>
                  <a:lnTo>
                    <a:pt x="2483886" y="1573599"/>
                  </a:lnTo>
                  <a:cubicBezTo>
                    <a:pt x="2480825" y="1572750"/>
                    <a:pt x="2477890" y="1571527"/>
                    <a:pt x="2475123" y="1569950"/>
                  </a:cubicBezTo>
                  <a:lnTo>
                    <a:pt x="2468833" y="1576244"/>
                  </a:lnTo>
                  <a:cubicBezTo>
                    <a:pt x="2467401" y="1577677"/>
                    <a:pt x="2464918" y="1577677"/>
                    <a:pt x="2463495" y="1576244"/>
                  </a:cubicBezTo>
                  <a:lnTo>
                    <a:pt x="2453999" y="1566754"/>
                  </a:lnTo>
                  <a:cubicBezTo>
                    <a:pt x="2453290" y="1566035"/>
                    <a:pt x="2452898" y="1565088"/>
                    <a:pt x="2452898" y="1564080"/>
                  </a:cubicBezTo>
                  <a:cubicBezTo>
                    <a:pt x="2452898" y="1563077"/>
                    <a:pt x="2453290" y="1562121"/>
                    <a:pt x="2453999" y="1561416"/>
                  </a:cubicBezTo>
                  <a:lnTo>
                    <a:pt x="2460406" y="1555005"/>
                  </a:lnTo>
                  <a:cubicBezTo>
                    <a:pt x="2458913" y="1552276"/>
                    <a:pt x="2457746" y="1549374"/>
                    <a:pt x="2456948" y="1546355"/>
                  </a:cubicBezTo>
                  <a:lnTo>
                    <a:pt x="2447756" y="1546355"/>
                  </a:lnTo>
                  <a:cubicBezTo>
                    <a:pt x="2445679" y="1546355"/>
                    <a:pt x="2443990" y="1544666"/>
                    <a:pt x="2443990" y="1542594"/>
                  </a:cubicBezTo>
                  <a:lnTo>
                    <a:pt x="2443990" y="1529157"/>
                  </a:lnTo>
                  <a:cubicBezTo>
                    <a:pt x="2443990" y="1527071"/>
                    <a:pt x="2445679" y="1525382"/>
                    <a:pt x="2447756" y="1525382"/>
                  </a:cubicBezTo>
                  <a:lnTo>
                    <a:pt x="2457252" y="1525382"/>
                  </a:lnTo>
                  <a:cubicBezTo>
                    <a:pt x="2458101" y="1522503"/>
                    <a:pt x="2459300" y="1519741"/>
                    <a:pt x="2460807" y="1517123"/>
                  </a:cubicBezTo>
                  <a:lnTo>
                    <a:pt x="2453999" y="1510316"/>
                  </a:lnTo>
                  <a:cubicBezTo>
                    <a:pt x="2453295" y="1509611"/>
                    <a:pt x="2452898" y="1508669"/>
                    <a:pt x="2452898" y="1507670"/>
                  </a:cubicBezTo>
                  <a:cubicBezTo>
                    <a:pt x="2452898" y="1506649"/>
                    <a:pt x="2453290" y="1505711"/>
                    <a:pt x="2453999" y="1504992"/>
                  </a:cubicBezTo>
                  <a:lnTo>
                    <a:pt x="2463495" y="1495483"/>
                  </a:lnTo>
                  <a:cubicBezTo>
                    <a:pt x="2464942" y="1494065"/>
                    <a:pt x="2467401" y="1494065"/>
                    <a:pt x="2468833" y="1495479"/>
                  </a:cubicBezTo>
                  <a:lnTo>
                    <a:pt x="2475846" y="1502496"/>
                  </a:lnTo>
                  <a:cubicBezTo>
                    <a:pt x="2478399" y="1501101"/>
                    <a:pt x="2481096" y="1500009"/>
                    <a:pt x="2483896" y="1499235"/>
                  </a:cubicBezTo>
                  <a:lnTo>
                    <a:pt x="2483896" y="1489240"/>
                  </a:lnTo>
                  <a:cubicBezTo>
                    <a:pt x="2483886" y="1487164"/>
                    <a:pt x="2485575" y="1485475"/>
                    <a:pt x="2487661" y="1485475"/>
                  </a:cubicBezTo>
                  <a:close/>
                  <a:moveTo>
                    <a:pt x="1824268" y="1479509"/>
                  </a:moveTo>
                  <a:cubicBezTo>
                    <a:pt x="1855320" y="1479509"/>
                    <a:pt x="1880650" y="1493962"/>
                    <a:pt x="1880650" y="1501895"/>
                  </a:cubicBezTo>
                  <a:lnTo>
                    <a:pt x="1880650" y="1525489"/>
                  </a:lnTo>
                  <a:cubicBezTo>
                    <a:pt x="1880650" y="1546982"/>
                    <a:pt x="1841713" y="1564736"/>
                    <a:pt x="1841713" y="1579942"/>
                  </a:cubicBezTo>
                  <a:cubicBezTo>
                    <a:pt x="1841713" y="1595176"/>
                    <a:pt x="1880650" y="1612940"/>
                    <a:pt x="1880650" y="1634414"/>
                  </a:cubicBezTo>
                  <a:lnTo>
                    <a:pt x="1880650" y="1658018"/>
                  </a:lnTo>
                  <a:cubicBezTo>
                    <a:pt x="1880650" y="1665942"/>
                    <a:pt x="1855320" y="1680394"/>
                    <a:pt x="1824268" y="1680394"/>
                  </a:cubicBezTo>
                  <a:cubicBezTo>
                    <a:pt x="1793195" y="1680394"/>
                    <a:pt x="1767866" y="1665942"/>
                    <a:pt x="1767866" y="1658018"/>
                  </a:cubicBezTo>
                  <a:lnTo>
                    <a:pt x="1767866" y="1634414"/>
                  </a:lnTo>
                  <a:cubicBezTo>
                    <a:pt x="1767866" y="1612940"/>
                    <a:pt x="1806802" y="1595176"/>
                    <a:pt x="1806802" y="1579942"/>
                  </a:cubicBezTo>
                  <a:cubicBezTo>
                    <a:pt x="1806802" y="1564736"/>
                    <a:pt x="1767866" y="1546982"/>
                    <a:pt x="1767866" y="1525489"/>
                  </a:cubicBezTo>
                  <a:lnTo>
                    <a:pt x="1767866" y="1501895"/>
                  </a:lnTo>
                  <a:cubicBezTo>
                    <a:pt x="1767866" y="1493962"/>
                    <a:pt x="1793195" y="1479509"/>
                    <a:pt x="1824268" y="1479509"/>
                  </a:cubicBezTo>
                  <a:close/>
                  <a:moveTo>
                    <a:pt x="2613532" y="1461591"/>
                  </a:moveTo>
                  <a:lnTo>
                    <a:pt x="2616576" y="1467805"/>
                  </a:lnTo>
                  <a:cubicBezTo>
                    <a:pt x="2610099" y="1475742"/>
                    <a:pt x="2606136" y="1485798"/>
                    <a:pt x="2606136" y="1496830"/>
                  </a:cubicBezTo>
                  <a:cubicBezTo>
                    <a:pt x="2606136" y="1506396"/>
                    <a:pt x="2608954" y="1515307"/>
                    <a:pt x="2613966" y="1522678"/>
                  </a:cubicBezTo>
                  <a:lnTo>
                    <a:pt x="2625463" y="1514666"/>
                  </a:lnTo>
                  <a:lnTo>
                    <a:pt x="2627765" y="1518886"/>
                  </a:lnTo>
                  <a:lnTo>
                    <a:pt x="2617822" y="1531439"/>
                  </a:lnTo>
                  <a:lnTo>
                    <a:pt x="2613904" y="1534364"/>
                  </a:lnTo>
                  <a:cubicBezTo>
                    <a:pt x="2606099" y="1524892"/>
                    <a:pt x="2599111" y="1511597"/>
                    <a:pt x="2599111" y="1496830"/>
                  </a:cubicBezTo>
                  <a:cubicBezTo>
                    <a:pt x="2599111" y="1483207"/>
                    <a:pt x="2604665" y="1470868"/>
                    <a:pt x="2613532" y="1461591"/>
                  </a:cubicBezTo>
                  <a:close/>
                  <a:moveTo>
                    <a:pt x="2615023" y="1457616"/>
                  </a:moveTo>
                  <a:lnTo>
                    <a:pt x="2617507" y="1459296"/>
                  </a:lnTo>
                  <a:lnTo>
                    <a:pt x="2622853" y="1462899"/>
                  </a:lnTo>
                  <a:lnTo>
                    <a:pt x="2655853" y="1485081"/>
                  </a:lnTo>
                  <a:cubicBezTo>
                    <a:pt x="2658035" y="1485842"/>
                    <a:pt x="2660035" y="1487188"/>
                    <a:pt x="2661632" y="1489000"/>
                  </a:cubicBezTo>
                  <a:cubicBezTo>
                    <a:pt x="2664173" y="1491924"/>
                    <a:pt x="2665431" y="1495691"/>
                    <a:pt x="2665173" y="1499559"/>
                  </a:cubicBezTo>
                  <a:cubicBezTo>
                    <a:pt x="2664909" y="1503433"/>
                    <a:pt x="2663135" y="1506943"/>
                    <a:pt x="2660198" y="1509502"/>
                  </a:cubicBezTo>
                  <a:cubicBezTo>
                    <a:pt x="2657557" y="1511792"/>
                    <a:pt x="2654186" y="1513050"/>
                    <a:pt x="2650695" y="1513050"/>
                  </a:cubicBezTo>
                  <a:cubicBezTo>
                    <a:pt x="2646500" y="1513050"/>
                    <a:pt x="2642570" y="1511232"/>
                    <a:pt x="2639815" y="1508075"/>
                  </a:cubicBezTo>
                  <a:cubicBezTo>
                    <a:pt x="2638262" y="1506295"/>
                    <a:pt x="2637199" y="1504194"/>
                    <a:pt x="2636652" y="1501735"/>
                  </a:cubicBezTo>
                  <a:lnTo>
                    <a:pt x="2619249" y="1466252"/>
                  </a:lnTo>
                  <a:lnTo>
                    <a:pt x="2618130" y="1464013"/>
                  </a:lnTo>
                  <a:close/>
                  <a:moveTo>
                    <a:pt x="2652494" y="1445686"/>
                  </a:moveTo>
                  <a:cubicBezTo>
                    <a:pt x="2681292" y="1445686"/>
                    <a:pt x="2706437" y="1469013"/>
                    <a:pt x="2706437" y="1497761"/>
                  </a:cubicBezTo>
                  <a:cubicBezTo>
                    <a:pt x="2706437" y="1512528"/>
                    <a:pt x="2699902" y="1525823"/>
                    <a:pt x="2692078" y="1535295"/>
                  </a:cubicBezTo>
                  <a:lnTo>
                    <a:pt x="2688167" y="1532062"/>
                  </a:lnTo>
                  <a:lnTo>
                    <a:pt x="2677601" y="1520257"/>
                  </a:lnTo>
                  <a:lnTo>
                    <a:pt x="2678531" y="1515905"/>
                  </a:lnTo>
                  <a:cubicBezTo>
                    <a:pt x="2678531" y="1515905"/>
                    <a:pt x="2690839" y="1523427"/>
                    <a:pt x="2690839" y="1523427"/>
                  </a:cubicBezTo>
                  <a:cubicBezTo>
                    <a:pt x="2695795" y="1516094"/>
                    <a:pt x="2698670" y="1507270"/>
                    <a:pt x="2698670" y="1497761"/>
                  </a:cubicBezTo>
                  <a:cubicBezTo>
                    <a:pt x="2698670" y="1481019"/>
                    <a:pt x="2689682" y="1466371"/>
                    <a:pt x="2676299" y="1458296"/>
                  </a:cubicBezTo>
                  <a:cubicBezTo>
                    <a:pt x="2669085" y="1454139"/>
                    <a:pt x="2660827" y="1451698"/>
                    <a:pt x="2652186" y="1451648"/>
                  </a:cubicBezTo>
                  <a:cubicBezTo>
                    <a:pt x="2642633" y="1451705"/>
                    <a:pt x="2633746" y="1454654"/>
                    <a:pt x="2626394" y="1459667"/>
                  </a:cubicBezTo>
                  <a:lnTo>
                    <a:pt x="2620985" y="1456063"/>
                  </a:lnTo>
                  <a:cubicBezTo>
                    <a:pt x="2629922" y="1449604"/>
                    <a:pt x="2640828" y="1445686"/>
                    <a:pt x="2652494" y="1445686"/>
                  </a:cubicBezTo>
                  <a:close/>
                  <a:moveTo>
                    <a:pt x="2013856" y="1435195"/>
                  </a:moveTo>
                  <a:cubicBezTo>
                    <a:pt x="2024119" y="1437944"/>
                    <a:pt x="2033334" y="1444609"/>
                    <a:pt x="2039068" y="1454533"/>
                  </a:cubicBezTo>
                  <a:lnTo>
                    <a:pt x="2052897" y="1478503"/>
                  </a:lnTo>
                  <a:cubicBezTo>
                    <a:pt x="2054807" y="1481814"/>
                    <a:pt x="2053679" y="1486037"/>
                    <a:pt x="2050366" y="1487964"/>
                  </a:cubicBezTo>
                  <a:cubicBezTo>
                    <a:pt x="2047059" y="1489867"/>
                    <a:pt x="2042836" y="1488742"/>
                    <a:pt x="2040931" y="1485432"/>
                  </a:cubicBezTo>
                  <a:lnTo>
                    <a:pt x="2027092" y="1461462"/>
                  </a:lnTo>
                  <a:cubicBezTo>
                    <a:pt x="2019443" y="1448219"/>
                    <a:pt x="2002514" y="1443689"/>
                    <a:pt x="1989290" y="1451325"/>
                  </a:cubicBezTo>
                  <a:cubicBezTo>
                    <a:pt x="1976041" y="1458985"/>
                    <a:pt x="1971497" y="1475900"/>
                    <a:pt x="1979152" y="1489120"/>
                  </a:cubicBezTo>
                  <a:lnTo>
                    <a:pt x="1985921" y="1500869"/>
                  </a:lnTo>
                  <a:lnTo>
                    <a:pt x="2053642" y="1500869"/>
                  </a:lnTo>
                  <a:cubicBezTo>
                    <a:pt x="2061297" y="1500869"/>
                    <a:pt x="2067497" y="1507066"/>
                    <a:pt x="2067497" y="1514702"/>
                  </a:cubicBezTo>
                  <a:lnTo>
                    <a:pt x="2067497" y="1583890"/>
                  </a:lnTo>
                  <a:cubicBezTo>
                    <a:pt x="2067497" y="1591542"/>
                    <a:pt x="2061297" y="1597739"/>
                    <a:pt x="2053642" y="1597739"/>
                  </a:cubicBezTo>
                  <a:lnTo>
                    <a:pt x="1970622" y="1597739"/>
                  </a:lnTo>
                  <a:cubicBezTo>
                    <a:pt x="1962989" y="1597739"/>
                    <a:pt x="1956783" y="1591542"/>
                    <a:pt x="1956783" y="1583890"/>
                  </a:cubicBezTo>
                  <a:lnTo>
                    <a:pt x="1956783" y="1514702"/>
                  </a:lnTo>
                  <a:cubicBezTo>
                    <a:pt x="1956783" y="1507286"/>
                    <a:pt x="1962647" y="1501270"/>
                    <a:pt x="1969981" y="1500932"/>
                  </a:cubicBezTo>
                  <a:lnTo>
                    <a:pt x="1967160" y="1496048"/>
                  </a:lnTo>
                  <a:cubicBezTo>
                    <a:pt x="1955707" y="1476183"/>
                    <a:pt x="1962492" y="1450798"/>
                    <a:pt x="1982355" y="1439348"/>
                  </a:cubicBezTo>
                  <a:cubicBezTo>
                    <a:pt x="1992282" y="1433611"/>
                    <a:pt x="2003593" y="1432445"/>
                    <a:pt x="2013856" y="1435195"/>
                  </a:cubicBezTo>
                  <a:close/>
                  <a:moveTo>
                    <a:pt x="2476109" y="1431835"/>
                  </a:moveTo>
                  <a:lnTo>
                    <a:pt x="2475408" y="1438847"/>
                  </a:lnTo>
                  <a:cubicBezTo>
                    <a:pt x="2475408" y="1438847"/>
                    <a:pt x="2565992" y="1438847"/>
                    <a:pt x="2565992" y="1438847"/>
                  </a:cubicBezTo>
                  <a:lnTo>
                    <a:pt x="2565297" y="1431835"/>
                  </a:lnTo>
                  <a:close/>
                  <a:moveTo>
                    <a:pt x="2653117" y="1429774"/>
                  </a:moveTo>
                  <a:cubicBezTo>
                    <a:pt x="2690563" y="1429774"/>
                    <a:pt x="2721040" y="1460245"/>
                    <a:pt x="2721040" y="1497698"/>
                  </a:cubicBezTo>
                  <a:cubicBezTo>
                    <a:pt x="2721040" y="1535137"/>
                    <a:pt x="2690563" y="1565621"/>
                    <a:pt x="2653117" y="1565621"/>
                  </a:cubicBezTo>
                  <a:cubicBezTo>
                    <a:pt x="2615677" y="1565621"/>
                    <a:pt x="2585193" y="1535137"/>
                    <a:pt x="2585193" y="1497698"/>
                  </a:cubicBezTo>
                  <a:cubicBezTo>
                    <a:pt x="2585193" y="1478044"/>
                    <a:pt x="2593627" y="1460390"/>
                    <a:pt x="2607004" y="1447981"/>
                  </a:cubicBezTo>
                  <a:lnTo>
                    <a:pt x="2610608" y="1455378"/>
                  </a:lnTo>
                  <a:cubicBezTo>
                    <a:pt x="2599721" y="1466214"/>
                    <a:pt x="2592960" y="1481188"/>
                    <a:pt x="2592960" y="1497698"/>
                  </a:cubicBezTo>
                  <a:cubicBezTo>
                    <a:pt x="2592960" y="1530697"/>
                    <a:pt x="2619973" y="1557539"/>
                    <a:pt x="2653117" y="1557539"/>
                  </a:cubicBezTo>
                  <a:cubicBezTo>
                    <a:pt x="2686255" y="1557539"/>
                    <a:pt x="2713210" y="1530697"/>
                    <a:pt x="2713210" y="1497698"/>
                  </a:cubicBezTo>
                  <a:cubicBezTo>
                    <a:pt x="2713210" y="1464692"/>
                    <a:pt x="2686255" y="1437856"/>
                    <a:pt x="2653117" y="1437856"/>
                  </a:cubicBezTo>
                  <a:cubicBezTo>
                    <a:pt x="2638626" y="1437856"/>
                    <a:pt x="2625293" y="1442994"/>
                    <a:pt x="2614897" y="1451522"/>
                  </a:cubicBezTo>
                  <a:lnTo>
                    <a:pt x="2608124" y="1446925"/>
                  </a:lnTo>
                  <a:cubicBezTo>
                    <a:pt x="2620117" y="1436290"/>
                    <a:pt x="2635865" y="1429774"/>
                    <a:pt x="2653117" y="1429774"/>
                  </a:cubicBezTo>
                  <a:close/>
                  <a:moveTo>
                    <a:pt x="2740050" y="1388757"/>
                  </a:moveTo>
                  <a:cubicBezTo>
                    <a:pt x="2734500" y="1388757"/>
                    <a:pt x="2730086" y="1396783"/>
                    <a:pt x="2745892" y="1406161"/>
                  </a:cubicBezTo>
                  <a:cubicBezTo>
                    <a:pt x="2762358" y="1396366"/>
                    <a:pt x="2756573" y="1388757"/>
                    <a:pt x="2751677" y="1388757"/>
                  </a:cubicBezTo>
                  <a:cubicBezTo>
                    <a:pt x="2749083" y="1388757"/>
                    <a:pt x="2747827" y="1390468"/>
                    <a:pt x="2745892" y="1392302"/>
                  </a:cubicBezTo>
                  <a:cubicBezTo>
                    <a:pt x="2743951" y="1390468"/>
                    <a:pt x="2742651" y="1388757"/>
                    <a:pt x="2740050" y="1388757"/>
                  </a:cubicBezTo>
                  <a:close/>
                  <a:moveTo>
                    <a:pt x="1956856" y="1383799"/>
                  </a:moveTo>
                  <a:lnTo>
                    <a:pt x="1942321" y="1428973"/>
                  </a:lnTo>
                  <a:cubicBezTo>
                    <a:pt x="1942321" y="1428973"/>
                    <a:pt x="1978335" y="1383799"/>
                    <a:pt x="1978335" y="1383799"/>
                  </a:cubicBezTo>
                  <a:close/>
                  <a:moveTo>
                    <a:pt x="1909473" y="1383799"/>
                  </a:moveTo>
                  <a:lnTo>
                    <a:pt x="1926846" y="1438128"/>
                  </a:lnTo>
                  <a:cubicBezTo>
                    <a:pt x="1926846" y="1438128"/>
                    <a:pt x="1944219" y="1383799"/>
                    <a:pt x="1944219" y="1383799"/>
                  </a:cubicBezTo>
                  <a:close/>
                  <a:moveTo>
                    <a:pt x="1875369" y="1383799"/>
                  </a:moveTo>
                  <a:cubicBezTo>
                    <a:pt x="1875369" y="1383799"/>
                    <a:pt x="1911371" y="1428973"/>
                    <a:pt x="1911371" y="1428973"/>
                  </a:cubicBezTo>
                  <a:lnTo>
                    <a:pt x="1896842" y="1383799"/>
                  </a:lnTo>
                  <a:close/>
                  <a:moveTo>
                    <a:pt x="2277455" y="1383793"/>
                  </a:moveTo>
                  <a:cubicBezTo>
                    <a:pt x="2254019" y="1383793"/>
                    <a:pt x="2234949" y="1402872"/>
                    <a:pt x="2234949" y="1426298"/>
                  </a:cubicBezTo>
                  <a:cubicBezTo>
                    <a:pt x="2234949" y="1449749"/>
                    <a:pt x="2254019" y="1468866"/>
                    <a:pt x="2277455" y="1468866"/>
                  </a:cubicBezTo>
                  <a:cubicBezTo>
                    <a:pt x="2300906" y="1468866"/>
                    <a:pt x="2319961" y="1449749"/>
                    <a:pt x="2319961" y="1426298"/>
                  </a:cubicBezTo>
                  <a:cubicBezTo>
                    <a:pt x="2319961" y="1402872"/>
                    <a:pt x="2300906" y="1383793"/>
                    <a:pt x="2277455" y="1383793"/>
                  </a:cubicBezTo>
                  <a:close/>
                  <a:moveTo>
                    <a:pt x="2740735" y="1382110"/>
                  </a:moveTo>
                  <a:cubicBezTo>
                    <a:pt x="2742454" y="1382227"/>
                    <a:pt x="2744224" y="1382708"/>
                    <a:pt x="2745892" y="1383664"/>
                  </a:cubicBezTo>
                  <a:cubicBezTo>
                    <a:pt x="2758838" y="1376236"/>
                    <a:pt x="2777879" y="1397273"/>
                    <a:pt x="2745892" y="1413682"/>
                  </a:cubicBezTo>
                  <a:cubicBezTo>
                    <a:pt x="2718205" y="1399474"/>
                    <a:pt x="2728722" y="1381306"/>
                    <a:pt x="2740735" y="1382110"/>
                  </a:cubicBezTo>
                  <a:close/>
                  <a:moveTo>
                    <a:pt x="2699849" y="1374094"/>
                  </a:moveTo>
                  <a:cubicBezTo>
                    <a:pt x="2701670" y="1374094"/>
                    <a:pt x="2703141" y="1375624"/>
                    <a:pt x="2703141" y="1377447"/>
                  </a:cubicBezTo>
                  <a:cubicBezTo>
                    <a:pt x="2703141" y="1380972"/>
                    <a:pt x="2706008" y="1383850"/>
                    <a:pt x="2709541" y="1383850"/>
                  </a:cubicBezTo>
                  <a:cubicBezTo>
                    <a:pt x="2713061" y="1383850"/>
                    <a:pt x="2715941" y="1380972"/>
                    <a:pt x="2715941" y="1377447"/>
                  </a:cubicBezTo>
                  <a:cubicBezTo>
                    <a:pt x="2715941" y="1375624"/>
                    <a:pt x="2717470" y="1374094"/>
                    <a:pt x="2719296" y="1374094"/>
                  </a:cubicBezTo>
                  <a:cubicBezTo>
                    <a:pt x="2721123" y="1374094"/>
                    <a:pt x="2722588" y="1375624"/>
                    <a:pt x="2722588" y="1377447"/>
                  </a:cubicBezTo>
                  <a:cubicBezTo>
                    <a:pt x="2722588" y="1384629"/>
                    <a:pt x="2716709" y="1390439"/>
                    <a:pt x="2709541" y="1390439"/>
                  </a:cubicBezTo>
                  <a:cubicBezTo>
                    <a:pt x="2702355" y="1390439"/>
                    <a:pt x="2696551" y="1384629"/>
                    <a:pt x="2696551" y="1377447"/>
                  </a:cubicBezTo>
                  <a:cubicBezTo>
                    <a:pt x="2696551" y="1375624"/>
                    <a:pt x="2698022" y="1374094"/>
                    <a:pt x="2699849" y="1374094"/>
                  </a:cubicBezTo>
                  <a:close/>
                  <a:moveTo>
                    <a:pt x="2277455" y="1364155"/>
                  </a:moveTo>
                  <a:cubicBezTo>
                    <a:pt x="2311734" y="1364155"/>
                    <a:pt x="2339595" y="1392042"/>
                    <a:pt x="2339595" y="1426298"/>
                  </a:cubicBezTo>
                  <a:cubicBezTo>
                    <a:pt x="2339595" y="1460578"/>
                    <a:pt x="2311734" y="1488440"/>
                    <a:pt x="2277455" y="1488440"/>
                  </a:cubicBezTo>
                  <a:cubicBezTo>
                    <a:pt x="2243207" y="1488440"/>
                    <a:pt x="2215315" y="1460578"/>
                    <a:pt x="2215315" y="1426298"/>
                  </a:cubicBezTo>
                  <a:cubicBezTo>
                    <a:pt x="2215315" y="1392042"/>
                    <a:pt x="2243207" y="1364155"/>
                    <a:pt x="2277455" y="1364155"/>
                  </a:cubicBezTo>
                  <a:close/>
                  <a:moveTo>
                    <a:pt x="325043" y="1362134"/>
                  </a:moveTo>
                  <a:cubicBezTo>
                    <a:pt x="318323" y="1362134"/>
                    <a:pt x="312672" y="1366390"/>
                    <a:pt x="312672" y="1371454"/>
                  </a:cubicBezTo>
                  <a:lnTo>
                    <a:pt x="312672" y="1379159"/>
                  </a:lnTo>
                  <a:cubicBezTo>
                    <a:pt x="312883" y="1379182"/>
                    <a:pt x="315020" y="1380707"/>
                    <a:pt x="318890" y="1380707"/>
                  </a:cubicBezTo>
                  <a:lnTo>
                    <a:pt x="540169" y="1380707"/>
                  </a:lnTo>
                  <a:cubicBezTo>
                    <a:pt x="544039" y="1380707"/>
                    <a:pt x="546112" y="1379182"/>
                    <a:pt x="546452" y="1378658"/>
                  </a:cubicBezTo>
                  <a:lnTo>
                    <a:pt x="546387" y="1371454"/>
                  </a:lnTo>
                  <a:cubicBezTo>
                    <a:pt x="546387" y="1366390"/>
                    <a:pt x="540736" y="1362134"/>
                    <a:pt x="534017" y="1362134"/>
                  </a:cubicBezTo>
                  <a:close/>
                  <a:moveTo>
                    <a:pt x="2483355" y="1358390"/>
                  </a:moveTo>
                  <a:cubicBezTo>
                    <a:pt x="2483355" y="1358390"/>
                    <a:pt x="2476809" y="1424651"/>
                    <a:pt x="2476809" y="1424651"/>
                  </a:cubicBezTo>
                  <a:lnTo>
                    <a:pt x="2564596" y="1424651"/>
                  </a:lnTo>
                  <a:lnTo>
                    <a:pt x="2558050" y="1358390"/>
                  </a:lnTo>
                  <a:lnTo>
                    <a:pt x="2545219" y="1358390"/>
                  </a:lnTo>
                  <a:lnTo>
                    <a:pt x="2545219" y="1365668"/>
                  </a:lnTo>
                  <a:cubicBezTo>
                    <a:pt x="2545219" y="1367647"/>
                    <a:pt x="2543612" y="1369261"/>
                    <a:pt x="2541623" y="1369261"/>
                  </a:cubicBezTo>
                  <a:cubicBezTo>
                    <a:pt x="2539639" y="1369261"/>
                    <a:pt x="2538027" y="1367647"/>
                    <a:pt x="2538027" y="1365668"/>
                  </a:cubicBezTo>
                  <a:lnTo>
                    <a:pt x="2538027" y="1358390"/>
                  </a:lnTo>
                  <a:lnTo>
                    <a:pt x="2503374" y="1358390"/>
                  </a:lnTo>
                  <a:lnTo>
                    <a:pt x="2503374" y="1365668"/>
                  </a:lnTo>
                  <a:cubicBezTo>
                    <a:pt x="2503374" y="1367647"/>
                    <a:pt x="2501767" y="1369261"/>
                    <a:pt x="2499773" y="1369261"/>
                  </a:cubicBezTo>
                  <a:cubicBezTo>
                    <a:pt x="2497793" y="1369261"/>
                    <a:pt x="2496186" y="1367647"/>
                    <a:pt x="2496186" y="1365668"/>
                  </a:cubicBezTo>
                  <a:lnTo>
                    <a:pt x="2496186" y="1358390"/>
                  </a:lnTo>
                  <a:close/>
                  <a:moveTo>
                    <a:pt x="2722715" y="1358185"/>
                  </a:moveTo>
                  <a:cubicBezTo>
                    <a:pt x="2728411" y="1358185"/>
                    <a:pt x="2728411" y="1366995"/>
                    <a:pt x="2722715" y="1367010"/>
                  </a:cubicBezTo>
                  <a:cubicBezTo>
                    <a:pt x="2717019" y="1367010"/>
                    <a:pt x="2717019" y="1358185"/>
                    <a:pt x="2722715" y="1358185"/>
                  </a:cubicBezTo>
                  <a:close/>
                  <a:moveTo>
                    <a:pt x="2694876" y="1358185"/>
                  </a:moveTo>
                  <a:cubicBezTo>
                    <a:pt x="2700572" y="1358185"/>
                    <a:pt x="2700572" y="1367010"/>
                    <a:pt x="2694876" y="1367010"/>
                  </a:cubicBezTo>
                  <a:cubicBezTo>
                    <a:pt x="2689181" y="1367010"/>
                    <a:pt x="2689181" y="1358185"/>
                    <a:pt x="2694876" y="1358185"/>
                  </a:cubicBezTo>
                  <a:close/>
                  <a:moveTo>
                    <a:pt x="1971385" y="1357579"/>
                  </a:moveTo>
                  <a:lnTo>
                    <a:pt x="1962223" y="1374010"/>
                  </a:lnTo>
                  <a:cubicBezTo>
                    <a:pt x="1962223" y="1374010"/>
                    <a:pt x="1980226" y="1374010"/>
                    <a:pt x="1980226" y="1374010"/>
                  </a:cubicBezTo>
                  <a:close/>
                  <a:moveTo>
                    <a:pt x="1887048" y="1357579"/>
                  </a:moveTo>
                  <a:cubicBezTo>
                    <a:pt x="1887048" y="1357579"/>
                    <a:pt x="1875054" y="1374010"/>
                    <a:pt x="1875054" y="1374010"/>
                  </a:cubicBezTo>
                  <a:lnTo>
                    <a:pt x="1893051" y="1374010"/>
                  </a:lnTo>
                  <a:close/>
                  <a:moveTo>
                    <a:pt x="1926846" y="1355050"/>
                  </a:moveTo>
                  <a:lnTo>
                    <a:pt x="1912954" y="1374010"/>
                  </a:lnTo>
                  <a:lnTo>
                    <a:pt x="1940744" y="1374010"/>
                  </a:lnTo>
                  <a:cubicBezTo>
                    <a:pt x="1940744" y="1374010"/>
                    <a:pt x="1926846" y="1355050"/>
                    <a:pt x="1926846" y="1355050"/>
                  </a:cubicBezTo>
                  <a:close/>
                  <a:moveTo>
                    <a:pt x="2277516" y="1351965"/>
                  </a:moveTo>
                  <a:cubicBezTo>
                    <a:pt x="2236545" y="1351965"/>
                    <a:pt x="2203133" y="1385344"/>
                    <a:pt x="2203133" y="1426361"/>
                  </a:cubicBezTo>
                  <a:cubicBezTo>
                    <a:pt x="2203133" y="1467404"/>
                    <a:pt x="2236500" y="1500808"/>
                    <a:pt x="2277516" y="1500808"/>
                  </a:cubicBezTo>
                  <a:cubicBezTo>
                    <a:pt x="2318562" y="1500808"/>
                    <a:pt x="2351974" y="1467404"/>
                    <a:pt x="2351974" y="1426361"/>
                  </a:cubicBezTo>
                  <a:cubicBezTo>
                    <a:pt x="2351974" y="1385344"/>
                    <a:pt x="2318562" y="1351965"/>
                    <a:pt x="2277516" y="1351965"/>
                  </a:cubicBezTo>
                  <a:close/>
                  <a:moveTo>
                    <a:pt x="1938531" y="1351265"/>
                  </a:moveTo>
                  <a:lnTo>
                    <a:pt x="1951490" y="1368952"/>
                  </a:lnTo>
                  <a:lnTo>
                    <a:pt x="1961277" y="1351265"/>
                  </a:lnTo>
                  <a:cubicBezTo>
                    <a:pt x="1961277" y="1351265"/>
                    <a:pt x="1938531" y="1351265"/>
                    <a:pt x="1938531" y="1351265"/>
                  </a:cubicBezTo>
                  <a:close/>
                  <a:moveTo>
                    <a:pt x="1897157" y="1351265"/>
                  </a:moveTo>
                  <a:lnTo>
                    <a:pt x="1903160" y="1367690"/>
                  </a:lnTo>
                  <a:lnTo>
                    <a:pt x="1915161" y="1351265"/>
                  </a:lnTo>
                  <a:cubicBezTo>
                    <a:pt x="1915161" y="1351265"/>
                    <a:pt x="1897157" y="1351265"/>
                    <a:pt x="1897157" y="1351265"/>
                  </a:cubicBezTo>
                  <a:close/>
                  <a:moveTo>
                    <a:pt x="240322" y="1348240"/>
                  </a:moveTo>
                  <a:cubicBezTo>
                    <a:pt x="240322" y="1348240"/>
                    <a:pt x="239887" y="1350791"/>
                    <a:pt x="239514" y="1354269"/>
                  </a:cubicBezTo>
                  <a:cubicBezTo>
                    <a:pt x="239355" y="1356012"/>
                    <a:pt x="239260" y="1357998"/>
                    <a:pt x="239328" y="1360050"/>
                  </a:cubicBezTo>
                  <a:cubicBezTo>
                    <a:pt x="239393" y="1361069"/>
                    <a:pt x="239552" y="1362069"/>
                    <a:pt x="239701" y="1363092"/>
                  </a:cubicBezTo>
                  <a:cubicBezTo>
                    <a:pt x="239817" y="1363584"/>
                    <a:pt x="239917" y="1364149"/>
                    <a:pt x="240011" y="1364648"/>
                  </a:cubicBezTo>
                  <a:cubicBezTo>
                    <a:pt x="240163" y="1365136"/>
                    <a:pt x="240311" y="1365587"/>
                    <a:pt x="240446" y="1366078"/>
                  </a:cubicBezTo>
                  <a:lnTo>
                    <a:pt x="241005" y="1367508"/>
                  </a:lnTo>
                  <a:lnTo>
                    <a:pt x="241068" y="1367695"/>
                  </a:lnTo>
                  <a:lnTo>
                    <a:pt x="241130" y="1367756"/>
                  </a:lnTo>
                  <a:lnTo>
                    <a:pt x="241316" y="1368191"/>
                  </a:lnTo>
                  <a:lnTo>
                    <a:pt x="241751" y="1368934"/>
                  </a:lnTo>
                  <a:cubicBezTo>
                    <a:pt x="242273" y="1369946"/>
                    <a:pt x="242737" y="1370689"/>
                    <a:pt x="243367" y="1371546"/>
                  </a:cubicBezTo>
                  <a:cubicBezTo>
                    <a:pt x="243950" y="1372347"/>
                    <a:pt x="244509" y="1373179"/>
                    <a:pt x="245169" y="1373846"/>
                  </a:cubicBezTo>
                  <a:cubicBezTo>
                    <a:pt x="245833" y="1374504"/>
                    <a:pt x="246487" y="1375125"/>
                    <a:pt x="247157" y="1375649"/>
                  </a:cubicBezTo>
                  <a:cubicBezTo>
                    <a:pt x="249791" y="1377778"/>
                    <a:pt x="252193" y="1378753"/>
                    <a:pt x="252193" y="1378753"/>
                  </a:cubicBezTo>
                  <a:cubicBezTo>
                    <a:pt x="252193" y="1378753"/>
                    <a:pt x="251574" y="1378911"/>
                    <a:pt x="250450" y="1378940"/>
                  </a:cubicBezTo>
                  <a:cubicBezTo>
                    <a:pt x="249329" y="1378964"/>
                    <a:pt x="247651" y="1378757"/>
                    <a:pt x="245790" y="1378070"/>
                  </a:cubicBezTo>
                  <a:cubicBezTo>
                    <a:pt x="244874" y="1377713"/>
                    <a:pt x="243896" y="1377355"/>
                    <a:pt x="242932" y="1376705"/>
                  </a:cubicBezTo>
                  <a:cubicBezTo>
                    <a:pt x="241983" y="1376076"/>
                    <a:pt x="240951" y="1375316"/>
                    <a:pt x="240073" y="1374406"/>
                  </a:cubicBezTo>
                  <a:cubicBezTo>
                    <a:pt x="239214" y="1373557"/>
                    <a:pt x="238247" y="1372375"/>
                    <a:pt x="237526" y="1371359"/>
                  </a:cubicBezTo>
                  <a:lnTo>
                    <a:pt x="237091" y="1370612"/>
                  </a:lnTo>
                  <a:lnTo>
                    <a:pt x="236842" y="1370242"/>
                  </a:lnTo>
                  <a:lnTo>
                    <a:pt x="236780" y="1370116"/>
                  </a:lnTo>
                  <a:lnTo>
                    <a:pt x="236656" y="1369929"/>
                  </a:lnTo>
                  <a:lnTo>
                    <a:pt x="236532" y="1369743"/>
                  </a:lnTo>
                  <a:cubicBezTo>
                    <a:pt x="236224" y="1369109"/>
                    <a:pt x="235975" y="1368459"/>
                    <a:pt x="235724" y="1367817"/>
                  </a:cubicBezTo>
                  <a:cubicBezTo>
                    <a:pt x="235240" y="1366505"/>
                    <a:pt x="234908" y="1365119"/>
                    <a:pt x="234730" y="1363779"/>
                  </a:cubicBezTo>
                  <a:cubicBezTo>
                    <a:pt x="234703" y="1363100"/>
                    <a:pt x="234678" y="1362450"/>
                    <a:pt x="234668" y="1361788"/>
                  </a:cubicBezTo>
                  <a:cubicBezTo>
                    <a:pt x="234722" y="1361138"/>
                    <a:pt x="234749" y="1360480"/>
                    <a:pt x="234792" y="1359863"/>
                  </a:cubicBezTo>
                  <a:cubicBezTo>
                    <a:pt x="234884" y="1359233"/>
                    <a:pt x="234954" y="1358652"/>
                    <a:pt x="235040" y="1358059"/>
                  </a:cubicBezTo>
                  <a:cubicBezTo>
                    <a:pt x="235194" y="1357490"/>
                    <a:pt x="235392" y="1356926"/>
                    <a:pt x="235538" y="1356381"/>
                  </a:cubicBezTo>
                  <a:cubicBezTo>
                    <a:pt x="235859" y="1355305"/>
                    <a:pt x="236224" y="1354330"/>
                    <a:pt x="236656" y="1353460"/>
                  </a:cubicBezTo>
                  <a:cubicBezTo>
                    <a:pt x="238315" y="1349959"/>
                    <a:pt x="240322" y="1348240"/>
                    <a:pt x="240322" y="1348240"/>
                  </a:cubicBezTo>
                  <a:close/>
                  <a:moveTo>
                    <a:pt x="1884841" y="1338319"/>
                  </a:moveTo>
                  <a:lnTo>
                    <a:pt x="1972016" y="1338319"/>
                  </a:lnTo>
                  <a:cubicBezTo>
                    <a:pt x="1972441" y="1338319"/>
                    <a:pt x="1973592" y="1339368"/>
                    <a:pt x="1975490" y="1341471"/>
                  </a:cubicBezTo>
                  <a:lnTo>
                    <a:pt x="1995708" y="1374638"/>
                  </a:lnTo>
                  <a:cubicBezTo>
                    <a:pt x="1995914" y="1374846"/>
                    <a:pt x="1996126" y="1375266"/>
                    <a:pt x="1996338" y="1375900"/>
                  </a:cubicBezTo>
                  <a:lnTo>
                    <a:pt x="1996338" y="1377484"/>
                  </a:lnTo>
                  <a:cubicBezTo>
                    <a:pt x="1996338" y="1377899"/>
                    <a:pt x="1996235" y="1378320"/>
                    <a:pt x="1996023" y="1378740"/>
                  </a:cubicBezTo>
                  <a:cubicBezTo>
                    <a:pt x="1995804" y="1379374"/>
                    <a:pt x="1995605" y="1379795"/>
                    <a:pt x="1995392" y="1380008"/>
                  </a:cubicBezTo>
                  <a:lnTo>
                    <a:pt x="1931588" y="1460557"/>
                  </a:lnTo>
                  <a:cubicBezTo>
                    <a:pt x="1931376" y="1460977"/>
                    <a:pt x="1931067" y="1461398"/>
                    <a:pt x="1930642" y="1461818"/>
                  </a:cubicBezTo>
                  <a:lnTo>
                    <a:pt x="1930320" y="1461818"/>
                  </a:lnTo>
                  <a:lnTo>
                    <a:pt x="1929059" y="1462446"/>
                  </a:lnTo>
                  <a:lnTo>
                    <a:pt x="1928744" y="1462763"/>
                  </a:lnTo>
                  <a:lnTo>
                    <a:pt x="1925276" y="1462763"/>
                  </a:lnTo>
                  <a:lnTo>
                    <a:pt x="1924954" y="1462446"/>
                  </a:lnTo>
                  <a:cubicBezTo>
                    <a:pt x="1924323" y="1462239"/>
                    <a:pt x="1923796" y="1462031"/>
                    <a:pt x="1923371" y="1461818"/>
                  </a:cubicBezTo>
                  <a:lnTo>
                    <a:pt x="1923056" y="1461818"/>
                  </a:lnTo>
                  <a:lnTo>
                    <a:pt x="1921795" y="1460557"/>
                  </a:lnTo>
                  <a:lnTo>
                    <a:pt x="1921795" y="1460240"/>
                  </a:lnTo>
                  <a:lnTo>
                    <a:pt x="1858305" y="1380008"/>
                  </a:lnTo>
                  <a:lnTo>
                    <a:pt x="1857681" y="1378740"/>
                  </a:lnTo>
                  <a:lnTo>
                    <a:pt x="1857681" y="1378435"/>
                  </a:lnTo>
                  <a:cubicBezTo>
                    <a:pt x="1857469" y="1378009"/>
                    <a:pt x="1857353" y="1377588"/>
                    <a:pt x="1857353" y="1377168"/>
                  </a:cubicBezTo>
                  <a:cubicBezTo>
                    <a:pt x="1857353" y="1376540"/>
                    <a:pt x="1857469" y="1375900"/>
                    <a:pt x="1857681" y="1375266"/>
                  </a:cubicBezTo>
                  <a:lnTo>
                    <a:pt x="1857681" y="1374955"/>
                  </a:lnTo>
                  <a:cubicBezTo>
                    <a:pt x="1857887" y="1374535"/>
                    <a:pt x="1858099" y="1374218"/>
                    <a:pt x="1858305" y="1374010"/>
                  </a:cubicBezTo>
                  <a:lnTo>
                    <a:pt x="1858305" y="1373693"/>
                  </a:lnTo>
                  <a:lnTo>
                    <a:pt x="1858620" y="1373382"/>
                  </a:lnTo>
                  <a:close/>
                  <a:moveTo>
                    <a:pt x="2277516" y="1332327"/>
                  </a:moveTo>
                  <a:cubicBezTo>
                    <a:pt x="2329390" y="1332327"/>
                    <a:pt x="2371547" y="1374514"/>
                    <a:pt x="2371547" y="1426361"/>
                  </a:cubicBezTo>
                  <a:cubicBezTo>
                    <a:pt x="2371547" y="1478234"/>
                    <a:pt x="2329390" y="1520446"/>
                    <a:pt x="2277516" y="1520446"/>
                  </a:cubicBezTo>
                  <a:cubicBezTo>
                    <a:pt x="2225672" y="1520446"/>
                    <a:pt x="2183500" y="1478234"/>
                    <a:pt x="2183500" y="1426361"/>
                  </a:cubicBezTo>
                  <a:cubicBezTo>
                    <a:pt x="2183500" y="1374514"/>
                    <a:pt x="2225672" y="1332327"/>
                    <a:pt x="2277516" y="1332327"/>
                  </a:cubicBezTo>
                  <a:close/>
                  <a:moveTo>
                    <a:pt x="356358" y="1332238"/>
                  </a:moveTo>
                  <a:cubicBezTo>
                    <a:pt x="356358" y="1332238"/>
                    <a:pt x="356358" y="1349764"/>
                    <a:pt x="356358" y="1349764"/>
                  </a:cubicBezTo>
                  <a:lnTo>
                    <a:pt x="498848" y="1349764"/>
                  </a:lnTo>
                  <a:lnTo>
                    <a:pt x="498848" y="1332238"/>
                  </a:lnTo>
                  <a:close/>
                  <a:moveTo>
                    <a:pt x="249767" y="1321022"/>
                  </a:moveTo>
                  <a:cubicBezTo>
                    <a:pt x="240287" y="1332929"/>
                    <a:pt x="230315" y="1352538"/>
                    <a:pt x="230315" y="1363031"/>
                  </a:cubicBezTo>
                  <a:cubicBezTo>
                    <a:pt x="230315" y="1374914"/>
                    <a:pt x="239984" y="1384595"/>
                    <a:pt x="251879" y="1384595"/>
                  </a:cubicBezTo>
                  <a:cubicBezTo>
                    <a:pt x="263766" y="1384595"/>
                    <a:pt x="273446" y="1374914"/>
                    <a:pt x="273446" y="1363031"/>
                  </a:cubicBezTo>
                  <a:cubicBezTo>
                    <a:pt x="273446" y="1357576"/>
                    <a:pt x="268294" y="1350523"/>
                    <a:pt x="262818" y="1343020"/>
                  </a:cubicBezTo>
                  <a:cubicBezTo>
                    <a:pt x="257877" y="1336293"/>
                    <a:pt x="252474" y="1328863"/>
                    <a:pt x="249767" y="1321022"/>
                  </a:cubicBezTo>
                  <a:close/>
                  <a:moveTo>
                    <a:pt x="2520703" y="1319658"/>
                  </a:moveTo>
                  <a:cubicBezTo>
                    <a:pt x="2511149" y="1319658"/>
                    <a:pt x="2503374" y="1327431"/>
                    <a:pt x="2503374" y="1336984"/>
                  </a:cubicBezTo>
                  <a:cubicBezTo>
                    <a:pt x="2503374" y="1336984"/>
                    <a:pt x="2503374" y="1351199"/>
                    <a:pt x="2503374" y="1351199"/>
                  </a:cubicBezTo>
                  <a:lnTo>
                    <a:pt x="2538027" y="1351199"/>
                  </a:lnTo>
                  <a:lnTo>
                    <a:pt x="2538027" y="1336984"/>
                  </a:lnTo>
                  <a:cubicBezTo>
                    <a:pt x="2538027" y="1327431"/>
                    <a:pt x="2530256" y="1319658"/>
                    <a:pt x="2520703" y="1319658"/>
                  </a:cubicBezTo>
                  <a:close/>
                  <a:moveTo>
                    <a:pt x="2520703" y="1312467"/>
                  </a:moveTo>
                  <a:cubicBezTo>
                    <a:pt x="2534220" y="1312467"/>
                    <a:pt x="2545219" y="1323461"/>
                    <a:pt x="2545219" y="1336984"/>
                  </a:cubicBezTo>
                  <a:lnTo>
                    <a:pt x="2545219" y="1351199"/>
                  </a:lnTo>
                  <a:lnTo>
                    <a:pt x="2561309" y="1351199"/>
                  </a:lnTo>
                  <a:cubicBezTo>
                    <a:pt x="2563156" y="1351199"/>
                    <a:pt x="2564699" y="1352603"/>
                    <a:pt x="2564885" y="1354439"/>
                  </a:cubicBezTo>
                  <a:lnTo>
                    <a:pt x="2573488" y="1441574"/>
                  </a:lnTo>
                  <a:cubicBezTo>
                    <a:pt x="2573557" y="1441852"/>
                    <a:pt x="2573591" y="1442143"/>
                    <a:pt x="2573591" y="1442440"/>
                  </a:cubicBezTo>
                  <a:cubicBezTo>
                    <a:pt x="2573591" y="1444418"/>
                    <a:pt x="2571979" y="1446026"/>
                    <a:pt x="2569990" y="1446026"/>
                  </a:cubicBezTo>
                  <a:lnTo>
                    <a:pt x="2471449" y="1446026"/>
                  </a:lnTo>
                  <a:cubicBezTo>
                    <a:pt x="2470425" y="1446026"/>
                    <a:pt x="2469460" y="1445606"/>
                    <a:pt x="2468779" y="1444845"/>
                  </a:cubicBezTo>
                  <a:cubicBezTo>
                    <a:pt x="2468093" y="1444097"/>
                    <a:pt x="2467765" y="1443083"/>
                    <a:pt x="2467868" y="1442081"/>
                  </a:cubicBezTo>
                  <a:lnTo>
                    <a:pt x="2476515" y="1354439"/>
                  </a:lnTo>
                  <a:cubicBezTo>
                    <a:pt x="2476701" y="1352603"/>
                    <a:pt x="2478250" y="1351199"/>
                    <a:pt x="2480092" y="1351199"/>
                  </a:cubicBezTo>
                  <a:lnTo>
                    <a:pt x="2496186" y="1351199"/>
                  </a:lnTo>
                  <a:lnTo>
                    <a:pt x="2496186" y="1336984"/>
                  </a:lnTo>
                  <a:cubicBezTo>
                    <a:pt x="2496186" y="1323461"/>
                    <a:pt x="2507176" y="1312467"/>
                    <a:pt x="2520703" y="1312467"/>
                  </a:cubicBezTo>
                  <a:close/>
                  <a:moveTo>
                    <a:pt x="2709294" y="1308469"/>
                  </a:moveTo>
                  <a:cubicBezTo>
                    <a:pt x="2711704" y="1308469"/>
                    <a:pt x="2714076" y="1308714"/>
                    <a:pt x="2716442" y="1309028"/>
                  </a:cubicBezTo>
                  <a:cubicBezTo>
                    <a:pt x="2716670" y="1309038"/>
                    <a:pt x="2716950" y="1309003"/>
                    <a:pt x="2717184" y="1309028"/>
                  </a:cubicBezTo>
                  <a:cubicBezTo>
                    <a:pt x="2717571" y="1309053"/>
                    <a:pt x="2717920" y="1309165"/>
                    <a:pt x="2718244" y="1309278"/>
                  </a:cubicBezTo>
                  <a:cubicBezTo>
                    <a:pt x="2737317" y="1312474"/>
                    <a:pt x="2753630" y="1325662"/>
                    <a:pt x="2760189" y="1343767"/>
                  </a:cubicBezTo>
                  <a:cubicBezTo>
                    <a:pt x="2769849" y="1343885"/>
                    <a:pt x="2777702" y="1351724"/>
                    <a:pt x="2777714" y="1361416"/>
                  </a:cubicBezTo>
                  <a:cubicBezTo>
                    <a:pt x="2777714" y="1370040"/>
                    <a:pt x="2771511" y="1377241"/>
                    <a:pt x="2763354" y="1378815"/>
                  </a:cubicBezTo>
                  <a:cubicBezTo>
                    <a:pt x="2761413" y="1377771"/>
                    <a:pt x="2759187" y="1377138"/>
                    <a:pt x="2756834" y="1377138"/>
                  </a:cubicBezTo>
                  <a:cubicBezTo>
                    <a:pt x="2755749" y="1377138"/>
                    <a:pt x="2754728" y="1377286"/>
                    <a:pt x="2753726" y="1377511"/>
                  </a:cubicBezTo>
                  <a:cubicBezTo>
                    <a:pt x="2754068" y="1376589"/>
                    <a:pt x="2754423" y="1375682"/>
                    <a:pt x="2754721" y="1374717"/>
                  </a:cubicBezTo>
                  <a:lnTo>
                    <a:pt x="2755527" y="1371981"/>
                  </a:lnTo>
                  <a:lnTo>
                    <a:pt x="2758388" y="1372354"/>
                  </a:lnTo>
                  <a:cubicBezTo>
                    <a:pt x="2759009" y="1372442"/>
                    <a:pt x="2759523" y="1372476"/>
                    <a:pt x="2759999" y="1372476"/>
                  </a:cubicBezTo>
                  <a:cubicBezTo>
                    <a:pt x="2766100" y="1372476"/>
                    <a:pt x="2771061" y="1367520"/>
                    <a:pt x="2771061" y="1361416"/>
                  </a:cubicBezTo>
                  <a:cubicBezTo>
                    <a:pt x="2771061" y="1355303"/>
                    <a:pt x="2766100" y="1350356"/>
                    <a:pt x="2759999" y="1350356"/>
                  </a:cubicBezTo>
                  <a:cubicBezTo>
                    <a:pt x="2759523" y="1350356"/>
                    <a:pt x="2758958" y="1350381"/>
                    <a:pt x="2758324" y="1350479"/>
                  </a:cubicBezTo>
                  <a:lnTo>
                    <a:pt x="2755527" y="1350915"/>
                  </a:lnTo>
                  <a:lnTo>
                    <a:pt x="2754721" y="1348179"/>
                  </a:lnTo>
                  <a:cubicBezTo>
                    <a:pt x="2749431" y="1330820"/>
                    <a:pt x="2734012" y="1318181"/>
                    <a:pt x="2716004" y="1315617"/>
                  </a:cubicBezTo>
                  <a:cubicBezTo>
                    <a:pt x="2711558" y="1315455"/>
                    <a:pt x="2706915" y="1315759"/>
                    <a:pt x="2702704" y="1317230"/>
                  </a:cubicBezTo>
                  <a:cubicBezTo>
                    <a:pt x="2698815" y="1318598"/>
                    <a:pt x="2692561" y="1323539"/>
                    <a:pt x="2697426" y="1327922"/>
                  </a:cubicBezTo>
                  <a:cubicBezTo>
                    <a:pt x="2701289" y="1331383"/>
                    <a:pt x="2708571" y="1332585"/>
                    <a:pt x="2713518" y="1331153"/>
                  </a:cubicBezTo>
                  <a:cubicBezTo>
                    <a:pt x="2716169" y="1330393"/>
                    <a:pt x="2719614" y="1328010"/>
                    <a:pt x="2715821" y="1325932"/>
                  </a:cubicBezTo>
                  <a:cubicBezTo>
                    <a:pt x="2713061" y="1324407"/>
                    <a:pt x="2710429" y="1324481"/>
                    <a:pt x="2707549" y="1325623"/>
                  </a:cubicBezTo>
                  <a:cubicBezTo>
                    <a:pt x="2703579" y="1327192"/>
                    <a:pt x="2701885" y="1320779"/>
                    <a:pt x="2705812" y="1319220"/>
                  </a:cubicBezTo>
                  <a:cubicBezTo>
                    <a:pt x="2710651" y="1317303"/>
                    <a:pt x="2716575" y="1317813"/>
                    <a:pt x="2720667" y="1321270"/>
                  </a:cubicBezTo>
                  <a:cubicBezTo>
                    <a:pt x="2723578" y="1323750"/>
                    <a:pt x="2725741" y="1328280"/>
                    <a:pt x="2723337" y="1331898"/>
                  </a:cubicBezTo>
                  <a:cubicBezTo>
                    <a:pt x="2717990" y="1339904"/>
                    <a:pt x="2705317" y="1339443"/>
                    <a:pt x="2697483" y="1335752"/>
                  </a:cubicBezTo>
                  <a:cubicBezTo>
                    <a:pt x="2691204" y="1332795"/>
                    <a:pt x="2687443" y="1325241"/>
                    <a:pt x="2690214" y="1319098"/>
                  </a:cubicBezTo>
                  <a:cubicBezTo>
                    <a:pt x="2677776" y="1324490"/>
                    <a:pt x="2667894" y="1334972"/>
                    <a:pt x="2663866" y="1348179"/>
                  </a:cubicBezTo>
                  <a:lnTo>
                    <a:pt x="2662997" y="1350915"/>
                  </a:lnTo>
                  <a:lnTo>
                    <a:pt x="2660200" y="1350479"/>
                  </a:lnTo>
                  <a:cubicBezTo>
                    <a:pt x="2659559" y="1350395"/>
                    <a:pt x="2659071" y="1350356"/>
                    <a:pt x="2658583" y="1350356"/>
                  </a:cubicBezTo>
                  <a:cubicBezTo>
                    <a:pt x="2652481" y="1350356"/>
                    <a:pt x="2647463" y="1355313"/>
                    <a:pt x="2647463" y="1361416"/>
                  </a:cubicBezTo>
                  <a:cubicBezTo>
                    <a:pt x="2647463" y="1367530"/>
                    <a:pt x="2652481" y="1372476"/>
                    <a:pt x="2658583" y="1372476"/>
                  </a:cubicBezTo>
                  <a:cubicBezTo>
                    <a:pt x="2659071" y="1372476"/>
                    <a:pt x="2659572" y="1372452"/>
                    <a:pt x="2660200" y="1372354"/>
                  </a:cubicBezTo>
                  <a:lnTo>
                    <a:pt x="2662997" y="1371917"/>
                  </a:lnTo>
                  <a:lnTo>
                    <a:pt x="2663866" y="1374717"/>
                  </a:lnTo>
                  <a:cubicBezTo>
                    <a:pt x="2669803" y="1394194"/>
                    <a:pt x="2688470" y="1407774"/>
                    <a:pt x="2709294" y="1407774"/>
                  </a:cubicBezTo>
                  <a:cubicBezTo>
                    <a:pt x="2716353" y="1407774"/>
                    <a:pt x="2723153" y="1406137"/>
                    <a:pt x="2729305" y="1403303"/>
                  </a:cubicBezTo>
                  <a:cubicBezTo>
                    <a:pt x="2730809" y="1405088"/>
                    <a:pt x="2732477" y="1406759"/>
                    <a:pt x="2734215" y="1408274"/>
                  </a:cubicBezTo>
                  <a:cubicBezTo>
                    <a:pt x="2726648" y="1412167"/>
                    <a:pt x="2718161" y="1414363"/>
                    <a:pt x="2709294" y="1414363"/>
                  </a:cubicBezTo>
                  <a:cubicBezTo>
                    <a:pt x="2686497" y="1414363"/>
                    <a:pt x="2665902" y="1400009"/>
                    <a:pt x="2658335" y="1379129"/>
                  </a:cubicBezTo>
                  <a:cubicBezTo>
                    <a:pt x="2648662" y="1379011"/>
                    <a:pt x="2640873" y="1371103"/>
                    <a:pt x="2640873" y="1361416"/>
                  </a:cubicBezTo>
                  <a:cubicBezTo>
                    <a:pt x="2640873" y="1351724"/>
                    <a:pt x="2648662" y="1343885"/>
                    <a:pt x="2658335" y="1343767"/>
                  </a:cubicBezTo>
                  <a:cubicBezTo>
                    <a:pt x="2665896" y="1322887"/>
                    <a:pt x="2686497" y="1308469"/>
                    <a:pt x="2709294" y="1308469"/>
                  </a:cubicBezTo>
                  <a:close/>
                  <a:moveTo>
                    <a:pt x="2378877" y="1308469"/>
                  </a:moveTo>
                  <a:lnTo>
                    <a:pt x="2394785" y="1308469"/>
                  </a:lnTo>
                  <a:cubicBezTo>
                    <a:pt x="2412244" y="1308469"/>
                    <a:pt x="2426478" y="1322705"/>
                    <a:pt x="2426478" y="1340157"/>
                  </a:cubicBezTo>
                  <a:lnTo>
                    <a:pt x="2426478" y="1511612"/>
                  </a:lnTo>
                  <a:cubicBezTo>
                    <a:pt x="2426478" y="1529077"/>
                    <a:pt x="2412244" y="1543249"/>
                    <a:pt x="2394785" y="1543249"/>
                  </a:cubicBezTo>
                  <a:lnTo>
                    <a:pt x="2324569" y="1543249"/>
                  </a:lnTo>
                  <a:cubicBezTo>
                    <a:pt x="2319125" y="1543249"/>
                    <a:pt x="2314745" y="1538864"/>
                    <a:pt x="2314745" y="1533436"/>
                  </a:cubicBezTo>
                  <a:cubicBezTo>
                    <a:pt x="2314745" y="1528034"/>
                    <a:pt x="2319125" y="1523611"/>
                    <a:pt x="2324569" y="1523611"/>
                  </a:cubicBezTo>
                  <a:lnTo>
                    <a:pt x="2394785" y="1523611"/>
                  </a:lnTo>
                  <a:cubicBezTo>
                    <a:pt x="2401415" y="1523611"/>
                    <a:pt x="2406845" y="1518247"/>
                    <a:pt x="2406845" y="1511612"/>
                  </a:cubicBezTo>
                  <a:lnTo>
                    <a:pt x="2406845" y="1340157"/>
                  </a:lnTo>
                  <a:cubicBezTo>
                    <a:pt x="2406845" y="1333535"/>
                    <a:pt x="2401415" y="1328107"/>
                    <a:pt x="2394785" y="1328107"/>
                  </a:cubicBezTo>
                  <a:lnTo>
                    <a:pt x="2378877" y="1328107"/>
                  </a:lnTo>
                  <a:cubicBezTo>
                    <a:pt x="2373448" y="1328107"/>
                    <a:pt x="2369053" y="1323747"/>
                    <a:pt x="2369053" y="1318345"/>
                  </a:cubicBezTo>
                  <a:cubicBezTo>
                    <a:pt x="2369053" y="1312918"/>
                    <a:pt x="2373448" y="1308469"/>
                    <a:pt x="2378877" y="1308469"/>
                  </a:cubicBezTo>
                  <a:close/>
                  <a:moveTo>
                    <a:pt x="2129618" y="1308469"/>
                  </a:moveTo>
                  <a:lnTo>
                    <a:pt x="2204806" y="1308469"/>
                  </a:lnTo>
                  <a:cubicBezTo>
                    <a:pt x="2210205" y="1308469"/>
                    <a:pt x="2214570" y="1312892"/>
                    <a:pt x="2214570" y="1318282"/>
                  </a:cubicBezTo>
                  <a:cubicBezTo>
                    <a:pt x="2214570" y="1323684"/>
                    <a:pt x="2210205" y="1328107"/>
                    <a:pt x="2204806" y="1328107"/>
                  </a:cubicBezTo>
                  <a:lnTo>
                    <a:pt x="2129618" y="1328107"/>
                  </a:lnTo>
                  <a:cubicBezTo>
                    <a:pt x="2122987" y="1328107"/>
                    <a:pt x="2117619" y="1333496"/>
                    <a:pt x="2117619" y="1340106"/>
                  </a:cubicBezTo>
                  <a:lnTo>
                    <a:pt x="2117619" y="1511561"/>
                  </a:lnTo>
                  <a:cubicBezTo>
                    <a:pt x="2117619" y="1518184"/>
                    <a:pt x="2122987" y="1523611"/>
                    <a:pt x="2129618" y="1523611"/>
                  </a:cubicBezTo>
                  <a:lnTo>
                    <a:pt x="2145586" y="1523611"/>
                  </a:lnTo>
                  <a:cubicBezTo>
                    <a:pt x="2151016" y="1523611"/>
                    <a:pt x="2155411" y="1527996"/>
                    <a:pt x="2155411" y="1533436"/>
                  </a:cubicBezTo>
                  <a:cubicBezTo>
                    <a:pt x="2155411" y="1538864"/>
                    <a:pt x="2151016" y="1543249"/>
                    <a:pt x="2145586" y="1543249"/>
                  </a:cubicBezTo>
                  <a:lnTo>
                    <a:pt x="2129618" y="1543249"/>
                  </a:lnTo>
                  <a:cubicBezTo>
                    <a:pt x="2112159" y="1543249"/>
                    <a:pt x="2097985" y="1529013"/>
                    <a:pt x="2097985" y="1511561"/>
                  </a:cubicBezTo>
                  <a:lnTo>
                    <a:pt x="2097985" y="1340157"/>
                  </a:lnTo>
                  <a:cubicBezTo>
                    <a:pt x="2097985" y="1322680"/>
                    <a:pt x="2112159" y="1308469"/>
                    <a:pt x="2129618" y="1308469"/>
                  </a:cubicBezTo>
                  <a:close/>
                  <a:moveTo>
                    <a:pt x="255113" y="1304492"/>
                  </a:moveTo>
                  <a:lnTo>
                    <a:pt x="255672" y="1312694"/>
                  </a:lnTo>
                  <a:cubicBezTo>
                    <a:pt x="256294" y="1321250"/>
                    <a:pt x="262748" y="1330032"/>
                    <a:pt x="268969" y="1338547"/>
                  </a:cubicBezTo>
                  <a:cubicBezTo>
                    <a:pt x="275194" y="1347058"/>
                    <a:pt x="281089" y="1355081"/>
                    <a:pt x="281089" y="1363031"/>
                  </a:cubicBezTo>
                  <a:cubicBezTo>
                    <a:pt x="281089" y="1379119"/>
                    <a:pt x="267967" y="1392240"/>
                    <a:pt x="251879" y="1392240"/>
                  </a:cubicBezTo>
                  <a:cubicBezTo>
                    <a:pt x="235794" y="1392240"/>
                    <a:pt x="222735" y="1379119"/>
                    <a:pt x="222735" y="1363031"/>
                  </a:cubicBezTo>
                  <a:cubicBezTo>
                    <a:pt x="222735" y="1347334"/>
                    <a:pt x="238598" y="1320583"/>
                    <a:pt x="249270" y="1310208"/>
                  </a:cubicBezTo>
                  <a:close/>
                  <a:moveTo>
                    <a:pt x="1967053" y="1291895"/>
                  </a:moveTo>
                  <a:lnTo>
                    <a:pt x="2004827" y="1291895"/>
                  </a:lnTo>
                  <a:cubicBezTo>
                    <a:pt x="2008313" y="1291895"/>
                    <a:pt x="2011123" y="1294712"/>
                    <a:pt x="2011123" y="1298192"/>
                  </a:cubicBezTo>
                  <a:cubicBezTo>
                    <a:pt x="2011123" y="1301671"/>
                    <a:pt x="2008313" y="1304488"/>
                    <a:pt x="2004827" y="1304488"/>
                  </a:cubicBezTo>
                  <a:cubicBezTo>
                    <a:pt x="2004827" y="1311447"/>
                    <a:pt x="1999200" y="1317081"/>
                    <a:pt x="1992233" y="1317081"/>
                  </a:cubicBezTo>
                  <a:lnTo>
                    <a:pt x="1979646" y="1317081"/>
                  </a:lnTo>
                  <a:cubicBezTo>
                    <a:pt x="1972679" y="1317081"/>
                    <a:pt x="1967053" y="1311447"/>
                    <a:pt x="1967053" y="1304488"/>
                  </a:cubicBezTo>
                  <a:cubicBezTo>
                    <a:pt x="1963567" y="1304488"/>
                    <a:pt x="1960751" y="1301671"/>
                    <a:pt x="1960751" y="1298192"/>
                  </a:cubicBezTo>
                  <a:cubicBezTo>
                    <a:pt x="1960751" y="1294712"/>
                    <a:pt x="1963567" y="1291895"/>
                    <a:pt x="1967053" y="1291895"/>
                  </a:cubicBezTo>
                  <a:close/>
                  <a:moveTo>
                    <a:pt x="1967053" y="1273006"/>
                  </a:moveTo>
                  <a:lnTo>
                    <a:pt x="2004827" y="1273006"/>
                  </a:lnTo>
                  <a:cubicBezTo>
                    <a:pt x="2008313" y="1273006"/>
                    <a:pt x="2011123" y="1275823"/>
                    <a:pt x="2011123" y="1279293"/>
                  </a:cubicBezTo>
                  <a:cubicBezTo>
                    <a:pt x="2011123" y="1282782"/>
                    <a:pt x="2008313" y="1285599"/>
                    <a:pt x="2004827" y="1285599"/>
                  </a:cubicBezTo>
                  <a:lnTo>
                    <a:pt x="1967053" y="1285599"/>
                  </a:lnTo>
                  <a:cubicBezTo>
                    <a:pt x="1963567" y="1285599"/>
                    <a:pt x="1960751" y="1282782"/>
                    <a:pt x="1960751" y="1279293"/>
                  </a:cubicBezTo>
                  <a:cubicBezTo>
                    <a:pt x="1960751" y="1275823"/>
                    <a:pt x="1963567" y="1273006"/>
                    <a:pt x="1967053" y="1273006"/>
                  </a:cubicBezTo>
                  <a:close/>
                  <a:moveTo>
                    <a:pt x="2151487" y="1268697"/>
                  </a:moveTo>
                  <a:lnTo>
                    <a:pt x="2167334" y="1268697"/>
                  </a:lnTo>
                  <a:cubicBezTo>
                    <a:pt x="2179272" y="1268697"/>
                    <a:pt x="2188960" y="1278459"/>
                    <a:pt x="2188960" y="1290382"/>
                  </a:cubicBezTo>
                  <a:lnTo>
                    <a:pt x="2188960" y="1292504"/>
                  </a:lnTo>
                  <a:cubicBezTo>
                    <a:pt x="2188960" y="1297932"/>
                    <a:pt x="2184534" y="1302253"/>
                    <a:pt x="2179150" y="1302253"/>
                  </a:cubicBezTo>
                  <a:cubicBezTo>
                    <a:pt x="2173752" y="1302253"/>
                    <a:pt x="2169326" y="1297932"/>
                    <a:pt x="2169326" y="1292504"/>
                  </a:cubicBezTo>
                  <a:lnTo>
                    <a:pt x="2169326" y="1290382"/>
                  </a:lnTo>
                  <a:cubicBezTo>
                    <a:pt x="2169326" y="1289263"/>
                    <a:pt x="2168414" y="1288335"/>
                    <a:pt x="2167273" y="1288335"/>
                  </a:cubicBezTo>
                  <a:lnTo>
                    <a:pt x="2151487" y="1288335"/>
                  </a:lnTo>
                  <a:cubicBezTo>
                    <a:pt x="2150346" y="1288335"/>
                    <a:pt x="2149434" y="1289263"/>
                    <a:pt x="2149434" y="1290382"/>
                  </a:cubicBezTo>
                  <a:lnTo>
                    <a:pt x="2149434" y="1292504"/>
                  </a:lnTo>
                  <a:cubicBezTo>
                    <a:pt x="2149434" y="1297932"/>
                    <a:pt x="2145054" y="1302253"/>
                    <a:pt x="2139625" y="1302253"/>
                  </a:cubicBezTo>
                  <a:cubicBezTo>
                    <a:pt x="2134226" y="1302253"/>
                    <a:pt x="2129831" y="1297932"/>
                    <a:pt x="2129800" y="1292504"/>
                  </a:cubicBezTo>
                  <a:lnTo>
                    <a:pt x="2129800" y="1290382"/>
                  </a:lnTo>
                  <a:cubicBezTo>
                    <a:pt x="2129800" y="1278459"/>
                    <a:pt x="2139534" y="1268697"/>
                    <a:pt x="2151487" y="1268697"/>
                  </a:cubicBezTo>
                  <a:close/>
                  <a:moveTo>
                    <a:pt x="598921" y="1264695"/>
                  </a:moveTo>
                  <a:lnTo>
                    <a:pt x="603010" y="1283656"/>
                  </a:lnTo>
                  <a:lnTo>
                    <a:pt x="603010" y="1283976"/>
                  </a:lnTo>
                  <a:cubicBezTo>
                    <a:pt x="603010" y="1285652"/>
                    <a:pt x="604368" y="1287021"/>
                    <a:pt x="606050" y="1287021"/>
                  </a:cubicBezTo>
                  <a:lnTo>
                    <a:pt x="651053" y="1287021"/>
                  </a:lnTo>
                  <a:cubicBezTo>
                    <a:pt x="652736" y="1287021"/>
                    <a:pt x="654094" y="1285652"/>
                    <a:pt x="654094" y="1283976"/>
                  </a:cubicBezTo>
                  <a:lnTo>
                    <a:pt x="654094" y="1283539"/>
                  </a:lnTo>
                  <a:cubicBezTo>
                    <a:pt x="654094" y="1283539"/>
                    <a:pt x="659663" y="1264695"/>
                    <a:pt x="659663" y="1264695"/>
                  </a:cubicBezTo>
                  <a:close/>
                  <a:moveTo>
                    <a:pt x="2697718" y="1260657"/>
                  </a:moveTo>
                  <a:lnTo>
                    <a:pt x="2735622" y="1260657"/>
                  </a:lnTo>
                  <a:cubicBezTo>
                    <a:pt x="2739118" y="1260657"/>
                    <a:pt x="2741947" y="1263483"/>
                    <a:pt x="2741947" y="1266983"/>
                  </a:cubicBezTo>
                  <a:cubicBezTo>
                    <a:pt x="2741947" y="1270465"/>
                    <a:pt x="2739118" y="1273291"/>
                    <a:pt x="2735622" y="1273291"/>
                  </a:cubicBezTo>
                  <a:lnTo>
                    <a:pt x="2734464" y="1273291"/>
                  </a:lnTo>
                  <a:cubicBezTo>
                    <a:pt x="2731860" y="1280647"/>
                    <a:pt x="2724918" y="1285925"/>
                    <a:pt x="2716677" y="1285925"/>
                  </a:cubicBezTo>
                  <a:cubicBezTo>
                    <a:pt x="2708430" y="1285925"/>
                    <a:pt x="2701481" y="1280647"/>
                    <a:pt x="2698883" y="1273291"/>
                  </a:cubicBezTo>
                  <a:lnTo>
                    <a:pt x="2697718" y="1273291"/>
                  </a:lnTo>
                  <a:cubicBezTo>
                    <a:pt x="2694230" y="1273291"/>
                    <a:pt x="2691408" y="1270465"/>
                    <a:pt x="2691408" y="1266983"/>
                  </a:cubicBezTo>
                  <a:cubicBezTo>
                    <a:pt x="2691408" y="1263483"/>
                    <a:pt x="2694230" y="1260657"/>
                    <a:pt x="2697718" y="1260657"/>
                  </a:cubicBezTo>
                  <a:close/>
                  <a:moveTo>
                    <a:pt x="2617325" y="1260250"/>
                  </a:moveTo>
                  <a:lnTo>
                    <a:pt x="2601713" y="1315580"/>
                  </a:lnTo>
                  <a:cubicBezTo>
                    <a:pt x="2601713" y="1315580"/>
                    <a:pt x="2642745" y="1260250"/>
                    <a:pt x="2642745" y="1260250"/>
                  </a:cubicBezTo>
                  <a:close/>
                  <a:moveTo>
                    <a:pt x="2580927" y="1260250"/>
                  </a:moveTo>
                  <a:cubicBezTo>
                    <a:pt x="2580927" y="1260250"/>
                    <a:pt x="2595317" y="1320687"/>
                    <a:pt x="2595317" y="1320687"/>
                  </a:cubicBezTo>
                  <a:lnTo>
                    <a:pt x="2612392" y="1260250"/>
                  </a:lnTo>
                  <a:close/>
                  <a:moveTo>
                    <a:pt x="2547493" y="1260250"/>
                  </a:moveTo>
                  <a:cubicBezTo>
                    <a:pt x="2547493" y="1260250"/>
                    <a:pt x="2589540" y="1316894"/>
                    <a:pt x="2589540" y="1316894"/>
                  </a:cubicBezTo>
                  <a:lnTo>
                    <a:pt x="2576053" y="1260250"/>
                  </a:lnTo>
                  <a:close/>
                  <a:moveTo>
                    <a:pt x="592287" y="1256704"/>
                  </a:moveTo>
                  <a:cubicBezTo>
                    <a:pt x="591413" y="1256704"/>
                    <a:pt x="590738" y="1257214"/>
                    <a:pt x="590738" y="1257648"/>
                  </a:cubicBezTo>
                  <a:cubicBezTo>
                    <a:pt x="590738" y="1258083"/>
                    <a:pt x="591413" y="1258596"/>
                    <a:pt x="592287" y="1258596"/>
                  </a:cubicBezTo>
                  <a:lnTo>
                    <a:pt x="664821" y="1258596"/>
                  </a:lnTo>
                  <a:cubicBezTo>
                    <a:pt x="665687" y="1258596"/>
                    <a:pt x="666366" y="1258083"/>
                    <a:pt x="666366" y="1257648"/>
                  </a:cubicBezTo>
                  <a:cubicBezTo>
                    <a:pt x="666366" y="1257214"/>
                    <a:pt x="665687" y="1256704"/>
                    <a:pt x="664821" y="1256704"/>
                  </a:cubicBezTo>
                  <a:close/>
                  <a:moveTo>
                    <a:pt x="2697718" y="1241705"/>
                  </a:moveTo>
                  <a:lnTo>
                    <a:pt x="2735622" y="1241705"/>
                  </a:lnTo>
                  <a:cubicBezTo>
                    <a:pt x="2739118" y="1241705"/>
                    <a:pt x="2741947" y="1244532"/>
                    <a:pt x="2741947" y="1248023"/>
                  </a:cubicBezTo>
                  <a:cubicBezTo>
                    <a:pt x="2741947" y="1251523"/>
                    <a:pt x="2739118" y="1254340"/>
                    <a:pt x="2735622" y="1254340"/>
                  </a:cubicBezTo>
                  <a:lnTo>
                    <a:pt x="2697718" y="1254340"/>
                  </a:lnTo>
                  <a:cubicBezTo>
                    <a:pt x="2694230" y="1254340"/>
                    <a:pt x="2691408" y="1251523"/>
                    <a:pt x="2691408" y="1248023"/>
                  </a:cubicBezTo>
                  <a:cubicBezTo>
                    <a:pt x="2691408" y="1244532"/>
                    <a:pt x="2694230" y="1241705"/>
                    <a:pt x="2697718" y="1241705"/>
                  </a:cubicBezTo>
                  <a:close/>
                  <a:moveTo>
                    <a:pt x="604819" y="1236900"/>
                  </a:moveTo>
                  <a:lnTo>
                    <a:pt x="613542" y="1236900"/>
                  </a:lnTo>
                  <a:cubicBezTo>
                    <a:pt x="617806" y="1236900"/>
                    <a:pt x="621278" y="1241001"/>
                    <a:pt x="621278" y="1246042"/>
                  </a:cubicBezTo>
                  <a:cubicBezTo>
                    <a:pt x="621278" y="1247728"/>
                    <a:pt x="619916" y="1249089"/>
                    <a:pt x="618229" y="1249089"/>
                  </a:cubicBezTo>
                  <a:cubicBezTo>
                    <a:pt x="616550" y="1249089"/>
                    <a:pt x="615184" y="1247728"/>
                    <a:pt x="615184" y="1246042"/>
                  </a:cubicBezTo>
                  <a:cubicBezTo>
                    <a:pt x="615184" y="1244210"/>
                    <a:pt x="614192" y="1242997"/>
                    <a:pt x="613542" y="1242997"/>
                  </a:cubicBezTo>
                  <a:lnTo>
                    <a:pt x="604819" y="1242997"/>
                  </a:lnTo>
                  <a:cubicBezTo>
                    <a:pt x="604164" y="1242997"/>
                    <a:pt x="603181" y="1244210"/>
                    <a:pt x="603181" y="1246042"/>
                  </a:cubicBezTo>
                  <a:lnTo>
                    <a:pt x="603181" y="1250612"/>
                  </a:lnTo>
                  <a:lnTo>
                    <a:pt x="664821" y="1250612"/>
                  </a:lnTo>
                  <a:cubicBezTo>
                    <a:pt x="669028" y="1250612"/>
                    <a:pt x="672451" y="1253766"/>
                    <a:pt x="672451" y="1257648"/>
                  </a:cubicBezTo>
                  <a:cubicBezTo>
                    <a:pt x="672451" y="1261060"/>
                    <a:pt x="669809" y="1263907"/>
                    <a:pt x="666309" y="1264555"/>
                  </a:cubicBezTo>
                  <a:cubicBezTo>
                    <a:pt x="666219" y="1264602"/>
                    <a:pt x="666126" y="1264649"/>
                    <a:pt x="666024" y="1264680"/>
                  </a:cubicBezTo>
                  <a:lnTo>
                    <a:pt x="660175" y="1284460"/>
                  </a:lnTo>
                  <a:cubicBezTo>
                    <a:pt x="659927" y="1289280"/>
                    <a:pt x="655931" y="1293110"/>
                    <a:pt x="651053" y="1293110"/>
                  </a:cubicBezTo>
                  <a:lnTo>
                    <a:pt x="606050" y="1293110"/>
                  </a:lnTo>
                  <a:cubicBezTo>
                    <a:pt x="601136" y="1293110"/>
                    <a:pt x="597112" y="1289204"/>
                    <a:pt x="596925" y="1284333"/>
                  </a:cubicBezTo>
                  <a:lnTo>
                    <a:pt x="592779" y="1265094"/>
                  </a:lnTo>
                  <a:cubicBezTo>
                    <a:pt x="592067" y="1265013"/>
                    <a:pt x="591396" y="1264818"/>
                    <a:pt x="590758" y="1264555"/>
                  </a:cubicBezTo>
                  <a:cubicBezTo>
                    <a:pt x="587275" y="1263902"/>
                    <a:pt x="584649" y="1261052"/>
                    <a:pt x="584649" y="1257648"/>
                  </a:cubicBezTo>
                  <a:cubicBezTo>
                    <a:pt x="584649" y="1253766"/>
                    <a:pt x="588071" y="1250612"/>
                    <a:pt x="592287" y="1250612"/>
                  </a:cubicBezTo>
                  <a:lnTo>
                    <a:pt x="597087" y="1250612"/>
                  </a:lnTo>
                  <a:lnTo>
                    <a:pt x="597087" y="1246042"/>
                  </a:lnTo>
                  <a:cubicBezTo>
                    <a:pt x="597087" y="1241001"/>
                    <a:pt x="600555" y="1236900"/>
                    <a:pt x="604819" y="1236900"/>
                  </a:cubicBezTo>
                  <a:close/>
                  <a:moveTo>
                    <a:pt x="429060" y="1234981"/>
                  </a:moveTo>
                  <a:cubicBezTo>
                    <a:pt x="432444" y="1234595"/>
                    <a:pt x="435569" y="1237064"/>
                    <a:pt x="435958" y="1240455"/>
                  </a:cubicBezTo>
                  <a:cubicBezTo>
                    <a:pt x="436363" y="1243847"/>
                    <a:pt x="433869" y="1246885"/>
                    <a:pt x="430485" y="1247295"/>
                  </a:cubicBezTo>
                  <a:cubicBezTo>
                    <a:pt x="372307" y="1253998"/>
                    <a:pt x="356310" y="1303946"/>
                    <a:pt x="356164" y="1304458"/>
                  </a:cubicBezTo>
                  <a:cubicBezTo>
                    <a:pt x="355354" y="1307110"/>
                    <a:pt x="352861" y="1308817"/>
                    <a:pt x="350205" y="1308817"/>
                  </a:cubicBezTo>
                  <a:cubicBezTo>
                    <a:pt x="349622" y="1308817"/>
                    <a:pt x="349007" y="1308772"/>
                    <a:pt x="348408" y="1308567"/>
                  </a:cubicBezTo>
                  <a:cubicBezTo>
                    <a:pt x="345137" y="1307577"/>
                    <a:pt x="343275" y="1304072"/>
                    <a:pt x="344295" y="1300794"/>
                  </a:cubicBezTo>
                  <a:cubicBezTo>
                    <a:pt x="345024" y="1298438"/>
                    <a:pt x="362916" y="1242606"/>
                    <a:pt x="429060" y="1234981"/>
                  </a:cubicBezTo>
                  <a:close/>
                  <a:moveTo>
                    <a:pt x="2628207" y="1234361"/>
                  </a:moveTo>
                  <a:lnTo>
                    <a:pt x="2619226" y="1255487"/>
                  </a:lnTo>
                  <a:lnTo>
                    <a:pt x="2642772" y="1255487"/>
                  </a:lnTo>
                  <a:cubicBezTo>
                    <a:pt x="2642772" y="1255487"/>
                    <a:pt x="2628207" y="1234361"/>
                    <a:pt x="2628207" y="1234361"/>
                  </a:cubicBezTo>
                  <a:close/>
                  <a:moveTo>
                    <a:pt x="2562272" y="1234022"/>
                  </a:moveTo>
                  <a:cubicBezTo>
                    <a:pt x="2562272" y="1234022"/>
                    <a:pt x="2547493" y="1255487"/>
                    <a:pt x="2547493" y="1255487"/>
                  </a:cubicBezTo>
                  <a:lnTo>
                    <a:pt x="2573922" y="1255487"/>
                  </a:lnTo>
                  <a:close/>
                  <a:moveTo>
                    <a:pt x="2465705" y="1232930"/>
                  </a:moveTo>
                  <a:cubicBezTo>
                    <a:pt x="2467093" y="1232930"/>
                    <a:pt x="2468350" y="1233749"/>
                    <a:pt x="2468943" y="1234984"/>
                  </a:cubicBezTo>
                  <a:cubicBezTo>
                    <a:pt x="2472993" y="1243718"/>
                    <a:pt x="2479444" y="1258417"/>
                    <a:pt x="2479444" y="1263627"/>
                  </a:cubicBezTo>
                  <a:cubicBezTo>
                    <a:pt x="2479444" y="1271241"/>
                    <a:pt x="2473307" y="1277365"/>
                    <a:pt x="2465705" y="1277365"/>
                  </a:cubicBezTo>
                  <a:cubicBezTo>
                    <a:pt x="2458103" y="1277365"/>
                    <a:pt x="2451975" y="1271241"/>
                    <a:pt x="2451975" y="1263627"/>
                  </a:cubicBezTo>
                  <a:cubicBezTo>
                    <a:pt x="2451975" y="1258417"/>
                    <a:pt x="2458417" y="1243718"/>
                    <a:pt x="2462476" y="1234984"/>
                  </a:cubicBezTo>
                  <a:cubicBezTo>
                    <a:pt x="2463069" y="1233749"/>
                    <a:pt x="2464343" y="1232930"/>
                    <a:pt x="2465705" y="1232930"/>
                  </a:cubicBezTo>
                  <a:close/>
                  <a:moveTo>
                    <a:pt x="2595247" y="1232836"/>
                  </a:moveTo>
                  <a:lnTo>
                    <a:pt x="2582038" y="1255487"/>
                  </a:lnTo>
                  <a:lnTo>
                    <a:pt x="2610438" y="1255487"/>
                  </a:lnTo>
                  <a:cubicBezTo>
                    <a:pt x="2610438" y="1255487"/>
                    <a:pt x="2595247" y="1232836"/>
                    <a:pt x="2595247" y="1232836"/>
                  </a:cubicBezTo>
                  <a:close/>
                  <a:moveTo>
                    <a:pt x="2600256" y="1231718"/>
                  </a:moveTo>
                  <a:lnTo>
                    <a:pt x="2614864" y="1253593"/>
                  </a:lnTo>
                  <a:lnTo>
                    <a:pt x="2624154" y="1231718"/>
                  </a:lnTo>
                  <a:cubicBezTo>
                    <a:pt x="2624154" y="1231718"/>
                    <a:pt x="2600256" y="1231718"/>
                    <a:pt x="2600256" y="1231718"/>
                  </a:cubicBezTo>
                  <a:close/>
                  <a:moveTo>
                    <a:pt x="2566431" y="1231718"/>
                  </a:moveTo>
                  <a:lnTo>
                    <a:pt x="2577991" y="1253018"/>
                  </a:lnTo>
                  <a:lnTo>
                    <a:pt x="2590389" y="1231718"/>
                  </a:lnTo>
                  <a:cubicBezTo>
                    <a:pt x="2590389" y="1231718"/>
                    <a:pt x="2566431" y="1231718"/>
                    <a:pt x="2566431" y="1231718"/>
                  </a:cubicBezTo>
                  <a:close/>
                  <a:moveTo>
                    <a:pt x="2560270" y="1224968"/>
                  </a:moveTo>
                  <a:lnTo>
                    <a:pt x="2629969" y="1224968"/>
                  </a:lnTo>
                  <a:cubicBezTo>
                    <a:pt x="2629969" y="1224968"/>
                    <a:pt x="2652783" y="1258089"/>
                    <a:pt x="2652783" y="1258089"/>
                  </a:cubicBezTo>
                  <a:lnTo>
                    <a:pt x="2595119" y="1335833"/>
                  </a:lnTo>
                  <a:lnTo>
                    <a:pt x="2537455" y="1258089"/>
                  </a:lnTo>
                  <a:close/>
                  <a:moveTo>
                    <a:pt x="429627" y="1221132"/>
                  </a:moveTo>
                  <a:cubicBezTo>
                    <a:pt x="370882" y="1221132"/>
                    <a:pt x="319376" y="1260439"/>
                    <a:pt x="319376" y="1305210"/>
                  </a:cubicBezTo>
                  <a:cubicBezTo>
                    <a:pt x="319376" y="1308055"/>
                    <a:pt x="319586" y="1310900"/>
                    <a:pt x="319942" y="1313722"/>
                  </a:cubicBezTo>
                  <a:cubicBezTo>
                    <a:pt x="320396" y="1317125"/>
                    <a:pt x="323796" y="1319811"/>
                    <a:pt x="327213" y="1319811"/>
                  </a:cubicBezTo>
                  <a:lnTo>
                    <a:pt x="532154" y="1319811"/>
                  </a:lnTo>
                  <a:cubicBezTo>
                    <a:pt x="535571" y="1319811"/>
                    <a:pt x="539068" y="1317125"/>
                    <a:pt x="539554" y="1313779"/>
                  </a:cubicBezTo>
                  <a:cubicBezTo>
                    <a:pt x="539975" y="1310934"/>
                    <a:pt x="540169" y="1308146"/>
                    <a:pt x="540169" y="1305210"/>
                  </a:cubicBezTo>
                  <a:cubicBezTo>
                    <a:pt x="540169" y="1258084"/>
                    <a:pt x="491626" y="1221132"/>
                    <a:pt x="429627" y="1221132"/>
                  </a:cubicBezTo>
                  <a:close/>
                  <a:moveTo>
                    <a:pt x="192427" y="1220939"/>
                  </a:moveTo>
                  <a:cubicBezTo>
                    <a:pt x="187747" y="1220939"/>
                    <a:pt x="183361" y="1222790"/>
                    <a:pt x="180057" y="1226038"/>
                  </a:cubicBezTo>
                  <a:cubicBezTo>
                    <a:pt x="173272" y="1232869"/>
                    <a:pt x="173272" y="1243865"/>
                    <a:pt x="180057" y="1250705"/>
                  </a:cubicBezTo>
                  <a:cubicBezTo>
                    <a:pt x="186649" y="1257244"/>
                    <a:pt x="198197" y="1257244"/>
                    <a:pt x="204797" y="1250705"/>
                  </a:cubicBezTo>
                  <a:cubicBezTo>
                    <a:pt x="208093" y="1247405"/>
                    <a:pt x="209888" y="1243077"/>
                    <a:pt x="209888" y="1238406"/>
                  </a:cubicBezTo>
                  <a:cubicBezTo>
                    <a:pt x="209888" y="1233726"/>
                    <a:pt x="208093" y="1229321"/>
                    <a:pt x="204797" y="1226038"/>
                  </a:cubicBezTo>
                  <a:cubicBezTo>
                    <a:pt x="201501" y="1222790"/>
                    <a:pt x="197098" y="1220939"/>
                    <a:pt x="192427" y="1220939"/>
                  </a:cubicBezTo>
                  <a:close/>
                  <a:moveTo>
                    <a:pt x="192427" y="1209068"/>
                  </a:moveTo>
                  <a:cubicBezTo>
                    <a:pt x="200243" y="1209068"/>
                    <a:pt x="207607" y="1212128"/>
                    <a:pt x="213125" y="1217648"/>
                  </a:cubicBezTo>
                  <a:cubicBezTo>
                    <a:pt x="222459" y="1226998"/>
                    <a:pt x="224355" y="1241457"/>
                    <a:pt x="217905" y="1252822"/>
                  </a:cubicBezTo>
                  <a:cubicBezTo>
                    <a:pt x="217905" y="1252822"/>
                    <a:pt x="250781" y="1285630"/>
                    <a:pt x="250781" y="1285630"/>
                  </a:cubicBezTo>
                  <a:lnTo>
                    <a:pt x="239719" y="1296755"/>
                  </a:lnTo>
                  <a:lnTo>
                    <a:pt x="206843" y="1263947"/>
                  </a:lnTo>
                  <a:cubicBezTo>
                    <a:pt x="202466" y="1266406"/>
                    <a:pt x="197484" y="1267735"/>
                    <a:pt x="192368" y="1267735"/>
                  </a:cubicBezTo>
                  <a:cubicBezTo>
                    <a:pt x="184544" y="1267735"/>
                    <a:pt x="177180" y="1264666"/>
                    <a:pt x="171670" y="1259155"/>
                  </a:cubicBezTo>
                  <a:cubicBezTo>
                    <a:pt x="166160" y="1253593"/>
                    <a:pt x="163099" y="1246231"/>
                    <a:pt x="163099" y="1238406"/>
                  </a:cubicBezTo>
                  <a:cubicBezTo>
                    <a:pt x="163099" y="1230529"/>
                    <a:pt x="166160" y="1223201"/>
                    <a:pt x="171670" y="1217648"/>
                  </a:cubicBezTo>
                  <a:cubicBezTo>
                    <a:pt x="177180" y="1212128"/>
                    <a:pt x="184552" y="1209068"/>
                    <a:pt x="192427" y="1209068"/>
                  </a:cubicBezTo>
                  <a:close/>
                  <a:moveTo>
                    <a:pt x="2225083" y="1201110"/>
                  </a:moveTo>
                  <a:lnTo>
                    <a:pt x="2272998" y="1249025"/>
                  </a:lnTo>
                  <a:cubicBezTo>
                    <a:pt x="2280647" y="1256665"/>
                    <a:pt x="2280647" y="1269050"/>
                    <a:pt x="2272998" y="1276680"/>
                  </a:cubicBezTo>
                  <a:cubicBezTo>
                    <a:pt x="2265368" y="1284330"/>
                    <a:pt x="2252924" y="1284330"/>
                    <a:pt x="2245284" y="1276680"/>
                  </a:cubicBezTo>
                  <a:lnTo>
                    <a:pt x="2197438" y="1228766"/>
                  </a:lnTo>
                  <a:cubicBezTo>
                    <a:pt x="2208527" y="1221633"/>
                    <a:pt x="2217950" y="1212209"/>
                    <a:pt x="2225083" y="1201110"/>
                  </a:cubicBezTo>
                  <a:close/>
                  <a:moveTo>
                    <a:pt x="263821" y="1195219"/>
                  </a:moveTo>
                  <a:cubicBezTo>
                    <a:pt x="265392" y="1194991"/>
                    <a:pt x="267043" y="1195378"/>
                    <a:pt x="268419" y="1196391"/>
                  </a:cubicBezTo>
                  <a:lnTo>
                    <a:pt x="310745" y="1228028"/>
                  </a:lnTo>
                  <a:cubicBezTo>
                    <a:pt x="313466" y="1230088"/>
                    <a:pt x="313984" y="1233912"/>
                    <a:pt x="311927" y="1236666"/>
                  </a:cubicBezTo>
                  <a:cubicBezTo>
                    <a:pt x="310713" y="1238282"/>
                    <a:pt x="308916" y="1239147"/>
                    <a:pt x="307021" y="1239147"/>
                  </a:cubicBezTo>
                  <a:cubicBezTo>
                    <a:pt x="305710" y="1239147"/>
                    <a:pt x="304366" y="1238748"/>
                    <a:pt x="303281" y="1237906"/>
                  </a:cubicBezTo>
                  <a:lnTo>
                    <a:pt x="260971" y="1206337"/>
                  </a:lnTo>
                  <a:cubicBezTo>
                    <a:pt x="258251" y="1204289"/>
                    <a:pt x="257668" y="1200362"/>
                    <a:pt x="259724" y="1197643"/>
                  </a:cubicBezTo>
                  <a:cubicBezTo>
                    <a:pt x="260761" y="1196266"/>
                    <a:pt x="262250" y="1195446"/>
                    <a:pt x="263821" y="1195219"/>
                  </a:cubicBezTo>
                  <a:close/>
                  <a:moveTo>
                    <a:pt x="601197" y="1193227"/>
                  </a:moveTo>
                  <a:cubicBezTo>
                    <a:pt x="602784" y="1193409"/>
                    <a:pt x="604241" y="1194137"/>
                    <a:pt x="605310" y="1195458"/>
                  </a:cubicBezTo>
                  <a:cubicBezTo>
                    <a:pt x="607415" y="1198155"/>
                    <a:pt x="606994" y="1202104"/>
                    <a:pt x="604306" y="1204220"/>
                  </a:cubicBezTo>
                  <a:lnTo>
                    <a:pt x="562854" y="1236916"/>
                  </a:lnTo>
                  <a:cubicBezTo>
                    <a:pt x="561737" y="1237827"/>
                    <a:pt x="560361" y="1238282"/>
                    <a:pt x="559001" y="1238282"/>
                  </a:cubicBezTo>
                  <a:cubicBezTo>
                    <a:pt x="557187" y="1238282"/>
                    <a:pt x="555390" y="1237485"/>
                    <a:pt x="554159" y="1235915"/>
                  </a:cubicBezTo>
                  <a:cubicBezTo>
                    <a:pt x="552038" y="1233263"/>
                    <a:pt x="552459" y="1229325"/>
                    <a:pt x="555147" y="1227220"/>
                  </a:cubicBezTo>
                  <a:lnTo>
                    <a:pt x="596599" y="1194536"/>
                  </a:lnTo>
                  <a:cubicBezTo>
                    <a:pt x="597942" y="1193455"/>
                    <a:pt x="599626" y="1193045"/>
                    <a:pt x="601197" y="1193227"/>
                  </a:cubicBezTo>
                  <a:close/>
                  <a:moveTo>
                    <a:pt x="95487" y="1191173"/>
                  </a:moveTo>
                  <a:lnTo>
                    <a:pt x="178379" y="1191173"/>
                  </a:lnTo>
                  <a:lnTo>
                    <a:pt x="178379" y="1204594"/>
                  </a:lnTo>
                  <a:lnTo>
                    <a:pt x="95487" y="1204594"/>
                  </a:lnTo>
                  <a:cubicBezTo>
                    <a:pt x="95487" y="1204594"/>
                    <a:pt x="95487" y="1191173"/>
                    <a:pt x="95487" y="1191173"/>
                  </a:cubicBezTo>
                  <a:close/>
                  <a:moveTo>
                    <a:pt x="417013" y="1186820"/>
                  </a:moveTo>
                  <a:cubicBezTo>
                    <a:pt x="417013" y="1186820"/>
                    <a:pt x="425773" y="1208943"/>
                    <a:pt x="425773" y="1208943"/>
                  </a:cubicBezTo>
                  <a:cubicBezTo>
                    <a:pt x="427068" y="1208909"/>
                    <a:pt x="428299" y="1208761"/>
                    <a:pt x="429627" y="1208761"/>
                  </a:cubicBezTo>
                  <a:cubicBezTo>
                    <a:pt x="430809" y="1208761"/>
                    <a:pt x="431991" y="1208852"/>
                    <a:pt x="433157" y="1208886"/>
                  </a:cubicBezTo>
                  <a:lnTo>
                    <a:pt x="441933" y="1186820"/>
                  </a:lnTo>
                  <a:close/>
                  <a:moveTo>
                    <a:pt x="2659288" y="1185423"/>
                  </a:moveTo>
                  <a:cubicBezTo>
                    <a:pt x="2660853" y="1189344"/>
                    <a:pt x="2662580" y="1193218"/>
                    <a:pt x="2664433" y="1197046"/>
                  </a:cubicBezTo>
                  <a:lnTo>
                    <a:pt x="2654178" y="1202951"/>
                  </a:lnTo>
                  <a:lnTo>
                    <a:pt x="2647860" y="1192011"/>
                  </a:lnTo>
                  <a:cubicBezTo>
                    <a:pt x="2647860" y="1192011"/>
                    <a:pt x="2659288" y="1185423"/>
                    <a:pt x="2659288" y="1185423"/>
                  </a:cubicBezTo>
                  <a:close/>
                  <a:moveTo>
                    <a:pt x="2774004" y="1185394"/>
                  </a:moveTo>
                  <a:lnTo>
                    <a:pt x="2785487" y="1192011"/>
                  </a:lnTo>
                  <a:lnTo>
                    <a:pt x="2779170" y="1202951"/>
                  </a:lnTo>
                  <a:lnTo>
                    <a:pt x="2768830" y="1196980"/>
                  </a:lnTo>
                  <a:cubicBezTo>
                    <a:pt x="2770690" y="1193171"/>
                    <a:pt x="2772424" y="1189325"/>
                    <a:pt x="2774004" y="1185394"/>
                  </a:cubicBezTo>
                  <a:close/>
                  <a:moveTo>
                    <a:pt x="2357617" y="1170409"/>
                  </a:moveTo>
                  <a:lnTo>
                    <a:pt x="2357617" y="1210872"/>
                  </a:lnTo>
                  <a:cubicBezTo>
                    <a:pt x="2357617" y="1210872"/>
                    <a:pt x="2398082" y="1210872"/>
                    <a:pt x="2398082" y="1210872"/>
                  </a:cubicBezTo>
                  <a:lnTo>
                    <a:pt x="2398082" y="1170409"/>
                  </a:lnTo>
                  <a:close/>
                  <a:moveTo>
                    <a:pt x="2317146" y="1170409"/>
                  </a:moveTo>
                  <a:lnTo>
                    <a:pt x="2317146" y="1210872"/>
                  </a:lnTo>
                  <a:cubicBezTo>
                    <a:pt x="2317146" y="1210872"/>
                    <a:pt x="2333334" y="1210872"/>
                    <a:pt x="2333334" y="1210872"/>
                  </a:cubicBezTo>
                  <a:lnTo>
                    <a:pt x="2333334" y="1170409"/>
                  </a:lnTo>
                  <a:close/>
                  <a:moveTo>
                    <a:pt x="2357617" y="1162303"/>
                  </a:moveTo>
                  <a:lnTo>
                    <a:pt x="2398082" y="1162303"/>
                  </a:lnTo>
                  <a:cubicBezTo>
                    <a:pt x="2402543" y="1162303"/>
                    <a:pt x="2406159" y="1165942"/>
                    <a:pt x="2406159" y="1170409"/>
                  </a:cubicBezTo>
                  <a:lnTo>
                    <a:pt x="2406159" y="1210872"/>
                  </a:lnTo>
                  <a:cubicBezTo>
                    <a:pt x="2406159" y="1215338"/>
                    <a:pt x="2402543" y="1218954"/>
                    <a:pt x="2398082" y="1218954"/>
                  </a:cubicBezTo>
                  <a:lnTo>
                    <a:pt x="2357617" y="1218954"/>
                  </a:lnTo>
                  <a:cubicBezTo>
                    <a:pt x="2353144" y="1218954"/>
                    <a:pt x="2349505" y="1215338"/>
                    <a:pt x="2349505" y="1210872"/>
                  </a:cubicBezTo>
                  <a:lnTo>
                    <a:pt x="2349505" y="1170409"/>
                  </a:lnTo>
                  <a:cubicBezTo>
                    <a:pt x="2349505" y="1165942"/>
                    <a:pt x="2353144" y="1162303"/>
                    <a:pt x="2357617" y="1162303"/>
                  </a:cubicBezTo>
                  <a:close/>
                  <a:moveTo>
                    <a:pt x="2317146" y="1162303"/>
                  </a:moveTo>
                  <a:lnTo>
                    <a:pt x="2333334" y="1162303"/>
                  </a:lnTo>
                  <a:cubicBezTo>
                    <a:pt x="2337795" y="1162303"/>
                    <a:pt x="2341429" y="1165942"/>
                    <a:pt x="2341429" y="1170409"/>
                  </a:cubicBezTo>
                  <a:lnTo>
                    <a:pt x="2341429" y="1210872"/>
                  </a:lnTo>
                  <a:cubicBezTo>
                    <a:pt x="2341429" y="1215338"/>
                    <a:pt x="2337795" y="1218954"/>
                    <a:pt x="2333334" y="1218954"/>
                  </a:cubicBezTo>
                  <a:lnTo>
                    <a:pt x="2317146" y="1218954"/>
                  </a:lnTo>
                  <a:cubicBezTo>
                    <a:pt x="2312679" y="1218954"/>
                    <a:pt x="2309040" y="1215338"/>
                    <a:pt x="2309040" y="1210872"/>
                  </a:cubicBezTo>
                  <a:lnTo>
                    <a:pt x="2309040" y="1170409"/>
                  </a:lnTo>
                  <a:cubicBezTo>
                    <a:pt x="2309040" y="1165942"/>
                    <a:pt x="2312679" y="1162303"/>
                    <a:pt x="2317146" y="1162303"/>
                  </a:cubicBezTo>
                  <a:close/>
                  <a:moveTo>
                    <a:pt x="413904" y="1159792"/>
                  </a:moveTo>
                  <a:cubicBezTo>
                    <a:pt x="408464" y="1159792"/>
                    <a:pt x="403898" y="1163172"/>
                    <a:pt x="403898" y="1167120"/>
                  </a:cubicBezTo>
                  <a:cubicBezTo>
                    <a:pt x="403898" y="1171092"/>
                    <a:pt x="408464" y="1174393"/>
                    <a:pt x="413904" y="1174393"/>
                  </a:cubicBezTo>
                  <a:lnTo>
                    <a:pt x="445349" y="1174393"/>
                  </a:lnTo>
                  <a:cubicBezTo>
                    <a:pt x="450757" y="1174393"/>
                    <a:pt x="455356" y="1171092"/>
                    <a:pt x="455356" y="1167120"/>
                  </a:cubicBezTo>
                  <a:cubicBezTo>
                    <a:pt x="455356" y="1163172"/>
                    <a:pt x="450757" y="1159792"/>
                    <a:pt x="445349" y="1159792"/>
                  </a:cubicBezTo>
                  <a:close/>
                  <a:moveTo>
                    <a:pt x="95487" y="1153393"/>
                  </a:moveTo>
                  <a:lnTo>
                    <a:pt x="178379" y="1153393"/>
                  </a:lnTo>
                  <a:lnTo>
                    <a:pt x="178379" y="1166815"/>
                  </a:lnTo>
                  <a:lnTo>
                    <a:pt x="95487" y="1166815"/>
                  </a:lnTo>
                  <a:cubicBezTo>
                    <a:pt x="95487" y="1166815"/>
                    <a:pt x="95487" y="1153393"/>
                    <a:pt x="95487" y="1153393"/>
                  </a:cubicBezTo>
                  <a:close/>
                  <a:moveTo>
                    <a:pt x="2779205" y="1153266"/>
                  </a:moveTo>
                  <a:cubicBezTo>
                    <a:pt x="2779205" y="1153266"/>
                    <a:pt x="2792478" y="1153266"/>
                    <a:pt x="2792478" y="1153266"/>
                  </a:cubicBezTo>
                  <a:lnTo>
                    <a:pt x="2792478" y="1165900"/>
                  </a:lnTo>
                  <a:lnTo>
                    <a:pt x="2779177" y="1165900"/>
                  </a:lnTo>
                  <a:cubicBezTo>
                    <a:pt x="2779429" y="1163804"/>
                    <a:pt x="2779851" y="1161726"/>
                    <a:pt x="2779851" y="1159583"/>
                  </a:cubicBezTo>
                  <a:cubicBezTo>
                    <a:pt x="2779851" y="1157412"/>
                    <a:pt x="2779429" y="1155372"/>
                    <a:pt x="2779205" y="1153266"/>
                  </a:cubicBezTo>
                  <a:close/>
                  <a:moveTo>
                    <a:pt x="2640862" y="1153266"/>
                  </a:moveTo>
                  <a:lnTo>
                    <a:pt x="2654143" y="1153266"/>
                  </a:lnTo>
                  <a:cubicBezTo>
                    <a:pt x="2653918" y="1155372"/>
                    <a:pt x="2653504" y="1157412"/>
                    <a:pt x="2653504" y="1159583"/>
                  </a:cubicBezTo>
                  <a:cubicBezTo>
                    <a:pt x="2653504" y="1161726"/>
                    <a:pt x="2653918" y="1163804"/>
                    <a:pt x="2654164" y="1165900"/>
                  </a:cubicBezTo>
                  <a:lnTo>
                    <a:pt x="2640862" y="1165900"/>
                  </a:lnTo>
                  <a:close/>
                  <a:moveTo>
                    <a:pt x="551990" y="1147489"/>
                  </a:moveTo>
                  <a:cubicBezTo>
                    <a:pt x="553544" y="1147262"/>
                    <a:pt x="555212" y="1147649"/>
                    <a:pt x="556588" y="1148673"/>
                  </a:cubicBezTo>
                  <a:cubicBezTo>
                    <a:pt x="559308" y="1150721"/>
                    <a:pt x="559875" y="1154579"/>
                    <a:pt x="557819" y="1157311"/>
                  </a:cubicBezTo>
                  <a:lnTo>
                    <a:pt x="526196" y="1199623"/>
                  </a:lnTo>
                  <a:cubicBezTo>
                    <a:pt x="524949" y="1201262"/>
                    <a:pt x="523119" y="1202115"/>
                    <a:pt x="521225" y="1202115"/>
                  </a:cubicBezTo>
                  <a:cubicBezTo>
                    <a:pt x="519946" y="1202115"/>
                    <a:pt x="518618" y="1201705"/>
                    <a:pt x="517501" y="1200875"/>
                  </a:cubicBezTo>
                  <a:cubicBezTo>
                    <a:pt x="514780" y="1198837"/>
                    <a:pt x="514198" y="1194957"/>
                    <a:pt x="516254" y="1192237"/>
                  </a:cubicBezTo>
                  <a:lnTo>
                    <a:pt x="547877" y="1149913"/>
                  </a:lnTo>
                  <a:cubicBezTo>
                    <a:pt x="548913" y="1148548"/>
                    <a:pt x="550419" y="1147717"/>
                    <a:pt x="551990" y="1147489"/>
                  </a:cubicBezTo>
                  <a:close/>
                  <a:moveTo>
                    <a:pt x="311182" y="1147489"/>
                  </a:moveTo>
                  <a:cubicBezTo>
                    <a:pt x="312753" y="1147671"/>
                    <a:pt x="314227" y="1148434"/>
                    <a:pt x="315279" y="1149788"/>
                  </a:cubicBezTo>
                  <a:lnTo>
                    <a:pt x="348035" y="1191235"/>
                  </a:lnTo>
                  <a:cubicBezTo>
                    <a:pt x="350140" y="1193944"/>
                    <a:pt x="349736" y="1197825"/>
                    <a:pt x="347032" y="1199941"/>
                  </a:cubicBezTo>
                  <a:cubicBezTo>
                    <a:pt x="345914" y="1200818"/>
                    <a:pt x="344538" y="1201239"/>
                    <a:pt x="343178" y="1201239"/>
                  </a:cubicBezTo>
                  <a:cubicBezTo>
                    <a:pt x="341364" y="1201239"/>
                    <a:pt x="339551" y="1200419"/>
                    <a:pt x="338336" y="1198883"/>
                  </a:cubicBezTo>
                  <a:cubicBezTo>
                    <a:pt x="338336" y="1198883"/>
                    <a:pt x="305580" y="1157436"/>
                    <a:pt x="305580" y="1157436"/>
                  </a:cubicBezTo>
                  <a:cubicBezTo>
                    <a:pt x="303459" y="1154739"/>
                    <a:pt x="303880" y="1150847"/>
                    <a:pt x="306584" y="1148730"/>
                  </a:cubicBezTo>
                  <a:cubicBezTo>
                    <a:pt x="307928" y="1147671"/>
                    <a:pt x="309596" y="1147307"/>
                    <a:pt x="311182" y="1147489"/>
                  </a:cubicBezTo>
                  <a:close/>
                  <a:moveTo>
                    <a:pt x="413904" y="1147433"/>
                  </a:moveTo>
                  <a:lnTo>
                    <a:pt x="445349" y="1147433"/>
                  </a:lnTo>
                  <a:cubicBezTo>
                    <a:pt x="457688" y="1147433"/>
                    <a:pt x="467710" y="1156275"/>
                    <a:pt x="467710" y="1167120"/>
                  </a:cubicBezTo>
                  <a:cubicBezTo>
                    <a:pt x="467710" y="1174484"/>
                    <a:pt x="463047" y="1180834"/>
                    <a:pt x="456214" y="1184214"/>
                  </a:cubicBezTo>
                  <a:lnTo>
                    <a:pt x="446159" y="1209694"/>
                  </a:lnTo>
                  <a:cubicBezTo>
                    <a:pt x="507008" y="1215874"/>
                    <a:pt x="552540" y="1255580"/>
                    <a:pt x="552540" y="1305210"/>
                  </a:cubicBezTo>
                  <a:cubicBezTo>
                    <a:pt x="552540" y="1312880"/>
                    <a:pt x="551391" y="1320300"/>
                    <a:pt x="548946" y="1327891"/>
                  </a:cubicBezTo>
                  <a:cubicBezTo>
                    <a:pt x="548120" y="1330463"/>
                    <a:pt x="545756" y="1332238"/>
                    <a:pt x="543035" y="1332238"/>
                  </a:cubicBezTo>
                  <a:lnTo>
                    <a:pt x="511283" y="1332238"/>
                  </a:lnTo>
                  <a:lnTo>
                    <a:pt x="511283" y="1349764"/>
                  </a:lnTo>
                  <a:lnTo>
                    <a:pt x="534017" y="1349764"/>
                  </a:lnTo>
                  <a:cubicBezTo>
                    <a:pt x="547666" y="1349764"/>
                    <a:pt x="558758" y="1359517"/>
                    <a:pt x="558758" y="1371454"/>
                  </a:cubicBezTo>
                  <a:lnTo>
                    <a:pt x="558758" y="1379159"/>
                  </a:lnTo>
                  <a:cubicBezTo>
                    <a:pt x="558758" y="1386955"/>
                    <a:pt x="550581" y="1393077"/>
                    <a:pt x="540169" y="1393077"/>
                  </a:cubicBezTo>
                  <a:lnTo>
                    <a:pt x="318890" y="1393077"/>
                  </a:lnTo>
                  <a:cubicBezTo>
                    <a:pt x="308478" y="1393077"/>
                    <a:pt x="300301" y="1386955"/>
                    <a:pt x="300301" y="1379159"/>
                  </a:cubicBezTo>
                  <a:lnTo>
                    <a:pt x="300301" y="1371454"/>
                  </a:lnTo>
                  <a:cubicBezTo>
                    <a:pt x="300301" y="1359517"/>
                    <a:pt x="311377" y="1349764"/>
                    <a:pt x="325043" y="1349764"/>
                  </a:cubicBezTo>
                  <a:lnTo>
                    <a:pt x="343987" y="1349764"/>
                  </a:lnTo>
                  <a:lnTo>
                    <a:pt x="343987" y="1332238"/>
                  </a:lnTo>
                  <a:lnTo>
                    <a:pt x="316267" y="1332238"/>
                  </a:lnTo>
                  <a:cubicBezTo>
                    <a:pt x="313546" y="1332238"/>
                    <a:pt x="311102" y="1330428"/>
                    <a:pt x="310308" y="1327822"/>
                  </a:cubicBezTo>
                  <a:cubicBezTo>
                    <a:pt x="308138" y="1320653"/>
                    <a:pt x="306956" y="1312857"/>
                    <a:pt x="306956" y="1305210"/>
                  </a:cubicBezTo>
                  <a:cubicBezTo>
                    <a:pt x="306956" y="1258323"/>
                    <a:pt x="354739" y="1216807"/>
                    <a:pt x="412787" y="1209876"/>
                  </a:cubicBezTo>
                  <a:lnTo>
                    <a:pt x="402521" y="1184032"/>
                  </a:lnTo>
                  <a:cubicBezTo>
                    <a:pt x="395964" y="1180583"/>
                    <a:pt x="391462" y="1174324"/>
                    <a:pt x="391462" y="1167120"/>
                  </a:cubicBezTo>
                  <a:cubicBezTo>
                    <a:pt x="391462" y="1156275"/>
                    <a:pt x="401566" y="1147433"/>
                    <a:pt x="413904" y="1147433"/>
                  </a:cubicBezTo>
                  <a:close/>
                  <a:moveTo>
                    <a:pt x="696479" y="1138662"/>
                  </a:moveTo>
                  <a:cubicBezTo>
                    <a:pt x="695824" y="1138662"/>
                    <a:pt x="695229" y="1139239"/>
                    <a:pt x="695229" y="1139904"/>
                  </a:cubicBezTo>
                  <a:cubicBezTo>
                    <a:pt x="695229" y="1139904"/>
                    <a:pt x="695229" y="1143574"/>
                    <a:pt x="695229" y="1143574"/>
                  </a:cubicBezTo>
                  <a:cubicBezTo>
                    <a:pt x="695229" y="1144217"/>
                    <a:pt x="695810" y="1144750"/>
                    <a:pt x="696479" y="1144750"/>
                  </a:cubicBezTo>
                  <a:lnTo>
                    <a:pt x="700078" y="1144750"/>
                  </a:lnTo>
                  <a:cubicBezTo>
                    <a:pt x="700753" y="1144750"/>
                    <a:pt x="701320" y="1144217"/>
                    <a:pt x="701320" y="1143574"/>
                  </a:cubicBezTo>
                  <a:lnTo>
                    <a:pt x="701320" y="1139904"/>
                  </a:lnTo>
                  <a:cubicBezTo>
                    <a:pt x="701320" y="1139239"/>
                    <a:pt x="700753" y="1138662"/>
                    <a:pt x="700078" y="1138662"/>
                  </a:cubicBezTo>
                  <a:close/>
                  <a:moveTo>
                    <a:pt x="670563" y="1138662"/>
                  </a:moveTo>
                  <a:cubicBezTo>
                    <a:pt x="669915" y="1138662"/>
                    <a:pt x="669381" y="1139239"/>
                    <a:pt x="669381" y="1139904"/>
                  </a:cubicBezTo>
                  <a:cubicBezTo>
                    <a:pt x="669381" y="1139904"/>
                    <a:pt x="669381" y="1143574"/>
                    <a:pt x="669381" y="1143574"/>
                  </a:cubicBezTo>
                  <a:cubicBezTo>
                    <a:pt x="669381" y="1144217"/>
                    <a:pt x="669915" y="1144750"/>
                    <a:pt x="670563" y="1144750"/>
                  </a:cubicBezTo>
                  <a:lnTo>
                    <a:pt x="674290" y="1144750"/>
                  </a:lnTo>
                  <a:cubicBezTo>
                    <a:pt x="674945" y="1144750"/>
                    <a:pt x="675472" y="1144217"/>
                    <a:pt x="675472" y="1143574"/>
                  </a:cubicBezTo>
                  <a:lnTo>
                    <a:pt x="675472" y="1139904"/>
                  </a:lnTo>
                  <a:cubicBezTo>
                    <a:pt x="675472" y="1139239"/>
                    <a:pt x="674945" y="1138662"/>
                    <a:pt x="674290" y="1138662"/>
                  </a:cubicBezTo>
                  <a:close/>
                  <a:moveTo>
                    <a:pt x="644769" y="1138662"/>
                  </a:moveTo>
                  <a:cubicBezTo>
                    <a:pt x="644100" y="1138662"/>
                    <a:pt x="643526" y="1139239"/>
                    <a:pt x="643526" y="1139904"/>
                  </a:cubicBezTo>
                  <a:cubicBezTo>
                    <a:pt x="643526" y="1139904"/>
                    <a:pt x="643526" y="1143574"/>
                    <a:pt x="643526" y="1143574"/>
                  </a:cubicBezTo>
                  <a:cubicBezTo>
                    <a:pt x="643526" y="1144217"/>
                    <a:pt x="644100" y="1144750"/>
                    <a:pt x="644769" y="1144750"/>
                  </a:cubicBezTo>
                  <a:lnTo>
                    <a:pt x="648375" y="1144750"/>
                  </a:lnTo>
                  <a:cubicBezTo>
                    <a:pt x="649043" y="1144750"/>
                    <a:pt x="649617" y="1144217"/>
                    <a:pt x="649617" y="1143574"/>
                  </a:cubicBezTo>
                  <a:lnTo>
                    <a:pt x="649617" y="1139904"/>
                  </a:lnTo>
                  <a:cubicBezTo>
                    <a:pt x="649617" y="1139239"/>
                    <a:pt x="649043" y="1138662"/>
                    <a:pt x="648375" y="1138662"/>
                  </a:cubicBezTo>
                  <a:close/>
                  <a:moveTo>
                    <a:pt x="696479" y="1131515"/>
                  </a:moveTo>
                  <a:lnTo>
                    <a:pt x="700145" y="1131515"/>
                  </a:lnTo>
                  <a:cubicBezTo>
                    <a:pt x="704757" y="1131515"/>
                    <a:pt x="708532" y="1135281"/>
                    <a:pt x="708532" y="1139904"/>
                  </a:cubicBezTo>
                  <a:lnTo>
                    <a:pt x="708532" y="1143574"/>
                  </a:lnTo>
                  <a:cubicBezTo>
                    <a:pt x="708532" y="1148198"/>
                    <a:pt x="704757" y="1151963"/>
                    <a:pt x="700145" y="1151963"/>
                  </a:cubicBezTo>
                  <a:lnTo>
                    <a:pt x="696479" y="1151963"/>
                  </a:lnTo>
                  <a:cubicBezTo>
                    <a:pt x="691853" y="1151963"/>
                    <a:pt x="688085" y="1148198"/>
                    <a:pt x="688085" y="1143574"/>
                  </a:cubicBezTo>
                  <a:lnTo>
                    <a:pt x="688085" y="1139904"/>
                  </a:lnTo>
                  <a:cubicBezTo>
                    <a:pt x="688085" y="1135281"/>
                    <a:pt x="691847" y="1131515"/>
                    <a:pt x="696479" y="1131515"/>
                  </a:cubicBezTo>
                  <a:close/>
                  <a:moveTo>
                    <a:pt x="670624" y="1131515"/>
                  </a:moveTo>
                  <a:lnTo>
                    <a:pt x="674290" y="1131515"/>
                  </a:lnTo>
                  <a:cubicBezTo>
                    <a:pt x="678916" y="1131515"/>
                    <a:pt x="682677" y="1135281"/>
                    <a:pt x="682677" y="1139904"/>
                  </a:cubicBezTo>
                  <a:lnTo>
                    <a:pt x="682677" y="1143574"/>
                  </a:lnTo>
                  <a:cubicBezTo>
                    <a:pt x="682677" y="1148198"/>
                    <a:pt x="678916" y="1151963"/>
                    <a:pt x="674290" y="1151963"/>
                  </a:cubicBezTo>
                  <a:lnTo>
                    <a:pt x="670624" y="1151963"/>
                  </a:lnTo>
                  <a:cubicBezTo>
                    <a:pt x="666005" y="1151963"/>
                    <a:pt x="662237" y="1148198"/>
                    <a:pt x="662237" y="1143574"/>
                  </a:cubicBezTo>
                  <a:lnTo>
                    <a:pt x="662237" y="1139904"/>
                  </a:lnTo>
                  <a:cubicBezTo>
                    <a:pt x="662237" y="1135281"/>
                    <a:pt x="666005" y="1131515"/>
                    <a:pt x="670624" y="1131515"/>
                  </a:cubicBezTo>
                  <a:close/>
                  <a:moveTo>
                    <a:pt x="644769" y="1131515"/>
                  </a:moveTo>
                  <a:lnTo>
                    <a:pt x="648375" y="1131515"/>
                  </a:lnTo>
                  <a:cubicBezTo>
                    <a:pt x="653000" y="1131515"/>
                    <a:pt x="656829" y="1135281"/>
                    <a:pt x="656829" y="1139904"/>
                  </a:cubicBezTo>
                  <a:lnTo>
                    <a:pt x="656829" y="1143574"/>
                  </a:lnTo>
                  <a:cubicBezTo>
                    <a:pt x="656829" y="1148198"/>
                    <a:pt x="653000" y="1151963"/>
                    <a:pt x="648375" y="1151963"/>
                  </a:cubicBezTo>
                  <a:lnTo>
                    <a:pt x="644769" y="1151963"/>
                  </a:lnTo>
                  <a:cubicBezTo>
                    <a:pt x="640137" y="1151963"/>
                    <a:pt x="636382" y="1148198"/>
                    <a:pt x="636382" y="1143574"/>
                  </a:cubicBezTo>
                  <a:lnTo>
                    <a:pt x="636382" y="1139904"/>
                  </a:lnTo>
                  <a:cubicBezTo>
                    <a:pt x="636382" y="1135281"/>
                    <a:pt x="640137" y="1131515"/>
                    <a:pt x="644769" y="1131515"/>
                  </a:cubicBezTo>
                  <a:close/>
                  <a:moveTo>
                    <a:pt x="2317146" y="1129934"/>
                  </a:moveTo>
                  <a:lnTo>
                    <a:pt x="2317146" y="1146121"/>
                  </a:lnTo>
                  <a:cubicBezTo>
                    <a:pt x="2317146" y="1146121"/>
                    <a:pt x="2398082" y="1146121"/>
                    <a:pt x="2398082" y="1146121"/>
                  </a:cubicBezTo>
                  <a:lnTo>
                    <a:pt x="2398082" y="1129934"/>
                  </a:lnTo>
                  <a:close/>
                  <a:moveTo>
                    <a:pt x="1985943" y="1128188"/>
                  </a:moveTo>
                  <a:cubicBezTo>
                    <a:pt x="1958174" y="1128188"/>
                    <a:pt x="1935570" y="1150790"/>
                    <a:pt x="1935570" y="1178550"/>
                  </a:cubicBezTo>
                  <a:cubicBezTo>
                    <a:pt x="1935570" y="1196497"/>
                    <a:pt x="1944992" y="1212710"/>
                    <a:pt x="1960797" y="1221907"/>
                  </a:cubicBezTo>
                  <a:lnTo>
                    <a:pt x="1967053" y="1225554"/>
                  </a:lnTo>
                  <a:lnTo>
                    <a:pt x="1967053" y="1254117"/>
                  </a:lnTo>
                  <a:lnTo>
                    <a:pt x="2004827" y="1254117"/>
                  </a:lnTo>
                  <a:lnTo>
                    <a:pt x="2004827" y="1225554"/>
                  </a:lnTo>
                  <a:lnTo>
                    <a:pt x="2011088" y="1221907"/>
                  </a:lnTo>
                  <a:cubicBezTo>
                    <a:pt x="2026882" y="1212719"/>
                    <a:pt x="2036315" y="1196516"/>
                    <a:pt x="2036315" y="1178550"/>
                  </a:cubicBezTo>
                  <a:cubicBezTo>
                    <a:pt x="2036315" y="1150790"/>
                    <a:pt x="2013718" y="1128188"/>
                    <a:pt x="1985943" y="1128188"/>
                  </a:cubicBezTo>
                  <a:close/>
                  <a:moveTo>
                    <a:pt x="2317146" y="1121840"/>
                  </a:moveTo>
                  <a:lnTo>
                    <a:pt x="2398082" y="1121840"/>
                  </a:lnTo>
                  <a:cubicBezTo>
                    <a:pt x="2402543" y="1121840"/>
                    <a:pt x="2406159" y="1125467"/>
                    <a:pt x="2406159" y="1129934"/>
                  </a:cubicBezTo>
                  <a:lnTo>
                    <a:pt x="2406159" y="1146121"/>
                  </a:lnTo>
                  <a:cubicBezTo>
                    <a:pt x="2406159" y="1150588"/>
                    <a:pt x="2402543" y="1154215"/>
                    <a:pt x="2398082" y="1154215"/>
                  </a:cubicBezTo>
                  <a:lnTo>
                    <a:pt x="2317146" y="1154215"/>
                  </a:lnTo>
                  <a:cubicBezTo>
                    <a:pt x="2312679" y="1154215"/>
                    <a:pt x="2309040" y="1150588"/>
                    <a:pt x="2309040" y="1146121"/>
                  </a:cubicBezTo>
                  <a:lnTo>
                    <a:pt x="2309040" y="1129934"/>
                  </a:lnTo>
                  <a:cubicBezTo>
                    <a:pt x="2309040" y="1125467"/>
                    <a:pt x="2312679" y="1121840"/>
                    <a:pt x="2317146" y="1121840"/>
                  </a:cubicBezTo>
                  <a:close/>
                  <a:moveTo>
                    <a:pt x="2716677" y="1121681"/>
                  </a:moveTo>
                  <a:cubicBezTo>
                    <a:pt x="2695774" y="1121681"/>
                    <a:pt x="2678773" y="1138685"/>
                    <a:pt x="2678773" y="1159583"/>
                  </a:cubicBezTo>
                  <a:cubicBezTo>
                    <a:pt x="2678773" y="1169288"/>
                    <a:pt x="2684297" y="1180397"/>
                    <a:pt x="2690144" y="1192161"/>
                  </a:cubicBezTo>
                  <a:cubicBezTo>
                    <a:pt x="2695065" y="1202034"/>
                    <a:pt x="2700098" y="1212132"/>
                    <a:pt x="2702533" y="1222754"/>
                  </a:cubicBezTo>
                  <a:lnTo>
                    <a:pt x="2730751" y="1222754"/>
                  </a:lnTo>
                  <a:cubicBezTo>
                    <a:pt x="2733187" y="1211795"/>
                    <a:pt x="2738325" y="1201538"/>
                    <a:pt x="2743364" y="1191524"/>
                  </a:cubicBezTo>
                  <a:cubicBezTo>
                    <a:pt x="2749127" y="1180041"/>
                    <a:pt x="2754581" y="1169185"/>
                    <a:pt x="2754581" y="1159583"/>
                  </a:cubicBezTo>
                  <a:cubicBezTo>
                    <a:pt x="2754581" y="1138685"/>
                    <a:pt x="2737567" y="1121681"/>
                    <a:pt x="2716677" y="1121681"/>
                  </a:cubicBezTo>
                  <a:close/>
                  <a:moveTo>
                    <a:pt x="2779170" y="1116197"/>
                  </a:moveTo>
                  <a:lnTo>
                    <a:pt x="2785487" y="1127156"/>
                  </a:lnTo>
                  <a:cubicBezTo>
                    <a:pt x="2785487" y="1127156"/>
                    <a:pt x="2774158" y="1133697"/>
                    <a:pt x="2774158" y="1133697"/>
                  </a:cubicBezTo>
                  <a:cubicBezTo>
                    <a:pt x="2772410" y="1129823"/>
                    <a:pt x="2770262" y="1126192"/>
                    <a:pt x="2767799" y="1122776"/>
                  </a:cubicBezTo>
                  <a:close/>
                  <a:moveTo>
                    <a:pt x="2654178" y="1116197"/>
                  </a:moveTo>
                  <a:lnTo>
                    <a:pt x="2665563" y="1122776"/>
                  </a:lnTo>
                  <a:cubicBezTo>
                    <a:pt x="2663092" y="1126192"/>
                    <a:pt x="2660951" y="1129823"/>
                    <a:pt x="2659204" y="1133697"/>
                  </a:cubicBezTo>
                  <a:lnTo>
                    <a:pt x="2647860" y="1127156"/>
                  </a:lnTo>
                  <a:cubicBezTo>
                    <a:pt x="2647860" y="1127156"/>
                    <a:pt x="2654178" y="1116197"/>
                    <a:pt x="2654178" y="1116197"/>
                  </a:cubicBezTo>
                  <a:close/>
                  <a:moveTo>
                    <a:pt x="724501" y="1115853"/>
                  </a:moveTo>
                  <a:cubicBezTo>
                    <a:pt x="724089" y="1115853"/>
                    <a:pt x="723758" y="1116186"/>
                    <a:pt x="723758" y="1116601"/>
                  </a:cubicBezTo>
                  <a:lnTo>
                    <a:pt x="723758" y="1165013"/>
                  </a:lnTo>
                  <a:cubicBezTo>
                    <a:pt x="723758" y="1165013"/>
                    <a:pt x="760856" y="1115853"/>
                    <a:pt x="760856" y="1115853"/>
                  </a:cubicBezTo>
                  <a:close/>
                  <a:moveTo>
                    <a:pt x="1985943" y="1115595"/>
                  </a:moveTo>
                  <a:cubicBezTo>
                    <a:pt x="2020720" y="1115595"/>
                    <a:pt x="2048908" y="1143785"/>
                    <a:pt x="2048908" y="1178550"/>
                  </a:cubicBezTo>
                  <a:cubicBezTo>
                    <a:pt x="2048908" y="1201805"/>
                    <a:pt x="2036164" y="1221879"/>
                    <a:pt x="2017425" y="1232793"/>
                  </a:cubicBezTo>
                  <a:lnTo>
                    <a:pt x="2017425" y="1254117"/>
                  </a:lnTo>
                  <a:cubicBezTo>
                    <a:pt x="2017425" y="1261075"/>
                    <a:pt x="2011776" y="1266710"/>
                    <a:pt x="2004827" y="1266710"/>
                  </a:cubicBezTo>
                  <a:lnTo>
                    <a:pt x="1967053" y="1266710"/>
                  </a:lnTo>
                  <a:cubicBezTo>
                    <a:pt x="1960092" y="1266710"/>
                    <a:pt x="1954454" y="1261075"/>
                    <a:pt x="1954454" y="1254117"/>
                  </a:cubicBezTo>
                  <a:lnTo>
                    <a:pt x="1954454" y="1232793"/>
                  </a:lnTo>
                  <a:cubicBezTo>
                    <a:pt x="1935722" y="1221870"/>
                    <a:pt x="1922977" y="1201805"/>
                    <a:pt x="1922977" y="1178550"/>
                  </a:cubicBezTo>
                  <a:cubicBezTo>
                    <a:pt x="1922977" y="1143785"/>
                    <a:pt x="1951160" y="1115595"/>
                    <a:pt x="1985943" y="1115595"/>
                  </a:cubicBezTo>
                  <a:close/>
                  <a:moveTo>
                    <a:pt x="696479" y="1114796"/>
                  </a:moveTo>
                  <a:cubicBezTo>
                    <a:pt x="695824" y="1114796"/>
                    <a:pt x="695229" y="1115365"/>
                    <a:pt x="695229" y="1116038"/>
                  </a:cubicBezTo>
                  <a:cubicBezTo>
                    <a:pt x="695229" y="1116038"/>
                    <a:pt x="695229" y="1119708"/>
                    <a:pt x="695229" y="1119708"/>
                  </a:cubicBezTo>
                  <a:cubicBezTo>
                    <a:pt x="695229" y="1120374"/>
                    <a:pt x="695810" y="1120884"/>
                    <a:pt x="696479" y="1120884"/>
                  </a:cubicBezTo>
                  <a:lnTo>
                    <a:pt x="700078" y="1120884"/>
                  </a:lnTo>
                  <a:cubicBezTo>
                    <a:pt x="700753" y="1120884"/>
                    <a:pt x="701320" y="1120374"/>
                    <a:pt x="701320" y="1119708"/>
                  </a:cubicBezTo>
                  <a:lnTo>
                    <a:pt x="701320" y="1116038"/>
                  </a:lnTo>
                  <a:cubicBezTo>
                    <a:pt x="701320" y="1115365"/>
                    <a:pt x="700753" y="1114796"/>
                    <a:pt x="700078" y="1114796"/>
                  </a:cubicBezTo>
                  <a:close/>
                  <a:moveTo>
                    <a:pt x="670563" y="1114796"/>
                  </a:moveTo>
                  <a:cubicBezTo>
                    <a:pt x="669915" y="1114796"/>
                    <a:pt x="669381" y="1115365"/>
                    <a:pt x="669381" y="1116038"/>
                  </a:cubicBezTo>
                  <a:cubicBezTo>
                    <a:pt x="669381" y="1116038"/>
                    <a:pt x="669381" y="1119708"/>
                    <a:pt x="669381" y="1119708"/>
                  </a:cubicBezTo>
                  <a:cubicBezTo>
                    <a:pt x="669381" y="1120374"/>
                    <a:pt x="669915" y="1120884"/>
                    <a:pt x="670563" y="1120884"/>
                  </a:cubicBezTo>
                  <a:lnTo>
                    <a:pt x="674290" y="1120884"/>
                  </a:lnTo>
                  <a:cubicBezTo>
                    <a:pt x="674945" y="1120884"/>
                    <a:pt x="675472" y="1120374"/>
                    <a:pt x="675472" y="1119708"/>
                  </a:cubicBezTo>
                  <a:lnTo>
                    <a:pt x="675472" y="1116038"/>
                  </a:lnTo>
                  <a:cubicBezTo>
                    <a:pt x="675472" y="1115365"/>
                    <a:pt x="674945" y="1114796"/>
                    <a:pt x="674290" y="1114796"/>
                  </a:cubicBezTo>
                  <a:close/>
                  <a:moveTo>
                    <a:pt x="644769" y="1114796"/>
                  </a:moveTo>
                  <a:cubicBezTo>
                    <a:pt x="644100" y="1114796"/>
                    <a:pt x="643526" y="1115365"/>
                    <a:pt x="643526" y="1116038"/>
                  </a:cubicBezTo>
                  <a:cubicBezTo>
                    <a:pt x="643526" y="1116038"/>
                    <a:pt x="643526" y="1119708"/>
                    <a:pt x="643526" y="1119708"/>
                  </a:cubicBezTo>
                  <a:cubicBezTo>
                    <a:pt x="643526" y="1120374"/>
                    <a:pt x="644100" y="1120884"/>
                    <a:pt x="644769" y="1120884"/>
                  </a:cubicBezTo>
                  <a:lnTo>
                    <a:pt x="648375" y="1120884"/>
                  </a:lnTo>
                  <a:cubicBezTo>
                    <a:pt x="649043" y="1120884"/>
                    <a:pt x="649617" y="1120374"/>
                    <a:pt x="649617" y="1119708"/>
                  </a:cubicBezTo>
                  <a:lnTo>
                    <a:pt x="649617" y="1116038"/>
                  </a:lnTo>
                  <a:cubicBezTo>
                    <a:pt x="649617" y="1115365"/>
                    <a:pt x="649043" y="1114796"/>
                    <a:pt x="648375" y="1114796"/>
                  </a:cubicBezTo>
                  <a:close/>
                  <a:moveTo>
                    <a:pt x="2304993" y="1113752"/>
                  </a:moveTo>
                  <a:cubicBezTo>
                    <a:pt x="2302756" y="1113752"/>
                    <a:pt x="2300963" y="1115575"/>
                    <a:pt x="2300963" y="1117787"/>
                  </a:cubicBezTo>
                  <a:lnTo>
                    <a:pt x="2300963" y="1223006"/>
                  </a:lnTo>
                  <a:cubicBezTo>
                    <a:pt x="2300963" y="1225243"/>
                    <a:pt x="2302756" y="1227059"/>
                    <a:pt x="2304993" y="1227059"/>
                  </a:cubicBezTo>
                  <a:lnTo>
                    <a:pt x="2410212" y="1227059"/>
                  </a:lnTo>
                  <a:cubicBezTo>
                    <a:pt x="2412436" y="1227059"/>
                    <a:pt x="2414265" y="1225243"/>
                    <a:pt x="2414265" y="1223006"/>
                  </a:cubicBezTo>
                  <a:cubicBezTo>
                    <a:pt x="2414265" y="1223006"/>
                    <a:pt x="2414265" y="1117787"/>
                    <a:pt x="2414265" y="1117787"/>
                  </a:cubicBezTo>
                  <a:cubicBezTo>
                    <a:pt x="2414265" y="1115575"/>
                    <a:pt x="2412436" y="1113752"/>
                    <a:pt x="2410212" y="1113752"/>
                  </a:cubicBezTo>
                  <a:close/>
                  <a:moveTo>
                    <a:pt x="86102" y="1111628"/>
                  </a:moveTo>
                  <a:lnTo>
                    <a:pt x="201753" y="1111628"/>
                  </a:lnTo>
                  <a:cubicBezTo>
                    <a:pt x="210852" y="1111628"/>
                    <a:pt x="218216" y="1119042"/>
                    <a:pt x="218216" y="1128092"/>
                  </a:cubicBezTo>
                  <a:lnTo>
                    <a:pt x="218216" y="1207766"/>
                  </a:lnTo>
                  <a:cubicBezTo>
                    <a:pt x="214282" y="1204860"/>
                    <a:pt x="209812" y="1202829"/>
                    <a:pt x="205040" y="1201800"/>
                  </a:cubicBezTo>
                  <a:lnTo>
                    <a:pt x="205040" y="1128092"/>
                  </a:lnTo>
                  <a:cubicBezTo>
                    <a:pt x="205040" y="1126275"/>
                    <a:pt x="203564" y="1124801"/>
                    <a:pt x="201753" y="1124801"/>
                  </a:cubicBezTo>
                  <a:lnTo>
                    <a:pt x="86102" y="1124801"/>
                  </a:lnTo>
                  <a:cubicBezTo>
                    <a:pt x="84274" y="1124801"/>
                    <a:pt x="82806" y="1126275"/>
                    <a:pt x="82806" y="1128092"/>
                  </a:cubicBezTo>
                  <a:lnTo>
                    <a:pt x="82806" y="1272517"/>
                  </a:lnTo>
                  <a:cubicBezTo>
                    <a:pt x="82806" y="1274334"/>
                    <a:pt x="84274" y="1275808"/>
                    <a:pt x="86102" y="1275808"/>
                  </a:cubicBezTo>
                  <a:lnTo>
                    <a:pt x="201753" y="1275808"/>
                  </a:lnTo>
                  <a:cubicBezTo>
                    <a:pt x="202684" y="1275808"/>
                    <a:pt x="206181" y="1276314"/>
                    <a:pt x="208395" y="1275380"/>
                  </a:cubicBezTo>
                  <a:lnTo>
                    <a:pt x="214299" y="1281405"/>
                  </a:lnTo>
                  <a:cubicBezTo>
                    <a:pt x="211850" y="1287405"/>
                    <a:pt x="208630" y="1288990"/>
                    <a:pt x="201753" y="1288990"/>
                  </a:cubicBezTo>
                  <a:lnTo>
                    <a:pt x="86102" y="1288990"/>
                  </a:lnTo>
                  <a:cubicBezTo>
                    <a:pt x="77044" y="1288990"/>
                    <a:pt x="69631" y="1281619"/>
                    <a:pt x="69631" y="1272517"/>
                  </a:cubicBezTo>
                  <a:lnTo>
                    <a:pt x="69631" y="1128092"/>
                  </a:lnTo>
                  <a:cubicBezTo>
                    <a:pt x="69631" y="1119042"/>
                    <a:pt x="77044" y="1111628"/>
                    <a:pt x="86102" y="1111628"/>
                  </a:cubicBezTo>
                  <a:close/>
                  <a:moveTo>
                    <a:pt x="2571476" y="1109828"/>
                  </a:moveTo>
                  <a:lnTo>
                    <a:pt x="2487954" y="1176754"/>
                  </a:lnTo>
                  <a:cubicBezTo>
                    <a:pt x="2485553" y="1178695"/>
                    <a:pt x="2483720" y="1181201"/>
                    <a:pt x="2482612" y="1184085"/>
                  </a:cubicBezTo>
                  <a:lnTo>
                    <a:pt x="2471797" y="1212304"/>
                  </a:lnTo>
                  <a:lnTo>
                    <a:pt x="2501500" y="1207640"/>
                  </a:lnTo>
                  <a:cubicBezTo>
                    <a:pt x="2504503" y="1207188"/>
                    <a:pt x="2507278" y="1205935"/>
                    <a:pt x="2509644" y="1204032"/>
                  </a:cubicBezTo>
                  <a:lnTo>
                    <a:pt x="2518285" y="1197135"/>
                  </a:lnTo>
                  <a:lnTo>
                    <a:pt x="2513310" y="1190925"/>
                  </a:lnTo>
                  <a:cubicBezTo>
                    <a:pt x="2511032" y="1188080"/>
                    <a:pt x="2511459" y="1183943"/>
                    <a:pt x="2514305" y="1181663"/>
                  </a:cubicBezTo>
                  <a:cubicBezTo>
                    <a:pt x="2517177" y="1179383"/>
                    <a:pt x="2521340" y="1179816"/>
                    <a:pt x="2523627" y="1182662"/>
                  </a:cubicBezTo>
                  <a:lnTo>
                    <a:pt x="2528602" y="1188871"/>
                  </a:lnTo>
                  <a:lnTo>
                    <a:pt x="2538727" y="1180730"/>
                  </a:lnTo>
                  <a:lnTo>
                    <a:pt x="2533760" y="1174521"/>
                  </a:lnTo>
                  <a:cubicBezTo>
                    <a:pt x="2531509" y="1171666"/>
                    <a:pt x="2531971" y="1167539"/>
                    <a:pt x="2534817" y="1165259"/>
                  </a:cubicBezTo>
                  <a:cubicBezTo>
                    <a:pt x="2537653" y="1162979"/>
                    <a:pt x="2541791" y="1163403"/>
                    <a:pt x="2544069" y="1166248"/>
                  </a:cubicBezTo>
                  <a:lnTo>
                    <a:pt x="2549044" y="1172467"/>
                  </a:lnTo>
                  <a:lnTo>
                    <a:pt x="2559239" y="1164326"/>
                  </a:lnTo>
                  <a:lnTo>
                    <a:pt x="2554264" y="1158107"/>
                  </a:lnTo>
                  <a:cubicBezTo>
                    <a:pt x="2551985" y="1155271"/>
                    <a:pt x="2552422" y="1151135"/>
                    <a:pt x="2555259" y="1148855"/>
                  </a:cubicBezTo>
                  <a:cubicBezTo>
                    <a:pt x="2558113" y="1146565"/>
                    <a:pt x="2562276" y="1147008"/>
                    <a:pt x="2564581" y="1149844"/>
                  </a:cubicBezTo>
                  <a:lnTo>
                    <a:pt x="2569556" y="1156063"/>
                  </a:lnTo>
                  <a:cubicBezTo>
                    <a:pt x="2569556" y="1156063"/>
                    <a:pt x="2593288" y="1137049"/>
                    <a:pt x="2593288" y="1137049"/>
                  </a:cubicBezTo>
                  <a:close/>
                  <a:moveTo>
                    <a:pt x="2716677" y="1109047"/>
                  </a:moveTo>
                  <a:cubicBezTo>
                    <a:pt x="2744586" y="1109047"/>
                    <a:pt x="2767216" y="1131676"/>
                    <a:pt x="2767216" y="1159583"/>
                  </a:cubicBezTo>
                  <a:cubicBezTo>
                    <a:pt x="2767216" y="1184852"/>
                    <a:pt x="2741947" y="1209718"/>
                    <a:pt x="2741947" y="1235388"/>
                  </a:cubicBezTo>
                  <a:lnTo>
                    <a:pt x="2691408" y="1235388"/>
                  </a:lnTo>
                  <a:cubicBezTo>
                    <a:pt x="2691408" y="1210513"/>
                    <a:pt x="2666132" y="1184852"/>
                    <a:pt x="2666132" y="1159583"/>
                  </a:cubicBezTo>
                  <a:cubicBezTo>
                    <a:pt x="2666132" y="1131676"/>
                    <a:pt x="2688769" y="1109047"/>
                    <a:pt x="2716677" y="1109047"/>
                  </a:cubicBezTo>
                  <a:close/>
                  <a:moveTo>
                    <a:pt x="696479" y="1107649"/>
                  </a:moveTo>
                  <a:lnTo>
                    <a:pt x="700145" y="1107649"/>
                  </a:lnTo>
                  <a:cubicBezTo>
                    <a:pt x="704757" y="1107649"/>
                    <a:pt x="708532" y="1111429"/>
                    <a:pt x="708532" y="1116038"/>
                  </a:cubicBezTo>
                  <a:lnTo>
                    <a:pt x="708532" y="1119708"/>
                  </a:lnTo>
                  <a:cubicBezTo>
                    <a:pt x="708532" y="1124324"/>
                    <a:pt x="704757" y="1128097"/>
                    <a:pt x="700145" y="1128097"/>
                  </a:cubicBezTo>
                  <a:lnTo>
                    <a:pt x="696479" y="1128097"/>
                  </a:lnTo>
                  <a:cubicBezTo>
                    <a:pt x="691853" y="1128097"/>
                    <a:pt x="688085" y="1124324"/>
                    <a:pt x="688085" y="1119708"/>
                  </a:cubicBezTo>
                  <a:lnTo>
                    <a:pt x="688085" y="1116038"/>
                  </a:lnTo>
                  <a:cubicBezTo>
                    <a:pt x="688085" y="1111429"/>
                    <a:pt x="691847" y="1107649"/>
                    <a:pt x="696479" y="1107649"/>
                  </a:cubicBezTo>
                  <a:close/>
                  <a:moveTo>
                    <a:pt x="670624" y="1107649"/>
                  </a:moveTo>
                  <a:lnTo>
                    <a:pt x="674290" y="1107649"/>
                  </a:lnTo>
                  <a:cubicBezTo>
                    <a:pt x="678916" y="1107649"/>
                    <a:pt x="682677" y="1111429"/>
                    <a:pt x="682677" y="1116038"/>
                  </a:cubicBezTo>
                  <a:lnTo>
                    <a:pt x="682677" y="1119708"/>
                  </a:lnTo>
                  <a:cubicBezTo>
                    <a:pt x="682677" y="1124324"/>
                    <a:pt x="678916" y="1128097"/>
                    <a:pt x="674290" y="1128097"/>
                  </a:cubicBezTo>
                  <a:lnTo>
                    <a:pt x="670624" y="1128097"/>
                  </a:lnTo>
                  <a:cubicBezTo>
                    <a:pt x="666005" y="1128097"/>
                    <a:pt x="662237" y="1124324"/>
                    <a:pt x="662237" y="1119708"/>
                  </a:cubicBezTo>
                  <a:lnTo>
                    <a:pt x="662237" y="1116038"/>
                  </a:lnTo>
                  <a:cubicBezTo>
                    <a:pt x="662237" y="1111429"/>
                    <a:pt x="666005" y="1107649"/>
                    <a:pt x="670624" y="1107649"/>
                  </a:cubicBezTo>
                  <a:close/>
                  <a:moveTo>
                    <a:pt x="644769" y="1107649"/>
                  </a:moveTo>
                  <a:lnTo>
                    <a:pt x="648375" y="1107649"/>
                  </a:lnTo>
                  <a:cubicBezTo>
                    <a:pt x="653000" y="1107649"/>
                    <a:pt x="656829" y="1111429"/>
                    <a:pt x="656829" y="1116038"/>
                  </a:cubicBezTo>
                  <a:lnTo>
                    <a:pt x="656829" y="1119708"/>
                  </a:lnTo>
                  <a:cubicBezTo>
                    <a:pt x="656829" y="1124324"/>
                    <a:pt x="653000" y="1128097"/>
                    <a:pt x="648375" y="1128097"/>
                  </a:cubicBezTo>
                  <a:lnTo>
                    <a:pt x="644769" y="1128097"/>
                  </a:lnTo>
                  <a:cubicBezTo>
                    <a:pt x="640137" y="1128097"/>
                    <a:pt x="636382" y="1124324"/>
                    <a:pt x="636382" y="1119708"/>
                  </a:cubicBezTo>
                  <a:lnTo>
                    <a:pt x="636382" y="1116038"/>
                  </a:lnTo>
                  <a:cubicBezTo>
                    <a:pt x="636382" y="1111429"/>
                    <a:pt x="640137" y="1107649"/>
                    <a:pt x="644769" y="1107649"/>
                  </a:cubicBezTo>
                  <a:close/>
                  <a:moveTo>
                    <a:pt x="2149582" y="1105661"/>
                  </a:moveTo>
                  <a:lnTo>
                    <a:pt x="2149582" y="1118709"/>
                  </a:lnTo>
                  <a:cubicBezTo>
                    <a:pt x="2131593" y="1118709"/>
                    <a:pt x="2116957" y="1133365"/>
                    <a:pt x="2116957" y="1151334"/>
                  </a:cubicBezTo>
                  <a:lnTo>
                    <a:pt x="2103967" y="1151334"/>
                  </a:lnTo>
                  <a:cubicBezTo>
                    <a:pt x="2103967" y="1126164"/>
                    <a:pt x="2124402" y="1105661"/>
                    <a:pt x="2149582" y="1105661"/>
                  </a:cubicBezTo>
                  <a:close/>
                  <a:moveTo>
                    <a:pt x="2304993" y="1105652"/>
                  </a:moveTo>
                  <a:lnTo>
                    <a:pt x="2410212" y="1105652"/>
                  </a:lnTo>
                  <a:cubicBezTo>
                    <a:pt x="2416909" y="1105652"/>
                    <a:pt x="2422365" y="1111102"/>
                    <a:pt x="2422365" y="1117787"/>
                  </a:cubicBezTo>
                  <a:lnTo>
                    <a:pt x="2422365" y="1223006"/>
                  </a:lnTo>
                  <a:cubicBezTo>
                    <a:pt x="2422365" y="1229697"/>
                    <a:pt x="2416909" y="1235153"/>
                    <a:pt x="2410212" y="1235153"/>
                  </a:cubicBezTo>
                  <a:lnTo>
                    <a:pt x="2304993" y="1235153"/>
                  </a:lnTo>
                  <a:cubicBezTo>
                    <a:pt x="2298319" y="1235153"/>
                    <a:pt x="2292857" y="1229697"/>
                    <a:pt x="2292857" y="1223006"/>
                  </a:cubicBezTo>
                  <a:lnTo>
                    <a:pt x="2292857" y="1117787"/>
                  </a:lnTo>
                  <a:cubicBezTo>
                    <a:pt x="2292857" y="1111102"/>
                    <a:pt x="2298319" y="1105652"/>
                    <a:pt x="2304993" y="1105652"/>
                  </a:cubicBezTo>
                  <a:close/>
                  <a:moveTo>
                    <a:pt x="530419" y="1096853"/>
                  </a:moveTo>
                  <a:lnTo>
                    <a:pt x="555244" y="1096853"/>
                  </a:lnTo>
                  <a:lnTo>
                    <a:pt x="555244" y="1103051"/>
                  </a:lnTo>
                  <a:cubicBezTo>
                    <a:pt x="555244" y="1109920"/>
                    <a:pt x="549685" y="1115479"/>
                    <a:pt x="542834" y="1115479"/>
                  </a:cubicBezTo>
                  <a:cubicBezTo>
                    <a:pt x="535969" y="1115479"/>
                    <a:pt x="530419" y="1109920"/>
                    <a:pt x="530419" y="1103051"/>
                  </a:cubicBezTo>
                  <a:cubicBezTo>
                    <a:pt x="530419" y="1103051"/>
                    <a:pt x="530419" y="1096853"/>
                    <a:pt x="530419" y="1096853"/>
                  </a:cubicBezTo>
                  <a:close/>
                  <a:moveTo>
                    <a:pt x="2148403" y="1093421"/>
                  </a:moveTo>
                  <a:cubicBezTo>
                    <a:pt x="2116021" y="1093421"/>
                    <a:pt x="2089740" y="1119771"/>
                    <a:pt x="2089740" y="1152143"/>
                  </a:cubicBezTo>
                  <a:cubicBezTo>
                    <a:pt x="2089740" y="1184525"/>
                    <a:pt x="2116021" y="1210806"/>
                    <a:pt x="2148403" y="1210806"/>
                  </a:cubicBezTo>
                  <a:cubicBezTo>
                    <a:pt x="2180775" y="1210806"/>
                    <a:pt x="2207124" y="1184525"/>
                    <a:pt x="2207124" y="1152143"/>
                  </a:cubicBezTo>
                  <a:cubicBezTo>
                    <a:pt x="2207124" y="1119771"/>
                    <a:pt x="2180775" y="1093421"/>
                    <a:pt x="2148403" y="1093421"/>
                  </a:cubicBezTo>
                  <a:close/>
                  <a:moveTo>
                    <a:pt x="746129" y="1090937"/>
                  </a:moveTo>
                  <a:cubicBezTo>
                    <a:pt x="745481" y="1090937"/>
                    <a:pt x="744947" y="1091521"/>
                    <a:pt x="744947" y="1092180"/>
                  </a:cubicBezTo>
                  <a:cubicBezTo>
                    <a:pt x="744947" y="1092180"/>
                    <a:pt x="744947" y="1095842"/>
                    <a:pt x="744947" y="1095842"/>
                  </a:cubicBezTo>
                  <a:cubicBezTo>
                    <a:pt x="744947" y="1096515"/>
                    <a:pt x="745481" y="1097026"/>
                    <a:pt x="746129" y="1097026"/>
                  </a:cubicBezTo>
                  <a:lnTo>
                    <a:pt x="749796" y="1097026"/>
                  </a:lnTo>
                  <a:cubicBezTo>
                    <a:pt x="750464" y="1097026"/>
                    <a:pt x="751038" y="1096515"/>
                    <a:pt x="751038" y="1095842"/>
                  </a:cubicBezTo>
                  <a:lnTo>
                    <a:pt x="751038" y="1092180"/>
                  </a:lnTo>
                  <a:cubicBezTo>
                    <a:pt x="751038" y="1091521"/>
                    <a:pt x="750464" y="1090937"/>
                    <a:pt x="749796" y="1090937"/>
                  </a:cubicBezTo>
                  <a:close/>
                  <a:moveTo>
                    <a:pt x="720342" y="1090937"/>
                  </a:moveTo>
                  <a:cubicBezTo>
                    <a:pt x="719687" y="1090937"/>
                    <a:pt x="719099" y="1091521"/>
                    <a:pt x="719099" y="1092180"/>
                  </a:cubicBezTo>
                  <a:cubicBezTo>
                    <a:pt x="719099" y="1092180"/>
                    <a:pt x="719099" y="1095842"/>
                    <a:pt x="719099" y="1095842"/>
                  </a:cubicBezTo>
                  <a:cubicBezTo>
                    <a:pt x="719099" y="1096515"/>
                    <a:pt x="719687" y="1097026"/>
                    <a:pt x="720342" y="1097026"/>
                  </a:cubicBezTo>
                  <a:lnTo>
                    <a:pt x="723941" y="1097026"/>
                  </a:lnTo>
                  <a:cubicBezTo>
                    <a:pt x="724616" y="1097026"/>
                    <a:pt x="725183" y="1096515"/>
                    <a:pt x="725183" y="1095842"/>
                  </a:cubicBezTo>
                  <a:lnTo>
                    <a:pt x="725183" y="1092180"/>
                  </a:lnTo>
                  <a:cubicBezTo>
                    <a:pt x="725183" y="1091521"/>
                    <a:pt x="724616" y="1090937"/>
                    <a:pt x="723941" y="1090937"/>
                  </a:cubicBezTo>
                  <a:close/>
                  <a:moveTo>
                    <a:pt x="696479" y="1090937"/>
                  </a:moveTo>
                  <a:cubicBezTo>
                    <a:pt x="695824" y="1090937"/>
                    <a:pt x="695229" y="1091521"/>
                    <a:pt x="695229" y="1092180"/>
                  </a:cubicBezTo>
                  <a:cubicBezTo>
                    <a:pt x="695229" y="1092180"/>
                    <a:pt x="695229" y="1095842"/>
                    <a:pt x="695229" y="1095842"/>
                  </a:cubicBezTo>
                  <a:cubicBezTo>
                    <a:pt x="695229" y="1096515"/>
                    <a:pt x="695810" y="1097026"/>
                    <a:pt x="696479" y="1097026"/>
                  </a:cubicBezTo>
                  <a:lnTo>
                    <a:pt x="700078" y="1097026"/>
                  </a:lnTo>
                  <a:cubicBezTo>
                    <a:pt x="700753" y="1097026"/>
                    <a:pt x="701320" y="1096515"/>
                    <a:pt x="701320" y="1095842"/>
                  </a:cubicBezTo>
                  <a:lnTo>
                    <a:pt x="701320" y="1092180"/>
                  </a:lnTo>
                  <a:cubicBezTo>
                    <a:pt x="701320" y="1091521"/>
                    <a:pt x="700753" y="1090937"/>
                    <a:pt x="700078" y="1090937"/>
                  </a:cubicBezTo>
                  <a:close/>
                  <a:moveTo>
                    <a:pt x="670563" y="1090937"/>
                  </a:moveTo>
                  <a:cubicBezTo>
                    <a:pt x="669915" y="1090937"/>
                    <a:pt x="669381" y="1091521"/>
                    <a:pt x="669381" y="1092180"/>
                  </a:cubicBezTo>
                  <a:cubicBezTo>
                    <a:pt x="669381" y="1092180"/>
                    <a:pt x="669381" y="1095842"/>
                    <a:pt x="669381" y="1095842"/>
                  </a:cubicBezTo>
                  <a:cubicBezTo>
                    <a:pt x="669381" y="1096515"/>
                    <a:pt x="669915" y="1097026"/>
                    <a:pt x="670563" y="1097026"/>
                  </a:cubicBezTo>
                  <a:lnTo>
                    <a:pt x="674290" y="1097026"/>
                  </a:lnTo>
                  <a:cubicBezTo>
                    <a:pt x="674945" y="1097026"/>
                    <a:pt x="675472" y="1096515"/>
                    <a:pt x="675472" y="1095842"/>
                  </a:cubicBezTo>
                  <a:lnTo>
                    <a:pt x="675472" y="1092180"/>
                  </a:lnTo>
                  <a:cubicBezTo>
                    <a:pt x="675472" y="1091521"/>
                    <a:pt x="674945" y="1090937"/>
                    <a:pt x="674290" y="1090937"/>
                  </a:cubicBezTo>
                  <a:close/>
                  <a:moveTo>
                    <a:pt x="644769" y="1090937"/>
                  </a:moveTo>
                  <a:cubicBezTo>
                    <a:pt x="644100" y="1090937"/>
                    <a:pt x="643526" y="1091521"/>
                    <a:pt x="643526" y="1092180"/>
                  </a:cubicBezTo>
                  <a:cubicBezTo>
                    <a:pt x="643526" y="1092180"/>
                    <a:pt x="643526" y="1095842"/>
                    <a:pt x="643526" y="1095842"/>
                  </a:cubicBezTo>
                  <a:cubicBezTo>
                    <a:pt x="643526" y="1096515"/>
                    <a:pt x="644100" y="1097026"/>
                    <a:pt x="644769" y="1097026"/>
                  </a:cubicBezTo>
                  <a:lnTo>
                    <a:pt x="648375" y="1097026"/>
                  </a:lnTo>
                  <a:cubicBezTo>
                    <a:pt x="649043" y="1097026"/>
                    <a:pt x="649617" y="1096515"/>
                    <a:pt x="649617" y="1095842"/>
                  </a:cubicBezTo>
                  <a:lnTo>
                    <a:pt x="649617" y="1092180"/>
                  </a:lnTo>
                  <a:cubicBezTo>
                    <a:pt x="649617" y="1091521"/>
                    <a:pt x="649043" y="1090937"/>
                    <a:pt x="648375" y="1090937"/>
                  </a:cubicBezTo>
                  <a:close/>
                  <a:moveTo>
                    <a:pt x="2749106" y="1090769"/>
                  </a:moveTo>
                  <a:lnTo>
                    <a:pt x="2760049" y="1097086"/>
                  </a:lnTo>
                  <a:cubicBezTo>
                    <a:pt x="2760049" y="1097086"/>
                    <a:pt x="2753486" y="1108457"/>
                    <a:pt x="2753486" y="1108457"/>
                  </a:cubicBezTo>
                  <a:cubicBezTo>
                    <a:pt x="2750075" y="1105996"/>
                    <a:pt x="2746432" y="1103862"/>
                    <a:pt x="2742571" y="1102112"/>
                  </a:cubicBezTo>
                  <a:close/>
                  <a:moveTo>
                    <a:pt x="2684248" y="1090769"/>
                  </a:moveTo>
                  <a:lnTo>
                    <a:pt x="2690790" y="1102112"/>
                  </a:lnTo>
                  <a:cubicBezTo>
                    <a:pt x="2686909" y="1103862"/>
                    <a:pt x="2683287" y="1105996"/>
                    <a:pt x="2679868" y="1108466"/>
                  </a:cubicBezTo>
                  <a:lnTo>
                    <a:pt x="2673284" y="1097086"/>
                  </a:lnTo>
                  <a:close/>
                  <a:moveTo>
                    <a:pt x="746129" y="1083790"/>
                  </a:moveTo>
                  <a:lnTo>
                    <a:pt x="749796" y="1083790"/>
                  </a:lnTo>
                  <a:cubicBezTo>
                    <a:pt x="754441" y="1083790"/>
                    <a:pt x="758250" y="1087549"/>
                    <a:pt x="758250" y="1092180"/>
                  </a:cubicBezTo>
                  <a:lnTo>
                    <a:pt x="758250" y="1095842"/>
                  </a:lnTo>
                  <a:cubicBezTo>
                    <a:pt x="758250" y="1100466"/>
                    <a:pt x="754421" y="1104231"/>
                    <a:pt x="749796" y="1104231"/>
                  </a:cubicBezTo>
                  <a:lnTo>
                    <a:pt x="746129" y="1104231"/>
                  </a:lnTo>
                  <a:cubicBezTo>
                    <a:pt x="741504" y="1104231"/>
                    <a:pt x="737803" y="1100466"/>
                    <a:pt x="737803" y="1095842"/>
                  </a:cubicBezTo>
                  <a:lnTo>
                    <a:pt x="737803" y="1092180"/>
                  </a:lnTo>
                  <a:cubicBezTo>
                    <a:pt x="737803" y="1087549"/>
                    <a:pt x="741504" y="1083790"/>
                    <a:pt x="746129" y="1083790"/>
                  </a:cubicBezTo>
                  <a:close/>
                  <a:moveTo>
                    <a:pt x="720342" y="1083790"/>
                  </a:moveTo>
                  <a:lnTo>
                    <a:pt x="723941" y="1083790"/>
                  </a:lnTo>
                  <a:cubicBezTo>
                    <a:pt x="728573" y="1083790"/>
                    <a:pt x="732334" y="1087549"/>
                    <a:pt x="732334" y="1092180"/>
                  </a:cubicBezTo>
                  <a:lnTo>
                    <a:pt x="732334" y="1095842"/>
                  </a:lnTo>
                  <a:cubicBezTo>
                    <a:pt x="732334" y="1100466"/>
                    <a:pt x="728573" y="1104231"/>
                    <a:pt x="723941" y="1104231"/>
                  </a:cubicBezTo>
                  <a:lnTo>
                    <a:pt x="720342" y="1104231"/>
                  </a:lnTo>
                  <a:cubicBezTo>
                    <a:pt x="715716" y="1104231"/>
                    <a:pt x="711948" y="1100466"/>
                    <a:pt x="711948" y="1095842"/>
                  </a:cubicBezTo>
                  <a:lnTo>
                    <a:pt x="711948" y="1092180"/>
                  </a:lnTo>
                  <a:cubicBezTo>
                    <a:pt x="711948" y="1087549"/>
                    <a:pt x="715716" y="1083790"/>
                    <a:pt x="720342" y="1083790"/>
                  </a:cubicBezTo>
                  <a:close/>
                  <a:moveTo>
                    <a:pt x="696479" y="1083790"/>
                  </a:moveTo>
                  <a:lnTo>
                    <a:pt x="700145" y="1083790"/>
                  </a:lnTo>
                  <a:cubicBezTo>
                    <a:pt x="704757" y="1083790"/>
                    <a:pt x="708532" y="1087549"/>
                    <a:pt x="708532" y="1092180"/>
                  </a:cubicBezTo>
                  <a:lnTo>
                    <a:pt x="708532" y="1095842"/>
                  </a:lnTo>
                  <a:cubicBezTo>
                    <a:pt x="708532" y="1100466"/>
                    <a:pt x="704757" y="1104231"/>
                    <a:pt x="700145" y="1104231"/>
                  </a:cubicBezTo>
                  <a:lnTo>
                    <a:pt x="696479" y="1104231"/>
                  </a:lnTo>
                  <a:cubicBezTo>
                    <a:pt x="691853" y="1104231"/>
                    <a:pt x="688085" y="1100466"/>
                    <a:pt x="688085" y="1095842"/>
                  </a:cubicBezTo>
                  <a:lnTo>
                    <a:pt x="688085" y="1092180"/>
                  </a:lnTo>
                  <a:cubicBezTo>
                    <a:pt x="688085" y="1087549"/>
                    <a:pt x="691847" y="1083790"/>
                    <a:pt x="696479" y="1083790"/>
                  </a:cubicBezTo>
                  <a:close/>
                  <a:moveTo>
                    <a:pt x="670624" y="1083790"/>
                  </a:moveTo>
                  <a:lnTo>
                    <a:pt x="674290" y="1083790"/>
                  </a:lnTo>
                  <a:cubicBezTo>
                    <a:pt x="678916" y="1083790"/>
                    <a:pt x="682677" y="1087549"/>
                    <a:pt x="682677" y="1092180"/>
                  </a:cubicBezTo>
                  <a:lnTo>
                    <a:pt x="682677" y="1095842"/>
                  </a:lnTo>
                  <a:cubicBezTo>
                    <a:pt x="682677" y="1100466"/>
                    <a:pt x="678916" y="1104231"/>
                    <a:pt x="674290" y="1104231"/>
                  </a:cubicBezTo>
                  <a:lnTo>
                    <a:pt x="670624" y="1104231"/>
                  </a:lnTo>
                  <a:cubicBezTo>
                    <a:pt x="666005" y="1104231"/>
                    <a:pt x="662237" y="1100466"/>
                    <a:pt x="662237" y="1095842"/>
                  </a:cubicBezTo>
                  <a:lnTo>
                    <a:pt x="662237" y="1092180"/>
                  </a:lnTo>
                  <a:cubicBezTo>
                    <a:pt x="662237" y="1087549"/>
                    <a:pt x="666005" y="1083790"/>
                    <a:pt x="670624" y="1083790"/>
                  </a:cubicBezTo>
                  <a:close/>
                  <a:moveTo>
                    <a:pt x="644769" y="1083790"/>
                  </a:moveTo>
                  <a:lnTo>
                    <a:pt x="648375" y="1083790"/>
                  </a:lnTo>
                  <a:cubicBezTo>
                    <a:pt x="653000" y="1083790"/>
                    <a:pt x="656829" y="1087549"/>
                    <a:pt x="656829" y="1092180"/>
                  </a:cubicBezTo>
                  <a:lnTo>
                    <a:pt x="656829" y="1095842"/>
                  </a:lnTo>
                  <a:cubicBezTo>
                    <a:pt x="656829" y="1100466"/>
                    <a:pt x="653000" y="1104231"/>
                    <a:pt x="648375" y="1104231"/>
                  </a:cubicBezTo>
                  <a:lnTo>
                    <a:pt x="644769" y="1104231"/>
                  </a:lnTo>
                  <a:cubicBezTo>
                    <a:pt x="640137" y="1104231"/>
                    <a:pt x="636382" y="1100466"/>
                    <a:pt x="636382" y="1095842"/>
                  </a:cubicBezTo>
                  <a:lnTo>
                    <a:pt x="636382" y="1092180"/>
                  </a:lnTo>
                  <a:cubicBezTo>
                    <a:pt x="636382" y="1087549"/>
                    <a:pt x="640137" y="1083790"/>
                    <a:pt x="644769" y="1083790"/>
                  </a:cubicBezTo>
                  <a:close/>
                  <a:moveTo>
                    <a:pt x="2710353" y="1083778"/>
                  </a:moveTo>
                  <a:lnTo>
                    <a:pt x="2722988" y="1083778"/>
                  </a:lnTo>
                  <a:lnTo>
                    <a:pt x="2722988" y="1097049"/>
                  </a:lnTo>
                  <a:cubicBezTo>
                    <a:pt x="2720882" y="1096824"/>
                    <a:pt x="2718846" y="1096412"/>
                    <a:pt x="2716677" y="1096412"/>
                  </a:cubicBezTo>
                  <a:cubicBezTo>
                    <a:pt x="2714501" y="1096412"/>
                    <a:pt x="2712466" y="1096824"/>
                    <a:pt x="2710353" y="1097049"/>
                  </a:cubicBezTo>
                  <a:close/>
                  <a:moveTo>
                    <a:pt x="366433" y="1083477"/>
                  </a:moveTo>
                  <a:lnTo>
                    <a:pt x="364443" y="1094665"/>
                  </a:lnTo>
                  <a:lnTo>
                    <a:pt x="373017" y="1103298"/>
                  </a:lnTo>
                  <a:cubicBezTo>
                    <a:pt x="373017" y="1103298"/>
                    <a:pt x="384203" y="1101311"/>
                    <a:pt x="384203" y="1101311"/>
                  </a:cubicBezTo>
                  <a:close/>
                  <a:moveTo>
                    <a:pt x="2606032" y="1073844"/>
                  </a:moveTo>
                  <a:cubicBezTo>
                    <a:pt x="2615389" y="1073844"/>
                    <a:pt x="2624108" y="1078046"/>
                    <a:pt x="2629956" y="1085339"/>
                  </a:cubicBezTo>
                  <a:cubicBezTo>
                    <a:pt x="2640509" y="1098521"/>
                    <a:pt x="2638414" y="1117846"/>
                    <a:pt x="2625234" y="1128408"/>
                  </a:cubicBezTo>
                  <a:lnTo>
                    <a:pt x="2615293" y="1136295"/>
                  </a:lnTo>
                  <a:lnTo>
                    <a:pt x="2618025" y="1139715"/>
                  </a:lnTo>
                  <a:cubicBezTo>
                    <a:pt x="2621062" y="1143522"/>
                    <a:pt x="2620460" y="1149043"/>
                    <a:pt x="2616654" y="1152087"/>
                  </a:cubicBezTo>
                  <a:cubicBezTo>
                    <a:pt x="2615031" y="1153387"/>
                    <a:pt x="2613058" y="1154009"/>
                    <a:pt x="2611129" y="1154009"/>
                  </a:cubicBezTo>
                  <a:cubicBezTo>
                    <a:pt x="2608537" y="1154009"/>
                    <a:pt x="2606023" y="1152878"/>
                    <a:pt x="2604295" y="1150720"/>
                  </a:cubicBezTo>
                  <a:lnTo>
                    <a:pt x="2601554" y="1147300"/>
                  </a:lnTo>
                  <a:lnTo>
                    <a:pt x="2517910" y="1214349"/>
                  </a:lnTo>
                  <a:cubicBezTo>
                    <a:pt x="2513764" y="1217703"/>
                    <a:pt x="2508754" y="1219870"/>
                    <a:pt x="2503490" y="1220690"/>
                  </a:cubicBezTo>
                  <a:lnTo>
                    <a:pt x="2471797" y="1225722"/>
                  </a:lnTo>
                  <a:cubicBezTo>
                    <a:pt x="2471169" y="1225816"/>
                    <a:pt x="2470567" y="1225844"/>
                    <a:pt x="2469938" y="1225844"/>
                  </a:cubicBezTo>
                  <a:cubicBezTo>
                    <a:pt x="2466290" y="1225844"/>
                    <a:pt x="2462921" y="1224224"/>
                    <a:pt x="2460616" y="1221378"/>
                  </a:cubicBezTo>
                  <a:cubicBezTo>
                    <a:pt x="2457928" y="1218052"/>
                    <a:pt x="2457169" y="1213548"/>
                    <a:pt x="2458687" y="1209562"/>
                  </a:cubicBezTo>
                  <a:lnTo>
                    <a:pt x="2470244" y="1179430"/>
                  </a:lnTo>
                  <a:cubicBezTo>
                    <a:pt x="2472173" y="1174342"/>
                    <a:pt x="2475455" y="1169838"/>
                    <a:pt x="2479688" y="1166437"/>
                  </a:cubicBezTo>
                  <a:lnTo>
                    <a:pt x="2563271" y="1099510"/>
                  </a:lnTo>
                  <a:lnTo>
                    <a:pt x="2560539" y="1096156"/>
                  </a:lnTo>
                  <a:cubicBezTo>
                    <a:pt x="2557502" y="1092359"/>
                    <a:pt x="2558122" y="1086819"/>
                    <a:pt x="2561910" y="1083785"/>
                  </a:cubicBezTo>
                  <a:cubicBezTo>
                    <a:pt x="2565706" y="1080741"/>
                    <a:pt x="2571214" y="1081344"/>
                    <a:pt x="2574278" y="1085151"/>
                  </a:cubicBezTo>
                  <a:lnTo>
                    <a:pt x="2577010" y="1088515"/>
                  </a:lnTo>
                  <a:lnTo>
                    <a:pt x="2586890" y="1080553"/>
                  </a:lnTo>
                  <a:cubicBezTo>
                    <a:pt x="2592293" y="1076209"/>
                    <a:pt x="2599084" y="1073844"/>
                    <a:pt x="2606032" y="1073844"/>
                  </a:cubicBezTo>
                  <a:close/>
                  <a:moveTo>
                    <a:pt x="2148403" y="1073844"/>
                  </a:moveTo>
                  <a:cubicBezTo>
                    <a:pt x="2191630" y="1073844"/>
                    <a:pt x="2226701" y="1108915"/>
                    <a:pt x="2226701" y="1152143"/>
                  </a:cubicBezTo>
                  <a:cubicBezTo>
                    <a:pt x="2226701" y="1195390"/>
                    <a:pt x="2191630" y="1230383"/>
                    <a:pt x="2148403" y="1230383"/>
                  </a:cubicBezTo>
                  <a:cubicBezTo>
                    <a:pt x="2105166" y="1230383"/>
                    <a:pt x="2070163" y="1195390"/>
                    <a:pt x="2070163" y="1152143"/>
                  </a:cubicBezTo>
                  <a:cubicBezTo>
                    <a:pt x="2070163" y="1108915"/>
                    <a:pt x="2105166" y="1073844"/>
                    <a:pt x="2148403" y="1073844"/>
                  </a:cubicBezTo>
                  <a:close/>
                  <a:moveTo>
                    <a:pt x="630663" y="1071917"/>
                  </a:moveTo>
                  <a:lnTo>
                    <a:pt x="630663" y="1170480"/>
                  </a:lnTo>
                  <a:cubicBezTo>
                    <a:pt x="630663" y="1170910"/>
                    <a:pt x="631021" y="1171228"/>
                    <a:pt x="631412" y="1171228"/>
                  </a:cubicBezTo>
                  <a:lnTo>
                    <a:pt x="716736" y="1171228"/>
                  </a:lnTo>
                  <a:cubicBezTo>
                    <a:pt x="716932" y="1171228"/>
                    <a:pt x="717202" y="1171176"/>
                    <a:pt x="717479" y="1171102"/>
                  </a:cubicBezTo>
                  <a:cubicBezTo>
                    <a:pt x="717479" y="1170902"/>
                    <a:pt x="717479" y="1170695"/>
                    <a:pt x="717479" y="1170480"/>
                  </a:cubicBezTo>
                  <a:lnTo>
                    <a:pt x="717479" y="1116601"/>
                  </a:lnTo>
                  <a:cubicBezTo>
                    <a:pt x="717479" y="1112732"/>
                    <a:pt x="720652" y="1109580"/>
                    <a:pt x="724501" y="1109580"/>
                  </a:cubicBezTo>
                  <a:lnTo>
                    <a:pt x="763280" y="1109580"/>
                  </a:lnTo>
                  <a:cubicBezTo>
                    <a:pt x="763496" y="1109580"/>
                    <a:pt x="763733" y="1109617"/>
                    <a:pt x="763962" y="1109639"/>
                  </a:cubicBezTo>
                  <a:cubicBezTo>
                    <a:pt x="764003" y="1109314"/>
                    <a:pt x="764023" y="1109055"/>
                    <a:pt x="764023" y="1108833"/>
                  </a:cubicBezTo>
                  <a:cubicBezTo>
                    <a:pt x="764023" y="1108833"/>
                    <a:pt x="764023" y="1071917"/>
                    <a:pt x="764023" y="1071917"/>
                  </a:cubicBezTo>
                  <a:close/>
                  <a:moveTo>
                    <a:pt x="2702247" y="1046687"/>
                  </a:moveTo>
                  <a:lnTo>
                    <a:pt x="2702247" y="1050974"/>
                  </a:lnTo>
                  <a:lnTo>
                    <a:pt x="2736542" y="1050974"/>
                  </a:lnTo>
                  <a:cubicBezTo>
                    <a:pt x="2736542" y="1050974"/>
                    <a:pt x="2736542" y="1046687"/>
                    <a:pt x="2736542" y="1046687"/>
                  </a:cubicBezTo>
                  <a:close/>
                  <a:moveTo>
                    <a:pt x="2770831" y="1044544"/>
                  </a:moveTo>
                  <a:cubicBezTo>
                    <a:pt x="2768468" y="1044544"/>
                    <a:pt x="2766544" y="1046459"/>
                    <a:pt x="2766544" y="1048831"/>
                  </a:cubicBezTo>
                  <a:cubicBezTo>
                    <a:pt x="2766544" y="1051193"/>
                    <a:pt x="2768468" y="1053117"/>
                    <a:pt x="2770831" y="1053117"/>
                  </a:cubicBezTo>
                  <a:cubicBezTo>
                    <a:pt x="2773206" y="1053117"/>
                    <a:pt x="2775117" y="1051193"/>
                    <a:pt x="2775117" y="1048831"/>
                  </a:cubicBezTo>
                  <a:cubicBezTo>
                    <a:pt x="2775117" y="1046459"/>
                    <a:pt x="2773206" y="1044544"/>
                    <a:pt x="2770831" y="1044544"/>
                  </a:cubicBezTo>
                  <a:close/>
                  <a:moveTo>
                    <a:pt x="2753683" y="1044544"/>
                  </a:moveTo>
                  <a:cubicBezTo>
                    <a:pt x="2751314" y="1044544"/>
                    <a:pt x="2749396" y="1046459"/>
                    <a:pt x="2749396" y="1048831"/>
                  </a:cubicBezTo>
                  <a:cubicBezTo>
                    <a:pt x="2749396" y="1051193"/>
                    <a:pt x="2751314" y="1053117"/>
                    <a:pt x="2753683" y="1053117"/>
                  </a:cubicBezTo>
                  <a:cubicBezTo>
                    <a:pt x="2756058" y="1053117"/>
                    <a:pt x="2757970" y="1051193"/>
                    <a:pt x="2757970" y="1048831"/>
                  </a:cubicBezTo>
                  <a:cubicBezTo>
                    <a:pt x="2757970" y="1046459"/>
                    <a:pt x="2756058" y="1044544"/>
                    <a:pt x="2753683" y="1044544"/>
                  </a:cubicBezTo>
                  <a:close/>
                  <a:moveTo>
                    <a:pt x="430689" y="1044266"/>
                  </a:moveTo>
                  <a:lnTo>
                    <a:pt x="386128" y="1088820"/>
                  </a:lnTo>
                  <a:lnTo>
                    <a:pt x="394709" y="1097394"/>
                  </a:lnTo>
                  <a:cubicBezTo>
                    <a:pt x="394709" y="1097394"/>
                    <a:pt x="439322" y="1052840"/>
                    <a:pt x="439322" y="1052840"/>
                  </a:cubicBezTo>
                  <a:close/>
                  <a:moveTo>
                    <a:pt x="631412" y="1044011"/>
                  </a:moveTo>
                  <a:cubicBezTo>
                    <a:pt x="630994" y="1044011"/>
                    <a:pt x="630663" y="1044285"/>
                    <a:pt x="630663" y="1044699"/>
                  </a:cubicBezTo>
                  <a:lnTo>
                    <a:pt x="630663" y="1064711"/>
                  </a:lnTo>
                  <a:lnTo>
                    <a:pt x="764023" y="1064711"/>
                  </a:lnTo>
                  <a:cubicBezTo>
                    <a:pt x="764023" y="1064711"/>
                    <a:pt x="764023" y="1044699"/>
                    <a:pt x="764023" y="1044699"/>
                  </a:cubicBezTo>
                  <a:cubicBezTo>
                    <a:pt x="764023" y="1044285"/>
                    <a:pt x="763699" y="1044011"/>
                    <a:pt x="763280" y="1044011"/>
                  </a:cubicBezTo>
                  <a:lnTo>
                    <a:pt x="741092" y="1044011"/>
                  </a:lnTo>
                  <a:cubicBezTo>
                    <a:pt x="741058" y="1045706"/>
                    <a:pt x="740984" y="1047385"/>
                    <a:pt x="740849" y="1049109"/>
                  </a:cubicBezTo>
                  <a:cubicBezTo>
                    <a:pt x="743347" y="1050366"/>
                    <a:pt x="744947" y="1052904"/>
                    <a:pt x="744947" y="1055700"/>
                  </a:cubicBezTo>
                  <a:cubicBezTo>
                    <a:pt x="744947" y="1059799"/>
                    <a:pt x="741585" y="1063157"/>
                    <a:pt x="737493" y="1063157"/>
                  </a:cubicBezTo>
                  <a:cubicBezTo>
                    <a:pt x="733381" y="1063157"/>
                    <a:pt x="730092" y="1059799"/>
                    <a:pt x="730092" y="1055700"/>
                  </a:cubicBezTo>
                  <a:cubicBezTo>
                    <a:pt x="730092" y="1053163"/>
                    <a:pt x="731409" y="1050855"/>
                    <a:pt x="733576" y="1049486"/>
                  </a:cubicBezTo>
                  <a:cubicBezTo>
                    <a:pt x="733732" y="1047607"/>
                    <a:pt x="733826" y="1045780"/>
                    <a:pt x="733887" y="1044011"/>
                  </a:cubicBezTo>
                  <a:lnTo>
                    <a:pt x="671123" y="1044011"/>
                  </a:lnTo>
                  <a:cubicBezTo>
                    <a:pt x="671076" y="1045957"/>
                    <a:pt x="670921" y="1047977"/>
                    <a:pt x="670745" y="1050041"/>
                  </a:cubicBezTo>
                  <a:cubicBezTo>
                    <a:pt x="672555" y="1051483"/>
                    <a:pt x="673608" y="1053473"/>
                    <a:pt x="673608" y="1055700"/>
                  </a:cubicBezTo>
                  <a:cubicBezTo>
                    <a:pt x="673608" y="1059799"/>
                    <a:pt x="670266" y="1063157"/>
                    <a:pt x="666147" y="1063157"/>
                  </a:cubicBezTo>
                  <a:cubicBezTo>
                    <a:pt x="662055" y="1063157"/>
                    <a:pt x="658753" y="1059799"/>
                    <a:pt x="658753" y="1055700"/>
                  </a:cubicBezTo>
                  <a:cubicBezTo>
                    <a:pt x="658753" y="1052593"/>
                    <a:pt x="660671" y="1049900"/>
                    <a:pt x="663601" y="1048864"/>
                  </a:cubicBezTo>
                  <a:cubicBezTo>
                    <a:pt x="663743" y="1047207"/>
                    <a:pt x="663871" y="1045587"/>
                    <a:pt x="663912" y="1044011"/>
                  </a:cubicBezTo>
                  <a:close/>
                  <a:moveTo>
                    <a:pt x="40040" y="1032698"/>
                  </a:moveTo>
                  <a:cubicBezTo>
                    <a:pt x="41878" y="1035873"/>
                    <a:pt x="42929" y="1039549"/>
                    <a:pt x="42929" y="1043448"/>
                  </a:cubicBezTo>
                  <a:lnTo>
                    <a:pt x="42929" y="1091780"/>
                  </a:lnTo>
                  <a:lnTo>
                    <a:pt x="64429" y="1091780"/>
                  </a:lnTo>
                  <a:cubicBezTo>
                    <a:pt x="64429" y="1091780"/>
                    <a:pt x="64429" y="1087213"/>
                    <a:pt x="64429" y="1087213"/>
                  </a:cubicBezTo>
                  <a:cubicBezTo>
                    <a:pt x="64174" y="1086902"/>
                    <a:pt x="63904" y="1086616"/>
                    <a:pt x="63673" y="1086321"/>
                  </a:cubicBezTo>
                  <a:cubicBezTo>
                    <a:pt x="61930" y="1084276"/>
                    <a:pt x="59058" y="1080839"/>
                    <a:pt x="59058" y="1075675"/>
                  </a:cubicBezTo>
                  <a:lnTo>
                    <a:pt x="59058" y="1038061"/>
                  </a:lnTo>
                  <a:cubicBezTo>
                    <a:pt x="59058" y="1036215"/>
                    <a:pt x="59368" y="1034425"/>
                    <a:pt x="59949" y="1032770"/>
                  </a:cubicBezTo>
                  <a:lnTo>
                    <a:pt x="43796" y="1032770"/>
                  </a:lnTo>
                  <a:lnTo>
                    <a:pt x="43796" y="1032698"/>
                  </a:lnTo>
                  <a:close/>
                  <a:moveTo>
                    <a:pt x="542834" y="1028570"/>
                  </a:moveTo>
                  <a:cubicBezTo>
                    <a:pt x="529140" y="1028570"/>
                    <a:pt x="517999" y="1039711"/>
                    <a:pt x="517999" y="1053408"/>
                  </a:cubicBezTo>
                  <a:lnTo>
                    <a:pt x="517999" y="1078232"/>
                  </a:lnTo>
                  <a:lnTo>
                    <a:pt x="567655" y="1078232"/>
                  </a:lnTo>
                  <a:cubicBezTo>
                    <a:pt x="567655" y="1078232"/>
                    <a:pt x="567655" y="1053408"/>
                    <a:pt x="567655" y="1053408"/>
                  </a:cubicBezTo>
                  <a:cubicBezTo>
                    <a:pt x="567655" y="1039711"/>
                    <a:pt x="556523" y="1028570"/>
                    <a:pt x="542834" y="1028570"/>
                  </a:cubicBezTo>
                  <a:close/>
                  <a:moveTo>
                    <a:pt x="414901" y="1028419"/>
                  </a:moveTo>
                  <a:cubicBezTo>
                    <a:pt x="414901" y="1028419"/>
                    <a:pt x="370281" y="1072974"/>
                    <a:pt x="370281" y="1072974"/>
                  </a:cubicBezTo>
                  <a:lnTo>
                    <a:pt x="378921" y="1081614"/>
                  </a:lnTo>
                  <a:lnTo>
                    <a:pt x="423475" y="1037052"/>
                  </a:lnTo>
                  <a:close/>
                  <a:moveTo>
                    <a:pt x="657389" y="1025561"/>
                  </a:moveTo>
                  <a:cubicBezTo>
                    <a:pt x="652818" y="1026234"/>
                    <a:pt x="652649" y="1034904"/>
                    <a:pt x="652723" y="1037738"/>
                  </a:cubicBezTo>
                  <a:lnTo>
                    <a:pt x="663790" y="1037738"/>
                  </a:lnTo>
                  <a:cubicBezTo>
                    <a:pt x="663459" y="1032101"/>
                    <a:pt x="662393" y="1028224"/>
                    <a:pt x="660617" y="1026426"/>
                  </a:cubicBezTo>
                  <a:cubicBezTo>
                    <a:pt x="659752" y="1025568"/>
                    <a:pt x="658739" y="1025317"/>
                    <a:pt x="657389" y="1025561"/>
                  </a:cubicBezTo>
                  <a:close/>
                  <a:moveTo>
                    <a:pt x="727364" y="1025435"/>
                  </a:moveTo>
                  <a:cubicBezTo>
                    <a:pt x="723063" y="1026101"/>
                    <a:pt x="722590" y="1034098"/>
                    <a:pt x="722766" y="1037738"/>
                  </a:cubicBezTo>
                  <a:lnTo>
                    <a:pt x="733826" y="1037738"/>
                  </a:lnTo>
                  <a:cubicBezTo>
                    <a:pt x="733489" y="1032064"/>
                    <a:pt x="732361" y="1028091"/>
                    <a:pt x="730592" y="1026301"/>
                  </a:cubicBezTo>
                  <a:cubicBezTo>
                    <a:pt x="729721" y="1025413"/>
                    <a:pt x="728715" y="1025213"/>
                    <a:pt x="727364" y="1025435"/>
                  </a:cubicBezTo>
                  <a:close/>
                  <a:moveTo>
                    <a:pt x="2483882" y="1023372"/>
                  </a:moveTo>
                  <a:lnTo>
                    <a:pt x="2483882" y="1090693"/>
                  </a:lnTo>
                  <a:lnTo>
                    <a:pt x="2524874" y="1067929"/>
                  </a:lnTo>
                  <a:cubicBezTo>
                    <a:pt x="2524874" y="1067929"/>
                    <a:pt x="2524874" y="1027962"/>
                    <a:pt x="2524874" y="1027962"/>
                  </a:cubicBezTo>
                  <a:lnTo>
                    <a:pt x="2497059" y="1041311"/>
                  </a:lnTo>
                  <a:cubicBezTo>
                    <a:pt x="2496474" y="1041596"/>
                    <a:pt x="2495857" y="1041720"/>
                    <a:pt x="2495217" y="1041720"/>
                  </a:cubicBezTo>
                  <a:cubicBezTo>
                    <a:pt x="2494749" y="1041720"/>
                    <a:pt x="2494265" y="1041664"/>
                    <a:pt x="2493812" y="1041478"/>
                  </a:cubicBezTo>
                  <a:cubicBezTo>
                    <a:pt x="2492742" y="1041100"/>
                    <a:pt x="2491860" y="1040314"/>
                    <a:pt x="2491376" y="1039285"/>
                  </a:cubicBezTo>
                  <a:close/>
                  <a:moveTo>
                    <a:pt x="2475373" y="1018391"/>
                  </a:moveTo>
                  <a:lnTo>
                    <a:pt x="2460173" y="1041187"/>
                  </a:lnTo>
                  <a:cubicBezTo>
                    <a:pt x="2459361" y="1042395"/>
                    <a:pt x="2458042" y="1043083"/>
                    <a:pt x="2456637" y="1043083"/>
                  </a:cubicBezTo>
                  <a:cubicBezTo>
                    <a:pt x="2456270" y="1043083"/>
                    <a:pt x="2455911" y="1043039"/>
                    <a:pt x="2455567" y="1042946"/>
                  </a:cubicBezTo>
                  <a:lnTo>
                    <a:pt x="2414879" y="1032440"/>
                  </a:lnTo>
                  <a:lnTo>
                    <a:pt x="2414879" y="1073683"/>
                  </a:lnTo>
                  <a:cubicBezTo>
                    <a:pt x="2414879" y="1073683"/>
                    <a:pt x="2475373" y="1092161"/>
                    <a:pt x="2475373" y="1092161"/>
                  </a:cubicBezTo>
                  <a:close/>
                  <a:moveTo>
                    <a:pt x="726243" y="1018288"/>
                  </a:moveTo>
                  <a:cubicBezTo>
                    <a:pt x="729971" y="1017704"/>
                    <a:pt x="733246" y="1018784"/>
                    <a:pt x="735690" y="1021270"/>
                  </a:cubicBezTo>
                  <a:cubicBezTo>
                    <a:pt x="738756" y="1024377"/>
                    <a:pt x="740585" y="1029940"/>
                    <a:pt x="741031" y="1037738"/>
                  </a:cubicBezTo>
                  <a:lnTo>
                    <a:pt x="763280" y="1037738"/>
                  </a:lnTo>
                  <a:cubicBezTo>
                    <a:pt x="767143" y="1037738"/>
                    <a:pt x="770303" y="1040838"/>
                    <a:pt x="770303" y="1044699"/>
                  </a:cubicBezTo>
                  <a:lnTo>
                    <a:pt x="770303" y="1108833"/>
                  </a:lnTo>
                  <a:cubicBezTo>
                    <a:pt x="770303" y="1111688"/>
                    <a:pt x="769047" y="1115432"/>
                    <a:pt x="767318" y="1117718"/>
                  </a:cubicBezTo>
                  <a:lnTo>
                    <a:pt x="725433" y="1173151"/>
                  </a:lnTo>
                  <a:cubicBezTo>
                    <a:pt x="725041" y="1173684"/>
                    <a:pt x="724656" y="1174120"/>
                    <a:pt x="724130" y="1174520"/>
                  </a:cubicBezTo>
                  <a:cubicBezTo>
                    <a:pt x="722084" y="1176325"/>
                    <a:pt x="719194" y="1177501"/>
                    <a:pt x="716736" y="1177501"/>
                  </a:cubicBezTo>
                  <a:lnTo>
                    <a:pt x="631412" y="1177501"/>
                  </a:lnTo>
                  <a:cubicBezTo>
                    <a:pt x="627557" y="1177501"/>
                    <a:pt x="624451" y="1174342"/>
                    <a:pt x="624451" y="1170480"/>
                  </a:cubicBezTo>
                  <a:lnTo>
                    <a:pt x="624451" y="1044699"/>
                  </a:lnTo>
                  <a:cubicBezTo>
                    <a:pt x="624451" y="1040838"/>
                    <a:pt x="627557" y="1037738"/>
                    <a:pt x="631412" y="1037738"/>
                  </a:cubicBezTo>
                  <a:lnTo>
                    <a:pt x="645579" y="1037738"/>
                  </a:lnTo>
                  <a:cubicBezTo>
                    <a:pt x="645430" y="1033262"/>
                    <a:pt x="645917" y="1020005"/>
                    <a:pt x="656268" y="1018414"/>
                  </a:cubicBezTo>
                  <a:cubicBezTo>
                    <a:pt x="660009" y="1017830"/>
                    <a:pt x="663277" y="1018903"/>
                    <a:pt x="665715" y="1021396"/>
                  </a:cubicBezTo>
                  <a:cubicBezTo>
                    <a:pt x="668767" y="1024495"/>
                    <a:pt x="670522" y="1030000"/>
                    <a:pt x="670995" y="1037738"/>
                  </a:cubicBezTo>
                  <a:lnTo>
                    <a:pt x="715554" y="1037738"/>
                  </a:lnTo>
                  <a:cubicBezTo>
                    <a:pt x="715392" y="1033247"/>
                    <a:pt x="715811" y="1019923"/>
                    <a:pt x="726243" y="1018288"/>
                  </a:cubicBezTo>
                  <a:close/>
                  <a:moveTo>
                    <a:pt x="414901" y="1016176"/>
                  </a:moveTo>
                  <a:cubicBezTo>
                    <a:pt x="416203" y="1016176"/>
                    <a:pt x="417513" y="1016671"/>
                    <a:pt x="418508" y="1017668"/>
                  </a:cubicBezTo>
                  <a:cubicBezTo>
                    <a:pt x="418508" y="1017668"/>
                    <a:pt x="450076" y="1049295"/>
                    <a:pt x="450076" y="1049295"/>
                  </a:cubicBezTo>
                  <a:cubicBezTo>
                    <a:pt x="451035" y="1050234"/>
                    <a:pt x="451569" y="1051494"/>
                    <a:pt x="451569" y="1052840"/>
                  </a:cubicBezTo>
                  <a:cubicBezTo>
                    <a:pt x="451569" y="1054187"/>
                    <a:pt x="451035" y="1055482"/>
                    <a:pt x="450076" y="1056443"/>
                  </a:cubicBezTo>
                  <a:lnTo>
                    <a:pt x="398872" y="1106843"/>
                  </a:lnTo>
                  <a:cubicBezTo>
                    <a:pt x="397314" y="1108357"/>
                    <a:pt x="395338" y="1109361"/>
                    <a:pt x="393217" y="1109761"/>
                  </a:cubicBezTo>
                  <a:lnTo>
                    <a:pt x="361956" y="1115606"/>
                  </a:lnTo>
                  <a:cubicBezTo>
                    <a:pt x="361444" y="1115694"/>
                    <a:pt x="360975" y="1115730"/>
                    <a:pt x="360463" y="1115730"/>
                  </a:cubicBezTo>
                  <a:cubicBezTo>
                    <a:pt x="358195" y="1115730"/>
                    <a:pt x="356037" y="1114849"/>
                    <a:pt x="354435" y="1113241"/>
                  </a:cubicBezTo>
                  <a:cubicBezTo>
                    <a:pt x="352474" y="1111275"/>
                    <a:pt x="351648" y="1108451"/>
                    <a:pt x="352138" y="1105722"/>
                  </a:cubicBezTo>
                  <a:lnTo>
                    <a:pt x="357917" y="1073723"/>
                  </a:lnTo>
                  <a:cubicBezTo>
                    <a:pt x="358320" y="1071540"/>
                    <a:pt x="359381" y="1069567"/>
                    <a:pt x="360961" y="1068002"/>
                  </a:cubicBezTo>
                  <a:lnTo>
                    <a:pt x="411294" y="1017668"/>
                  </a:lnTo>
                  <a:cubicBezTo>
                    <a:pt x="412289" y="1016671"/>
                    <a:pt x="413599" y="1016176"/>
                    <a:pt x="414901" y="1016176"/>
                  </a:cubicBezTo>
                  <a:close/>
                  <a:moveTo>
                    <a:pt x="542834" y="1016165"/>
                  </a:moveTo>
                  <a:cubicBezTo>
                    <a:pt x="563402" y="1016165"/>
                    <a:pt x="580066" y="1032832"/>
                    <a:pt x="580066" y="1053408"/>
                  </a:cubicBezTo>
                  <a:lnTo>
                    <a:pt x="580066" y="1078232"/>
                  </a:lnTo>
                  <a:lnTo>
                    <a:pt x="586283" y="1078232"/>
                  </a:lnTo>
                  <a:cubicBezTo>
                    <a:pt x="589708" y="1078232"/>
                    <a:pt x="592495" y="1081004"/>
                    <a:pt x="592495" y="1084448"/>
                  </a:cubicBezTo>
                  <a:cubicBezTo>
                    <a:pt x="592495" y="1087874"/>
                    <a:pt x="589708" y="1090646"/>
                    <a:pt x="586283" y="1090646"/>
                  </a:cubicBezTo>
                  <a:lnTo>
                    <a:pt x="499385" y="1090646"/>
                  </a:lnTo>
                  <a:cubicBezTo>
                    <a:pt x="495945" y="1090646"/>
                    <a:pt x="493173" y="1087874"/>
                    <a:pt x="493173" y="1084448"/>
                  </a:cubicBezTo>
                  <a:cubicBezTo>
                    <a:pt x="493173" y="1081004"/>
                    <a:pt x="495945" y="1078232"/>
                    <a:pt x="499385" y="1078232"/>
                  </a:cubicBezTo>
                  <a:lnTo>
                    <a:pt x="505588" y="1078232"/>
                  </a:lnTo>
                  <a:lnTo>
                    <a:pt x="505588" y="1053408"/>
                  </a:lnTo>
                  <a:cubicBezTo>
                    <a:pt x="505588" y="1032832"/>
                    <a:pt x="522270" y="1016165"/>
                    <a:pt x="542834" y="1016165"/>
                  </a:cubicBezTo>
                  <a:close/>
                  <a:moveTo>
                    <a:pt x="435905" y="1008220"/>
                  </a:moveTo>
                  <a:cubicBezTo>
                    <a:pt x="437003" y="1008220"/>
                    <a:pt x="438100" y="1008679"/>
                    <a:pt x="438890" y="1009465"/>
                  </a:cubicBezTo>
                  <a:lnTo>
                    <a:pt x="440756" y="1011387"/>
                  </a:lnTo>
                  <a:lnTo>
                    <a:pt x="459024" y="1029598"/>
                  </a:lnTo>
                  <a:cubicBezTo>
                    <a:pt x="459024" y="1029598"/>
                    <a:pt x="459894" y="1030465"/>
                    <a:pt x="459894" y="1030465"/>
                  </a:cubicBezTo>
                  <a:cubicBezTo>
                    <a:pt x="460684" y="1031258"/>
                    <a:pt x="461072" y="1032284"/>
                    <a:pt x="461072" y="1033391"/>
                  </a:cubicBezTo>
                  <a:cubicBezTo>
                    <a:pt x="461072" y="1034483"/>
                    <a:pt x="460684" y="1035582"/>
                    <a:pt x="459894" y="1036375"/>
                  </a:cubicBezTo>
                  <a:lnTo>
                    <a:pt x="455666" y="1040539"/>
                  </a:lnTo>
                  <a:cubicBezTo>
                    <a:pt x="454034" y="1042169"/>
                    <a:pt x="451400" y="1042169"/>
                    <a:pt x="449762" y="1040539"/>
                  </a:cubicBezTo>
                  <a:lnTo>
                    <a:pt x="428758" y="1019532"/>
                  </a:lnTo>
                  <a:cubicBezTo>
                    <a:pt x="427126" y="1017901"/>
                    <a:pt x="427126" y="1015259"/>
                    <a:pt x="428758" y="1013629"/>
                  </a:cubicBezTo>
                  <a:lnTo>
                    <a:pt x="432928" y="1009465"/>
                  </a:lnTo>
                  <a:cubicBezTo>
                    <a:pt x="433718" y="1008679"/>
                    <a:pt x="434793" y="1008220"/>
                    <a:pt x="435905" y="1008220"/>
                  </a:cubicBezTo>
                  <a:close/>
                  <a:moveTo>
                    <a:pt x="2194144" y="1006226"/>
                  </a:moveTo>
                  <a:cubicBezTo>
                    <a:pt x="2195350" y="1006226"/>
                    <a:pt x="2196526" y="1006686"/>
                    <a:pt x="2197442" y="1007607"/>
                  </a:cubicBezTo>
                  <a:lnTo>
                    <a:pt x="2199606" y="1009779"/>
                  </a:lnTo>
                  <a:cubicBezTo>
                    <a:pt x="2201437" y="1011606"/>
                    <a:pt x="2201481" y="1014599"/>
                    <a:pt x="2199679" y="1016426"/>
                  </a:cubicBezTo>
                  <a:cubicBezTo>
                    <a:pt x="2198764" y="1017346"/>
                    <a:pt x="2197514" y="1017792"/>
                    <a:pt x="2196323" y="1017792"/>
                  </a:cubicBezTo>
                  <a:cubicBezTo>
                    <a:pt x="2195103" y="1017792"/>
                    <a:pt x="2193940" y="1017346"/>
                    <a:pt x="2193025" y="1016426"/>
                  </a:cubicBezTo>
                  <a:lnTo>
                    <a:pt x="2190846" y="1014253"/>
                  </a:lnTo>
                  <a:cubicBezTo>
                    <a:pt x="2189015" y="1012412"/>
                    <a:pt x="2189015" y="1009434"/>
                    <a:pt x="2190846" y="1007607"/>
                  </a:cubicBezTo>
                  <a:cubicBezTo>
                    <a:pt x="2191761" y="1006686"/>
                    <a:pt x="2192938" y="1006226"/>
                    <a:pt x="2194144" y="1006226"/>
                  </a:cubicBezTo>
                  <a:close/>
                  <a:moveTo>
                    <a:pt x="2041211" y="1002296"/>
                  </a:moveTo>
                  <a:lnTo>
                    <a:pt x="1992355" y="1028349"/>
                  </a:lnTo>
                  <a:lnTo>
                    <a:pt x="1992355" y="1083536"/>
                  </a:lnTo>
                  <a:lnTo>
                    <a:pt x="2041211" y="1054562"/>
                  </a:lnTo>
                  <a:cubicBezTo>
                    <a:pt x="2041211" y="1054562"/>
                    <a:pt x="2041211" y="1002296"/>
                    <a:pt x="2041211" y="1002296"/>
                  </a:cubicBezTo>
                  <a:close/>
                  <a:moveTo>
                    <a:pt x="1932246" y="1002296"/>
                  </a:moveTo>
                  <a:lnTo>
                    <a:pt x="1932246" y="1053386"/>
                  </a:lnTo>
                  <a:lnTo>
                    <a:pt x="1981097" y="1082618"/>
                  </a:lnTo>
                  <a:cubicBezTo>
                    <a:pt x="1981097" y="1082618"/>
                    <a:pt x="1981097" y="1028349"/>
                    <a:pt x="1981097" y="1028349"/>
                  </a:cubicBezTo>
                  <a:close/>
                  <a:moveTo>
                    <a:pt x="2412163" y="996221"/>
                  </a:moveTo>
                  <a:cubicBezTo>
                    <a:pt x="2412163" y="996221"/>
                    <a:pt x="2395753" y="1018707"/>
                    <a:pt x="2395753" y="1018707"/>
                  </a:cubicBezTo>
                  <a:lnTo>
                    <a:pt x="2454763" y="1033946"/>
                  </a:lnTo>
                  <a:lnTo>
                    <a:pt x="2472500" y="1007353"/>
                  </a:lnTo>
                  <a:close/>
                  <a:moveTo>
                    <a:pt x="108305" y="989745"/>
                  </a:moveTo>
                  <a:cubicBezTo>
                    <a:pt x="107732" y="994901"/>
                    <a:pt x="107414" y="1000280"/>
                    <a:pt x="107414" y="1005842"/>
                  </a:cubicBezTo>
                  <a:cubicBezTo>
                    <a:pt x="107414" y="1011428"/>
                    <a:pt x="107732" y="1016800"/>
                    <a:pt x="108305" y="1021964"/>
                  </a:cubicBezTo>
                  <a:lnTo>
                    <a:pt x="123511" y="1021964"/>
                  </a:lnTo>
                  <a:cubicBezTo>
                    <a:pt x="129439" y="1021964"/>
                    <a:pt x="134269" y="1014755"/>
                    <a:pt x="134269" y="1005842"/>
                  </a:cubicBezTo>
                  <a:cubicBezTo>
                    <a:pt x="134269" y="996954"/>
                    <a:pt x="129439" y="989745"/>
                    <a:pt x="123511" y="989745"/>
                  </a:cubicBezTo>
                  <a:close/>
                  <a:moveTo>
                    <a:pt x="21476" y="989745"/>
                  </a:moveTo>
                  <a:cubicBezTo>
                    <a:pt x="15548" y="989745"/>
                    <a:pt x="10750" y="996954"/>
                    <a:pt x="10750" y="1005842"/>
                  </a:cubicBezTo>
                  <a:cubicBezTo>
                    <a:pt x="10750" y="1014755"/>
                    <a:pt x="15548" y="1021964"/>
                    <a:pt x="21476" y="1021964"/>
                  </a:cubicBezTo>
                  <a:lnTo>
                    <a:pt x="59161" y="1021964"/>
                  </a:lnTo>
                  <a:cubicBezTo>
                    <a:pt x="55835" y="1018065"/>
                    <a:pt x="53711" y="1012375"/>
                    <a:pt x="53711" y="1005842"/>
                  </a:cubicBezTo>
                  <a:cubicBezTo>
                    <a:pt x="53711" y="999334"/>
                    <a:pt x="55835" y="993652"/>
                    <a:pt x="59161" y="989745"/>
                  </a:cubicBezTo>
                  <a:close/>
                  <a:moveTo>
                    <a:pt x="2525928" y="987500"/>
                  </a:moveTo>
                  <a:lnTo>
                    <a:pt x="2485303" y="1006387"/>
                  </a:lnTo>
                  <a:lnTo>
                    <a:pt x="2497262" y="1031765"/>
                  </a:lnTo>
                  <a:cubicBezTo>
                    <a:pt x="2497262" y="1031765"/>
                    <a:pt x="2541931" y="1010332"/>
                    <a:pt x="2541931" y="1010332"/>
                  </a:cubicBezTo>
                  <a:close/>
                  <a:moveTo>
                    <a:pt x="296707" y="984354"/>
                  </a:moveTo>
                  <a:lnTo>
                    <a:pt x="309565" y="997220"/>
                  </a:lnTo>
                  <a:lnTo>
                    <a:pt x="232571" y="1080681"/>
                  </a:lnTo>
                  <a:lnTo>
                    <a:pt x="214799" y="1061418"/>
                  </a:lnTo>
                  <a:cubicBezTo>
                    <a:pt x="214799" y="1061418"/>
                    <a:pt x="296707" y="984354"/>
                    <a:pt x="296707" y="984354"/>
                  </a:cubicBezTo>
                  <a:close/>
                  <a:moveTo>
                    <a:pt x="1961606" y="983474"/>
                  </a:moveTo>
                  <a:lnTo>
                    <a:pt x="1939425" y="993370"/>
                  </a:lnTo>
                  <a:lnTo>
                    <a:pt x="1986723" y="1018601"/>
                  </a:lnTo>
                  <a:cubicBezTo>
                    <a:pt x="1986723" y="1018601"/>
                    <a:pt x="2006280" y="1008178"/>
                    <a:pt x="2006280" y="1008178"/>
                  </a:cubicBezTo>
                  <a:close/>
                  <a:moveTo>
                    <a:pt x="98995" y="978907"/>
                  </a:moveTo>
                  <a:cubicBezTo>
                    <a:pt x="90656" y="985751"/>
                    <a:pt x="81163" y="989745"/>
                    <a:pt x="71041" y="989745"/>
                  </a:cubicBezTo>
                  <a:lnTo>
                    <a:pt x="69808" y="989745"/>
                  </a:lnTo>
                  <a:cubicBezTo>
                    <a:pt x="63880" y="989745"/>
                    <a:pt x="59082" y="996954"/>
                    <a:pt x="59082" y="1005842"/>
                  </a:cubicBezTo>
                  <a:cubicBezTo>
                    <a:pt x="59082" y="1014755"/>
                    <a:pt x="63880" y="1021964"/>
                    <a:pt x="69808" y="1021964"/>
                  </a:cubicBezTo>
                  <a:lnTo>
                    <a:pt x="69808" y="1022019"/>
                  </a:lnTo>
                  <a:lnTo>
                    <a:pt x="71041" y="1022019"/>
                  </a:lnTo>
                  <a:cubicBezTo>
                    <a:pt x="81163" y="1022019"/>
                    <a:pt x="90656" y="1026014"/>
                    <a:pt x="98995" y="1032881"/>
                  </a:cubicBezTo>
                  <a:cubicBezTo>
                    <a:pt x="97451" y="1024224"/>
                    <a:pt x="96664" y="1015017"/>
                    <a:pt x="96664" y="1005842"/>
                  </a:cubicBezTo>
                  <a:cubicBezTo>
                    <a:pt x="96664" y="996692"/>
                    <a:pt x="97451" y="987541"/>
                    <a:pt x="98995" y="978907"/>
                  </a:cubicBezTo>
                  <a:close/>
                  <a:moveTo>
                    <a:pt x="2462195" y="977074"/>
                  </a:moveTo>
                  <a:cubicBezTo>
                    <a:pt x="2462195" y="977074"/>
                    <a:pt x="2426418" y="990182"/>
                    <a:pt x="2426418" y="990182"/>
                  </a:cubicBezTo>
                  <a:lnTo>
                    <a:pt x="2479057" y="999876"/>
                  </a:lnTo>
                  <a:lnTo>
                    <a:pt x="2512306" y="984427"/>
                  </a:lnTo>
                  <a:close/>
                  <a:moveTo>
                    <a:pt x="1986723" y="972282"/>
                  </a:moveTo>
                  <a:cubicBezTo>
                    <a:pt x="1986723" y="972282"/>
                    <a:pt x="1972804" y="978504"/>
                    <a:pt x="1972804" y="978504"/>
                  </a:cubicBezTo>
                  <a:lnTo>
                    <a:pt x="2016582" y="1002681"/>
                  </a:lnTo>
                  <a:lnTo>
                    <a:pt x="2034026" y="993370"/>
                  </a:lnTo>
                  <a:close/>
                  <a:moveTo>
                    <a:pt x="2462359" y="968482"/>
                  </a:moveTo>
                  <a:lnTo>
                    <a:pt x="2526568" y="977904"/>
                  </a:lnTo>
                  <a:cubicBezTo>
                    <a:pt x="2526623" y="977904"/>
                    <a:pt x="2526685" y="977948"/>
                    <a:pt x="2526740" y="977954"/>
                  </a:cubicBezTo>
                  <a:cubicBezTo>
                    <a:pt x="2528309" y="977731"/>
                    <a:pt x="2529917" y="978326"/>
                    <a:pt x="2530862" y="979688"/>
                  </a:cubicBezTo>
                  <a:cubicBezTo>
                    <a:pt x="2530862" y="979688"/>
                    <a:pt x="2551791" y="1009552"/>
                    <a:pt x="2551791" y="1009552"/>
                  </a:cubicBezTo>
                  <a:cubicBezTo>
                    <a:pt x="2552509" y="1010580"/>
                    <a:pt x="2552736" y="1011844"/>
                    <a:pt x="2552424" y="1013070"/>
                  </a:cubicBezTo>
                  <a:cubicBezTo>
                    <a:pt x="2552111" y="1014278"/>
                    <a:pt x="2551276" y="1015294"/>
                    <a:pt x="2550144" y="1015833"/>
                  </a:cubicBezTo>
                  <a:lnTo>
                    <a:pt x="2533407" y="1023880"/>
                  </a:lnTo>
                  <a:lnTo>
                    <a:pt x="2533407" y="1070450"/>
                  </a:lnTo>
                  <a:cubicBezTo>
                    <a:pt x="2533407" y="1071986"/>
                    <a:pt x="2532564" y="1073429"/>
                    <a:pt x="2531213" y="1074185"/>
                  </a:cubicBezTo>
                  <a:lnTo>
                    <a:pt x="2481696" y="1101639"/>
                  </a:lnTo>
                  <a:cubicBezTo>
                    <a:pt x="2481532" y="1101744"/>
                    <a:pt x="2481368" y="1101775"/>
                    <a:pt x="2481196" y="1101837"/>
                  </a:cubicBezTo>
                  <a:cubicBezTo>
                    <a:pt x="2481064" y="1101887"/>
                    <a:pt x="2480962" y="1101936"/>
                    <a:pt x="2480829" y="1101998"/>
                  </a:cubicBezTo>
                  <a:cubicBezTo>
                    <a:pt x="2480431" y="1102110"/>
                    <a:pt x="2480025" y="1102184"/>
                    <a:pt x="2479627" y="1102184"/>
                  </a:cubicBezTo>
                  <a:lnTo>
                    <a:pt x="2479596" y="1102172"/>
                  </a:lnTo>
                  <a:cubicBezTo>
                    <a:pt x="2479221" y="1102172"/>
                    <a:pt x="2478823" y="1102110"/>
                    <a:pt x="2478441" y="1102004"/>
                  </a:cubicBezTo>
                  <a:cubicBezTo>
                    <a:pt x="2478441" y="1102004"/>
                    <a:pt x="2478409" y="1102004"/>
                    <a:pt x="2478378" y="1101998"/>
                  </a:cubicBezTo>
                  <a:lnTo>
                    <a:pt x="2409391" y="1080906"/>
                  </a:lnTo>
                  <a:cubicBezTo>
                    <a:pt x="2407588" y="1080373"/>
                    <a:pt x="2406370" y="1078695"/>
                    <a:pt x="2406370" y="1076830"/>
                  </a:cubicBezTo>
                  <a:lnTo>
                    <a:pt x="2406370" y="1030241"/>
                  </a:lnTo>
                  <a:lnTo>
                    <a:pt x="2387517" y="1025391"/>
                  </a:lnTo>
                  <a:cubicBezTo>
                    <a:pt x="2386167" y="1025026"/>
                    <a:pt x="2385050" y="1024028"/>
                    <a:pt x="2384582" y="1022697"/>
                  </a:cubicBezTo>
                  <a:cubicBezTo>
                    <a:pt x="2384114" y="1021365"/>
                    <a:pt x="2384317" y="1019878"/>
                    <a:pt x="2385144" y="1018751"/>
                  </a:cubicBezTo>
                  <a:lnTo>
                    <a:pt x="2406878" y="989030"/>
                  </a:lnTo>
                  <a:cubicBezTo>
                    <a:pt x="2406885" y="989030"/>
                    <a:pt x="2406901" y="989005"/>
                    <a:pt x="2406909" y="988999"/>
                  </a:cubicBezTo>
                  <a:cubicBezTo>
                    <a:pt x="2407096" y="988726"/>
                    <a:pt x="2407354" y="988503"/>
                    <a:pt x="2407611" y="988274"/>
                  </a:cubicBezTo>
                  <a:cubicBezTo>
                    <a:pt x="2407690" y="988218"/>
                    <a:pt x="2407760" y="988162"/>
                    <a:pt x="2407838" y="988113"/>
                  </a:cubicBezTo>
                  <a:cubicBezTo>
                    <a:pt x="2408080" y="987927"/>
                    <a:pt x="2408345" y="987791"/>
                    <a:pt x="2408611" y="987661"/>
                  </a:cubicBezTo>
                  <a:cubicBezTo>
                    <a:pt x="2408665" y="987630"/>
                    <a:pt x="2408728" y="987611"/>
                    <a:pt x="2408782" y="987580"/>
                  </a:cubicBezTo>
                  <a:cubicBezTo>
                    <a:pt x="2408798" y="987580"/>
                    <a:pt x="2408821" y="987561"/>
                    <a:pt x="2408837" y="987549"/>
                  </a:cubicBezTo>
                  <a:lnTo>
                    <a:pt x="2460275" y="968699"/>
                  </a:lnTo>
                  <a:cubicBezTo>
                    <a:pt x="2460938" y="968445"/>
                    <a:pt x="2461656" y="968383"/>
                    <a:pt x="2462359" y="968482"/>
                  </a:cubicBezTo>
                  <a:close/>
                  <a:moveTo>
                    <a:pt x="2667946" y="963097"/>
                  </a:moveTo>
                  <a:cubicBezTo>
                    <a:pt x="2667946" y="963097"/>
                    <a:pt x="2667946" y="1031679"/>
                    <a:pt x="2667946" y="1031679"/>
                  </a:cubicBezTo>
                  <a:lnTo>
                    <a:pt x="2770831" y="1031679"/>
                  </a:lnTo>
                  <a:lnTo>
                    <a:pt x="2770831" y="963097"/>
                  </a:lnTo>
                  <a:close/>
                  <a:moveTo>
                    <a:pt x="1984427" y="960980"/>
                  </a:moveTo>
                  <a:cubicBezTo>
                    <a:pt x="1985888" y="960325"/>
                    <a:pt x="1987563" y="960325"/>
                    <a:pt x="1989018" y="960980"/>
                  </a:cubicBezTo>
                  <a:lnTo>
                    <a:pt x="2049132" y="987777"/>
                  </a:lnTo>
                  <a:cubicBezTo>
                    <a:pt x="2051087" y="988650"/>
                    <a:pt x="2052384" y="990577"/>
                    <a:pt x="2052463" y="992728"/>
                  </a:cubicBezTo>
                  <a:cubicBezTo>
                    <a:pt x="2052500" y="993768"/>
                    <a:pt x="2052463" y="1057766"/>
                    <a:pt x="2052463" y="1057766"/>
                  </a:cubicBezTo>
                  <a:cubicBezTo>
                    <a:pt x="2052463" y="1059757"/>
                    <a:pt x="2051416" y="1061600"/>
                    <a:pt x="2049705" y="1062614"/>
                  </a:cubicBezTo>
                  <a:lnTo>
                    <a:pt x="1989596" y="1098248"/>
                  </a:lnTo>
                  <a:cubicBezTo>
                    <a:pt x="1989536" y="1098293"/>
                    <a:pt x="1989463" y="1098293"/>
                    <a:pt x="1989408" y="1098350"/>
                  </a:cubicBezTo>
                  <a:cubicBezTo>
                    <a:pt x="1989079" y="1098517"/>
                    <a:pt x="1988756" y="1098646"/>
                    <a:pt x="1988415" y="1098749"/>
                  </a:cubicBezTo>
                  <a:cubicBezTo>
                    <a:pt x="1988300" y="1098794"/>
                    <a:pt x="1988184" y="1098832"/>
                    <a:pt x="1988068" y="1098871"/>
                  </a:cubicBezTo>
                  <a:cubicBezTo>
                    <a:pt x="1987636" y="1098960"/>
                    <a:pt x="1987191" y="1099031"/>
                    <a:pt x="1986723" y="1099031"/>
                  </a:cubicBezTo>
                  <a:cubicBezTo>
                    <a:pt x="1986199" y="1099031"/>
                    <a:pt x="1985712" y="1098948"/>
                    <a:pt x="1985225" y="1098806"/>
                  </a:cubicBezTo>
                  <a:cubicBezTo>
                    <a:pt x="1985115" y="1098768"/>
                    <a:pt x="1985018" y="1098749"/>
                    <a:pt x="1984896" y="1098710"/>
                  </a:cubicBezTo>
                  <a:cubicBezTo>
                    <a:pt x="1984421" y="1098550"/>
                    <a:pt x="1983958" y="1098331"/>
                    <a:pt x="1983538" y="1098042"/>
                  </a:cubicBezTo>
                  <a:cubicBezTo>
                    <a:pt x="1983520" y="1098036"/>
                    <a:pt x="1983508" y="1098036"/>
                    <a:pt x="1983508" y="1098023"/>
                  </a:cubicBezTo>
                  <a:lnTo>
                    <a:pt x="1923387" y="1060945"/>
                  </a:lnTo>
                  <a:cubicBezTo>
                    <a:pt x="1921889" y="1059891"/>
                    <a:pt x="1920988" y="1058164"/>
                    <a:pt x="1920988" y="1056334"/>
                  </a:cubicBezTo>
                  <a:lnTo>
                    <a:pt x="1920988" y="993055"/>
                  </a:lnTo>
                  <a:cubicBezTo>
                    <a:pt x="1920982" y="992471"/>
                    <a:pt x="1921049" y="991906"/>
                    <a:pt x="1921220" y="991354"/>
                  </a:cubicBezTo>
                  <a:cubicBezTo>
                    <a:pt x="1921287" y="991123"/>
                    <a:pt x="1921372" y="990898"/>
                    <a:pt x="1921469" y="990667"/>
                  </a:cubicBezTo>
                  <a:cubicBezTo>
                    <a:pt x="1921987" y="989479"/>
                    <a:pt x="1922900" y="988477"/>
                    <a:pt x="1924142" y="987867"/>
                  </a:cubicBezTo>
                  <a:cubicBezTo>
                    <a:pt x="1924215" y="987835"/>
                    <a:pt x="1924288" y="987803"/>
                    <a:pt x="1924361" y="987771"/>
                  </a:cubicBezTo>
                  <a:close/>
                  <a:moveTo>
                    <a:pt x="468220" y="958505"/>
                  </a:moveTo>
                  <a:cubicBezTo>
                    <a:pt x="479662" y="958505"/>
                    <a:pt x="488931" y="967764"/>
                    <a:pt x="488975" y="979199"/>
                  </a:cubicBezTo>
                  <a:cubicBezTo>
                    <a:pt x="500402" y="979236"/>
                    <a:pt x="509672" y="988494"/>
                    <a:pt x="509672" y="999959"/>
                  </a:cubicBezTo>
                  <a:cubicBezTo>
                    <a:pt x="509672" y="1011408"/>
                    <a:pt x="500373" y="1020711"/>
                    <a:pt x="488916" y="1020711"/>
                  </a:cubicBezTo>
                  <a:cubicBezTo>
                    <a:pt x="488529" y="1020711"/>
                    <a:pt x="475879" y="1020667"/>
                    <a:pt x="464679" y="1020653"/>
                  </a:cubicBezTo>
                  <a:lnTo>
                    <a:pt x="447530" y="1003496"/>
                  </a:lnTo>
                  <a:cubicBezTo>
                    <a:pt x="447494" y="992294"/>
                    <a:pt x="447464" y="979636"/>
                    <a:pt x="447464" y="979265"/>
                  </a:cubicBezTo>
                  <a:cubicBezTo>
                    <a:pt x="447464" y="967793"/>
                    <a:pt x="456748" y="958505"/>
                    <a:pt x="468220" y="958505"/>
                  </a:cubicBezTo>
                  <a:close/>
                  <a:moveTo>
                    <a:pt x="2667946" y="954519"/>
                  </a:moveTo>
                  <a:lnTo>
                    <a:pt x="2770831" y="954519"/>
                  </a:lnTo>
                  <a:cubicBezTo>
                    <a:pt x="2775575" y="954519"/>
                    <a:pt x="2779411" y="958358"/>
                    <a:pt x="2779411" y="963097"/>
                  </a:cubicBezTo>
                  <a:lnTo>
                    <a:pt x="2779411" y="1031679"/>
                  </a:lnTo>
                  <a:cubicBezTo>
                    <a:pt x="2779411" y="1036418"/>
                    <a:pt x="2775575" y="1040257"/>
                    <a:pt x="2770831" y="1040257"/>
                  </a:cubicBezTo>
                  <a:cubicBezTo>
                    <a:pt x="2770831" y="1040257"/>
                    <a:pt x="2787984" y="1040257"/>
                    <a:pt x="2787984" y="1040257"/>
                  </a:cubicBezTo>
                  <a:lnTo>
                    <a:pt x="2787984" y="1048831"/>
                  </a:lnTo>
                  <a:cubicBezTo>
                    <a:pt x="2787984" y="1053565"/>
                    <a:pt x="2784148" y="1057399"/>
                    <a:pt x="2779411" y="1057399"/>
                  </a:cubicBezTo>
                  <a:lnTo>
                    <a:pt x="2659373" y="1057399"/>
                  </a:lnTo>
                  <a:cubicBezTo>
                    <a:pt x="2654635" y="1057399"/>
                    <a:pt x="2650805" y="1053565"/>
                    <a:pt x="2650805" y="1048831"/>
                  </a:cubicBezTo>
                  <a:lnTo>
                    <a:pt x="2650805" y="1040257"/>
                  </a:lnTo>
                  <a:lnTo>
                    <a:pt x="2667946" y="1040257"/>
                  </a:lnTo>
                  <a:cubicBezTo>
                    <a:pt x="2663209" y="1040257"/>
                    <a:pt x="2659373" y="1036418"/>
                    <a:pt x="2659373" y="1031679"/>
                  </a:cubicBezTo>
                  <a:lnTo>
                    <a:pt x="2659373" y="963097"/>
                  </a:lnTo>
                  <a:cubicBezTo>
                    <a:pt x="2659373" y="958358"/>
                    <a:pt x="2663209" y="954519"/>
                    <a:pt x="2667946" y="954519"/>
                  </a:cubicBezTo>
                  <a:close/>
                  <a:moveTo>
                    <a:pt x="134269" y="941413"/>
                  </a:moveTo>
                  <a:cubicBezTo>
                    <a:pt x="123431" y="941413"/>
                    <a:pt x="114130" y="956826"/>
                    <a:pt x="109880" y="978987"/>
                  </a:cubicBezTo>
                  <a:lnTo>
                    <a:pt x="123511" y="978987"/>
                  </a:lnTo>
                  <a:cubicBezTo>
                    <a:pt x="135582" y="978987"/>
                    <a:pt x="145019" y="990788"/>
                    <a:pt x="145019" y="1005842"/>
                  </a:cubicBezTo>
                  <a:cubicBezTo>
                    <a:pt x="145019" y="1020921"/>
                    <a:pt x="135582" y="1032698"/>
                    <a:pt x="123511" y="1032698"/>
                  </a:cubicBezTo>
                  <a:lnTo>
                    <a:pt x="109880" y="1032698"/>
                  </a:lnTo>
                  <a:cubicBezTo>
                    <a:pt x="114130" y="1054883"/>
                    <a:pt x="123431" y="1070304"/>
                    <a:pt x="134269" y="1070304"/>
                  </a:cubicBezTo>
                  <a:cubicBezTo>
                    <a:pt x="149109" y="1070304"/>
                    <a:pt x="161117" y="1041427"/>
                    <a:pt x="161117" y="1005842"/>
                  </a:cubicBezTo>
                  <a:cubicBezTo>
                    <a:pt x="161117" y="970250"/>
                    <a:pt x="149109" y="941413"/>
                    <a:pt x="134269" y="941413"/>
                  </a:cubicBezTo>
                  <a:close/>
                  <a:moveTo>
                    <a:pt x="778100" y="939395"/>
                  </a:moveTo>
                  <a:cubicBezTo>
                    <a:pt x="785257" y="944118"/>
                    <a:pt x="796238" y="949654"/>
                    <a:pt x="808422" y="949654"/>
                  </a:cubicBezTo>
                  <a:cubicBezTo>
                    <a:pt x="820635" y="949654"/>
                    <a:pt x="831587" y="944118"/>
                    <a:pt x="838715" y="939395"/>
                  </a:cubicBezTo>
                  <a:close/>
                  <a:moveTo>
                    <a:pt x="656799" y="939395"/>
                  </a:moveTo>
                  <a:cubicBezTo>
                    <a:pt x="663957" y="944118"/>
                    <a:pt x="674909" y="949654"/>
                    <a:pt x="687083" y="949654"/>
                  </a:cubicBezTo>
                  <a:cubicBezTo>
                    <a:pt x="699306" y="949654"/>
                    <a:pt x="710258" y="944118"/>
                    <a:pt x="717415" y="939395"/>
                  </a:cubicBezTo>
                  <a:close/>
                  <a:moveTo>
                    <a:pt x="1953141" y="934210"/>
                  </a:moveTo>
                  <a:lnTo>
                    <a:pt x="1934567" y="940049"/>
                  </a:lnTo>
                  <a:lnTo>
                    <a:pt x="1916300" y="934211"/>
                  </a:lnTo>
                  <a:lnTo>
                    <a:pt x="1934567" y="936320"/>
                  </a:lnTo>
                  <a:close/>
                  <a:moveTo>
                    <a:pt x="1958755" y="932445"/>
                  </a:moveTo>
                  <a:lnTo>
                    <a:pt x="1956050" y="933879"/>
                  </a:lnTo>
                  <a:lnTo>
                    <a:pt x="1953141" y="934210"/>
                  </a:lnTo>
                  <a:close/>
                  <a:moveTo>
                    <a:pt x="1909399" y="932005"/>
                  </a:moveTo>
                  <a:lnTo>
                    <a:pt x="1916300" y="934211"/>
                  </a:lnTo>
                  <a:lnTo>
                    <a:pt x="1912768" y="933803"/>
                  </a:lnTo>
                  <a:close/>
                  <a:moveTo>
                    <a:pt x="134269" y="930655"/>
                  </a:moveTo>
                  <a:cubicBezTo>
                    <a:pt x="158944" y="930655"/>
                    <a:pt x="171875" y="968476"/>
                    <a:pt x="171875" y="1005842"/>
                  </a:cubicBezTo>
                  <a:cubicBezTo>
                    <a:pt x="171875" y="1043217"/>
                    <a:pt x="158944" y="1081030"/>
                    <a:pt x="134269" y="1081030"/>
                  </a:cubicBezTo>
                  <a:cubicBezTo>
                    <a:pt x="123248" y="1081030"/>
                    <a:pt x="114599" y="1073478"/>
                    <a:pt x="108384" y="1061829"/>
                  </a:cubicBezTo>
                  <a:lnTo>
                    <a:pt x="108249" y="1061909"/>
                  </a:lnTo>
                  <a:cubicBezTo>
                    <a:pt x="99830" y="1045421"/>
                    <a:pt x="87561" y="1034472"/>
                    <a:pt x="74009" y="1033040"/>
                  </a:cubicBezTo>
                  <a:cubicBezTo>
                    <a:pt x="73532" y="1033167"/>
                    <a:pt x="73007" y="1033215"/>
                    <a:pt x="72561" y="1033478"/>
                  </a:cubicBezTo>
                  <a:cubicBezTo>
                    <a:pt x="72561" y="1033478"/>
                    <a:pt x="72537" y="1033510"/>
                    <a:pt x="72506" y="1033510"/>
                  </a:cubicBezTo>
                  <a:cubicBezTo>
                    <a:pt x="72482" y="1033510"/>
                    <a:pt x="72482" y="1033565"/>
                    <a:pt x="72434" y="1033565"/>
                  </a:cubicBezTo>
                  <a:cubicBezTo>
                    <a:pt x="71773" y="1033979"/>
                    <a:pt x="71224" y="1034504"/>
                    <a:pt x="70803" y="1035133"/>
                  </a:cubicBezTo>
                  <a:cubicBezTo>
                    <a:pt x="70699" y="1035292"/>
                    <a:pt x="70588" y="1035451"/>
                    <a:pt x="70492" y="1035602"/>
                  </a:cubicBezTo>
                  <a:cubicBezTo>
                    <a:pt x="70142" y="1036263"/>
                    <a:pt x="69935" y="1036971"/>
                    <a:pt x="69880" y="1037727"/>
                  </a:cubicBezTo>
                  <a:cubicBezTo>
                    <a:pt x="69880" y="1037862"/>
                    <a:pt x="69776" y="1037942"/>
                    <a:pt x="69776" y="1038061"/>
                  </a:cubicBezTo>
                  <a:lnTo>
                    <a:pt x="69776" y="1075675"/>
                  </a:lnTo>
                  <a:cubicBezTo>
                    <a:pt x="69776" y="1078635"/>
                    <a:pt x="75155" y="1081030"/>
                    <a:pt x="75155" y="1086401"/>
                  </a:cubicBezTo>
                  <a:lnTo>
                    <a:pt x="75155" y="1091780"/>
                  </a:lnTo>
                  <a:cubicBezTo>
                    <a:pt x="75155" y="1097700"/>
                    <a:pt x="70365" y="1102530"/>
                    <a:pt x="64429" y="1102530"/>
                  </a:cubicBezTo>
                  <a:lnTo>
                    <a:pt x="42929" y="1102530"/>
                  </a:lnTo>
                  <a:cubicBezTo>
                    <a:pt x="37001" y="1102530"/>
                    <a:pt x="32202" y="1097700"/>
                    <a:pt x="32202" y="1091780"/>
                  </a:cubicBezTo>
                  <a:lnTo>
                    <a:pt x="32202" y="1043448"/>
                  </a:lnTo>
                  <a:cubicBezTo>
                    <a:pt x="32202" y="1037520"/>
                    <a:pt x="27404" y="1032722"/>
                    <a:pt x="21476" y="1032698"/>
                  </a:cubicBezTo>
                  <a:cubicBezTo>
                    <a:pt x="9445" y="1032698"/>
                    <a:pt x="0" y="1020921"/>
                    <a:pt x="0" y="1005842"/>
                  </a:cubicBezTo>
                  <a:cubicBezTo>
                    <a:pt x="0" y="990788"/>
                    <a:pt x="9445" y="978987"/>
                    <a:pt x="21476" y="978987"/>
                  </a:cubicBezTo>
                  <a:lnTo>
                    <a:pt x="71041" y="978987"/>
                  </a:lnTo>
                  <a:cubicBezTo>
                    <a:pt x="85754" y="978987"/>
                    <a:pt x="99202" y="967521"/>
                    <a:pt x="108249" y="949848"/>
                  </a:cubicBezTo>
                  <a:lnTo>
                    <a:pt x="108353" y="949904"/>
                  </a:lnTo>
                  <a:cubicBezTo>
                    <a:pt x="114575" y="938238"/>
                    <a:pt x="123248" y="930655"/>
                    <a:pt x="134269" y="930655"/>
                  </a:cubicBezTo>
                  <a:close/>
                  <a:moveTo>
                    <a:pt x="1916149" y="916793"/>
                  </a:moveTo>
                  <a:lnTo>
                    <a:pt x="1934567" y="918920"/>
                  </a:lnTo>
                  <a:lnTo>
                    <a:pt x="1953133" y="916812"/>
                  </a:lnTo>
                  <a:lnTo>
                    <a:pt x="1934567" y="922649"/>
                  </a:lnTo>
                  <a:close/>
                  <a:moveTo>
                    <a:pt x="1958767" y="915041"/>
                  </a:moveTo>
                  <a:lnTo>
                    <a:pt x="1956050" y="916481"/>
                  </a:lnTo>
                  <a:lnTo>
                    <a:pt x="1953133" y="916812"/>
                  </a:lnTo>
                  <a:close/>
                  <a:moveTo>
                    <a:pt x="2078802" y="914757"/>
                  </a:moveTo>
                  <a:cubicBezTo>
                    <a:pt x="2081367" y="914757"/>
                    <a:pt x="2083464" y="916849"/>
                    <a:pt x="2083464" y="919415"/>
                  </a:cubicBezTo>
                  <a:lnTo>
                    <a:pt x="2083464" y="954714"/>
                  </a:lnTo>
                  <a:cubicBezTo>
                    <a:pt x="2083464" y="958918"/>
                    <a:pt x="2086782" y="962298"/>
                    <a:pt x="2090858" y="962298"/>
                  </a:cubicBezTo>
                  <a:cubicBezTo>
                    <a:pt x="2094934" y="962298"/>
                    <a:pt x="2098376" y="958918"/>
                    <a:pt x="2098376" y="954837"/>
                  </a:cubicBezTo>
                  <a:cubicBezTo>
                    <a:pt x="2098376" y="952276"/>
                    <a:pt x="2100421" y="950179"/>
                    <a:pt x="2102977" y="950179"/>
                  </a:cubicBezTo>
                  <a:cubicBezTo>
                    <a:pt x="2105537" y="950179"/>
                    <a:pt x="2107634" y="952276"/>
                    <a:pt x="2107634" y="954837"/>
                  </a:cubicBezTo>
                  <a:cubicBezTo>
                    <a:pt x="2107634" y="964044"/>
                    <a:pt x="2100064" y="971618"/>
                    <a:pt x="2090858" y="971618"/>
                  </a:cubicBezTo>
                  <a:cubicBezTo>
                    <a:pt x="2081657" y="971618"/>
                    <a:pt x="2074139" y="964044"/>
                    <a:pt x="2074139" y="954837"/>
                  </a:cubicBezTo>
                  <a:lnTo>
                    <a:pt x="2074139" y="919415"/>
                  </a:lnTo>
                  <a:cubicBezTo>
                    <a:pt x="2074139" y="916849"/>
                    <a:pt x="2076237" y="914757"/>
                    <a:pt x="2078802" y="914757"/>
                  </a:cubicBezTo>
                  <a:close/>
                  <a:moveTo>
                    <a:pt x="1909596" y="914709"/>
                  </a:moveTo>
                  <a:lnTo>
                    <a:pt x="1916149" y="916793"/>
                  </a:lnTo>
                  <a:lnTo>
                    <a:pt x="1912768" y="916402"/>
                  </a:lnTo>
                  <a:close/>
                  <a:moveTo>
                    <a:pt x="2214338" y="906800"/>
                  </a:moveTo>
                  <a:cubicBezTo>
                    <a:pt x="2215544" y="906800"/>
                    <a:pt x="2216721" y="907261"/>
                    <a:pt x="2217636" y="908167"/>
                  </a:cubicBezTo>
                  <a:cubicBezTo>
                    <a:pt x="2219467" y="909994"/>
                    <a:pt x="2219467" y="912986"/>
                    <a:pt x="2217636" y="914814"/>
                  </a:cubicBezTo>
                  <a:lnTo>
                    <a:pt x="2202846" y="929545"/>
                  </a:lnTo>
                  <a:cubicBezTo>
                    <a:pt x="2179107" y="952535"/>
                    <a:pt x="2174705" y="975107"/>
                    <a:pt x="2189669" y="996730"/>
                  </a:cubicBezTo>
                  <a:cubicBezTo>
                    <a:pt x="2191136" y="998831"/>
                    <a:pt x="2190613" y="1001766"/>
                    <a:pt x="2188492" y="1003248"/>
                  </a:cubicBezTo>
                  <a:cubicBezTo>
                    <a:pt x="2187679" y="1003794"/>
                    <a:pt x="2186792" y="1004125"/>
                    <a:pt x="2185877" y="1004125"/>
                  </a:cubicBezTo>
                  <a:cubicBezTo>
                    <a:pt x="2184395" y="1004125"/>
                    <a:pt x="2182870" y="1003377"/>
                    <a:pt x="2181969" y="1002068"/>
                  </a:cubicBezTo>
                  <a:cubicBezTo>
                    <a:pt x="2164244" y="976474"/>
                    <a:pt x="2169184" y="949140"/>
                    <a:pt x="2196250" y="922899"/>
                  </a:cubicBezTo>
                  <a:lnTo>
                    <a:pt x="2210982" y="908167"/>
                  </a:lnTo>
                  <a:cubicBezTo>
                    <a:pt x="2211912" y="907261"/>
                    <a:pt x="2213147" y="906800"/>
                    <a:pt x="2214338" y="906800"/>
                  </a:cubicBezTo>
                  <a:close/>
                  <a:moveTo>
                    <a:pt x="1916412" y="899476"/>
                  </a:moveTo>
                  <a:lnTo>
                    <a:pt x="1934567" y="901582"/>
                  </a:lnTo>
                  <a:lnTo>
                    <a:pt x="1952873" y="899494"/>
                  </a:lnTo>
                  <a:lnTo>
                    <a:pt x="1934567" y="905248"/>
                  </a:lnTo>
                  <a:close/>
                  <a:moveTo>
                    <a:pt x="1958971" y="897576"/>
                  </a:moveTo>
                  <a:lnTo>
                    <a:pt x="1956050" y="899131"/>
                  </a:lnTo>
                  <a:lnTo>
                    <a:pt x="1952873" y="899494"/>
                  </a:lnTo>
                  <a:close/>
                  <a:moveTo>
                    <a:pt x="1909389" y="897243"/>
                  </a:moveTo>
                  <a:lnTo>
                    <a:pt x="1916412" y="899476"/>
                  </a:lnTo>
                  <a:lnTo>
                    <a:pt x="1912768" y="899053"/>
                  </a:lnTo>
                  <a:close/>
                  <a:moveTo>
                    <a:pt x="2318115" y="884933"/>
                  </a:moveTo>
                  <a:cubicBezTo>
                    <a:pt x="2319321" y="884933"/>
                    <a:pt x="2320497" y="885379"/>
                    <a:pt x="2321413" y="886299"/>
                  </a:cubicBezTo>
                  <a:cubicBezTo>
                    <a:pt x="2323243" y="888127"/>
                    <a:pt x="2323243" y="891119"/>
                    <a:pt x="2321413" y="892946"/>
                  </a:cubicBezTo>
                  <a:lnTo>
                    <a:pt x="2304821" y="909476"/>
                  </a:lnTo>
                  <a:cubicBezTo>
                    <a:pt x="2303891" y="910383"/>
                    <a:pt x="2302744" y="910900"/>
                    <a:pt x="2301523" y="910900"/>
                  </a:cubicBezTo>
                  <a:cubicBezTo>
                    <a:pt x="2300332" y="910900"/>
                    <a:pt x="2299141" y="910383"/>
                    <a:pt x="2298240" y="909476"/>
                  </a:cubicBezTo>
                  <a:cubicBezTo>
                    <a:pt x="2296380" y="907635"/>
                    <a:pt x="2296380" y="904729"/>
                    <a:pt x="2298240" y="902887"/>
                  </a:cubicBezTo>
                  <a:lnTo>
                    <a:pt x="2314831" y="886299"/>
                  </a:lnTo>
                  <a:cubicBezTo>
                    <a:pt x="2315747" y="885379"/>
                    <a:pt x="2316923" y="884933"/>
                    <a:pt x="2318115" y="884933"/>
                  </a:cubicBezTo>
                  <a:close/>
                  <a:moveTo>
                    <a:pt x="363195" y="878709"/>
                  </a:moveTo>
                  <a:cubicBezTo>
                    <a:pt x="349636" y="878648"/>
                    <a:pt x="336035" y="883805"/>
                    <a:pt x="325664" y="894118"/>
                  </a:cubicBezTo>
                  <a:cubicBezTo>
                    <a:pt x="304892" y="914755"/>
                    <a:pt x="304788" y="948298"/>
                    <a:pt x="325414" y="969067"/>
                  </a:cubicBezTo>
                  <a:cubicBezTo>
                    <a:pt x="346008" y="989815"/>
                    <a:pt x="379587" y="989958"/>
                    <a:pt x="400359" y="969321"/>
                  </a:cubicBezTo>
                  <a:cubicBezTo>
                    <a:pt x="421142" y="948715"/>
                    <a:pt x="421246" y="915111"/>
                    <a:pt x="400610" y="894372"/>
                  </a:cubicBezTo>
                  <a:cubicBezTo>
                    <a:pt x="390292" y="883998"/>
                    <a:pt x="376764" y="878770"/>
                    <a:pt x="363195" y="878709"/>
                  </a:cubicBezTo>
                  <a:close/>
                  <a:moveTo>
                    <a:pt x="2492227" y="878663"/>
                  </a:moveTo>
                  <a:lnTo>
                    <a:pt x="2605434" y="935261"/>
                  </a:lnTo>
                  <a:cubicBezTo>
                    <a:pt x="2605434" y="935261"/>
                    <a:pt x="2718628" y="878663"/>
                    <a:pt x="2718628" y="878663"/>
                  </a:cubicBezTo>
                  <a:lnTo>
                    <a:pt x="2746992" y="892838"/>
                  </a:lnTo>
                  <a:lnTo>
                    <a:pt x="2605434" y="963612"/>
                  </a:lnTo>
                  <a:lnTo>
                    <a:pt x="2463876" y="892838"/>
                  </a:lnTo>
                  <a:close/>
                  <a:moveTo>
                    <a:pt x="96908" y="877926"/>
                  </a:moveTo>
                  <a:cubicBezTo>
                    <a:pt x="108431" y="881353"/>
                    <a:pt x="116621" y="889936"/>
                    <a:pt x="116621" y="900002"/>
                  </a:cubicBezTo>
                  <a:cubicBezTo>
                    <a:pt x="116621" y="913079"/>
                    <a:pt x="102834" y="923692"/>
                    <a:pt x="85828" y="923692"/>
                  </a:cubicBezTo>
                  <a:cubicBezTo>
                    <a:pt x="82517" y="923692"/>
                    <a:pt x="79341" y="923284"/>
                    <a:pt x="76349" y="922524"/>
                  </a:cubicBezTo>
                  <a:lnTo>
                    <a:pt x="71884" y="929228"/>
                  </a:lnTo>
                  <a:cubicBezTo>
                    <a:pt x="70428" y="931397"/>
                    <a:pt x="69248" y="931041"/>
                    <a:pt x="69248" y="928431"/>
                  </a:cubicBezTo>
                  <a:lnTo>
                    <a:pt x="69248" y="919938"/>
                  </a:lnTo>
                  <a:cubicBezTo>
                    <a:pt x="62344" y="916543"/>
                    <a:pt x="57369" y="911069"/>
                    <a:pt x="55703" y="904668"/>
                  </a:cubicBezTo>
                  <a:cubicBezTo>
                    <a:pt x="56268" y="904684"/>
                    <a:pt x="56825" y="904737"/>
                    <a:pt x="57405" y="904737"/>
                  </a:cubicBezTo>
                  <a:cubicBezTo>
                    <a:pt x="60142" y="904737"/>
                    <a:pt x="62817" y="904512"/>
                    <a:pt x="65410" y="904079"/>
                  </a:cubicBezTo>
                  <a:cubicBezTo>
                    <a:pt x="68046" y="909950"/>
                    <a:pt x="76178" y="914215"/>
                    <a:pt x="85828" y="914215"/>
                  </a:cubicBezTo>
                  <a:cubicBezTo>
                    <a:pt x="97606" y="914215"/>
                    <a:pt x="107146" y="907850"/>
                    <a:pt x="107146" y="900002"/>
                  </a:cubicBezTo>
                  <a:cubicBezTo>
                    <a:pt x="107146" y="893891"/>
                    <a:pt x="101343" y="888686"/>
                    <a:pt x="93224" y="886689"/>
                  </a:cubicBezTo>
                  <a:cubicBezTo>
                    <a:pt x="94921" y="883964"/>
                    <a:pt x="96189" y="881010"/>
                    <a:pt x="96908" y="877926"/>
                  </a:cubicBezTo>
                  <a:close/>
                  <a:moveTo>
                    <a:pt x="1896844" y="874674"/>
                  </a:moveTo>
                  <a:lnTo>
                    <a:pt x="1896844" y="880142"/>
                  </a:lnTo>
                  <a:cubicBezTo>
                    <a:pt x="1896844" y="883063"/>
                    <a:pt x="1896849" y="888423"/>
                    <a:pt x="1901568" y="893053"/>
                  </a:cubicBezTo>
                  <a:lnTo>
                    <a:pt x="1909389" y="897243"/>
                  </a:lnTo>
                  <a:lnTo>
                    <a:pt x="1896844" y="893255"/>
                  </a:lnTo>
                  <a:lnTo>
                    <a:pt x="1896844" y="897543"/>
                  </a:lnTo>
                  <a:cubicBezTo>
                    <a:pt x="1896844" y="900467"/>
                    <a:pt x="1896849" y="905811"/>
                    <a:pt x="1901568" y="910424"/>
                  </a:cubicBezTo>
                  <a:lnTo>
                    <a:pt x="1909596" y="914709"/>
                  </a:lnTo>
                  <a:lnTo>
                    <a:pt x="1896844" y="910655"/>
                  </a:lnTo>
                  <a:lnTo>
                    <a:pt x="1896844" y="914943"/>
                  </a:lnTo>
                  <a:cubicBezTo>
                    <a:pt x="1896844" y="917870"/>
                    <a:pt x="1896849" y="923214"/>
                    <a:pt x="1901568" y="927827"/>
                  </a:cubicBezTo>
                  <a:lnTo>
                    <a:pt x="1909399" y="932005"/>
                  </a:lnTo>
                  <a:lnTo>
                    <a:pt x="1896844" y="927993"/>
                  </a:lnTo>
                  <a:lnTo>
                    <a:pt x="1896844" y="933648"/>
                  </a:lnTo>
                  <a:cubicBezTo>
                    <a:pt x="1896844" y="939695"/>
                    <a:pt x="1896866" y="955771"/>
                    <a:pt x="1934567" y="955771"/>
                  </a:cubicBezTo>
                  <a:cubicBezTo>
                    <a:pt x="1971724" y="955771"/>
                    <a:pt x="1971730" y="940267"/>
                    <a:pt x="1971730" y="933648"/>
                  </a:cubicBezTo>
                  <a:lnTo>
                    <a:pt x="1971730" y="928366"/>
                  </a:lnTo>
                  <a:lnTo>
                    <a:pt x="1958755" y="932445"/>
                  </a:lnTo>
                  <a:lnTo>
                    <a:pt x="1967082" y="928030"/>
                  </a:lnTo>
                  <a:cubicBezTo>
                    <a:pt x="1971728" y="923485"/>
                    <a:pt x="1971730" y="918140"/>
                    <a:pt x="1971730" y="914943"/>
                  </a:cubicBezTo>
                  <a:lnTo>
                    <a:pt x="1971730" y="910966"/>
                  </a:lnTo>
                  <a:lnTo>
                    <a:pt x="1958767" y="915041"/>
                  </a:lnTo>
                  <a:lnTo>
                    <a:pt x="1967082" y="910634"/>
                  </a:lnTo>
                  <a:cubicBezTo>
                    <a:pt x="1971728" y="906091"/>
                    <a:pt x="1971730" y="900746"/>
                    <a:pt x="1971730" y="897543"/>
                  </a:cubicBezTo>
                  <a:lnTo>
                    <a:pt x="1971730" y="893565"/>
                  </a:lnTo>
                  <a:lnTo>
                    <a:pt x="1958971" y="897576"/>
                  </a:lnTo>
                  <a:lnTo>
                    <a:pt x="1967082" y="893260"/>
                  </a:lnTo>
                  <a:cubicBezTo>
                    <a:pt x="1971728" y="888700"/>
                    <a:pt x="1971730" y="883340"/>
                    <a:pt x="1971730" y="880142"/>
                  </a:cubicBezTo>
                  <a:lnTo>
                    <a:pt x="1971730" y="874674"/>
                  </a:lnTo>
                  <a:cubicBezTo>
                    <a:pt x="1965159" y="881982"/>
                    <a:pt x="1950651" y="886667"/>
                    <a:pt x="1934320" y="886667"/>
                  </a:cubicBezTo>
                  <a:cubicBezTo>
                    <a:pt x="1917967" y="886667"/>
                    <a:pt x="1903408" y="881982"/>
                    <a:pt x="1896844" y="874674"/>
                  </a:cubicBezTo>
                  <a:close/>
                  <a:moveTo>
                    <a:pt x="2079855" y="874362"/>
                  </a:moveTo>
                  <a:cubicBezTo>
                    <a:pt x="2061449" y="874362"/>
                    <a:pt x="2045731" y="884842"/>
                    <a:pt x="2040025" y="899284"/>
                  </a:cubicBezTo>
                  <a:cubicBezTo>
                    <a:pt x="2042122" y="898583"/>
                    <a:pt x="2044568" y="898100"/>
                    <a:pt x="2047481" y="898100"/>
                  </a:cubicBezTo>
                  <a:cubicBezTo>
                    <a:pt x="2054699" y="898100"/>
                    <a:pt x="2059356" y="901040"/>
                    <a:pt x="2062269" y="903942"/>
                  </a:cubicBezTo>
                  <a:cubicBezTo>
                    <a:pt x="2065644" y="901040"/>
                    <a:pt x="2071103" y="898100"/>
                    <a:pt x="2079607" y="898100"/>
                  </a:cubicBezTo>
                  <a:cubicBezTo>
                    <a:pt x="2088117" y="898100"/>
                    <a:pt x="2093633" y="901040"/>
                    <a:pt x="2097008" y="903942"/>
                  </a:cubicBezTo>
                  <a:cubicBezTo>
                    <a:pt x="2099916" y="901040"/>
                    <a:pt x="2104574" y="898100"/>
                    <a:pt x="2111801" y="898100"/>
                  </a:cubicBezTo>
                  <a:cubicBezTo>
                    <a:pt x="2114947" y="898100"/>
                    <a:pt x="2117479" y="898716"/>
                    <a:pt x="2119691" y="899531"/>
                  </a:cubicBezTo>
                  <a:cubicBezTo>
                    <a:pt x="2114099" y="884857"/>
                    <a:pt x="2098381" y="874362"/>
                    <a:pt x="2079855" y="874362"/>
                  </a:cubicBezTo>
                  <a:close/>
                  <a:moveTo>
                    <a:pt x="808422" y="872040"/>
                  </a:moveTo>
                  <a:lnTo>
                    <a:pt x="773592" y="931951"/>
                  </a:lnTo>
                  <a:lnTo>
                    <a:pt x="843223" y="931951"/>
                  </a:lnTo>
                  <a:cubicBezTo>
                    <a:pt x="843223" y="931951"/>
                    <a:pt x="808422" y="872040"/>
                    <a:pt x="808422" y="872040"/>
                  </a:cubicBezTo>
                  <a:close/>
                  <a:moveTo>
                    <a:pt x="687083" y="872040"/>
                  </a:moveTo>
                  <a:cubicBezTo>
                    <a:pt x="687083" y="872040"/>
                    <a:pt x="652253" y="931951"/>
                    <a:pt x="652253" y="931951"/>
                  </a:cubicBezTo>
                  <a:lnTo>
                    <a:pt x="721913" y="931951"/>
                  </a:lnTo>
                  <a:close/>
                  <a:moveTo>
                    <a:pt x="2232731" y="869884"/>
                  </a:moveTo>
                  <a:lnTo>
                    <a:pt x="2182463" y="920165"/>
                  </a:lnTo>
                  <a:cubicBezTo>
                    <a:pt x="2153159" y="949456"/>
                    <a:pt x="2153159" y="997191"/>
                    <a:pt x="2182463" y="1026496"/>
                  </a:cubicBezTo>
                  <a:lnTo>
                    <a:pt x="2185572" y="1029532"/>
                  </a:lnTo>
                  <a:cubicBezTo>
                    <a:pt x="2199766" y="1043746"/>
                    <a:pt x="2218639" y="1051601"/>
                    <a:pt x="2238702" y="1051601"/>
                  </a:cubicBezTo>
                  <a:cubicBezTo>
                    <a:pt x="2258781" y="1051601"/>
                    <a:pt x="2277639" y="1043746"/>
                    <a:pt x="2291833" y="1029532"/>
                  </a:cubicBezTo>
                  <a:lnTo>
                    <a:pt x="2342290" y="979078"/>
                  </a:lnTo>
                  <a:cubicBezTo>
                    <a:pt x="2274181" y="940983"/>
                    <a:pt x="2243075" y="890054"/>
                    <a:pt x="2232731" y="869884"/>
                  </a:cubicBezTo>
                  <a:close/>
                  <a:moveTo>
                    <a:pt x="2079855" y="865041"/>
                  </a:moveTo>
                  <a:cubicBezTo>
                    <a:pt x="2108278" y="865041"/>
                    <a:pt x="2131375" y="885893"/>
                    <a:pt x="2131375" y="911402"/>
                  </a:cubicBezTo>
                  <a:cubicBezTo>
                    <a:pt x="2131375" y="913963"/>
                    <a:pt x="2129278" y="916060"/>
                    <a:pt x="2126713" y="916060"/>
                  </a:cubicBezTo>
                  <a:lnTo>
                    <a:pt x="2126217" y="916060"/>
                  </a:lnTo>
                  <a:cubicBezTo>
                    <a:pt x="2124353" y="916060"/>
                    <a:pt x="2122627" y="914881"/>
                    <a:pt x="2121931" y="913016"/>
                  </a:cubicBezTo>
                  <a:cubicBezTo>
                    <a:pt x="2121698" y="912433"/>
                    <a:pt x="2119381" y="907297"/>
                    <a:pt x="2111925" y="907297"/>
                  </a:cubicBezTo>
                  <a:cubicBezTo>
                    <a:pt x="2104583" y="907297"/>
                    <a:pt x="2102204" y="912192"/>
                    <a:pt x="2101856" y="912892"/>
                  </a:cubicBezTo>
                  <a:cubicBezTo>
                    <a:pt x="2101747" y="913238"/>
                    <a:pt x="2101647" y="913598"/>
                    <a:pt x="2101422" y="913948"/>
                  </a:cubicBezTo>
                  <a:cubicBezTo>
                    <a:pt x="2100488" y="915231"/>
                    <a:pt x="2099077" y="916060"/>
                    <a:pt x="2097447" y="916060"/>
                  </a:cubicBezTo>
                  <a:cubicBezTo>
                    <a:pt x="2095940" y="916060"/>
                    <a:pt x="2094405" y="915359"/>
                    <a:pt x="2093590" y="914071"/>
                  </a:cubicBezTo>
                  <a:cubicBezTo>
                    <a:pt x="2093361" y="913845"/>
                    <a:pt x="2093270" y="913504"/>
                    <a:pt x="2093156" y="913267"/>
                  </a:cubicBezTo>
                  <a:cubicBezTo>
                    <a:pt x="2092918" y="912803"/>
                    <a:pt x="2089752" y="907297"/>
                    <a:pt x="2079731" y="907297"/>
                  </a:cubicBezTo>
                  <a:cubicBezTo>
                    <a:pt x="2070531" y="907297"/>
                    <a:pt x="2067132" y="912093"/>
                    <a:pt x="2066436" y="913139"/>
                  </a:cubicBezTo>
                  <a:cubicBezTo>
                    <a:pt x="2066316" y="913489"/>
                    <a:pt x="2066231" y="913726"/>
                    <a:pt x="2066002" y="914071"/>
                  </a:cubicBezTo>
                  <a:cubicBezTo>
                    <a:pt x="2065067" y="915359"/>
                    <a:pt x="2063656" y="916060"/>
                    <a:pt x="2062145" y="916060"/>
                  </a:cubicBezTo>
                  <a:cubicBezTo>
                    <a:pt x="2060510" y="916060"/>
                    <a:pt x="2059037" y="915231"/>
                    <a:pt x="2058231" y="913948"/>
                  </a:cubicBezTo>
                  <a:cubicBezTo>
                    <a:pt x="2057993" y="913598"/>
                    <a:pt x="2057726" y="913119"/>
                    <a:pt x="2057611" y="912769"/>
                  </a:cubicBezTo>
                  <a:cubicBezTo>
                    <a:pt x="2057030" y="911718"/>
                    <a:pt x="2054598" y="907297"/>
                    <a:pt x="2047605" y="907297"/>
                  </a:cubicBezTo>
                  <a:cubicBezTo>
                    <a:pt x="2040030" y="907297"/>
                    <a:pt x="2037708" y="912557"/>
                    <a:pt x="2037474" y="913139"/>
                  </a:cubicBezTo>
                  <a:cubicBezTo>
                    <a:pt x="2036893" y="915004"/>
                    <a:pt x="2035105" y="916183"/>
                    <a:pt x="2033127" y="916183"/>
                  </a:cubicBezTo>
                  <a:cubicBezTo>
                    <a:pt x="2030447" y="916183"/>
                    <a:pt x="2028402" y="914086"/>
                    <a:pt x="2028402" y="911525"/>
                  </a:cubicBezTo>
                  <a:cubicBezTo>
                    <a:pt x="2028402" y="885898"/>
                    <a:pt x="2051433" y="865041"/>
                    <a:pt x="2079855" y="865041"/>
                  </a:cubicBezTo>
                  <a:close/>
                  <a:moveTo>
                    <a:pt x="363195" y="861063"/>
                  </a:moveTo>
                  <a:cubicBezTo>
                    <a:pt x="381291" y="861134"/>
                    <a:pt x="399366" y="868091"/>
                    <a:pt x="413102" y="881944"/>
                  </a:cubicBezTo>
                  <a:cubicBezTo>
                    <a:pt x="440607" y="909598"/>
                    <a:pt x="440482" y="954329"/>
                    <a:pt x="412789" y="981811"/>
                  </a:cubicBezTo>
                  <a:cubicBezTo>
                    <a:pt x="387134" y="1007319"/>
                    <a:pt x="346792" y="1009038"/>
                    <a:pt x="319141" y="987089"/>
                  </a:cubicBezTo>
                  <a:cubicBezTo>
                    <a:pt x="315169" y="984221"/>
                    <a:pt x="313412" y="982279"/>
                    <a:pt x="308760" y="976959"/>
                  </a:cubicBezTo>
                  <a:lnTo>
                    <a:pt x="308509" y="976654"/>
                  </a:lnTo>
                  <a:cubicBezTo>
                    <a:pt x="285479" y="948807"/>
                    <a:pt x="287037" y="907523"/>
                    <a:pt x="313172" y="881567"/>
                  </a:cubicBezTo>
                  <a:cubicBezTo>
                    <a:pt x="327013" y="867817"/>
                    <a:pt x="345109" y="860992"/>
                    <a:pt x="363195" y="861063"/>
                  </a:cubicBezTo>
                  <a:close/>
                  <a:moveTo>
                    <a:pt x="1951223" y="857087"/>
                  </a:moveTo>
                  <a:cubicBezTo>
                    <a:pt x="1951223" y="857087"/>
                    <a:pt x="1955259" y="858454"/>
                    <a:pt x="1955259" y="858454"/>
                  </a:cubicBezTo>
                  <a:lnTo>
                    <a:pt x="1950662" y="860008"/>
                  </a:lnTo>
                  <a:cubicBezTo>
                    <a:pt x="1952434" y="860741"/>
                    <a:pt x="1953611" y="861555"/>
                    <a:pt x="1954329" y="862431"/>
                  </a:cubicBezTo>
                  <a:lnTo>
                    <a:pt x="1954766" y="862866"/>
                  </a:lnTo>
                  <a:lnTo>
                    <a:pt x="1949608" y="863674"/>
                  </a:lnTo>
                  <a:lnTo>
                    <a:pt x="1949479" y="863488"/>
                  </a:lnTo>
                  <a:cubicBezTo>
                    <a:pt x="1949098" y="863015"/>
                    <a:pt x="1948341" y="862058"/>
                    <a:pt x="1945381" y="861064"/>
                  </a:cubicBezTo>
                  <a:cubicBezTo>
                    <a:pt x="1943817" y="860530"/>
                    <a:pt x="1942236" y="860256"/>
                    <a:pt x="1940655" y="860256"/>
                  </a:cubicBezTo>
                  <a:cubicBezTo>
                    <a:pt x="1938895" y="860256"/>
                    <a:pt x="1937544" y="860617"/>
                    <a:pt x="1936742" y="860878"/>
                  </a:cubicBezTo>
                  <a:cubicBezTo>
                    <a:pt x="1935845" y="861195"/>
                    <a:pt x="1935380" y="861449"/>
                    <a:pt x="1935313" y="861748"/>
                  </a:cubicBezTo>
                  <a:cubicBezTo>
                    <a:pt x="1935217" y="862295"/>
                    <a:pt x="1936249" y="863245"/>
                    <a:pt x="1937051" y="863923"/>
                  </a:cubicBezTo>
                  <a:cubicBezTo>
                    <a:pt x="1938671" y="865228"/>
                    <a:pt x="1939399" y="866321"/>
                    <a:pt x="1939226" y="867278"/>
                  </a:cubicBezTo>
                  <a:cubicBezTo>
                    <a:pt x="1939046" y="868329"/>
                    <a:pt x="1937914" y="869149"/>
                    <a:pt x="1935683" y="869889"/>
                  </a:cubicBezTo>
                  <a:cubicBezTo>
                    <a:pt x="1931657" y="871243"/>
                    <a:pt x="1925239" y="871386"/>
                    <a:pt x="1920087" y="870137"/>
                  </a:cubicBezTo>
                  <a:lnTo>
                    <a:pt x="1915114" y="871753"/>
                  </a:lnTo>
                  <a:lnTo>
                    <a:pt x="1911078" y="870386"/>
                  </a:lnTo>
                  <a:lnTo>
                    <a:pt x="1915798" y="868770"/>
                  </a:lnTo>
                  <a:cubicBezTo>
                    <a:pt x="1913544" y="867894"/>
                    <a:pt x="1911913" y="866812"/>
                    <a:pt x="1911448" y="865849"/>
                  </a:cubicBezTo>
                  <a:lnTo>
                    <a:pt x="1911263" y="865414"/>
                  </a:lnTo>
                  <a:lnTo>
                    <a:pt x="1916235" y="864606"/>
                  </a:lnTo>
                  <a:lnTo>
                    <a:pt x="1916358" y="864855"/>
                  </a:lnTo>
                  <a:cubicBezTo>
                    <a:pt x="1916975" y="865862"/>
                    <a:pt x="1918719" y="866899"/>
                    <a:pt x="1920955" y="867651"/>
                  </a:cubicBezTo>
                  <a:cubicBezTo>
                    <a:pt x="1922626" y="868217"/>
                    <a:pt x="1924448" y="868459"/>
                    <a:pt x="1926304" y="868459"/>
                  </a:cubicBezTo>
                  <a:cubicBezTo>
                    <a:pt x="1927896" y="868459"/>
                    <a:pt x="1929415" y="868242"/>
                    <a:pt x="1930654" y="867838"/>
                  </a:cubicBezTo>
                  <a:cubicBezTo>
                    <a:pt x="1932044" y="867359"/>
                    <a:pt x="1932397" y="866949"/>
                    <a:pt x="1932454" y="866657"/>
                  </a:cubicBezTo>
                  <a:cubicBezTo>
                    <a:pt x="1932510" y="866241"/>
                    <a:pt x="1932106" y="865688"/>
                    <a:pt x="1931147" y="864917"/>
                  </a:cubicBezTo>
                  <a:cubicBezTo>
                    <a:pt x="1929213" y="863432"/>
                    <a:pt x="1928417" y="862276"/>
                    <a:pt x="1928602" y="861250"/>
                  </a:cubicBezTo>
                  <a:cubicBezTo>
                    <a:pt x="1928754" y="860281"/>
                    <a:pt x="1929718" y="859542"/>
                    <a:pt x="1931646" y="858889"/>
                  </a:cubicBezTo>
                  <a:cubicBezTo>
                    <a:pt x="1933704" y="858205"/>
                    <a:pt x="1936305" y="857833"/>
                    <a:pt x="1939102" y="857833"/>
                  </a:cubicBezTo>
                  <a:cubicBezTo>
                    <a:pt x="1941586" y="857833"/>
                    <a:pt x="1944120" y="858131"/>
                    <a:pt x="1946435" y="858703"/>
                  </a:cubicBezTo>
                  <a:close/>
                  <a:moveTo>
                    <a:pt x="57405" y="852627"/>
                  </a:moveTo>
                  <a:cubicBezTo>
                    <a:pt x="43017" y="852627"/>
                    <a:pt x="31349" y="861111"/>
                    <a:pt x="31349" y="871582"/>
                  </a:cubicBezTo>
                  <a:cubicBezTo>
                    <a:pt x="31349" y="882044"/>
                    <a:pt x="43017" y="890529"/>
                    <a:pt x="57405" y="890529"/>
                  </a:cubicBezTo>
                  <a:cubicBezTo>
                    <a:pt x="71792" y="890529"/>
                    <a:pt x="83464" y="882044"/>
                    <a:pt x="83464" y="871582"/>
                  </a:cubicBezTo>
                  <a:cubicBezTo>
                    <a:pt x="83464" y="861111"/>
                    <a:pt x="71792" y="852627"/>
                    <a:pt x="57405" y="852627"/>
                  </a:cubicBezTo>
                  <a:close/>
                  <a:moveTo>
                    <a:pt x="1934320" y="848884"/>
                  </a:moveTo>
                  <a:cubicBezTo>
                    <a:pt x="1914021" y="848884"/>
                    <a:pt x="1896844" y="856658"/>
                    <a:pt x="1896844" y="865911"/>
                  </a:cubicBezTo>
                  <a:cubicBezTo>
                    <a:pt x="1896844" y="875152"/>
                    <a:pt x="1914021" y="882939"/>
                    <a:pt x="1934320" y="882939"/>
                  </a:cubicBezTo>
                  <a:cubicBezTo>
                    <a:pt x="1954598" y="882939"/>
                    <a:pt x="1971730" y="875152"/>
                    <a:pt x="1971730" y="865911"/>
                  </a:cubicBezTo>
                  <a:cubicBezTo>
                    <a:pt x="1971730" y="856658"/>
                    <a:pt x="1954598" y="848884"/>
                    <a:pt x="1934320" y="848884"/>
                  </a:cubicBezTo>
                  <a:close/>
                  <a:moveTo>
                    <a:pt x="1934320" y="845155"/>
                  </a:moveTo>
                  <a:cubicBezTo>
                    <a:pt x="1957378" y="845155"/>
                    <a:pt x="1975458" y="854259"/>
                    <a:pt x="1975458" y="865911"/>
                  </a:cubicBezTo>
                  <a:lnTo>
                    <a:pt x="1975458" y="880142"/>
                  </a:lnTo>
                  <a:cubicBezTo>
                    <a:pt x="1975458" y="880857"/>
                    <a:pt x="1975452" y="881845"/>
                    <a:pt x="1975396" y="882939"/>
                  </a:cubicBezTo>
                  <a:lnTo>
                    <a:pt x="1975458" y="882939"/>
                  </a:lnTo>
                  <a:lnTo>
                    <a:pt x="1975458" y="897543"/>
                  </a:lnTo>
                  <a:cubicBezTo>
                    <a:pt x="1975458" y="898263"/>
                    <a:pt x="1975452" y="899264"/>
                    <a:pt x="1975396" y="900339"/>
                  </a:cubicBezTo>
                  <a:lnTo>
                    <a:pt x="1975458" y="900339"/>
                  </a:lnTo>
                  <a:lnTo>
                    <a:pt x="1975458" y="914943"/>
                  </a:lnTo>
                  <a:cubicBezTo>
                    <a:pt x="1975458" y="916018"/>
                    <a:pt x="1975447" y="917422"/>
                    <a:pt x="1975273" y="919044"/>
                  </a:cubicBezTo>
                  <a:lnTo>
                    <a:pt x="1975458" y="919044"/>
                  </a:lnTo>
                  <a:lnTo>
                    <a:pt x="1975458" y="933648"/>
                  </a:lnTo>
                  <a:cubicBezTo>
                    <a:pt x="1975458" y="940695"/>
                    <a:pt x="1975430" y="959500"/>
                    <a:pt x="1934567" y="959500"/>
                  </a:cubicBezTo>
                  <a:cubicBezTo>
                    <a:pt x="1893143" y="959500"/>
                    <a:pt x="1893177" y="940024"/>
                    <a:pt x="1893177" y="933648"/>
                  </a:cubicBezTo>
                  <a:lnTo>
                    <a:pt x="1893177" y="919044"/>
                  </a:lnTo>
                  <a:lnTo>
                    <a:pt x="1893368" y="919044"/>
                  </a:lnTo>
                  <a:cubicBezTo>
                    <a:pt x="1893149" y="917391"/>
                    <a:pt x="1893177" y="915993"/>
                    <a:pt x="1893177" y="914943"/>
                  </a:cubicBezTo>
                  <a:lnTo>
                    <a:pt x="1893177" y="900339"/>
                  </a:lnTo>
                  <a:lnTo>
                    <a:pt x="1893239" y="900339"/>
                  </a:lnTo>
                  <a:cubicBezTo>
                    <a:pt x="1893171" y="899320"/>
                    <a:pt x="1893177" y="898388"/>
                    <a:pt x="1893177" y="897543"/>
                  </a:cubicBezTo>
                  <a:lnTo>
                    <a:pt x="1893177" y="882939"/>
                  </a:lnTo>
                  <a:lnTo>
                    <a:pt x="1893239" y="882939"/>
                  </a:lnTo>
                  <a:cubicBezTo>
                    <a:pt x="1893171" y="881907"/>
                    <a:pt x="1893177" y="880981"/>
                    <a:pt x="1893177" y="880142"/>
                  </a:cubicBezTo>
                  <a:lnTo>
                    <a:pt x="1893177" y="865911"/>
                  </a:lnTo>
                  <a:cubicBezTo>
                    <a:pt x="1893177" y="854259"/>
                    <a:pt x="1911234" y="845155"/>
                    <a:pt x="1934320" y="845155"/>
                  </a:cubicBezTo>
                  <a:close/>
                  <a:moveTo>
                    <a:pt x="57405" y="843157"/>
                  </a:moveTo>
                  <a:cubicBezTo>
                    <a:pt x="77029" y="843157"/>
                    <a:pt x="92930" y="855874"/>
                    <a:pt x="92930" y="871582"/>
                  </a:cubicBezTo>
                  <a:cubicBezTo>
                    <a:pt x="92930" y="887277"/>
                    <a:pt x="77029" y="900002"/>
                    <a:pt x="57405" y="900002"/>
                  </a:cubicBezTo>
                  <a:cubicBezTo>
                    <a:pt x="55496" y="900002"/>
                    <a:pt x="53632" y="899851"/>
                    <a:pt x="51803" y="899618"/>
                  </a:cubicBezTo>
                  <a:lnTo>
                    <a:pt x="43666" y="910440"/>
                  </a:lnTo>
                  <a:cubicBezTo>
                    <a:pt x="42105" y="912511"/>
                    <a:pt x="40820" y="912094"/>
                    <a:pt x="40820" y="909468"/>
                  </a:cubicBezTo>
                  <a:lnTo>
                    <a:pt x="40820" y="896714"/>
                  </a:lnTo>
                  <a:cubicBezTo>
                    <a:pt x="29555" y="891934"/>
                    <a:pt x="21875" y="882489"/>
                    <a:pt x="21875" y="871582"/>
                  </a:cubicBezTo>
                  <a:cubicBezTo>
                    <a:pt x="21875" y="855874"/>
                    <a:pt x="37775" y="843157"/>
                    <a:pt x="57405" y="843157"/>
                  </a:cubicBezTo>
                  <a:close/>
                  <a:moveTo>
                    <a:pt x="1960108" y="839189"/>
                  </a:moveTo>
                  <a:lnTo>
                    <a:pt x="1964767" y="840122"/>
                  </a:lnTo>
                  <a:lnTo>
                    <a:pt x="1964021" y="840557"/>
                  </a:lnTo>
                  <a:cubicBezTo>
                    <a:pt x="1963489" y="840905"/>
                    <a:pt x="1962267" y="841830"/>
                    <a:pt x="1962530" y="843104"/>
                  </a:cubicBezTo>
                  <a:cubicBezTo>
                    <a:pt x="1962805" y="844378"/>
                    <a:pt x="1964980" y="845348"/>
                    <a:pt x="1967940" y="845528"/>
                  </a:cubicBezTo>
                  <a:cubicBezTo>
                    <a:pt x="1970631" y="845696"/>
                    <a:pt x="1972190" y="845217"/>
                    <a:pt x="1973406" y="843788"/>
                  </a:cubicBezTo>
                  <a:cubicBezTo>
                    <a:pt x="1975172" y="841619"/>
                    <a:pt x="1977414" y="840681"/>
                    <a:pt x="1980862" y="840681"/>
                  </a:cubicBezTo>
                  <a:cubicBezTo>
                    <a:pt x="1981283" y="840681"/>
                    <a:pt x="1981714" y="840650"/>
                    <a:pt x="1982168" y="840681"/>
                  </a:cubicBezTo>
                  <a:cubicBezTo>
                    <a:pt x="1986552" y="840948"/>
                    <a:pt x="1990191" y="842415"/>
                    <a:pt x="1991553" y="844409"/>
                  </a:cubicBezTo>
                  <a:lnTo>
                    <a:pt x="1996896" y="844720"/>
                  </a:lnTo>
                  <a:lnTo>
                    <a:pt x="1997395" y="846771"/>
                  </a:lnTo>
                  <a:lnTo>
                    <a:pt x="1992175" y="846460"/>
                  </a:lnTo>
                  <a:cubicBezTo>
                    <a:pt x="1992175" y="847448"/>
                    <a:pt x="1991699" y="848281"/>
                    <a:pt x="1990746" y="849008"/>
                  </a:cubicBezTo>
                  <a:lnTo>
                    <a:pt x="1990622" y="849132"/>
                  </a:lnTo>
                  <a:lnTo>
                    <a:pt x="1986081" y="848200"/>
                  </a:lnTo>
                  <a:lnTo>
                    <a:pt x="1986704" y="847703"/>
                  </a:lnTo>
                  <a:cubicBezTo>
                    <a:pt x="1987444" y="847169"/>
                    <a:pt x="1988055" y="846560"/>
                    <a:pt x="1987825" y="845528"/>
                  </a:cubicBezTo>
                  <a:cubicBezTo>
                    <a:pt x="1987466" y="843800"/>
                    <a:pt x="1984119" y="843477"/>
                    <a:pt x="1983099" y="843415"/>
                  </a:cubicBezTo>
                  <a:cubicBezTo>
                    <a:pt x="1980660" y="843266"/>
                    <a:pt x="1979528" y="843658"/>
                    <a:pt x="1977941" y="845404"/>
                  </a:cubicBezTo>
                  <a:cubicBezTo>
                    <a:pt x="1976232" y="847430"/>
                    <a:pt x="1973911" y="848262"/>
                    <a:pt x="1970300" y="848262"/>
                  </a:cubicBezTo>
                  <a:cubicBezTo>
                    <a:pt x="1969785" y="848262"/>
                    <a:pt x="1969291" y="848300"/>
                    <a:pt x="1968747" y="848262"/>
                  </a:cubicBezTo>
                  <a:cubicBezTo>
                    <a:pt x="1965182" y="848051"/>
                    <a:pt x="1960456" y="846889"/>
                    <a:pt x="1958802" y="844347"/>
                  </a:cubicBezTo>
                  <a:lnTo>
                    <a:pt x="1953207" y="843974"/>
                  </a:lnTo>
                  <a:lnTo>
                    <a:pt x="1952837" y="841924"/>
                  </a:lnTo>
                  <a:lnTo>
                    <a:pt x="1958118" y="842234"/>
                  </a:lnTo>
                  <a:cubicBezTo>
                    <a:pt x="1958085" y="841029"/>
                    <a:pt x="1958797" y="839941"/>
                    <a:pt x="1959985" y="839252"/>
                  </a:cubicBezTo>
                  <a:close/>
                  <a:moveTo>
                    <a:pt x="739055" y="838285"/>
                  </a:moveTo>
                  <a:cubicBezTo>
                    <a:pt x="740482" y="841845"/>
                    <a:pt x="743817" y="844334"/>
                    <a:pt x="747738" y="844334"/>
                  </a:cubicBezTo>
                  <a:cubicBezTo>
                    <a:pt x="751649" y="844334"/>
                    <a:pt x="754993" y="841845"/>
                    <a:pt x="756421" y="838285"/>
                  </a:cubicBezTo>
                  <a:close/>
                  <a:moveTo>
                    <a:pt x="613486" y="836076"/>
                  </a:moveTo>
                  <a:lnTo>
                    <a:pt x="513086" y="890461"/>
                  </a:lnTo>
                  <a:lnTo>
                    <a:pt x="536516" y="897478"/>
                  </a:lnTo>
                  <a:lnTo>
                    <a:pt x="600934" y="851477"/>
                  </a:lnTo>
                  <a:lnTo>
                    <a:pt x="559611" y="908899"/>
                  </a:lnTo>
                  <a:lnTo>
                    <a:pt x="588158" y="937440"/>
                  </a:lnTo>
                  <a:cubicBezTo>
                    <a:pt x="588158" y="937440"/>
                    <a:pt x="613486" y="836076"/>
                    <a:pt x="613486" y="836076"/>
                  </a:cubicBezTo>
                  <a:close/>
                  <a:moveTo>
                    <a:pt x="2301654" y="832105"/>
                  </a:moveTo>
                  <a:cubicBezTo>
                    <a:pt x="2281576" y="832105"/>
                    <a:pt x="2262703" y="839917"/>
                    <a:pt x="2248524" y="854102"/>
                  </a:cubicBezTo>
                  <a:lnTo>
                    <a:pt x="2239763" y="862864"/>
                  </a:lnTo>
                  <a:cubicBezTo>
                    <a:pt x="2247449" y="878516"/>
                    <a:pt x="2278045" y="933156"/>
                    <a:pt x="2349191" y="972173"/>
                  </a:cubicBezTo>
                  <a:lnTo>
                    <a:pt x="2357894" y="963483"/>
                  </a:lnTo>
                  <a:cubicBezTo>
                    <a:pt x="2387226" y="934149"/>
                    <a:pt x="2387226" y="886515"/>
                    <a:pt x="2357894" y="857210"/>
                  </a:cubicBezTo>
                  <a:lnTo>
                    <a:pt x="2354843" y="854102"/>
                  </a:lnTo>
                  <a:cubicBezTo>
                    <a:pt x="2340634" y="839917"/>
                    <a:pt x="2321747" y="832105"/>
                    <a:pt x="2301654" y="832105"/>
                  </a:cubicBezTo>
                  <a:close/>
                  <a:moveTo>
                    <a:pt x="2492227" y="825574"/>
                  </a:moveTo>
                  <a:lnTo>
                    <a:pt x="2605434" y="882173"/>
                  </a:lnTo>
                  <a:cubicBezTo>
                    <a:pt x="2605434" y="882173"/>
                    <a:pt x="2718628" y="825574"/>
                    <a:pt x="2718628" y="825574"/>
                  </a:cubicBezTo>
                  <a:lnTo>
                    <a:pt x="2746992" y="839750"/>
                  </a:lnTo>
                  <a:lnTo>
                    <a:pt x="2605434" y="910523"/>
                  </a:lnTo>
                  <a:lnTo>
                    <a:pt x="2463876" y="839750"/>
                  </a:lnTo>
                  <a:close/>
                  <a:moveTo>
                    <a:pt x="1973036" y="825269"/>
                  </a:moveTo>
                  <a:cubicBezTo>
                    <a:pt x="1996111" y="825269"/>
                    <a:pt x="2014235" y="834379"/>
                    <a:pt x="2014235" y="846025"/>
                  </a:cubicBezTo>
                  <a:cubicBezTo>
                    <a:pt x="2014235" y="846025"/>
                    <a:pt x="2014235" y="860256"/>
                    <a:pt x="2014235" y="860256"/>
                  </a:cubicBezTo>
                  <a:cubicBezTo>
                    <a:pt x="2014235" y="860996"/>
                    <a:pt x="2014179" y="861996"/>
                    <a:pt x="2014112" y="863115"/>
                  </a:cubicBezTo>
                  <a:lnTo>
                    <a:pt x="2014235" y="863426"/>
                  </a:lnTo>
                  <a:lnTo>
                    <a:pt x="2014235" y="877657"/>
                  </a:lnTo>
                  <a:cubicBezTo>
                    <a:pt x="2014235" y="878377"/>
                    <a:pt x="2014179" y="879359"/>
                    <a:pt x="2014112" y="880453"/>
                  </a:cubicBezTo>
                  <a:lnTo>
                    <a:pt x="2014235" y="880453"/>
                  </a:lnTo>
                  <a:lnTo>
                    <a:pt x="2014235" y="895057"/>
                  </a:lnTo>
                  <a:cubicBezTo>
                    <a:pt x="2014235" y="896138"/>
                    <a:pt x="2014179" y="897580"/>
                    <a:pt x="2013989" y="899220"/>
                  </a:cubicBezTo>
                  <a:lnTo>
                    <a:pt x="2014235" y="899220"/>
                  </a:lnTo>
                  <a:lnTo>
                    <a:pt x="2014235" y="913762"/>
                  </a:lnTo>
                  <a:cubicBezTo>
                    <a:pt x="2014235" y="920312"/>
                    <a:pt x="2014230" y="937694"/>
                    <a:pt x="1977196" y="938806"/>
                  </a:cubicBezTo>
                  <a:lnTo>
                    <a:pt x="1976641" y="938868"/>
                  </a:lnTo>
                  <a:lnTo>
                    <a:pt x="1976826" y="938309"/>
                  </a:lnTo>
                  <a:cubicBezTo>
                    <a:pt x="1977218" y="937358"/>
                    <a:pt x="1977521" y="936358"/>
                    <a:pt x="1977756" y="935326"/>
                  </a:cubicBezTo>
                  <a:lnTo>
                    <a:pt x="1977818" y="935078"/>
                  </a:lnTo>
                  <a:lnTo>
                    <a:pt x="1978132" y="935078"/>
                  </a:lnTo>
                  <a:cubicBezTo>
                    <a:pt x="2010524" y="933822"/>
                    <a:pt x="2010507" y="919753"/>
                    <a:pt x="2010507" y="913762"/>
                  </a:cubicBezTo>
                  <a:lnTo>
                    <a:pt x="2010507" y="908480"/>
                  </a:lnTo>
                  <a:cubicBezTo>
                    <a:pt x="2005333" y="915446"/>
                    <a:pt x="1994614" y="919343"/>
                    <a:pt x="1978687" y="920039"/>
                  </a:cubicBezTo>
                  <a:lnTo>
                    <a:pt x="1978317" y="920039"/>
                  </a:lnTo>
                  <a:lnTo>
                    <a:pt x="1978317" y="916310"/>
                  </a:lnTo>
                  <a:lnTo>
                    <a:pt x="1978687" y="916310"/>
                  </a:lnTo>
                  <a:cubicBezTo>
                    <a:pt x="2010502" y="914930"/>
                    <a:pt x="2010507" y="901010"/>
                    <a:pt x="2010507" y="895057"/>
                  </a:cubicBezTo>
                  <a:lnTo>
                    <a:pt x="2010507" y="891080"/>
                  </a:lnTo>
                  <a:cubicBezTo>
                    <a:pt x="2005333" y="898058"/>
                    <a:pt x="1994614" y="901961"/>
                    <a:pt x="1978687" y="902638"/>
                  </a:cubicBezTo>
                  <a:lnTo>
                    <a:pt x="1978317" y="902638"/>
                  </a:lnTo>
                  <a:lnTo>
                    <a:pt x="1978317" y="898910"/>
                  </a:lnTo>
                  <a:lnTo>
                    <a:pt x="1978687" y="898910"/>
                  </a:lnTo>
                  <a:cubicBezTo>
                    <a:pt x="2010502" y="897524"/>
                    <a:pt x="2010507" y="883597"/>
                    <a:pt x="2010507" y="877657"/>
                  </a:cubicBezTo>
                  <a:lnTo>
                    <a:pt x="2010507" y="873679"/>
                  </a:lnTo>
                  <a:cubicBezTo>
                    <a:pt x="2005333" y="880658"/>
                    <a:pt x="1994614" y="884548"/>
                    <a:pt x="1978687" y="885238"/>
                  </a:cubicBezTo>
                  <a:lnTo>
                    <a:pt x="1978317" y="885238"/>
                  </a:lnTo>
                  <a:lnTo>
                    <a:pt x="1978317" y="881572"/>
                  </a:lnTo>
                  <a:lnTo>
                    <a:pt x="1978687" y="881509"/>
                  </a:lnTo>
                  <a:cubicBezTo>
                    <a:pt x="2010502" y="880117"/>
                    <a:pt x="2010507" y="866216"/>
                    <a:pt x="2010507" y="860256"/>
                  </a:cubicBezTo>
                  <a:lnTo>
                    <a:pt x="2010507" y="854788"/>
                  </a:lnTo>
                  <a:cubicBezTo>
                    <a:pt x="2004705" y="861257"/>
                    <a:pt x="1992955" y="865638"/>
                    <a:pt x="1978749" y="866595"/>
                  </a:cubicBezTo>
                  <a:lnTo>
                    <a:pt x="1978317" y="866657"/>
                  </a:lnTo>
                  <a:lnTo>
                    <a:pt x="1978317" y="862928"/>
                  </a:lnTo>
                  <a:lnTo>
                    <a:pt x="1978687" y="862866"/>
                  </a:lnTo>
                  <a:cubicBezTo>
                    <a:pt x="1996520" y="861567"/>
                    <a:pt x="2010507" y="854166"/>
                    <a:pt x="2010507" y="846025"/>
                  </a:cubicBezTo>
                  <a:cubicBezTo>
                    <a:pt x="2010507" y="836772"/>
                    <a:pt x="1993330" y="828936"/>
                    <a:pt x="1973036" y="828936"/>
                  </a:cubicBezTo>
                  <a:cubicBezTo>
                    <a:pt x="1957053" y="828936"/>
                    <a:pt x="1942399" y="833907"/>
                    <a:pt x="1937364" y="840992"/>
                  </a:cubicBezTo>
                  <a:lnTo>
                    <a:pt x="1937303" y="841116"/>
                  </a:lnTo>
                  <a:lnTo>
                    <a:pt x="1937112" y="841116"/>
                  </a:lnTo>
                  <a:cubicBezTo>
                    <a:pt x="1935800" y="841128"/>
                    <a:pt x="1934606" y="841172"/>
                    <a:pt x="1933507" y="841240"/>
                  </a:cubicBezTo>
                  <a:lnTo>
                    <a:pt x="1932952" y="841302"/>
                  </a:lnTo>
                  <a:lnTo>
                    <a:pt x="1933199" y="840743"/>
                  </a:lnTo>
                  <a:cubicBezTo>
                    <a:pt x="1937835" y="831490"/>
                    <a:pt x="1953824" y="825269"/>
                    <a:pt x="1973036" y="825269"/>
                  </a:cubicBezTo>
                  <a:close/>
                  <a:moveTo>
                    <a:pt x="747738" y="824766"/>
                  </a:moveTo>
                  <a:cubicBezTo>
                    <a:pt x="743817" y="824766"/>
                    <a:pt x="740482" y="827256"/>
                    <a:pt x="739055" y="830841"/>
                  </a:cubicBezTo>
                  <a:lnTo>
                    <a:pt x="756421" y="830841"/>
                  </a:lnTo>
                  <a:cubicBezTo>
                    <a:pt x="754993" y="827256"/>
                    <a:pt x="751649" y="824766"/>
                    <a:pt x="747738" y="824766"/>
                  </a:cubicBezTo>
                  <a:close/>
                  <a:moveTo>
                    <a:pt x="618706" y="821872"/>
                  </a:moveTo>
                  <a:cubicBezTo>
                    <a:pt x="620452" y="820949"/>
                    <a:pt x="622588" y="821119"/>
                    <a:pt x="624133" y="822340"/>
                  </a:cubicBezTo>
                  <a:cubicBezTo>
                    <a:pt x="625703" y="823537"/>
                    <a:pt x="626396" y="825578"/>
                    <a:pt x="625910" y="827492"/>
                  </a:cubicBezTo>
                  <a:lnTo>
                    <a:pt x="595690" y="948406"/>
                  </a:lnTo>
                  <a:cubicBezTo>
                    <a:pt x="595252" y="950155"/>
                    <a:pt x="593913" y="951504"/>
                    <a:pt x="592191" y="952002"/>
                  </a:cubicBezTo>
                  <a:cubicBezTo>
                    <a:pt x="591735" y="952136"/>
                    <a:pt x="591291" y="952172"/>
                    <a:pt x="590853" y="952172"/>
                  </a:cubicBezTo>
                  <a:cubicBezTo>
                    <a:pt x="589545" y="952172"/>
                    <a:pt x="588255" y="951692"/>
                    <a:pt x="587330" y="950744"/>
                  </a:cubicBezTo>
                  <a:lnTo>
                    <a:pt x="558631" y="922033"/>
                  </a:lnTo>
                  <a:cubicBezTo>
                    <a:pt x="558242" y="922556"/>
                    <a:pt x="545283" y="940933"/>
                    <a:pt x="543026" y="944031"/>
                  </a:cubicBezTo>
                  <a:cubicBezTo>
                    <a:pt x="539655" y="948630"/>
                    <a:pt x="536175" y="947804"/>
                    <a:pt x="535566" y="942798"/>
                  </a:cubicBezTo>
                  <a:cubicBezTo>
                    <a:pt x="535001" y="938424"/>
                    <a:pt x="532147" y="915818"/>
                    <a:pt x="530930" y="906226"/>
                  </a:cubicBezTo>
                  <a:lnTo>
                    <a:pt x="498709" y="896554"/>
                  </a:lnTo>
                  <a:cubicBezTo>
                    <a:pt x="496780" y="895989"/>
                    <a:pt x="495393" y="894300"/>
                    <a:pt x="495186" y="892289"/>
                  </a:cubicBezTo>
                  <a:cubicBezTo>
                    <a:pt x="494979" y="890279"/>
                    <a:pt x="496007" y="888359"/>
                    <a:pt x="497784" y="887405"/>
                  </a:cubicBezTo>
                  <a:close/>
                  <a:moveTo>
                    <a:pt x="747738" y="817305"/>
                  </a:moveTo>
                  <a:cubicBezTo>
                    <a:pt x="756871" y="817305"/>
                    <a:pt x="764302" y="825031"/>
                    <a:pt x="764302" y="834546"/>
                  </a:cubicBezTo>
                  <a:cubicBezTo>
                    <a:pt x="764302" y="842777"/>
                    <a:pt x="758719" y="849665"/>
                    <a:pt x="751297" y="851376"/>
                  </a:cubicBezTo>
                  <a:lnTo>
                    <a:pt x="751297" y="861130"/>
                  </a:lnTo>
                  <a:lnTo>
                    <a:pt x="808363" y="861130"/>
                  </a:lnTo>
                  <a:cubicBezTo>
                    <a:pt x="808980" y="861130"/>
                    <a:pt x="809556" y="861319"/>
                    <a:pt x="810075" y="861644"/>
                  </a:cubicBezTo>
                  <a:cubicBezTo>
                    <a:pt x="810143" y="861670"/>
                    <a:pt x="810172" y="861704"/>
                    <a:pt x="810202" y="861738"/>
                  </a:cubicBezTo>
                  <a:cubicBezTo>
                    <a:pt x="810593" y="861978"/>
                    <a:pt x="810916" y="862277"/>
                    <a:pt x="811180" y="862653"/>
                  </a:cubicBezTo>
                  <a:cubicBezTo>
                    <a:pt x="811238" y="862748"/>
                    <a:pt x="811375" y="862790"/>
                    <a:pt x="811473" y="862919"/>
                  </a:cubicBezTo>
                  <a:lnTo>
                    <a:pt x="852650" y="933773"/>
                  </a:lnTo>
                  <a:cubicBezTo>
                    <a:pt x="852679" y="933833"/>
                    <a:pt x="852708" y="933936"/>
                    <a:pt x="852747" y="934004"/>
                  </a:cubicBezTo>
                  <a:cubicBezTo>
                    <a:pt x="852806" y="934210"/>
                    <a:pt x="852874" y="934372"/>
                    <a:pt x="852943" y="934544"/>
                  </a:cubicBezTo>
                  <a:cubicBezTo>
                    <a:pt x="853002" y="934817"/>
                    <a:pt x="853070" y="935117"/>
                    <a:pt x="853070" y="935391"/>
                  </a:cubicBezTo>
                  <a:cubicBezTo>
                    <a:pt x="853099" y="935485"/>
                    <a:pt x="853168" y="935587"/>
                    <a:pt x="853168" y="935690"/>
                  </a:cubicBezTo>
                  <a:cubicBezTo>
                    <a:pt x="853168" y="935758"/>
                    <a:pt x="853099" y="935827"/>
                    <a:pt x="853099" y="935895"/>
                  </a:cubicBezTo>
                  <a:cubicBezTo>
                    <a:pt x="853070" y="936195"/>
                    <a:pt x="853031" y="936503"/>
                    <a:pt x="852943" y="936768"/>
                  </a:cubicBezTo>
                  <a:cubicBezTo>
                    <a:pt x="852904" y="936931"/>
                    <a:pt x="852874" y="937110"/>
                    <a:pt x="852777" y="937239"/>
                  </a:cubicBezTo>
                  <a:cubicBezTo>
                    <a:pt x="852679" y="937513"/>
                    <a:pt x="852483" y="937744"/>
                    <a:pt x="852327" y="937992"/>
                  </a:cubicBezTo>
                  <a:cubicBezTo>
                    <a:pt x="852229" y="938120"/>
                    <a:pt x="852161" y="938248"/>
                    <a:pt x="852033" y="938351"/>
                  </a:cubicBezTo>
                  <a:lnTo>
                    <a:pt x="852004" y="938420"/>
                  </a:lnTo>
                  <a:cubicBezTo>
                    <a:pt x="851183" y="939172"/>
                    <a:pt x="832271" y="957115"/>
                    <a:pt x="808393" y="957115"/>
                  </a:cubicBezTo>
                  <a:cubicBezTo>
                    <a:pt x="784543" y="957115"/>
                    <a:pt x="765593" y="939172"/>
                    <a:pt x="764781" y="938420"/>
                  </a:cubicBezTo>
                  <a:cubicBezTo>
                    <a:pt x="764781" y="938385"/>
                    <a:pt x="764781" y="938385"/>
                    <a:pt x="764742" y="938351"/>
                  </a:cubicBezTo>
                  <a:cubicBezTo>
                    <a:pt x="764615" y="938248"/>
                    <a:pt x="764557" y="938120"/>
                    <a:pt x="764459" y="937992"/>
                  </a:cubicBezTo>
                  <a:cubicBezTo>
                    <a:pt x="764302" y="937744"/>
                    <a:pt x="764097" y="937513"/>
                    <a:pt x="764009" y="937239"/>
                  </a:cubicBezTo>
                  <a:cubicBezTo>
                    <a:pt x="763941" y="937110"/>
                    <a:pt x="763901" y="936931"/>
                    <a:pt x="763843" y="936768"/>
                  </a:cubicBezTo>
                  <a:cubicBezTo>
                    <a:pt x="763774" y="936503"/>
                    <a:pt x="763706" y="936229"/>
                    <a:pt x="763677" y="935921"/>
                  </a:cubicBezTo>
                  <a:cubicBezTo>
                    <a:pt x="763677" y="935827"/>
                    <a:pt x="763647" y="935793"/>
                    <a:pt x="763647" y="935690"/>
                  </a:cubicBezTo>
                  <a:cubicBezTo>
                    <a:pt x="763647" y="935587"/>
                    <a:pt x="763677" y="935519"/>
                    <a:pt x="763706" y="935391"/>
                  </a:cubicBezTo>
                  <a:cubicBezTo>
                    <a:pt x="763706" y="935117"/>
                    <a:pt x="763774" y="934843"/>
                    <a:pt x="763872" y="934544"/>
                  </a:cubicBezTo>
                  <a:cubicBezTo>
                    <a:pt x="763901" y="934372"/>
                    <a:pt x="763970" y="934210"/>
                    <a:pt x="764068" y="934039"/>
                  </a:cubicBezTo>
                  <a:cubicBezTo>
                    <a:pt x="764097" y="933936"/>
                    <a:pt x="764097" y="933868"/>
                    <a:pt x="764165" y="933773"/>
                  </a:cubicBezTo>
                  <a:lnTo>
                    <a:pt x="802047" y="868583"/>
                  </a:lnTo>
                  <a:lnTo>
                    <a:pt x="751297" y="868583"/>
                  </a:lnTo>
                  <a:lnTo>
                    <a:pt x="751297" y="964841"/>
                  </a:lnTo>
                  <a:lnTo>
                    <a:pt x="761604" y="964841"/>
                  </a:lnTo>
                  <a:cubicBezTo>
                    <a:pt x="763608" y="964841"/>
                    <a:pt x="765202" y="966493"/>
                    <a:pt x="765202" y="968546"/>
                  </a:cubicBezTo>
                  <a:cubicBezTo>
                    <a:pt x="765202" y="970608"/>
                    <a:pt x="763608" y="972294"/>
                    <a:pt x="761604" y="972294"/>
                  </a:cubicBezTo>
                  <a:lnTo>
                    <a:pt x="751297" y="972294"/>
                  </a:lnTo>
                  <a:lnTo>
                    <a:pt x="751297" y="979755"/>
                  </a:lnTo>
                  <a:lnTo>
                    <a:pt x="775049" y="979755"/>
                  </a:lnTo>
                  <a:cubicBezTo>
                    <a:pt x="777024" y="979755"/>
                    <a:pt x="778618" y="981398"/>
                    <a:pt x="778618" y="983460"/>
                  </a:cubicBezTo>
                  <a:cubicBezTo>
                    <a:pt x="778618" y="985556"/>
                    <a:pt x="777024" y="987208"/>
                    <a:pt x="775049" y="987208"/>
                  </a:cubicBezTo>
                  <a:lnTo>
                    <a:pt x="751297" y="987208"/>
                  </a:lnTo>
                  <a:lnTo>
                    <a:pt x="751297" y="994660"/>
                  </a:lnTo>
                  <a:lnTo>
                    <a:pt x="787555" y="994660"/>
                  </a:lnTo>
                  <a:cubicBezTo>
                    <a:pt x="789570" y="994660"/>
                    <a:pt x="791154" y="996320"/>
                    <a:pt x="791154" y="998399"/>
                  </a:cubicBezTo>
                  <a:cubicBezTo>
                    <a:pt x="791154" y="1000461"/>
                    <a:pt x="789530" y="1002121"/>
                    <a:pt x="787555" y="1002121"/>
                  </a:cubicBezTo>
                  <a:lnTo>
                    <a:pt x="707881" y="1002121"/>
                  </a:lnTo>
                  <a:cubicBezTo>
                    <a:pt x="705906" y="1002121"/>
                    <a:pt x="704322" y="1000461"/>
                    <a:pt x="704322" y="998399"/>
                  </a:cubicBezTo>
                  <a:cubicBezTo>
                    <a:pt x="704322" y="996320"/>
                    <a:pt x="705906" y="994660"/>
                    <a:pt x="707881" y="994660"/>
                  </a:cubicBezTo>
                  <a:lnTo>
                    <a:pt x="744139" y="994660"/>
                  </a:lnTo>
                  <a:lnTo>
                    <a:pt x="744139" y="987208"/>
                  </a:lnTo>
                  <a:lnTo>
                    <a:pt x="720427" y="987208"/>
                  </a:lnTo>
                  <a:cubicBezTo>
                    <a:pt x="718442" y="987208"/>
                    <a:pt x="716858" y="985556"/>
                    <a:pt x="716858" y="983460"/>
                  </a:cubicBezTo>
                  <a:cubicBezTo>
                    <a:pt x="716858" y="981398"/>
                    <a:pt x="718442" y="979755"/>
                    <a:pt x="720427" y="979755"/>
                  </a:cubicBezTo>
                  <a:lnTo>
                    <a:pt x="744139" y="979755"/>
                  </a:lnTo>
                  <a:lnTo>
                    <a:pt x="744139" y="972294"/>
                  </a:lnTo>
                  <a:lnTo>
                    <a:pt x="732053" y="972294"/>
                  </a:lnTo>
                  <a:cubicBezTo>
                    <a:pt x="730078" y="972294"/>
                    <a:pt x="728484" y="970608"/>
                    <a:pt x="728484" y="968546"/>
                  </a:cubicBezTo>
                  <a:cubicBezTo>
                    <a:pt x="728484" y="966493"/>
                    <a:pt x="730078" y="964841"/>
                    <a:pt x="732053" y="964841"/>
                  </a:cubicBezTo>
                  <a:lnTo>
                    <a:pt x="744139" y="964841"/>
                  </a:lnTo>
                  <a:lnTo>
                    <a:pt x="744139" y="868583"/>
                  </a:lnTo>
                  <a:lnTo>
                    <a:pt x="693439" y="868583"/>
                  </a:lnTo>
                  <a:lnTo>
                    <a:pt x="730440" y="932216"/>
                  </a:lnTo>
                  <a:cubicBezTo>
                    <a:pt x="731770" y="932764"/>
                    <a:pt x="732738" y="934107"/>
                    <a:pt x="732738" y="935690"/>
                  </a:cubicBezTo>
                  <a:cubicBezTo>
                    <a:pt x="732738" y="937538"/>
                    <a:pt x="731408" y="938993"/>
                    <a:pt x="729726" y="939301"/>
                  </a:cubicBezTo>
                  <a:cubicBezTo>
                    <a:pt x="725580" y="942980"/>
                    <a:pt x="708273" y="957115"/>
                    <a:pt x="687054" y="957115"/>
                  </a:cubicBezTo>
                  <a:cubicBezTo>
                    <a:pt x="663204" y="957115"/>
                    <a:pt x="644264" y="939172"/>
                    <a:pt x="643472" y="938420"/>
                  </a:cubicBezTo>
                  <a:cubicBezTo>
                    <a:pt x="642210" y="937239"/>
                    <a:pt x="641956" y="935288"/>
                    <a:pt x="642826" y="933773"/>
                  </a:cubicBezTo>
                  <a:lnTo>
                    <a:pt x="684013" y="862919"/>
                  </a:lnTo>
                  <a:cubicBezTo>
                    <a:pt x="684071" y="862790"/>
                    <a:pt x="684237" y="862748"/>
                    <a:pt x="684296" y="862653"/>
                  </a:cubicBezTo>
                  <a:cubicBezTo>
                    <a:pt x="684560" y="862277"/>
                    <a:pt x="684883" y="862020"/>
                    <a:pt x="685245" y="861772"/>
                  </a:cubicBezTo>
                  <a:cubicBezTo>
                    <a:pt x="685274" y="861738"/>
                    <a:pt x="685333" y="861670"/>
                    <a:pt x="685372" y="861644"/>
                  </a:cubicBezTo>
                  <a:cubicBezTo>
                    <a:pt x="685919" y="861319"/>
                    <a:pt x="686467" y="861130"/>
                    <a:pt x="687122" y="861130"/>
                  </a:cubicBezTo>
                  <a:lnTo>
                    <a:pt x="744139" y="861130"/>
                  </a:lnTo>
                  <a:lnTo>
                    <a:pt x="744139" y="851376"/>
                  </a:lnTo>
                  <a:cubicBezTo>
                    <a:pt x="736757" y="849665"/>
                    <a:pt x="731183" y="842777"/>
                    <a:pt x="731183" y="834546"/>
                  </a:cubicBezTo>
                  <a:cubicBezTo>
                    <a:pt x="731183" y="825031"/>
                    <a:pt x="738595" y="817305"/>
                    <a:pt x="747738" y="817305"/>
                  </a:cubicBezTo>
                  <a:close/>
                  <a:moveTo>
                    <a:pt x="2085887" y="803397"/>
                  </a:moveTo>
                  <a:cubicBezTo>
                    <a:pt x="2087272" y="803397"/>
                    <a:pt x="2088486" y="803971"/>
                    <a:pt x="2089491" y="804761"/>
                  </a:cubicBezTo>
                  <a:cubicBezTo>
                    <a:pt x="2090856" y="805842"/>
                    <a:pt x="2091667" y="807589"/>
                    <a:pt x="2091667" y="809485"/>
                  </a:cubicBezTo>
                  <a:lnTo>
                    <a:pt x="2091667" y="821853"/>
                  </a:lnTo>
                  <a:cubicBezTo>
                    <a:pt x="2091667" y="823750"/>
                    <a:pt x="2090856" y="825488"/>
                    <a:pt x="2089491" y="826578"/>
                  </a:cubicBezTo>
                  <a:cubicBezTo>
                    <a:pt x="2088486" y="827352"/>
                    <a:pt x="2087272" y="827942"/>
                    <a:pt x="2085887" y="827942"/>
                  </a:cubicBezTo>
                  <a:cubicBezTo>
                    <a:pt x="2084522" y="827942"/>
                    <a:pt x="2083294" y="827368"/>
                    <a:pt x="2082282" y="826578"/>
                  </a:cubicBezTo>
                  <a:cubicBezTo>
                    <a:pt x="2080917" y="825488"/>
                    <a:pt x="2080106" y="823750"/>
                    <a:pt x="2080106" y="821853"/>
                  </a:cubicBezTo>
                  <a:lnTo>
                    <a:pt x="2080106" y="809485"/>
                  </a:lnTo>
                  <a:cubicBezTo>
                    <a:pt x="2080106" y="807589"/>
                    <a:pt x="2080917" y="805842"/>
                    <a:pt x="2082282" y="804761"/>
                  </a:cubicBezTo>
                  <a:cubicBezTo>
                    <a:pt x="2083294" y="803971"/>
                    <a:pt x="2084522" y="803397"/>
                    <a:pt x="2085887" y="803397"/>
                  </a:cubicBezTo>
                  <a:close/>
                  <a:moveTo>
                    <a:pt x="660245" y="803396"/>
                  </a:moveTo>
                  <a:lnTo>
                    <a:pt x="698963" y="803396"/>
                  </a:lnTo>
                  <a:lnTo>
                    <a:pt x="698963" y="811909"/>
                  </a:lnTo>
                  <a:cubicBezTo>
                    <a:pt x="698963" y="814714"/>
                    <a:pt x="696726" y="817006"/>
                    <a:pt x="693927" y="817006"/>
                  </a:cubicBezTo>
                  <a:lnTo>
                    <a:pt x="690821" y="817006"/>
                  </a:lnTo>
                  <a:cubicBezTo>
                    <a:pt x="689864" y="822340"/>
                    <a:pt x="685181" y="826389"/>
                    <a:pt x="679572" y="826389"/>
                  </a:cubicBezTo>
                  <a:cubicBezTo>
                    <a:pt x="673966" y="826389"/>
                    <a:pt x="669341" y="822340"/>
                    <a:pt x="668388" y="817006"/>
                  </a:cubicBezTo>
                  <a:lnTo>
                    <a:pt x="665277" y="817006"/>
                  </a:lnTo>
                  <a:cubicBezTo>
                    <a:pt x="662482" y="817006"/>
                    <a:pt x="660245" y="814714"/>
                    <a:pt x="660245" y="811909"/>
                  </a:cubicBezTo>
                  <a:cubicBezTo>
                    <a:pt x="660245" y="811909"/>
                    <a:pt x="660245" y="803396"/>
                    <a:pt x="660245" y="803396"/>
                  </a:cubicBezTo>
                  <a:close/>
                  <a:moveTo>
                    <a:pt x="830524" y="784853"/>
                  </a:moveTo>
                  <a:lnTo>
                    <a:pt x="830524" y="813484"/>
                  </a:lnTo>
                  <a:cubicBezTo>
                    <a:pt x="830524" y="835447"/>
                    <a:pt x="848385" y="853292"/>
                    <a:pt x="870337" y="853292"/>
                  </a:cubicBezTo>
                  <a:cubicBezTo>
                    <a:pt x="892294" y="853292"/>
                    <a:pt x="910150" y="835447"/>
                    <a:pt x="910150" y="813484"/>
                  </a:cubicBezTo>
                  <a:cubicBezTo>
                    <a:pt x="910150" y="813484"/>
                    <a:pt x="910150" y="785110"/>
                    <a:pt x="910150" y="785110"/>
                  </a:cubicBezTo>
                  <a:cubicBezTo>
                    <a:pt x="897271" y="789555"/>
                    <a:pt x="884379" y="791114"/>
                    <a:pt x="872640" y="791114"/>
                  </a:cubicBezTo>
                  <a:cubicBezTo>
                    <a:pt x="854293" y="791114"/>
                    <a:pt x="838771" y="787341"/>
                    <a:pt x="830524" y="784853"/>
                  </a:cubicBezTo>
                  <a:close/>
                  <a:moveTo>
                    <a:pt x="2127774" y="771574"/>
                  </a:moveTo>
                  <a:cubicBezTo>
                    <a:pt x="2129289" y="771574"/>
                    <a:pt x="2130783" y="772148"/>
                    <a:pt x="2131939" y="773321"/>
                  </a:cubicBezTo>
                  <a:cubicBezTo>
                    <a:pt x="2131939" y="773321"/>
                    <a:pt x="2140757" y="782079"/>
                    <a:pt x="2140757" y="782079"/>
                  </a:cubicBezTo>
                  <a:cubicBezTo>
                    <a:pt x="2143077" y="784400"/>
                    <a:pt x="2143077" y="788159"/>
                    <a:pt x="2140757" y="790472"/>
                  </a:cubicBezTo>
                  <a:cubicBezTo>
                    <a:pt x="2139580" y="791628"/>
                    <a:pt x="2138050" y="792210"/>
                    <a:pt x="2136535" y="792210"/>
                  </a:cubicBezTo>
                  <a:cubicBezTo>
                    <a:pt x="2135034" y="792210"/>
                    <a:pt x="2133476" y="791628"/>
                    <a:pt x="2132305" y="790472"/>
                  </a:cubicBezTo>
                  <a:lnTo>
                    <a:pt x="2123544" y="781705"/>
                  </a:lnTo>
                  <a:cubicBezTo>
                    <a:pt x="2121232" y="779368"/>
                    <a:pt x="2121232" y="775633"/>
                    <a:pt x="2123544" y="773321"/>
                  </a:cubicBezTo>
                  <a:cubicBezTo>
                    <a:pt x="2124708" y="772148"/>
                    <a:pt x="2126252" y="771574"/>
                    <a:pt x="2127774" y="771574"/>
                  </a:cubicBezTo>
                  <a:close/>
                  <a:moveTo>
                    <a:pt x="2043073" y="771574"/>
                  </a:moveTo>
                  <a:cubicBezTo>
                    <a:pt x="2044588" y="771574"/>
                    <a:pt x="2046132" y="772156"/>
                    <a:pt x="2047295" y="773321"/>
                  </a:cubicBezTo>
                  <a:cubicBezTo>
                    <a:pt x="2049615" y="775633"/>
                    <a:pt x="2049615" y="779393"/>
                    <a:pt x="2047295" y="781705"/>
                  </a:cubicBezTo>
                  <a:lnTo>
                    <a:pt x="2038534" y="790472"/>
                  </a:lnTo>
                  <a:cubicBezTo>
                    <a:pt x="2037364" y="791628"/>
                    <a:pt x="2035813" y="792210"/>
                    <a:pt x="2034305" y="792210"/>
                  </a:cubicBezTo>
                  <a:cubicBezTo>
                    <a:pt x="2032775" y="792210"/>
                    <a:pt x="2031296" y="791628"/>
                    <a:pt x="2030147" y="790472"/>
                  </a:cubicBezTo>
                  <a:cubicBezTo>
                    <a:pt x="2027827" y="788159"/>
                    <a:pt x="2027827" y="784400"/>
                    <a:pt x="2030147" y="782079"/>
                  </a:cubicBezTo>
                  <a:lnTo>
                    <a:pt x="2038843" y="773321"/>
                  </a:lnTo>
                  <a:cubicBezTo>
                    <a:pt x="2039999" y="772148"/>
                    <a:pt x="2041550" y="771582"/>
                    <a:pt x="2043073" y="771574"/>
                  </a:cubicBezTo>
                  <a:close/>
                  <a:moveTo>
                    <a:pt x="1978568" y="767604"/>
                  </a:moveTo>
                  <a:cubicBezTo>
                    <a:pt x="1981493" y="767428"/>
                    <a:pt x="1984362" y="768998"/>
                    <a:pt x="1985710" y="771770"/>
                  </a:cubicBezTo>
                  <a:cubicBezTo>
                    <a:pt x="1987553" y="775480"/>
                    <a:pt x="1986013" y="780043"/>
                    <a:pt x="1982290" y="781834"/>
                  </a:cubicBezTo>
                  <a:lnTo>
                    <a:pt x="1901009" y="821857"/>
                  </a:lnTo>
                  <a:cubicBezTo>
                    <a:pt x="1900028" y="822368"/>
                    <a:pt x="1898973" y="822634"/>
                    <a:pt x="1897901" y="822665"/>
                  </a:cubicBezTo>
                  <a:cubicBezTo>
                    <a:pt x="1897177" y="822688"/>
                    <a:pt x="1896406" y="822634"/>
                    <a:pt x="1895664" y="822413"/>
                  </a:cubicBezTo>
                  <a:lnTo>
                    <a:pt x="1797293" y="795447"/>
                  </a:lnTo>
                  <a:cubicBezTo>
                    <a:pt x="1793296" y="794319"/>
                    <a:pt x="1790912" y="790183"/>
                    <a:pt x="1792012" y="786183"/>
                  </a:cubicBezTo>
                  <a:cubicBezTo>
                    <a:pt x="1793094" y="782199"/>
                    <a:pt x="1797210" y="779838"/>
                    <a:pt x="1801208" y="780965"/>
                  </a:cubicBezTo>
                  <a:lnTo>
                    <a:pt x="1896911" y="807193"/>
                  </a:lnTo>
                  <a:lnTo>
                    <a:pt x="1975644" y="768411"/>
                  </a:lnTo>
                  <a:cubicBezTo>
                    <a:pt x="1976588" y="767946"/>
                    <a:pt x="1977587" y="767665"/>
                    <a:pt x="1978568" y="767604"/>
                  </a:cubicBezTo>
                  <a:close/>
                  <a:moveTo>
                    <a:pt x="2434894" y="759712"/>
                  </a:moveTo>
                  <a:cubicBezTo>
                    <a:pt x="2436100" y="759554"/>
                    <a:pt x="2437306" y="759611"/>
                    <a:pt x="2438555" y="759957"/>
                  </a:cubicBezTo>
                  <a:cubicBezTo>
                    <a:pt x="2443539" y="761367"/>
                    <a:pt x="2446415" y="766589"/>
                    <a:pt x="2445021" y="771581"/>
                  </a:cubicBezTo>
                  <a:cubicBezTo>
                    <a:pt x="2444628" y="772933"/>
                    <a:pt x="2435359" y="804699"/>
                    <a:pt x="2406172" y="819057"/>
                  </a:cubicBezTo>
                  <a:cubicBezTo>
                    <a:pt x="2377086" y="833371"/>
                    <a:pt x="2377202" y="850678"/>
                    <a:pt x="2377216" y="851369"/>
                  </a:cubicBezTo>
                  <a:cubicBezTo>
                    <a:pt x="2407203" y="888227"/>
                    <a:pt x="2405503" y="942407"/>
                    <a:pt x="2371187" y="976719"/>
                  </a:cubicBezTo>
                  <a:lnTo>
                    <a:pt x="2305068" y="1042767"/>
                  </a:lnTo>
                  <a:cubicBezTo>
                    <a:pt x="2287329" y="1060535"/>
                    <a:pt x="2263793" y="1070303"/>
                    <a:pt x="2238702" y="1070303"/>
                  </a:cubicBezTo>
                  <a:cubicBezTo>
                    <a:pt x="2213612" y="1070303"/>
                    <a:pt x="2190018" y="1060535"/>
                    <a:pt x="2172264" y="1042767"/>
                  </a:cubicBezTo>
                  <a:lnTo>
                    <a:pt x="2169227" y="1039732"/>
                  </a:lnTo>
                  <a:cubicBezTo>
                    <a:pt x="2132601" y="1003104"/>
                    <a:pt x="2132601" y="943543"/>
                    <a:pt x="2169227" y="906930"/>
                  </a:cubicBezTo>
                  <a:lnTo>
                    <a:pt x="2235288" y="840867"/>
                  </a:lnTo>
                  <a:cubicBezTo>
                    <a:pt x="2253027" y="823128"/>
                    <a:pt x="2276549" y="813331"/>
                    <a:pt x="2301654" y="813331"/>
                  </a:cubicBezTo>
                  <a:cubicBezTo>
                    <a:pt x="2324159" y="813331"/>
                    <a:pt x="2345225" y="821589"/>
                    <a:pt x="2362179" y="836019"/>
                  </a:cubicBezTo>
                  <a:cubicBezTo>
                    <a:pt x="2366625" y="825804"/>
                    <a:pt x="2376345" y="812827"/>
                    <a:pt x="2397905" y="802210"/>
                  </a:cubicBezTo>
                  <a:cubicBezTo>
                    <a:pt x="2419654" y="791521"/>
                    <a:pt x="2426947" y="766733"/>
                    <a:pt x="2426991" y="766474"/>
                  </a:cubicBezTo>
                  <a:cubicBezTo>
                    <a:pt x="2428051" y="762762"/>
                    <a:pt x="2431262" y="760173"/>
                    <a:pt x="2434894" y="759712"/>
                  </a:cubicBezTo>
                  <a:close/>
                  <a:moveTo>
                    <a:pt x="2605434" y="739386"/>
                  </a:moveTo>
                  <a:cubicBezTo>
                    <a:pt x="2605434" y="739386"/>
                    <a:pt x="2510853" y="786661"/>
                    <a:pt x="2510853" y="786661"/>
                  </a:cubicBezTo>
                  <a:lnTo>
                    <a:pt x="2605434" y="833946"/>
                  </a:lnTo>
                  <a:lnTo>
                    <a:pt x="2700003" y="786661"/>
                  </a:lnTo>
                  <a:close/>
                  <a:moveTo>
                    <a:pt x="1978568" y="737772"/>
                  </a:moveTo>
                  <a:cubicBezTo>
                    <a:pt x="1981493" y="737590"/>
                    <a:pt x="1984362" y="739151"/>
                    <a:pt x="1985710" y="741939"/>
                  </a:cubicBezTo>
                  <a:cubicBezTo>
                    <a:pt x="1987553" y="745657"/>
                    <a:pt x="1986013" y="750212"/>
                    <a:pt x="1982290" y="752002"/>
                  </a:cubicBezTo>
                  <a:lnTo>
                    <a:pt x="1900944" y="792026"/>
                  </a:lnTo>
                  <a:cubicBezTo>
                    <a:pt x="1899973" y="792544"/>
                    <a:pt x="1898964" y="792803"/>
                    <a:pt x="1897901" y="792834"/>
                  </a:cubicBezTo>
                  <a:cubicBezTo>
                    <a:pt x="1897177" y="792856"/>
                    <a:pt x="1896406" y="792788"/>
                    <a:pt x="1895664" y="792590"/>
                  </a:cubicBezTo>
                  <a:lnTo>
                    <a:pt x="1797293" y="765554"/>
                  </a:lnTo>
                  <a:cubicBezTo>
                    <a:pt x="1793305" y="764465"/>
                    <a:pt x="1790921" y="760359"/>
                    <a:pt x="1792012" y="756352"/>
                  </a:cubicBezTo>
                  <a:cubicBezTo>
                    <a:pt x="1793094" y="752368"/>
                    <a:pt x="1797210" y="749999"/>
                    <a:pt x="1801208" y="751134"/>
                  </a:cubicBezTo>
                  <a:lnTo>
                    <a:pt x="1896911" y="777301"/>
                  </a:lnTo>
                  <a:lnTo>
                    <a:pt x="1975644" y="738580"/>
                  </a:lnTo>
                  <a:cubicBezTo>
                    <a:pt x="1976579" y="738115"/>
                    <a:pt x="1977587" y="737833"/>
                    <a:pt x="1978568" y="737772"/>
                  </a:cubicBezTo>
                  <a:close/>
                  <a:moveTo>
                    <a:pt x="2068551" y="731808"/>
                  </a:moveTo>
                  <a:cubicBezTo>
                    <a:pt x="2070986" y="731808"/>
                    <a:pt x="2072961" y="733788"/>
                    <a:pt x="2072961" y="736216"/>
                  </a:cubicBezTo>
                  <a:cubicBezTo>
                    <a:pt x="2072961" y="738670"/>
                    <a:pt x="2070986" y="740633"/>
                    <a:pt x="2068551" y="740633"/>
                  </a:cubicBezTo>
                  <a:cubicBezTo>
                    <a:pt x="2066103" y="740633"/>
                    <a:pt x="2064200" y="738670"/>
                    <a:pt x="2064200" y="736216"/>
                  </a:cubicBezTo>
                  <a:cubicBezTo>
                    <a:pt x="2064200" y="733788"/>
                    <a:pt x="2066103" y="731808"/>
                    <a:pt x="2068551" y="731808"/>
                  </a:cubicBezTo>
                  <a:close/>
                  <a:moveTo>
                    <a:pt x="866296" y="725137"/>
                  </a:moveTo>
                  <a:cubicBezTo>
                    <a:pt x="848103" y="726695"/>
                    <a:pt x="830524" y="736083"/>
                    <a:pt x="830524" y="752254"/>
                  </a:cubicBezTo>
                  <a:cubicBezTo>
                    <a:pt x="830524" y="752254"/>
                    <a:pt x="830524" y="775129"/>
                    <a:pt x="830524" y="775129"/>
                  </a:cubicBezTo>
                  <a:cubicBezTo>
                    <a:pt x="836228" y="776989"/>
                    <a:pt x="849697" y="780770"/>
                    <a:pt x="866296" y="781603"/>
                  </a:cubicBezTo>
                  <a:close/>
                  <a:moveTo>
                    <a:pt x="875532" y="725004"/>
                  </a:moveTo>
                  <a:lnTo>
                    <a:pt x="875532" y="781744"/>
                  </a:lnTo>
                  <a:cubicBezTo>
                    <a:pt x="886554" y="781505"/>
                    <a:pt x="898479" y="779760"/>
                    <a:pt x="910150" y="775297"/>
                  </a:cubicBezTo>
                  <a:cubicBezTo>
                    <a:pt x="910150" y="775297"/>
                    <a:pt x="910150" y="752254"/>
                    <a:pt x="910150" y="752254"/>
                  </a:cubicBezTo>
                  <a:cubicBezTo>
                    <a:pt x="910150" y="734612"/>
                    <a:pt x="893343" y="726075"/>
                    <a:pt x="875532" y="725004"/>
                  </a:cubicBezTo>
                  <a:close/>
                  <a:moveTo>
                    <a:pt x="2141691" y="715897"/>
                  </a:moveTo>
                  <a:lnTo>
                    <a:pt x="2154057" y="715897"/>
                  </a:lnTo>
                  <a:cubicBezTo>
                    <a:pt x="2157346" y="715897"/>
                    <a:pt x="2160024" y="718583"/>
                    <a:pt x="2160024" y="721860"/>
                  </a:cubicBezTo>
                  <a:cubicBezTo>
                    <a:pt x="2160024" y="725129"/>
                    <a:pt x="2157346" y="727824"/>
                    <a:pt x="2154057" y="727824"/>
                  </a:cubicBezTo>
                  <a:lnTo>
                    <a:pt x="2141691" y="727824"/>
                  </a:lnTo>
                  <a:cubicBezTo>
                    <a:pt x="2138409" y="727824"/>
                    <a:pt x="2135788" y="725129"/>
                    <a:pt x="2135788" y="721860"/>
                  </a:cubicBezTo>
                  <a:cubicBezTo>
                    <a:pt x="2135788" y="718583"/>
                    <a:pt x="2138409" y="715897"/>
                    <a:pt x="2141691" y="715897"/>
                  </a:cubicBezTo>
                  <a:close/>
                  <a:moveTo>
                    <a:pt x="2016409" y="715897"/>
                  </a:moveTo>
                  <a:lnTo>
                    <a:pt x="2028775" y="715897"/>
                  </a:lnTo>
                  <a:cubicBezTo>
                    <a:pt x="2032050" y="715897"/>
                    <a:pt x="2034743" y="718583"/>
                    <a:pt x="2034743" y="721860"/>
                  </a:cubicBezTo>
                  <a:cubicBezTo>
                    <a:pt x="2034743" y="725154"/>
                    <a:pt x="2032064" y="727824"/>
                    <a:pt x="2028775" y="727824"/>
                  </a:cubicBezTo>
                  <a:lnTo>
                    <a:pt x="2016409" y="727824"/>
                  </a:lnTo>
                  <a:cubicBezTo>
                    <a:pt x="2013120" y="727824"/>
                    <a:pt x="2010506" y="725154"/>
                    <a:pt x="2010506" y="721860"/>
                  </a:cubicBezTo>
                  <a:cubicBezTo>
                    <a:pt x="2010506" y="718583"/>
                    <a:pt x="2013120" y="715897"/>
                    <a:pt x="2016409" y="715897"/>
                  </a:cubicBezTo>
                  <a:close/>
                  <a:moveTo>
                    <a:pt x="2605434" y="715887"/>
                  </a:moveTo>
                  <a:lnTo>
                    <a:pt x="2746992" y="786661"/>
                  </a:lnTo>
                  <a:cubicBezTo>
                    <a:pt x="2746992" y="786661"/>
                    <a:pt x="2605434" y="857446"/>
                    <a:pt x="2605434" y="857446"/>
                  </a:cubicBezTo>
                  <a:lnTo>
                    <a:pt x="2463876" y="786661"/>
                  </a:lnTo>
                  <a:close/>
                  <a:moveTo>
                    <a:pt x="679386" y="713847"/>
                  </a:moveTo>
                  <a:cubicBezTo>
                    <a:pt x="663310" y="713847"/>
                    <a:pt x="650239" y="725994"/>
                    <a:pt x="650239" y="740941"/>
                  </a:cubicBezTo>
                  <a:cubicBezTo>
                    <a:pt x="650239" y="752259"/>
                    <a:pt x="654329" y="758319"/>
                    <a:pt x="659562" y="765985"/>
                  </a:cubicBezTo>
                  <a:cubicBezTo>
                    <a:pt x="662957" y="770956"/>
                    <a:pt x="666929" y="776756"/>
                    <a:pt x="669318" y="783944"/>
                  </a:cubicBezTo>
                  <a:lnTo>
                    <a:pt x="689453" y="783944"/>
                  </a:lnTo>
                  <a:cubicBezTo>
                    <a:pt x="691835" y="776768"/>
                    <a:pt x="695815" y="770962"/>
                    <a:pt x="699210" y="765985"/>
                  </a:cubicBezTo>
                  <a:cubicBezTo>
                    <a:pt x="704431" y="758319"/>
                    <a:pt x="708533" y="752282"/>
                    <a:pt x="708533" y="740941"/>
                  </a:cubicBezTo>
                  <a:cubicBezTo>
                    <a:pt x="708533" y="725994"/>
                    <a:pt x="695461" y="713847"/>
                    <a:pt x="679386" y="713847"/>
                  </a:cubicBezTo>
                  <a:close/>
                  <a:moveTo>
                    <a:pt x="679386" y="701976"/>
                  </a:moveTo>
                  <a:cubicBezTo>
                    <a:pt x="702016" y="701976"/>
                    <a:pt x="720401" y="719446"/>
                    <a:pt x="720401" y="740941"/>
                  </a:cubicBezTo>
                  <a:cubicBezTo>
                    <a:pt x="720401" y="755940"/>
                    <a:pt x="714628" y="764465"/>
                    <a:pt x="709027" y="772695"/>
                  </a:cubicBezTo>
                  <a:cubicBezTo>
                    <a:pt x="704412" y="779463"/>
                    <a:pt x="699620" y="786438"/>
                    <a:pt x="699210" y="795816"/>
                  </a:cubicBezTo>
                  <a:lnTo>
                    <a:pt x="659562" y="795816"/>
                  </a:lnTo>
                  <a:cubicBezTo>
                    <a:pt x="659148" y="786421"/>
                    <a:pt x="654363" y="779463"/>
                    <a:pt x="649745" y="772695"/>
                  </a:cubicBezTo>
                  <a:cubicBezTo>
                    <a:pt x="644128" y="764453"/>
                    <a:pt x="638371" y="755923"/>
                    <a:pt x="638371" y="740941"/>
                  </a:cubicBezTo>
                  <a:cubicBezTo>
                    <a:pt x="638371" y="719446"/>
                    <a:pt x="656763" y="701976"/>
                    <a:pt x="679386" y="701976"/>
                  </a:cubicBezTo>
                  <a:close/>
                  <a:moveTo>
                    <a:pt x="141434" y="700051"/>
                  </a:moveTo>
                  <a:lnTo>
                    <a:pt x="63791" y="777698"/>
                  </a:lnTo>
                  <a:lnTo>
                    <a:pt x="73829" y="787737"/>
                  </a:lnTo>
                  <a:lnTo>
                    <a:pt x="87977" y="773591"/>
                  </a:lnTo>
                  <a:cubicBezTo>
                    <a:pt x="89226" y="772335"/>
                    <a:pt x="90925" y="771635"/>
                    <a:pt x="92689" y="771635"/>
                  </a:cubicBezTo>
                  <a:lnTo>
                    <a:pt x="92777" y="771635"/>
                  </a:lnTo>
                  <a:cubicBezTo>
                    <a:pt x="94574" y="771668"/>
                    <a:pt x="96284" y="772422"/>
                    <a:pt x="97522" y="773722"/>
                  </a:cubicBezTo>
                  <a:lnTo>
                    <a:pt x="159789" y="839615"/>
                  </a:lnTo>
                  <a:cubicBezTo>
                    <a:pt x="161137" y="841036"/>
                    <a:pt x="161784" y="842980"/>
                    <a:pt x="161565" y="844925"/>
                  </a:cubicBezTo>
                  <a:cubicBezTo>
                    <a:pt x="159472" y="863288"/>
                    <a:pt x="159537" y="887310"/>
                    <a:pt x="170299" y="902898"/>
                  </a:cubicBezTo>
                  <a:cubicBezTo>
                    <a:pt x="170299" y="902898"/>
                    <a:pt x="266648" y="806559"/>
                    <a:pt x="266648" y="806559"/>
                  </a:cubicBezTo>
                  <a:cubicBezTo>
                    <a:pt x="257223" y="800049"/>
                    <a:pt x="243766" y="796761"/>
                    <a:pt x="226484" y="796761"/>
                  </a:cubicBezTo>
                  <a:cubicBezTo>
                    <a:pt x="220884" y="796761"/>
                    <a:pt x="214890" y="797121"/>
                    <a:pt x="208665" y="797820"/>
                  </a:cubicBezTo>
                  <a:cubicBezTo>
                    <a:pt x="206715" y="798050"/>
                    <a:pt x="204775" y="797405"/>
                    <a:pt x="203350" y="796061"/>
                  </a:cubicBezTo>
                  <a:lnTo>
                    <a:pt x="137467" y="733795"/>
                  </a:lnTo>
                  <a:cubicBezTo>
                    <a:pt x="136152" y="732560"/>
                    <a:pt x="135395" y="730845"/>
                    <a:pt x="135373" y="729054"/>
                  </a:cubicBezTo>
                  <a:cubicBezTo>
                    <a:pt x="135352" y="727251"/>
                    <a:pt x="136053" y="725525"/>
                    <a:pt x="137324" y="724247"/>
                  </a:cubicBezTo>
                  <a:lnTo>
                    <a:pt x="151472" y="710101"/>
                  </a:lnTo>
                  <a:close/>
                  <a:moveTo>
                    <a:pt x="2075323" y="692159"/>
                  </a:moveTo>
                  <a:cubicBezTo>
                    <a:pt x="2076300" y="692417"/>
                    <a:pt x="2077133" y="693015"/>
                    <a:pt x="2077686" y="693964"/>
                  </a:cubicBezTo>
                  <a:cubicBezTo>
                    <a:pt x="2078777" y="695868"/>
                    <a:pt x="2078181" y="698247"/>
                    <a:pt x="2076314" y="699370"/>
                  </a:cubicBezTo>
                  <a:cubicBezTo>
                    <a:pt x="2075804" y="699678"/>
                    <a:pt x="2065643" y="706115"/>
                    <a:pt x="2068738" y="721802"/>
                  </a:cubicBezTo>
                  <a:cubicBezTo>
                    <a:pt x="2069147" y="723940"/>
                    <a:pt x="2067711" y="726044"/>
                    <a:pt x="2065564" y="726460"/>
                  </a:cubicBezTo>
                  <a:cubicBezTo>
                    <a:pt x="2065298" y="726518"/>
                    <a:pt x="2065090" y="726527"/>
                    <a:pt x="2064817" y="726527"/>
                  </a:cubicBezTo>
                  <a:cubicBezTo>
                    <a:pt x="2062979" y="726527"/>
                    <a:pt x="2061349" y="725187"/>
                    <a:pt x="2060968" y="723291"/>
                  </a:cubicBezTo>
                  <a:cubicBezTo>
                    <a:pt x="2056738" y="701857"/>
                    <a:pt x="2071654" y="692957"/>
                    <a:pt x="2072278" y="692591"/>
                  </a:cubicBezTo>
                  <a:cubicBezTo>
                    <a:pt x="2073219" y="692042"/>
                    <a:pt x="2074339" y="691901"/>
                    <a:pt x="2075323" y="692159"/>
                  </a:cubicBezTo>
                  <a:close/>
                  <a:moveTo>
                    <a:pt x="136732" y="685948"/>
                  </a:moveTo>
                  <a:cubicBezTo>
                    <a:pt x="139220" y="683446"/>
                    <a:pt x="143647" y="683446"/>
                    <a:pt x="146146" y="685948"/>
                  </a:cubicBezTo>
                  <a:lnTo>
                    <a:pt x="165587" y="705382"/>
                  </a:lnTo>
                  <a:cubicBezTo>
                    <a:pt x="168184" y="707992"/>
                    <a:pt x="168184" y="712209"/>
                    <a:pt x="165587" y="714809"/>
                  </a:cubicBezTo>
                  <a:lnTo>
                    <a:pt x="151581" y="728813"/>
                  </a:lnTo>
                  <a:lnTo>
                    <a:pt x="210265" y="784274"/>
                  </a:lnTo>
                  <a:cubicBezTo>
                    <a:pt x="215887" y="783728"/>
                    <a:pt x="221334" y="783455"/>
                    <a:pt x="226484" y="783455"/>
                  </a:cubicBezTo>
                  <a:cubicBezTo>
                    <a:pt x="250867" y="783455"/>
                    <a:pt x="269267" y="789485"/>
                    <a:pt x="281190" y="801425"/>
                  </a:cubicBezTo>
                  <a:cubicBezTo>
                    <a:pt x="283787" y="804025"/>
                    <a:pt x="283787" y="808231"/>
                    <a:pt x="281190" y="810831"/>
                  </a:cubicBezTo>
                  <a:lnTo>
                    <a:pt x="232588" y="859432"/>
                  </a:lnTo>
                  <a:lnTo>
                    <a:pt x="269815" y="896660"/>
                  </a:lnTo>
                  <a:cubicBezTo>
                    <a:pt x="272412" y="899260"/>
                    <a:pt x="272412" y="903477"/>
                    <a:pt x="269815" y="906077"/>
                  </a:cubicBezTo>
                  <a:cubicBezTo>
                    <a:pt x="268511" y="907377"/>
                    <a:pt x="266812" y="908021"/>
                    <a:pt x="265103" y="908021"/>
                  </a:cubicBezTo>
                  <a:cubicBezTo>
                    <a:pt x="263404" y="908021"/>
                    <a:pt x="261705" y="907377"/>
                    <a:pt x="260401" y="906077"/>
                  </a:cubicBezTo>
                  <a:lnTo>
                    <a:pt x="223175" y="868837"/>
                  </a:lnTo>
                  <a:lnTo>
                    <a:pt x="174562" y="917449"/>
                  </a:lnTo>
                  <a:cubicBezTo>
                    <a:pt x="173269" y="918749"/>
                    <a:pt x="171559" y="919404"/>
                    <a:pt x="169861" y="919404"/>
                  </a:cubicBezTo>
                  <a:cubicBezTo>
                    <a:pt x="168151" y="919404"/>
                    <a:pt x="166452" y="918749"/>
                    <a:pt x="165159" y="917449"/>
                  </a:cubicBezTo>
                  <a:cubicBezTo>
                    <a:pt x="147231" y="899533"/>
                    <a:pt x="145773" y="869602"/>
                    <a:pt x="148009" y="846530"/>
                  </a:cubicBezTo>
                  <a:lnTo>
                    <a:pt x="92547" y="787836"/>
                  </a:lnTo>
                  <a:lnTo>
                    <a:pt x="78542" y="801851"/>
                  </a:lnTo>
                  <a:cubicBezTo>
                    <a:pt x="77281" y="803096"/>
                    <a:pt x="75594" y="803796"/>
                    <a:pt x="73829" y="803796"/>
                  </a:cubicBezTo>
                  <a:cubicBezTo>
                    <a:pt x="72065" y="803796"/>
                    <a:pt x="70377" y="803096"/>
                    <a:pt x="69117" y="801851"/>
                  </a:cubicBezTo>
                  <a:lnTo>
                    <a:pt x="49676" y="782406"/>
                  </a:lnTo>
                  <a:cubicBezTo>
                    <a:pt x="47079" y="779807"/>
                    <a:pt x="47079" y="775601"/>
                    <a:pt x="49676" y="773001"/>
                  </a:cubicBezTo>
                  <a:close/>
                  <a:moveTo>
                    <a:pt x="2086073" y="682277"/>
                  </a:moveTo>
                  <a:cubicBezTo>
                    <a:pt x="2069047" y="682277"/>
                    <a:pt x="2055151" y="695960"/>
                    <a:pt x="2055001" y="713036"/>
                  </a:cubicBezTo>
                  <a:cubicBezTo>
                    <a:pt x="2054871" y="730178"/>
                    <a:pt x="2068350" y="781896"/>
                    <a:pt x="2085513" y="781896"/>
                  </a:cubicBezTo>
                  <a:lnTo>
                    <a:pt x="2085578" y="781896"/>
                  </a:lnTo>
                  <a:cubicBezTo>
                    <a:pt x="2102690" y="781896"/>
                    <a:pt x="2117017" y="730660"/>
                    <a:pt x="2117146" y="713535"/>
                  </a:cubicBezTo>
                  <a:cubicBezTo>
                    <a:pt x="2117275" y="696384"/>
                    <a:pt x="2103466" y="682277"/>
                    <a:pt x="2086325" y="682277"/>
                  </a:cubicBezTo>
                  <a:close/>
                  <a:moveTo>
                    <a:pt x="874429" y="675525"/>
                  </a:moveTo>
                  <a:cubicBezTo>
                    <a:pt x="880155" y="681450"/>
                    <a:pt x="891572" y="688366"/>
                    <a:pt x="887703" y="698365"/>
                  </a:cubicBezTo>
                  <a:cubicBezTo>
                    <a:pt x="885982" y="702828"/>
                    <a:pt x="883416" y="706592"/>
                    <a:pt x="879533" y="709391"/>
                  </a:cubicBezTo>
                  <a:cubicBezTo>
                    <a:pt x="878066" y="710453"/>
                    <a:pt x="876450" y="711410"/>
                    <a:pt x="875110" y="712632"/>
                  </a:cubicBezTo>
                  <a:cubicBezTo>
                    <a:pt x="873307" y="714297"/>
                    <a:pt x="873353" y="713854"/>
                    <a:pt x="875006" y="715342"/>
                  </a:cubicBezTo>
                  <a:cubicBezTo>
                    <a:pt x="875146" y="715466"/>
                    <a:pt x="875260" y="715607"/>
                    <a:pt x="875383" y="715758"/>
                  </a:cubicBezTo>
                  <a:cubicBezTo>
                    <a:pt x="897235" y="716927"/>
                    <a:pt x="919383" y="728449"/>
                    <a:pt x="919383" y="752254"/>
                  </a:cubicBezTo>
                  <a:lnTo>
                    <a:pt x="919383" y="813484"/>
                  </a:lnTo>
                  <a:cubicBezTo>
                    <a:pt x="919383" y="840522"/>
                    <a:pt x="897385" y="862529"/>
                    <a:pt x="870337" y="862529"/>
                  </a:cubicBezTo>
                  <a:cubicBezTo>
                    <a:pt x="843294" y="862529"/>
                    <a:pt x="821292" y="840522"/>
                    <a:pt x="821292" y="813484"/>
                  </a:cubicBezTo>
                  <a:lnTo>
                    <a:pt x="821292" y="752254"/>
                  </a:lnTo>
                  <a:cubicBezTo>
                    <a:pt x="821292" y="730450"/>
                    <a:pt x="842154" y="718078"/>
                    <a:pt x="864738" y="715979"/>
                  </a:cubicBezTo>
                  <a:cubicBezTo>
                    <a:pt x="863730" y="710923"/>
                    <a:pt x="868076" y="706220"/>
                    <a:pt x="873107" y="702678"/>
                  </a:cubicBezTo>
                  <a:cubicBezTo>
                    <a:pt x="876354" y="700384"/>
                    <a:pt x="881105" y="695841"/>
                    <a:pt x="877989" y="691723"/>
                  </a:cubicBezTo>
                  <a:cubicBezTo>
                    <a:pt x="875205" y="688039"/>
                    <a:pt x="871091" y="685364"/>
                    <a:pt x="867894" y="682052"/>
                  </a:cubicBezTo>
                  <a:cubicBezTo>
                    <a:pt x="863762" y="677775"/>
                    <a:pt x="870278" y="671239"/>
                    <a:pt x="874429" y="675525"/>
                  </a:cubicBezTo>
                  <a:close/>
                  <a:moveTo>
                    <a:pt x="1878080" y="674949"/>
                  </a:moveTo>
                  <a:cubicBezTo>
                    <a:pt x="1877089" y="690397"/>
                    <a:pt x="1871635" y="702373"/>
                    <a:pt x="1854463" y="710242"/>
                  </a:cubicBezTo>
                  <a:cubicBezTo>
                    <a:pt x="1854463" y="710242"/>
                    <a:pt x="1819103" y="726399"/>
                    <a:pt x="1819103" y="726399"/>
                  </a:cubicBezTo>
                  <a:lnTo>
                    <a:pt x="1894857" y="747218"/>
                  </a:lnTo>
                  <a:cubicBezTo>
                    <a:pt x="1903071" y="743036"/>
                    <a:pt x="1928585" y="730116"/>
                    <a:pt x="1944015" y="723047"/>
                  </a:cubicBezTo>
                  <a:cubicBezTo>
                    <a:pt x="1960389" y="715536"/>
                    <a:pt x="1961571" y="710074"/>
                    <a:pt x="1961104" y="692721"/>
                  </a:cubicBezTo>
                  <a:close/>
                  <a:moveTo>
                    <a:pt x="2366072" y="666661"/>
                  </a:moveTo>
                  <a:cubicBezTo>
                    <a:pt x="2360894" y="666671"/>
                    <a:pt x="2358181" y="674429"/>
                    <a:pt x="2358152" y="674500"/>
                  </a:cubicBezTo>
                  <a:lnTo>
                    <a:pt x="2358062" y="674732"/>
                  </a:lnTo>
                  <a:cubicBezTo>
                    <a:pt x="2352918" y="685857"/>
                    <a:pt x="2346490" y="692862"/>
                    <a:pt x="2338925" y="695595"/>
                  </a:cubicBezTo>
                  <a:cubicBezTo>
                    <a:pt x="2335818" y="696718"/>
                    <a:pt x="2333010" y="696912"/>
                    <a:pt x="2330753" y="696756"/>
                  </a:cubicBezTo>
                  <a:cubicBezTo>
                    <a:pt x="2330753" y="696756"/>
                    <a:pt x="2330753" y="749987"/>
                    <a:pt x="2330753" y="749987"/>
                  </a:cubicBezTo>
                  <a:cubicBezTo>
                    <a:pt x="2336342" y="750422"/>
                    <a:pt x="2338481" y="751502"/>
                    <a:pt x="2341503" y="753250"/>
                  </a:cubicBezTo>
                  <a:cubicBezTo>
                    <a:pt x="2343180" y="754216"/>
                    <a:pt x="2345083" y="755315"/>
                    <a:pt x="2348505" y="756575"/>
                  </a:cubicBezTo>
                  <a:cubicBezTo>
                    <a:pt x="2357319" y="759814"/>
                    <a:pt x="2373479" y="758588"/>
                    <a:pt x="2374937" y="758465"/>
                  </a:cubicBezTo>
                  <a:cubicBezTo>
                    <a:pt x="2381033" y="757285"/>
                    <a:pt x="2381764" y="753932"/>
                    <a:pt x="2382603" y="750048"/>
                  </a:cubicBezTo>
                  <a:cubicBezTo>
                    <a:pt x="2383042" y="748068"/>
                    <a:pt x="2383487" y="746018"/>
                    <a:pt x="2384742" y="744421"/>
                  </a:cubicBezTo>
                  <a:lnTo>
                    <a:pt x="2384905" y="744237"/>
                  </a:lnTo>
                  <a:cubicBezTo>
                    <a:pt x="2391502" y="737559"/>
                    <a:pt x="2390488" y="729332"/>
                    <a:pt x="2390432" y="728991"/>
                  </a:cubicBezTo>
                  <a:cubicBezTo>
                    <a:pt x="2390370" y="728508"/>
                    <a:pt x="2390466" y="728043"/>
                    <a:pt x="2390674" y="727646"/>
                  </a:cubicBezTo>
                  <a:cubicBezTo>
                    <a:pt x="2390697" y="727546"/>
                    <a:pt x="2390719" y="727432"/>
                    <a:pt x="2390759" y="727342"/>
                  </a:cubicBezTo>
                  <a:cubicBezTo>
                    <a:pt x="2390792" y="727252"/>
                    <a:pt x="2394102" y="718320"/>
                    <a:pt x="2388029" y="713200"/>
                  </a:cubicBezTo>
                  <a:cubicBezTo>
                    <a:pt x="2387984" y="713162"/>
                    <a:pt x="2387950" y="713115"/>
                    <a:pt x="2387899" y="713067"/>
                  </a:cubicBezTo>
                  <a:cubicBezTo>
                    <a:pt x="2387387" y="713067"/>
                    <a:pt x="2387111" y="713067"/>
                    <a:pt x="2387111" y="713067"/>
                  </a:cubicBezTo>
                  <a:lnTo>
                    <a:pt x="2387111" y="712987"/>
                  </a:lnTo>
                  <a:lnTo>
                    <a:pt x="2386143" y="712987"/>
                  </a:lnTo>
                  <a:cubicBezTo>
                    <a:pt x="2384922" y="712987"/>
                    <a:pt x="2383920" y="711978"/>
                    <a:pt x="2383920" y="710747"/>
                  </a:cubicBezTo>
                  <a:cubicBezTo>
                    <a:pt x="2383920" y="709515"/>
                    <a:pt x="2384922" y="708511"/>
                    <a:pt x="2386143" y="708511"/>
                  </a:cubicBezTo>
                  <a:lnTo>
                    <a:pt x="2397440" y="708511"/>
                  </a:lnTo>
                  <a:cubicBezTo>
                    <a:pt x="2397642" y="708511"/>
                    <a:pt x="2397839" y="708554"/>
                    <a:pt x="2398031" y="708606"/>
                  </a:cubicBezTo>
                  <a:lnTo>
                    <a:pt x="2421412" y="708606"/>
                  </a:lnTo>
                  <a:cubicBezTo>
                    <a:pt x="2424969" y="708606"/>
                    <a:pt x="2427862" y="705702"/>
                    <a:pt x="2427862" y="702160"/>
                  </a:cubicBezTo>
                  <a:cubicBezTo>
                    <a:pt x="2427862" y="698607"/>
                    <a:pt x="2424969" y="695714"/>
                    <a:pt x="2421412" y="695714"/>
                  </a:cubicBezTo>
                  <a:lnTo>
                    <a:pt x="2373653" y="695714"/>
                  </a:lnTo>
                  <a:cubicBezTo>
                    <a:pt x="2367828" y="695714"/>
                    <a:pt x="2365076" y="693890"/>
                    <a:pt x="2364772" y="693686"/>
                  </a:cubicBezTo>
                  <a:lnTo>
                    <a:pt x="2363128" y="692526"/>
                  </a:lnTo>
                  <a:lnTo>
                    <a:pt x="2364119" y="690774"/>
                  </a:lnTo>
                  <a:cubicBezTo>
                    <a:pt x="2372010" y="676688"/>
                    <a:pt x="2371098" y="671014"/>
                    <a:pt x="2369849" y="668883"/>
                  </a:cubicBezTo>
                  <a:cubicBezTo>
                    <a:pt x="2368582" y="666727"/>
                    <a:pt x="2366089" y="666671"/>
                    <a:pt x="2366072" y="666661"/>
                  </a:cubicBezTo>
                  <a:close/>
                  <a:moveTo>
                    <a:pt x="2366072" y="662195"/>
                  </a:moveTo>
                  <a:cubicBezTo>
                    <a:pt x="2366274" y="662195"/>
                    <a:pt x="2371137" y="662247"/>
                    <a:pt x="2373698" y="666623"/>
                  </a:cubicBezTo>
                  <a:cubicBezTo>
                    <a:pt x="2376592" y="671563"/>
                    <a:pt x="2375083" y="679662"/>
                    <a:pt x="2369224" y="690740"/>
                  </a:cubicBezTo>
                  <a:cubicBezTo>
                    <a:pt x="2370254" y="691006"/>
                    <a:pt x="2371717" y="691247"/>
                    <a:pt x="2373653" y="691247"/>
                  </a:cubicBezTo>
                  <a:lnTo>
                    <a:pt x="2421412" y="691247"/>
                  </a:lnTo>
                  <a:cubicBezTo>
                    <a:pt x="2427434" y="691247"/>
                    <a:pt x="2432331" y="696140"/>
                    <a:pt x="2432331" y="702160"/>
                  </a:cubicBezTo>
                  <a:cubicBezTo>
                    <a:pt x="2432331" y="704575"/>
                    <a:pt x="2431526" y="706796"/>
                    <a:pt x="2430209" y="708606"/>
                  </a:cubicBezTo>
                  <a:cubicBezTo>
                    <a:pt x="2430209" y="708606"/>
                    <a:pt x="2426810" y="712996"/>
                    <a:pt x="2423129" y="712996"/>
                  </a:cubicBezTo>
                  <a:cubicBezTo>
                    <a:pt x="2420995" y="712996"/>
                    <a:pt x="2403586" y="713034"/>
                    <a:pt x="2393776" y="713053"/>
                  </a:cubicBezTo>
                  <a:cubicBezTo>
                    <a:pt x="2397513" y="718860"/>
                    <a:pt x="2395926" y="725779"/>
                    <a:pt x="2395205" y="728110"/>
                  </a:cubicBezTo>
                  <a:cubicBezTo>
                    <a:pt x="2394704" y="730601"/>
                    <a:pt x="2394490" y="732983"/>
                    <a:pt x="2394496" y="735290"/>
                  </a:cubicBezTo>
                  <a:cubicBezTo>
                    <a:pt x="2393787" y="738852"/>
                    <a:pt x="2392087" y="743280"/>
                    <a:pt x="2388192" y="747268"/>
                  </a:cubicBezTo>
                  <a:cubicBezTo>
                    <a:pt x="2387607" y="748092"/>
                    <a:pt x="2387297" y="749503"/>
                    <a:pt x="2386971" y="751005"/>
                  </a:cubicBezTo>
                  <a:cubicBezTo>
                    <a:pt x="2386098" y="755050"/>
                    <a:pt x="2384764" y="761164"/>
                    <a:pt x="2375657" y="762874"/>
                  </a:cubicBezTo>
                  <a:lnTo>
                    <a:pt x="2375443" y="762907"/>
                  </a:lnTo>
                  <a:cubicBezTo>
                    <a:pt x="2374695" y="762973"/>
                    <a:pt x="2357105" y="764499"/>
                    <a:pt x="2346963" y="760771"/>
                  </a:cubicBezTo>
                  <a:cubicBezTo>
                    <a:pt x="2343169" y="759383"/>
                    <a:pt x="2341002" y="758128"/>
                    <a:pt x="2339257" y="757124"/>
                  </a:cubicBezTo>
                  <a:cubicBezTo>
                    <a:pt x="2336910" y="755751"/>
                    <a:pt x="2335351" y="754874"/>
                    <a:pt x="2330753" y="754453"/>
                  </a:cubicBezTo>
                  <a:lnTo>
                    <a:pt x="2330753" y="755230"/>
                  </a:lnTo>
                  <a:cubicBezTo>
                    <a:pt x="2330753" y="757688"/>
                    <a:pt x="2328766" y="759682"/>
                    <a:pt x="2326312" y="759682"/>
                  </a:cubicBezTo>
                  <a:lnTo>
                    <a:pt x="2315195" y="759682"/>
                  </a:lnTo>
                  <a:cubicBezTo>
                    <a:pt x="2312747" y="759682"/>
                    <a:pt x="2310754" y="757688"/>
                    <a:pt x="2310754" y="755230"/>
                  </a:cubicBezTo>
                  <a:cubicBezTo>
                    <a:pt x="2310754" y="755230"/>
                    <a:pt x="2310754" y="691522"/>
                    <a:pt x="2310754" y="691522"/>
                  </a:cubicBezTo>
                  <a:cubicBezTo>
                    <a:pt x="2310754" y="689073"/>
                    <a:pt x="2312747" y="687075"/>
                    <a:pt x="2315195" y="687075"/>
                  </a:cubicBezTo>
                  <a:lnTo>
                    <a:pt x="2326312" y="687075"/>
                  </a:lnTo>
                  <a:cubicBezTo>
                    <a:pt x="2328766" y="687075"/>
                    <a:pt x="2330753" y="689073"/>
                    <a:pt x="2330753" y="691522"/>
                  </a:cubicBezTo>
                  <a:lnTo>
                    <a:pt x="2330753" y="692294"/>
                  </a:lnTo>
                  <a:cubicBezTo>
                    <a:pt x="2335886" y="692782"/>
                    <a:pt x="2345646" y="690873"/>
                    <a:pt x="2353959" y="672960"/>
                  </a:cubicBezTo>
                  <a:cubicBezTo>
                    <a:pt x="2354421" y="671658"/>
                    <a:pt x="2358029" y="662195"/>
                    <a:pt x="2366072" y="662195"/>
                  </a:cubicBezTo>
                  <a:close/>
                  <a:moveTo>
                    <a:pt x="1868820" y="658418"/>
                  </a:moveTo>
                  <a:cubicBezTo>
                    <a:pt x="1869911" y="658144"/>
                    <a:pt x="1871094" y="658174"/>
                    <a:pt x="1872240" y="658418"/>
                  </a:cubicBezTo>
                  <a:lnTo>
                    <a:pt x="1969987" y="679298"/>
                  </a:lnTo>
                  <a:cubicBezTo>
                    <a:pt x="1973388" y="679991"/>
                    <a:pt x="1975790" y="682894"/>
                    <a:pt x="1975891" y="686383"/>
                  </a:cubicBezTo>
                  <a:lnTo>
                    <a:pt x="1975955" y="687503"/>
                  </a:lnTo>
                  <a:cubicBezTo>
                    <a:pt x="1976680" y="709678"/>
                    <a:pt x="1977111" y="724396"/>
                    <a:pt x="1950286" y="736653"/>
                  </a:cubicBezTo>
                  <a:cubicBezTo>
                    <a:pt x="1932326" y="744910"/>
                    <a:pt x="1899395" y="761677"/>
                    <a:pt x="1899083" y="761890"/>
                  </a:cubicBezTo>
                  <a:cubicBezTo>
                    <a:pt x="1898066" y="762385"/>
                    <a:pt x="1897012" y="762599"/>
                    <a:pt x="1895911" y="762629"/>
                  </a:cubicBezTo>
                  <a:cubicBezTo>
                    <a:pt x="1895178" y="762652"/>
                    <a:pt x="1894426" y="762583"/>
                    <a:pt x="1893674" y="762385"/>
                  </a:cubicBezTo>
                  <a:lnTo>
                    <a:pt x="1795303" y="735411"/>
                  </a:lnTo>
                  <a:cubicBezTo>
                    <a:pt x="1792223" y="734580"/>
                    <a:pt x="1790050" y="731960"/>
                    <a:pt x="1789775" y="728829"/>
                  </a:cubicBezTo>
                  <a:cubicBezTo>
                    <a:pt x="1789528" y="725675"/>
                    <a:pt x="1791270" y="722674"/>
                    <a:pt x="1794121" y="721371"/>
                  </a:cubicBezTo>
                  <a:lnTo>
                    <a:pt x="1848128" y="696575"/>
                  </a:lnTo>
                  <a:cubicBezTo>
                    <a:pt x="1858790" y="691708"/>
                    <a:pt x="1863778" y="685895"/>
                    <a:pt x="1863164" y="665937"/>
                  </a:cubicBezTo>
                  <a:cubicBezTo>
                    <a:pt x="1863081" y="663636"/>
                    <a:pt x="1864089" y="661419"/>
                    <a:pt x="1865840" y="659972"/>
                  </a:cubicBezTo>
                  <a:cubicBezTo>
                    <a:pt x="1866730" y="659225"/>
                    <a:pt x="1867729" y="658685"/>
                    <a:pt x="1868820" y="658418"/>
                  </a:cubicBezTo>
                  <a:close/>
                  <a:moveTo>
                    <a:pt x="562803" y="657110"/>
                  </a:moveTo>
                  <a:cubicBezTo>
                    <a:pt x="555417" y="659831"/>
                    <a:pt x="550415" y="664753"/>
                    <a:pt x="547766" y="672335"/>
                  </a:cubicBezTo>
                  <a:cubicBezTo>
                    <a:pt x="555019" y="682280"/>
                    <a:pt x="563883" y="691105"/>
                    <a:pt x="574050" y="698432"/>
                  </a:cubicBezTo>
                  <a:cubicBezTo>
                    <a:pt x="581375" y="695742"/>
                    <a:pt x="586346" y="690851"/>
                    <a:pt x="589026" y="683330"/>
                  </a:cubicBezTo>
                  <a:cubicBezTo>
                    <a:pt x="581813" y="673262"/>
                    <a:pt x="572980" y="664437"/>
                    <a:pt x="562803" y="657110"/>
                  </a:cubicBezTo>
                  <a:close/>
                  <a:moveTo>
                    <a:pt x="382280" y="652696"/>
                  </a:moveTo>
                  <a:lnTo>
                    <a:pt x="382280" y="669850"/>
                  </a:lnTo>
                  <a:lnTo>
                    <a:pt x="399365" y="669850"/>
                  </a:lnTo>
                  <a:cubicBezTo>
                    <a:pt x="399365" y="669850"/>
                    <a:pt x="399365" y="652696"/>
                    <a:pt x="399365" y="652696"/>
                  </a:cubicBezTo>
                  <a:close/>
                  <a:moveTo>
                    <a:pt x="324606" y="652696"/>
                  </a:moveTo>
                  <a:lnTo>
                    <a:pt x="324606" y="669850"/>
                  </a:lnTo>
                  <a:lnTo>
                    <a:pt x="341702" y="669850"/>
                  </a:lnTo>
                  <a:cubicBezTo>
                    <a:pt x="341702" y="669850"/>
                    <a:pt x="341702" y="652696"/>
                    <a:pt x="341702" y="652696"/>
                  </a:cubicBezTo>
                  <a:close/>
                  <a:moveTo>
                    <a:pt x="264945" y="652696"/>
                  </a:moveTo>
                  <a:lnTo>
                    <a:pt x="264945" y="669850"/>
                  </a:lnTo>
                  <a:lnTo>
                    <a:pt x="282041" y="669850"/>
                  </a:lnTo>
                  <a:cubicBezTo>
                    <a:pt x="282041" y="669850"/>
                    <a:pt x="282041" y="652696"/>
                    <a:pt x="282041" y="652696"/>
                  </a:cubicBezTo>
                  <a:close/>
                  <a:moveTo>
                    <a:pt x="563862" y="650333"/>
                  </a:moveTo>
                  <a:cubicBezTo>
                    <a:pt x="564901" y="650486"/>
                    <a:pt x="565910" y="650873"/>
                    <a:pt x="566786" y="651515"/>
                  </a:cubicBezTo>
                  <a:cubicBezTo>
                    <a:pt x="577565" y="659270"/>
                    <a:pt x="586958" y="668615"/>
                    <a:pt x="594680" y="679356"/>
                  </a:cubicBezTo>
                  <a:cubicBezTo>
                    <a:pt x="595485" y="680538"/>
                    <a:pt x="595923" y="681893"/>
                    <a:pt x="595923" y="683269"/>
                  </a:cubicBezTo>
                  <a:cubicBezTo>
                    <a:pt x="595923" y="684013"/>
                    <a:pt x="595790" y="684747"/>
                    <a:pt x="595556" y="685450"/>
                  </a:cubicBezTo>
                  <a:cubicBezTo>
                    <a:pt x="592194" y="695019"/>
                    <a:pt x="585674" y="701571"/>
                    <a:pt x="576108" y="704893"/>
                  </a:cubicBezTo>
                  <a:cubicBezTo>
                    <a:pt x="574050" y="705606"/>
                    <a:pt x="571819" y="705291"/>
                    <a:pt x="570077" y="704027"/>
                  </a:cubicBezTo>
                  <a:cubicBezTo>
                    <a:pt x="559288" y="696303"/>
                    <a:pt x="549895" y="686938"/>
                    <a:pt x="542173" y="676187"/>
                  </a:cubicBezTo>
                  <a:cubicBezTo>
                    <a:pt x="541327" y="675045"/>
                    <a:pt x="540930" y="673619"/>
                    <a:pt x="540930" y="672273"/>
                  </a:cubicBezTo>
                  <a:cubicBezTo>
                    <a:pt x="540930" y="671530"/>
                    <a:pt x="541032" y="670837"/>
                    <a:pt x="541307" y="670093"/>
                  </a:cubicBezTo>
                  <a:cubicBezTo>
                    <a:pt x="544628" y="660554"/>
                    <a:pt x="551158" y="654002"/>
                    <a:pt x="560694" y="650649"/>
                  </a:cubicBezTo>
                  <a:cubicBezTo>
                    <a:pt x="561713" y="650293"/>
                    <a:pt x="562813" y="650191"/>
                    <a:pt x="563862" y="650333"/>
                  </a:cubicBezTo>
                  <a:close/>
                  <a:moveTo>
                    <a:pt x="2618145" y="649958"/>
                  </a:moveTo>
                  <a:cubicBezTo>
                    <a:pt x="2614871" y="649581"/>
                    <a:pt x="2611293" y="649479"/>
                    <a:pt x="2607585" y="650152"/>
                  </a:cubicBezTo>
                  <a:cubicBezTo>
                    <a:pt x="2605666" y="650529"/>
                    <a:pt x="2604029" y="651038"/>
                    <a:pt x="2602360" y="651700"/>
                  </a:cubicBezTo>
                  <a:cubicBezTo>
                    <a:pt x="2600744" y="652424"/>
                    <a:pt x="2599205" y="653147"/>
                    <a:pt x="2597763" y="653942"/>
                  </a:cubicBezTo>
                  <a:cubicBezTo>
                    <a:pt x="2594933" y="655603"/>
                    <a:pt x="2592439" y="657335"/>
                    <a:pt x="2590434" y="659036"/>
                  </a:cubicBezTo>
                  <a:cubicBezTo>
                    <a:pt x="2588428" y="660707"/>
                    <a:pt x="2586932" y="662205"/>
                    <a:pt x="2585956" y="663448"/>
                  </a:cubicBezTo>
                  <a:cubicBezTo>
                    <a:pt x="2584969" y="664660"/>
                    <a:pt x="2584753" y="665618"/>
                    <a:pt x="2584839" y="665618"/>
                  </a:cubicBezTo>
                  <a:cubicBezTo>
                    <a:pt x="2584753" y="665547"/>
                    <a:pt x="2585360" y="664874"/>
                    <a:pt x="2586639" y="664192"/>
                  </a:cubicBezTo>
                  <a:cubicBezTo>
                    <a:pt x="2587929" y="663489"/>
                    <a:pt x="2589783" y="662572"/>
                    <a:pt x="2592049" y="661522"/>
                  </a:cubicBezTo>
                  <a:cubicBezTo>
                    <a:pt x="2594315" y="660493"/>
                    <a:pt x="2596950" y="659260"/>
                    <a:pt x="2599812" y="658170"/>
                  </a:cubicBezTo>
                  <a:cubicBezTo>
                    <a:pt x="2601210" y="657610"/>
                    <a:pt x="2602696" y="657070"/>
                    <a:pt x="2604170" y="656611"/>
                  </a:cubicBezTo>
                  <a:cubicBezTo>
                    <a:pt x="2605601" y="656112"/>
                    <a:pt x="2607184" y="655633"/>
                    <a:pt x="2608583" y="655491"/>
                  </a:cubicBezTo>
                  <a:cubicBezTo>
                    <a:pt x="2614589" y="654533"/>
                    <a:pt x="2621343" y="654951"/>
                    <a:pt x="2626287" y="655001"/>
                  </a:cubicBezTo>
                  <a:cubicBezTo>
                    <a:pt x="2628824" y="655063"/>
                    <a:pt x="2630906" y="655093"/>
                    <a:pt x="2632380" y="655185"/>
                  </a:cubicBezTo>
                  <a:cubicBezTo>
                    <a:pt x="2633855" y="655215"/>
                    <a:pt x="2634744" y="655368"/>
                    <a:pt x="2634744" y="655368"/>
                  </a:cubicBezTo>
                  <a:cubicBezTo>
                    <a:pt x="2634744" y="655368"/>
                    <a:pt x="2634082" y="654757"/>
                    <a:pt x="2632694" y="654064"/>
                  </a:cubicBezTo>
                  <a:cubicBezTo>
                    <a:pt x="2631328" y="653361"/>
                    <a:pt x="2629344" y="652515"/>
                    <a:pt x="2626851" y="651761"/>
                  </a:cubicBezTo>
                  <a:cubicBezTo>
                    <a:pt x="2624357" y="651018"/>
                    <a:pt x="2621408" y="650335"/>
                    <a:pt x="2618145" y="649958"/>
                  </a:cubicBezTo>
                  <a:close/>
                  <a:moveTo>
                    <a:pt x="2018398" y="648284"/>
                  </a:moveTo>
                  <a:lnTo>
                    <a:pt x="2153748" y="648284"/>
                  </a:lnTo>
                  <a:cubicBezTo>
                    <a:pt x="2159191" y="648284"/>
                    <a:pt x="2163629" y="652842"/>
                    <a:pt x="2163629" y="658290"/>
                  </a:cubicBezTo>
                  <a:cubicBezTo>
                    <a:pt x="2163629" y="663754"/>
                    <a:pt x="2159220" y="668296"/>
                    <a:pt x="2153748" y="668296"/>
                  </a:cubicBezTo>
                  <a:lnTo>
                    <a:pt x="2105836" y="668296"/>
                  </a:lnTo>
                  <a:lnTo>
                    <a:pt x="2105771" y="675258"/>
                  </a:lnTo>
                  <a:cubicBezTo>
                    <a:pt x="2109764" y="677304"/>
                    <a:pt x="2113426" y="679982"/>
                    <a:pt x="2116650" y="683267"/>
                  </a:cubicBezTo>
                  <a:cubicBezTo>
                    <a:pt x="2124693" y="691452"/>
                    <a:pt x="2129110" y="702281"/>
                    <a:pt x="2129016" y="713718"/>
                  </a:cubicBezTo>
                  <a:cubicBezTo>
                    <a:pt x="2128937" y="724472"/>
                    <a:pt x="2124629" y="743278"/>
                    <a:pt x="2118826" y="758466"/>
                  </a:cubicBezTo>
                  <a:cubicBezTo>
                    <a:pt x="2109821" y="781938"/>
                    <a:pt x="2098626" y="793890"/>
                    <a:pt x="2085391" y="793890"/>
                  </a:cubicBezTo>
                  <a:cubicBezTo>
                    <a:pt x="2072293" y="793774"/>
                    <a:pt x="2061284" y="781672"/>
                    <a:pt x="2052638" y="757967"/>
                  </a:cubicBezTo>
                  <a:cubicBezTo>
                    <a:pt x="2047065" y="742687"/>
                    <a:pt x="2043109" y="723798"/>
                    <a:pt x="2043195" y="713036"/>
                  </a:cubicBezTo>
                  <a:cubicBezTo>
                    <a:pt x="2043324" y="696484"/>
                    <a:pt x="2052932" y="682119"/>
                    <a:pt x="2066806" y="675066"/>
                  </a:cubicBezTo>
                  <a:lnTo>
                    <a:pt x="2066871" y="668296"/>
                  </a:lnTo>
                  <a:lnTo>
                    <a:pt x="2018398" y="668296"/>
                  </a:lnTo>
                  <a:cubicBezTo>
                    <a:pt x="2012934" y="668296"/>
                    <a:pt x="2008517" y="663754"/>
                    <a:pt x="2008517" y="658290"/>
                  </a:cubicBezTo>
                  <a:cubicBezTo>
                    <a:pt x="2008517" y="652842"/>
                    <a:pt x="2012934" y="648284"/>
                    <a:pt x="2018398" y="648284"/>
                  </a:cubicBezTo>
                  <a:close/>
                  <a:moveTo>
                    <a:pt x="2203371" y="647983"/>
                  </a:moveTo>
                  <a:lnTo>
                    <a:pt x="2203371" y="675540"/>
                  </a:lnTo>
                  <a:cubicBezTo>
                    <a:pt x="2203371" y="696917"/>
                    <a:pt x="2220757" y="714302"/>
                    <a:pt x="2242134" y="714302"/>
                  </a:cubicBezTo>
                  <a:cubicBezTo>
                    <a:pt x="2263506" y="714302"/>
                    <a:pt x="2280903" y="696917"/>
                    <a:pt x="2280903" y="675540"/>
                  </a:cubicBezTo>
                  <a:cubicBezTo>
                    <a:pt x="2280903" y="675540"/>
                    <a:pt x="2280903" y="647983"/>
                    <a:pt x="2280903" y="647983"/>
                  </a:cubicBezTo>
                  <a:close/>
                  <a:moveTo>
                    <a:pt x="2616779" y="642317"/>
                  </a:moveTo>
                  <a:cubicBezTo>
                    <a:pt x="2637378" y="642317"/>
                    <a:pt x="2656329" y="653463"/>
                    <a:pt x="2656676" y="673270"/>
                  </a:cubicBezTo>
                  <a:cubicBezTo>
                    <a:pt x="2656676" y="673341"/>
                    <a:pt x="2656676" y="673667"/>
                    <a:pt x="2656676" y="673759"/>
                  </a:cubicBezTo>
                  <a:cubicBezTo>
                    <a:pt x="2656373" y="693525"/>
                    <a:pt x="2637400" y="704773"/>
                    <a:pt x="2616844" y="704773"/>
                  </a:cubicBezTo>
                  <a:cubicBezTo>
                    <a:pt x="2596061" y="704773"/>
                    <a:pt x="2581229" y="692231"/>
                    <a:pt x="2577944" y="681349"/>
                  </a:cubicBezTo>
                  <a:cubicBezTo>
                    <a:pt x="2569553" y="675379"/>
                    <a:pt x="2549832" y="679332"/>
                    <a:pt x="2538415" y="683519"/>
                  </a:cubicBezTo>
                  <a:cubicBezTo>
                    <a:pt x="2532973" y="683519"/>
                    <a:pt x="2449611" y="683519"/>
                    <a:pt x="2449492" y="683519"/>
                  </a:cubicBezTo>
                  <a:cubicBezTo>
                    <a:pt x="2449416" y="683519"/>
                    <a:pt x="2449351" y="683519"/>
                    <a:pt x="2449308" y="683519"/>
                  </a:cubicBezTo>
                  <a:cubicBezTo>
                    <a:pt x="2444201" y="683519"/>
                    <a:pt x="2440049" y="679424"/>
                    <a:pt x="2440049" y="674319"/>
                  </a:cubicBezTo>
                  <a:cubicBezTo>
                    <a:pt x="2440049" y="674054"/>
                    <a:pt x="2440049" y="673086"/>
                    <a:pt x="2440049" y="672832"/>
                  </a:cubicBezTo>
                  <a:cubicBezTo>
                    <a:pt x="2440049" y="667727"/>
                    <a:pt x="2444201" y="663570"/>
                    <a:pt x="2449308" y="663570"/>
                  </a:cubicBezTo>
                  <a:cubicBezTo>
                    <a:pt x="2449351" y="663570"/>
                    <a:pt x="2449416" y="663570"/>
                    <a:pt x="2449492" y="663570"/>
                  </a:cubicBezTo>
                  <a:cubicBezTo>
                    <a:pt x="2449492" y="663570"/>
                    <a:pt x="2532973" y="663570"/>
                    <a:pt x="2538415" y="663570"/>
                  </a:cubicBezTo>
                  <a:cubicBezTo>
                    <a:pt x="2549799" y="667768"/>
                    <a:pt x="2569553" y="671660"/>
                    <a:pt x="2577944" y="665689"/>
                  </a:cubicBezTo>
                  <a:cubicBezTo>
                    <a:pt x="2581229" y="654798"/>
                    <a:pt x="2596039" y="642347"/>
                    <a:pt x="2616779" y="642317"/>
                  </a:cubicBezTo>
                  <a:close/>
                  <a:moveTo>
                    <a:pt x="374072" y="636358"/>
                  </a:moveTo>
                  <a:lnTo>
                    <a:pt x="407573" y="636358"/>
                  </a:lnTo>
                  <a:cubicBezTo>
                    <a:pt x="412082" y="636358"/>
                    <a:pt x="415715" y="639978"/>
                    <a:pt x="415715" y="644494"/>
                  </a:cubicBezTo>
                  <a:lnTo>
                    <a:pt x="415715" y="677986"/>
                  </a:lnTo>
                  <a:cubicBezTo>
                    <a:pt x="415715" y="682502"/>
                    <a:pt x="412082" y="686188"/>
                    <a:pt x="407573" y="686188"/>
                  </a:cubicBezTo>
                  <a:lnTo>
                    <a:pt x="374072" y="686188"/>
                  </a:lnTo>
                  <a:cubicBezTo>
                    <a:pt x="369562" y="686188"/>
                    <a:pt x="365930" y="682502"/>
                    <a:pt x="365930" y="677986"/>
                  </a:cubicBezTo>
                  <a:lnTo>
                    <a:pt x="365930" y="644494"/>
                  </a:lnTo>
                  <a:cubicBezTo>
                    <a:pt x="365930" y="639978"/>
                    <a:pt x="369562" y="636358"/>
                    <a:pt x="374072" y="636358"/>
                  </a:cubicBezTo>
                  <a:close/>
                  <a:moveTo>
                    <a:pt x="316409" y="636358"/>
                  </a:moveTo>
                  <a:lnTo>
                    <a:pt x="349898" y="636358"/>
                  </a:lnTo>
                  <a:cubicBezTo>
                    <a:pt x="354419" y="636358"/>
                    <a:pt x="358040" y="639978"/>
                    <a:pt x="358040" y="644494"/>
                  </a:cubicBezTo>
                  <a:lnTo>
                    <a:pt x="358040" y="677986"/>
                  </a:lnTo>
                  <a:cubicBezTo>
                    <a:pt x="358040" y="682502"/>
                    <a:pt x="354419" y="686188"/>
                    <a:pt x="349898" y="686188"/>
                  </a:cubicBezTo>
                  <a:lnTo>
                    <a:pt x="316409" y="686188"/>
                  </a:lnTo>
                  <a:cubicBezTo>
                    <a:pt x="311888" y="686188"/>
                    <a:pt x="308267" y="682502"/>
                    <a:pt x="308267" y="677986"/>
                  </a:cubicBezTo>
                  <a:lnTo>
                    <a:pt x="308267" y="644494"/>
                  </a:lnTo>
                  <a:cubicBezTo>
                    <a:pt x="308267" y="639978"/>
                    <a:pt x="311888" y="636358"/>
                    <a:pt x="316409" y="636358"/>
                  </a:cubicBezTo>
                  <a:close/>
                  <a:moveTo>
                    <a:pt x="256749" y="636358"/>
                  </a:moveTo>
                  <a:lnTo>
                    <a:pt x="290238" y="636358"/>
                  </a:lnTo>
                  <a:cubicBezTo>
                    <a:pt x="294759" y="636358"/>
                    <a:pt x="298380" y="639978"/>
                    <a:pt x="298380" y="644494"/>
                  </a:cubicBezTo>
                  <a:lnTo>
                    <a:pt x="298380" y="677986"/>
                  </a:lnTo>
                  <a:cubicBezTo>
                    <a:pt x="298380" y="682502"/>
                    <a:pt x="294759" y="686188"/>
                    <a:pt x="290238" y="686188"/>
                  </a:cubicBezTo>
                  <a:lnTo>
                    <a:pt x="256749" y="686188"/>
                  </a:lnTo>
                  <a:cubicBezTo>
                    <a:pt x="252228" y="686188"/>
                    <a:pt x="248607" y="682502"/>
                    <a:pt x="248607" y="677986"/>
                  </a:cubicBezTo>
                  <a:lnTo>
                    <a:pt x="248607" y="644494"/>
                  </a:lnTo>
                  <a:cubicBezTo>
                    <a:pt x="248607" y="639978"/>
                    <a:pt x="252228" y="636358"/>
                    <a:pt x="256749" y="636358"/>
                  </a:cubicBezTo>
                  <a:close/>
                  <a:moveTo>
                    <a:pt x="552982" y="636169"/>
                  </a:moveTo>
                  <a:cubicBezTo>
                    <a:pt x="522623" y="636169"/>
                    <a:pt x="497989" y="660779"/>
                    <a:pt x="497989" y="691167"/>
                  </a:cubicBezTo>
                  <a:cubicBezTo>
                    <a:pt x="497989" y="701347"/>
                    <a:pt x="500974" y="710742"/>
                    <a:pt x="505813" y="718946"/>
                  </a:cubicBezTo>
                  <a:lnTo>
                    <a:pt x="495687" y="729004"/>
                  </a:lnTo>
                  <a:lnTo>
                    <a:pt x="495687" y="729075"/>
                  </a:lnTo>
                  <a:lnTo>
                    <a:pt x="415460" y="809111"/>
                  </a:lnTo>
                  <a:lnTo>
                    <a:pt x="415460" y="828748"/>
                  </a:lnTo>
                  <a:lnTo>
                    <a:pt x="434908" y="828748"/>
                  </a:lnTo>
                  <a:lnTo>
                    <a:pt x="444667" y="818996"/>
                  </a:lnTo>
                  <a:cubicBezTo>
                    <a:pt x="447255" y="816448"/>
                    <a:pt x="450699" y="814950"/>
                    <a:pt x="454366" y="814950"/>
                  </a:cubicBezTo>
                  <a:lnTo>
                    <a:pt x="470524" y="814950"/>
                  </a:lnTo>
                  <a:lnTo>
                    <a:pt x="470524" y="801224"/>
                  </a:lnTo>
                  <a:cubicBezTo>
                    <a:pt x="470524" y="793591"/>
                    <a:pt x="476667" y="787487"/>
                    <a:pt x="484256" y="787487"/>
                  </a:cubicBezTo>
                  <a:lnTo>
                    <a:pt x="497989" y="787487"/>
                  </a:lnTo>
                  <a:lnTo>
                    <a:pt x="497989" y="771325"/>
                  </a:lnTo>
                  <a:cubicBezTo>
                    <a:pt x="497989" y="767666"/>
                    <a:pt x="499436" y="764181"/>
                    <a:pt x="502024" y="761634"/>
                  </a:cubicBezTo>
                  <a:lnTo>
                    <a:pt x="515135" y="748518"/>
                  </a:lnTo>
                  <a:lnTo>
                    <a:pt x="522847" y="740814"/>
                  </a:lnTo>
                  <a:lnTo>
                    <a:pt x="525272" y="738450"/>
                  </a:lnTo>
                  <a:cubicBezTo>
                    <a:pt x="533432" y="743260"/>
                    <a:pt x="542815" y="746226"/>
                    <a:pt x="552982" y="746226"/>
                  </a:cubicBezTo>
                  <a:cubicBezTo>
                    <a:pt x="583382" y="746226"/>
                    <a:pt x="608046" y="721524"/>
                    <a:pt x="608046" y="691167"/>
                  </a:cubicBezTo>
                  <a:cubicBezTo>
                    <a:pt x="608046" y="660779"/>
                    <a:pt x="583382" y="636169"/>
                    <a:pt x="552982" y="636169"/>
                  </a:cubicBezTo>
                  <a:close/>
                  <a:moveTo>
                    <a:pt x="189662" y="628934"/>
                  </a:moveTo>
                  <a:lnTo>
                    <a:pt x="192870" y="628934"/>
                  </a:lnTo>
                  <a:cubicBezTo>
                    <a:pt x="196404" y="628934"/>
                    <a:pt x="199272" y="631800"/>
                    <a:pt x="199272" y="635341"/>
                  </a:cubicBezTo>
                  <a:lnTo>
                    <a:pt x="199272" y="651368"/>
                  </a:lnTo>
                  <a:cubicBezTo>
                    <a:pt x="199272" y="654895"/>
                    <a:pt x="196404" y="657767"/>
                    <a:pt x="192870" y="657767"/>
                  </a:cubicBezTo>
                  <a:lnTo>
                    <a:pt x="189662" y="657767"/>
                  </a:lnTo>
                  <a:lnTo>
                    <a:pt x="189662" y="664166"/>
                  </a:lnTo>
                  <a:cubicBezTo>
                    <a:pt x="189662" y="665932"/>
                    <a:pt x="188805" y="666220"/>
                    <a:pt x="187740" y="664807"/>
                  </a:cubicBezTo>
                  <a:lnTo>
                    <a:pt x="182468" y="657767"/>
                  </a:lnTo>
                  <a:lnTo>
                    <a:pt x="164040" y="657767"/>
                  </a:lnTo>
                  <a:cubicBezTo>
                    <a:pt x="160508" y="657767"/>
                    <a:pt x="157638" y="654895"/>
                    <a:pt x="157638" y="651368"/>
                  </a:cubicBezTo>
                  <a:lnTo>
                    <a:pt x="157638" y="644944"/>
                  </a:lnTo>
                  <a:lnTo>
                    <a:pt x="164040" y="644944"/>
                  </a:lnTo>
                  <a:lnTo>
                    <a:pt x="164040" y="651343"/>
                  </a:lnTo>
                  <a:lnTo>
                    <a:pt x="192870" y="651343"/>
                  </a:lnTo>
                  <a:lnTo>
                    <a:pt x="192870" y="635358"/>
                  </a:lnTo>
                  <a:lnTo>
                    <a:pt x="189662" y="635358"/>
                  </a:lnTo>
                  <a:close/>
                  <a:moveTo>
                    <a:pt x="552982" y="622432"/>
                  </a:moveTo>
                  <a:cubicBezTo>
                    <a:pt x="590971" y="622432"/>
                    <a:pt x="621779" y="653187"/>
                    <a:pt x="621779" y="691167"/>
                  </a:cubicBezTo>
                  <a:cubicBezTo>
                    <a:pt x="621779" y="729146"/>
                    <a:pt x="590971" y="759952"/>
                    <a:pt x="552982" y="759952"/>
                  </a:cubicBezTo>
                  <a:cubicBezTo>
                    <a:pt x="544149" y="759952"/>
                    <a:pt x="535826" y="758098"/>
                    <a:pt x="528063" y="755051"/>
                  </a:cubicBezTo>
                  <a:lnTo>
                    <a:pt x="511783" y="771325"/>
                  </a:lnTo>
                  <a:lnTo>
                    <a:pt x="511783" y="787487"/>
                  </a:lnTo>
                  <a:cubicBezTo>
                    <a:pt x="511783" y="795079"/>
                    <a:pt x="505579" y="801224"/>
                    <a:pt x="497989" y="801224"/>
                  </a:cubicBezTo>
                  <a:lnTo>
                    <a:pt x="484256" y="801224"/>
                  </a:lnTo>
                  <a:lnTo>
                    <a:pt x="484256" y="814950"/>
                  </a:lnTo>
                  <a:cubicBezTo>
                    <a:pt x="484256" y="822542"/>
                    <a:pt x="478113" y="828748"/>
                    <a:pt x="470524" y="828748"/>
                  </a:cubicBezTo>
                  <a:lnTo>
                    <a:pt x="454366" y="828748"/>
                  </a:lnTo>
                  <a:lnTo>
                    <a:pt x="444484" y="838633"/>
                  </a:lnTo>
                  <a:cubicBezTo>
                    <a:pt x="442070" y="841048"/>
                    <a:pt x="439788" y="842546"/>
                    <a:pt x="436090" y="842546"/>
                  </a:cubicBezTo>
                  <a:lnTo>
                    <a:pt x="415460" y="842546"/>
                  </a:lnTo>
                  <a:cubicBezTo>
                    <a:pt x="408074" y="842546"/>
                    <a:pt x="401727" y="836106"/>
                    <a:pt x="401727" y="828748"/>
                  </a:cubicBezTo>
                  <a:lnTo>
                    <a:pt x="401727" y="808122"/>
                  </a:lnTo>
                  <a:cubicBezTo>
                    <a:pt x="401727" y="804423"/>
                    <a:pt x="403163" y="802141"/>
                    <a:pt x="405578" y="799726"/>
                  </a:cubicBezTo>
                  <a:lnTo>
                    <a:pt x="489167" y="716143"/>
                  </a:lnTo>
                  <a:cubicBezTo>
                    <a:pt x="486141" y="708388"/>
                    <a:pt x="484256" y="699991"/>
                    <a:pt x="484256" y="691167"/>
                  </a:cubicBezTo>
                  <a:cubicBezTo>
                    <a:pt x="484256" y="653187"/>
                    <a:pt x="515003" y="622432"/>
                    <a:pt x="552982" y="622432"/>
                  </a:cubicBezTo>
                  <a:close/>
                  <a:moveTo>
                    <a:pt x="654610" y="620055"/>
                  </a:moveTo>
                  <a:lnTo>
                    <a:pt x="654610" y="656678"/>
                  </a:lnTo>
                  <a:cubicBezTo>
                    <a:pt x="654610" y="658926"/>
                    <a:pt x="656433" y="660722"/>
                    <a:pt x="658677" y="660722"/>
                  </a:cubicBezTo>
                  <a:lnTo>
                    <a:pt x="764424" y="660722"/>
                  </a:lnTo>
                  <a:cubicBezTo>
                    <a:pt x="766668" y="660722"/>
                    <a:pt x="768498" y="658926"/>
                    <a:pt x="768498" y="656678"/>
                  </a:cubicBezTo>
                  <a:cubicBezTo>
                    <a:pt x="768498" y="656678"/>
                    <a:pt x="768498" y="620055"/>
                    <a:pt x="768498" y="620055"/>
                  </a:cubicBezTo>
                  <a:lnTo>
                    <a:pt x="743024" y="620055"/>
                  </a:lnTo>
                  <a:cubicBezTo>
                    <a:pt x="739404" y="634095"/>
                    <a:pt x="726714" y="644465"/>
                    <a:pt x="711537" y="644465"/>
                  </a:cubicBezTo>
                  <a:cubicBezTo>
                    <a:pt x="696393" y="644465"/>
                    <a:pt x="683704" y="634095"/>
                    <a:pt x="680084" y="620055"/>
                  </a:cubicBezTo>
                  <a:close/>
                  <a:moveTo>
                    <a:pt x="1736016" y="618456"/>
                  </a:moveTo>
                  <a:lnTo>
                    <a:pt x="1763738" y="618456"/>
                  </a:lnTo>
                  <a:cubicBezTo>
                    <a:pt x="1764831" y="618456"/>
                    <a:pt x="1765724" y="619345"/>
                    <a:pt x="1765724" y="620443"/>
                  </a:cubicBezTo>
                  <a:lnTo>
                    <a:pt x="1765724" y="644432"/>
                  </a:lnTo>
                  <a:cubicBezTo>
                    <a:pt x="1765724" y="645519"/>
                    <a:pt x="1764831" y="646419"/>
                    <a:pt x="1763738" y="646419"/>
                  </a:cubicBezTo>
                  <a:lnTo>
                    <a:pt x="1736016" y="646419"/>
                  </a:lnTo>
                  <a:cubicBezTo>
                    <a:pt x="1734923" y="646419"/>
                    <a:pt x="1734086" y="645519"/>
                    <a:pt x="1734086" y="644432"/>
                  </a:cubicBezTo>
                  <a:lnTo>
                    <a:pt x="1734086" y="620443"/>
                  </a:lnTo>
                  <a:cubicBezTo>
                    <a:pt x="1734086" y="619345"/>
                    <a:pt x="1734923" y="618456"/>
                    <a:pt x="1736016" y="618456"/>
                  </a:cubicBezTo>
                  <a:close/>
                  <a:moveTo>
                    <a:pt x="1690283" y="618456"/>
                  </a:moveTo>
                  <a:lnTo>
                    <a:pt x="1717993" y="618456"/>
                  </a:lnTo>
                  <a:cubicBezTo>
                    <a:pt x="1719098" y="618456"/>
                    <a:pt x="1719979" y="619345"/>
                    <a:pt x="1719979" y="620443"/>
                  </a:cubicBezTo>
                  <a:lnTo>
                    <a:pt x="1719979" y="644432"/>
                  </a:lnTo>
                  <a:cubicBezTo>
                    <a:pt x="1719979" y="645519"/>
                    <a:pt x="1719098" y="646419"/>
                    <a:pt x="1717993" y="646419"/>
                  </a:cubicBezTo>
                  <a:lnTo>
                    <a:pt x="1690283" y="646419"/>
                  </a:lnTo>
                  <a:cubicBezTo>
                    <a:pt x="1689178" y="646419"/>
                    <a:pt x="1688352" y="645519"/>
                    <a:pt x="1688352" y="644432"/>
                  </a:cubicBezTo>
                  <a:lnTo>
                    <a:pt x="1688352" y="620443"/>
                  </a:lnTo>
                  <a:cubicBezTo>
                    <a:pt x="1688352" y="619345"/>
                    <a:pt x="1689178" y="618456"/>
                    <a:pt x="1690283" y="618456"/>
                  </a:cubicBezTo>
                  <a:close/>
                  <a:moveTo>
                    <a:pt x="1646524" y="618456"/>
                  </a:moveTo>
                  <a:lnTo>
                    <a:pt x="1674246" y="618456"/>
                  </a:lnTo>
                  <a:cubicBezTo>
                    <a:pt x="1675339" y="618456"/>
                    <a:pt x="1676232" y="619345"/>
                    <a:pt x="1676232" y="620443"/>
                  </a:cubicBezTo>
                  <a:lnTo>
                    <a:pt x="1676232" y="644432"/>
                  </a:lnTo>
                  <a:cubicBezTo>
                    <a:pt x="1676232" y="645519"/>
                    <a:pt x="1675339" y="646419"/>
                    <a:pt x="1674246" y="646419"/>
                  </a:cubicBezTo>
                  <a:lnTo>
                    <a:pt x="1646524" y="646419"/>
                  </a:lnTo>
                  <a:cubicBezTo>
                    <a:pt x="1645431" y="646419"/>
                    <a:pt x="1644605" y="645519"/>
                    <a:pt x="1644605" y="644432"/>
                  </a:cubicBezTo>
                  <a:lnTo>
                    <a:pt x="1644605" y="620443"/>
                  </a:lnTo>
                  <a:cubicBezTo>
                    <a:pt x="1644605" y="619345"/>
                    <a:pt x="1645431" y="618456"/>
                    <a:pt x="1646524" y="618456"/>
                  </a:cubicBezTo>
                  <a:close/>
                  <a:moveTo>
                    <a:pt x="1600858" y="618456"/>
                  </a:moveTo>
                  <a:lnTo>
                    <a:pt x="1628512" y="618456"/>
                  </a:lnTo>
                  <a:cubicBezTo>
                    <a:pt x="1629606" y="618456"/>
                    <a:pt x="1630498" y="619345"/>
                    <a:pt x="1630498" y="620443"/>
                  </a:cubicBezTo>
                  <a:lnTo>
                    <a:pt x="1630498" y="644432"/>
                  </a:lnTo>
                  <a:cubicBezTo>
                    <a:pt x="1630498" y="645519"/>
                    <a:pt x="1629606" y="646419"/>
                    <a:pt x="1628512" y="646419"/>
                  </a:cubicBezTo>
                  <a:lnTo>
                    <a:pt x="1600858" y="646419"/>
                  </a:lnTo>
                  <a:cubicBezTo>
                    <a:pt x="1599753" y="646419"/>
                    <a:pt x="1598860" y="645519"/>
                    <a:pt x="1598860" y="644432"/>
                  </a:cubicBezTo>
                  <a:lnTo>
                    <a:pt x="1598860" y="620443"/>
                  </a:lnTo>
                  <a:cubicBezTo>
                    <a:pt x="1598860" y="619345"/>
                    <a:pt x="1599753" y="618456"/>
                    <a:pt x="1600858" y="618456"/>
                  </a:cubicBezTo>
                  <a:close/>
                  <a:moveTo>
                    <a:pt x="141626" y="612918"/>
                  </a:moveTo>
                  <a:lnTo>
                    <a:pt x="141626" y="635341"/>
                  </a:lnTo>
                  <a:cubicBezTo>
                    <a:pt x="141626" y="635341"/>
                    <a:pt x="180058" y="635341"/>
                    <a:pt x="180058" y="635341"/>
                  </a:cubicBezTo>
                  <a:lnTo>
                    <a:pt x="180058" y="612918"/>
                  </a:lnTo>
                  <a:close/>
                  <a:moveTo>
                    <a:pt x="2221264" y="606514"/>
                  </a:moveTo>
                  <a:cubicBezTo>
                    <a:pt x="2224555" y="606514"/>
                    <a:pt x="2227231" y="609193"/>
                    <a:pt x="2227231" y="612482"/>
                  </a:cubicBezTo>
                  <a:lnTo>
                    <a:pt x="2227231" y="636057"/>
                  </a:lnTo>
                  <a:lnTo>
                    <a:pt x="2257043" y="636057"/>
                  </a:lnTo>
                  <a:lnTo>
                    <a:pt x="2257043" y="612482"/>
                  </a:lnTo>
                  <a:cubicBezTo>
                    <a:pt x="2257043" y="609193"/>
                    <a:pt x="2259718" y="606514"/>
                    <a:pt x="2263009" y="606514"/>
                  </a:cubicBezTo>
                  <a:cubicBezTo>
                    <a:pt x="2266304" y="606514"/>
                    <a:pt x="2268970" y="609193"/>
                    <a:pt x="2268970" y="612482"/>
                  </a:cubicBezTo>
                  <a:lnTo>
                    <a:pt x="2268970" y="636057"/>
                  </a:lnTo>
                  <a:lnTo>
                    <a:pt x="2286864" y="636057"/>
                  </a:lnTo>
                  <a:cubicBezTo>
                    <a:pt x="2290155" y="636057"/>
                    <a:pt x="2292830" y="638736"/>
                    <a:pt x="2292830" y="642015"/>
                  </a:cubicBezTo>
                  <a:lnTo>
                    <a:pt x="2292830" y="675540"/>
                  </a:lnTo>
                  <a:cubicBezTo>
                    <a:pt x="2292830" y="701471"/>
                    <a:pt x="2273247" y="722884"/>
                    <a:pt x="2248096" y="725850"/>
                  </a:cubicBezTo>
                  <a:lnTo>
                    <a:pt x="2248096" y="800095"/>
                  </a:lnTo>
                  <a:cubicBezTo>
                    <a:pt x="2248096" y="803393"/>
                    <a:pt x="2245429" y="806054"/>
                    <a:pt x="2242134" y="806054"/>
                  </a:cubicBezTo>
                  <a:cubicBezTo>
                    <a:pt x="2238844" y="806054"/>
                    <a:pt x="2236168" y="803393"/>
                    <a:pt x="2236168" y="800095"/>
                  </a:cubicBezTo>
                  <a:lnTo>
                    <a:pt x="2236168" y="725850"/>
                  </a:lnTo>
                  <a:cubicBezTo>
                    <a:pt x="2211027" y="722884"/>
                    <a:pt x="2191438" y="701471"/>
                    <a:pt x="2191438" y="675540"/>
                  </a:cubicBezTo>
                  <a:lnTo>
                    <a:pt x="2191438" y="642015"/>
                  </a:lnTo>
                  <a:cubicBezTo>
                    <a:pt x="2191438" y="638736"/>
                    <a:pt x="2194114" y="636057"/>
                    <a:pt x="2197404" y="636057"/>
                  </a:cubicBezTo>
                  <a:lnTo>
                    <a:pt x="2215298" y="636057"/>
                  </a:lnTo>
                  <a:lnTo>
                    <a:pt x="2215298" y="612482"/>
                  </a:lnTo>
                  <a:cubicBezTo>
                    <a:pt x="2215298" y="609193"/>
                    <a:pt x="2217964" y="606514"/>
                    <a:pt x="2221264" y="606514"/>
                  </a:cubicBezTo>
                  <a:close/>
                  <a:moveTo>
                    <a:pt x="141626" y="606514"/>
                  </a:moveTo>
                  <a:lnTo>
                    <a:pt x="180058" y="606514"/>
                  </a:lnTo>
                  <a:cubicBezTo>
                    <a:pt x="183595" y="606514"/>
                    <a:pt x="186471" y="609380"/>
                    <a:pt x="186471" y="612918"/>
                  </a:cubicBezTo>
                  <a:lnTo>
                    <a:pt x="186471" y="635339"/>
                  </a:lnTo>
                  <a:cubicBezTo>
                    <a:pt x="186471" y="638877"/>
                    <a:pt x="183595" y="641751"/>
                    <a:pt x="180058" y="641751"/>
                  </a:cubicBezTo>
                  <a:lnTo>
                    <a:pt x="154442" y="641751"/>
                  </a:lnTo>
                  <a:lnTo>
                    <a:pt x="146744" y="651990"/>
                  </a:lnTo>
                  <a:cubicBezTo>
                    <a:pt x="145692" y="653402"/>
                    <a:pt x="144835" y="653115"/>
                    <a:pt x="144835" y="651351"/>
                  </a:cubicBezTo>
                  <a:lnTo>
                    <a:pt x="144835" y="641751"/>
                  </a:lnTo>
                  <a:lnTo>
                    <a:pt x="141626" y="641751"/>
                  </a:lnTo>
                  <a:cubicBezTo>
                    <a:pt x="138092" y="641751"/>
                    <a:pt x="135225" y="638877"/>
                    <a:pt x="135225" y="635339"/>
                  </a:cubicBezTo>
                  <a:lnTo>
                    <a:pt x="135225" y="612918"/>
                  </a:lnTo>
                  <a:cubicBezTo>
                    <a:pt x="135225" y="609380"/>
                    <a:pt x="138092" y="606514"/>
                    <a:pt x="141626" y="606514"/>
                  </a:cubicBezTo>
                  <a:close/>
                  <a:moveTo>
                    <a:pt x="2360439" y="600618"/>
                  </a:moveTo>
                  <a:cubicBezTo>
                    <a:pt x="2338945" y="600618"/>
                    <a:pt x="2328250" y="605696"/>
                    <a:pt x="2327626" y="607705"/>
                  </a:cubicBezTo>
                  <a:cubicBezTo>
                    <a:pt x="2328250" y="609587"/>
                    <a:pt x="2338960" y="614665"/>
                    <a:pt x="2360439" y="614665"/>
                  </a:cubicBezTo>
                  <a:cubicBezTo>
                    <a:pt x="2381923" y="614665"/>
                    <a:pt x="2392568" y="609611"/>
                    <a:pt x="2393187" y="607578"/>
                  </a:cubicBezTo>
                  <a:cubicBezTo>
                    <a:pt x="2392568" y="605712"/>
                    <a:pt x="2381923" y="600618"/>
                    <a:pt x="2360439" y="600618"/>
                  </a:cubicBezTo>
                  <a:close/>
                  <a:moveTo>
                    <a:pt x="1244906" y="597881"/>
                  </a:moveTo>
                  <a:cubicBezTo>
                    <a:pt x="1258494" y="597881"/>
                    <a:pt x="1270844" y="605920"/>
                    <a:pt x="1276376" y="618343"/>
                  </a:cubicBezTo>
                  <a:lnTo>
                    <a:pt x="1270431" y="620995"/>
                  </a:lnTo>
                  <a:cubicBezTo>
                    <a:pt x="1265951" y="610910"/>
                    <a:pt x="1255922" y="604399"/>
                    <a:pt x="1244906" y="604399"/>
                  </a:cubicBezTo>
                  <a:cubicBezTo>
                    <a:pt x="1233535" y="604399"/>
                    <a:pt x="1223393" y="611201"/>
                    <a:pt x="1219066" y="621715"/>
                  </a:cubicBezTo>
                  <a:lnTo>
                    <a:pt x="1213041" y="619232"/>
                  </a:lnTo>
                  <a:cubicBezTo>
                    <a:pt x="1218371" y="606268"/>
                    <a:pt x="1230882" y="597881"/>
                    <a:pt x="1244906" y="597881"/>
                  </a:cubicBezTo>
                  <a:close/>
                  <a:moveTo>
                    <a:pt x="891252" y="595218"/>
                  </a:moveTo>
                  <a:cubicBezTo>
                    <a:pt x="888753" y="592994"/>
                    <a:pt x="887022" y="595704"/>
                    <a:pt x="888472" y="598403"/>
                  </a:cubicBezTo>
                  <a:cubicBezTo>
                    <a:pt x="890009" y="601252"/>
                    <a:pt x="891874" y="603047"/>
                    <a:pt x="893886" y="604020"/>
                  </a:cubicBezTo>
                  <a:cubicBezTo>
                    <a:pt x="893886" y="603337"/>
                    <a:pt x="893886" y="602630"/>
                    <a:pt x="893812" y="601866"/>
                  </a:cubicBezTo>
                  <a:cubicBezTo>
                    <a:pt x="893471" y="599723"/>
                    <a:pt x="892983" y="596816"/>
                    <a:pt x="891252" y="595218"/>
                  </a:cubicBezTo>
                  <a:close/>
                  <a:moveTo>
                    <a:pt x="1076176" y="594592"/>
                  </a:moveTo>
                  <a:cubicBezTo>
                    <a:pt x="1079992" y="594592"/>
                    <a:pt x="1083040" y="599167"/>
                    <a:pt x="1083040" y="604784"/>
                  </a:cubicBezTo>
                  <a:cubicBezTo>
                    <a:pt x="1083040" y="610402"/>
                    <a:pt x="1079992" y="614976"/>
                    <a:pt x="1076176" y="614976"/>
                  </a:cubicBezTo>
                  <a:cubicBezTo>
                    <a:pt x="1072433" y="614976"/>
                    <a:pt x="1069385" y="610402"/>
                    <a:pt x="1069385" y="604784"/>
                  </a:cubicBezTo>
                  <a:cubicBezTo>
                    <a:pt x="1069385" y="599167"/>
                    <a:pt x="1072433" y="594592"/>
                    <a:pt x="1076176" y="594592"/>
                  </a:cubicBezTo>
                  <a:close/>
                  <a:moveTo>
                    <a:pt x="382280" y="591056"/>
                  </a:moveTo>
                  <a:lnTo>
                    <a:pt x="382280" y="608197"/>
                  </a:lnTo>
                  <a:lnTo>
                    <a:pt x="399365" y="608197"/>
                  </a:lnTo>
                  <a:cubicBezTo>
                    <a:pt x="399365" y="608197"/>
                    <a:pt x="399365" y="591056"/>
                    <a:pt x="399365" y="591056"/>
                  </a:cubicBezTo>
                  <a:close/>
                  <a:moveTo>
                    <a:pt x="324540" y="591056"/>
                  </a:moveTo>
                  <a:lnTo>
                    <a:pt x="324540" y="608197"/>
                  </a:lnTo>
                  <a:lnTo>
                    <a:pt x="341702" y="608197"/>
                  </a:lnTo>
                  <a:lnTo>
                    <a:pt x="341702" y="591056"/>
                  </a:lnTo>
                  <a:close/>
                  <a:moveTo>
                    <a:pt x="264945" y="591056"/>
                  </a:moveTo>
                  <a:lnTo>
                    <a:pt x="264945" y="608144"/>
                  </a:lnTo>
                  <a:lnTo>
                    <a:pt x="282041" y="608144"/>
                  </a:lnTo>
                  <a:cubicBezTo>
                    <a:pt x="282041" y="608144"/>
                    <a:pt x="282041" y="591056"/>
                    <a:pt x="282041" y="591056"/>
                  </a:cubicBezTo>
                  <a:close/>
                  <a:moveTo>
                    <a:pt x="1736016" y="578680"/>
                  </a:moveTo>
                  <a:lnTo>
                    <a:pt x="1763738" y="578680"/>
                  </a:lnTo>
                  <a:cubicBezTo>
                    <a:pt x="1764831" y="578680"/>
                    <a:pt x="1765724" y="579569"/>
                    <a:pt x="1765724" y="580667"/>
                  </a:cubicBezTo>
                  <a:lnTo>
                    <a:pt x="1765724" y="604656"/>
                  </a:lnTo>
                  <a:cubicBezTo>
                    <a:pt x="1765724" y="605754"/>
                    <a:pt x="1764831" y="606643"/>
                    <a:pt x="1763738" y="606643"/>
                  </a:cubicBezTo>
                  <a:lnTo>
                    <a:pt x="1736016" y="606643"/>
                  </a:lnTo>
                  <a:cubicBezTo>
                    <a:pt x="1734923" y="606643"/>
                    <a:pt x="1734086" y="605754"/>
                    <a:pt x="1734086" y="604656"/>
                  </a:cubicBezTo>
                  <a:lnTo>
                    <a:pt x="1734086" y="580667"/>
                  </a:lnTo>
                  <a:cubicBezTo>
                    <a:pt x="1734086" y="579569"/>
                    <a:pt x="1734923" y="578680"/>
                    <a:pt x="1736016" y="578680"/>
                  </a:cubicBezTo>
                  <a:close/>
                  <a:moveTo>
                    <a:pt x="1690283" y="578680"/>
                  </a:moveTo>
                  <a:lnTo>
                    <a:pt x="1717993" y="578680"/>
                  </a:lnTo>
                  <a:cubicBezTo>
                    <a:pt x="1719098" y="578680"/>
                    <a:pt x="1719979" y="579569"/>
                    <a:pt x="1719979" y="580667"/>
                  </a:cubicBezTo>
                  <a:lnTo>
                    <a:pt x="1719979" y="604656"/>
                  </a:lnTo>
                  <a:cubicBezTo>
                    <a:pt x="1719979" y="605754"/>
                    <a:pt x="1719098" y="606643"/>
                    <a:pt x="1717993" y="606643"/>
                  </a:cubicBezTo>
                  <a:lnTo>
                    <a:pt x="1690283" y="606643"/>
                  </a:lnTo>
                  <a:cubicBezTo>
                    <a:pt x="1689178" y="606643"/>
                    <a:pt x="1688352" y="605754"/>
                    <a:pt x="1688352" y="604656"/>
                  </a:cubicBezTo>
                  <a:lnTo>
                    <a:pt x="1688352" y="580667"/>
                  </a:lnTo>
                  <a:cubicBezTo>
                    <a:pt x="1688352" y="579569"/>
                    <a:pt x="1689178" y="578680"/>
                    <a:pt x="1690283" y="578680"/>
                  </a:cubicBezTo>
                  <a:close/>
                  <a:moveTo>
                    <a:pt x="1646524" y="578680"/>
                  </a:moveTo>
                  <a:lnTo>
                    <a:pt x="1674246" y="578680"/>
                  </a:lnTo>
                  <a:cubicBezTo>
                    <a:pt x="1675339" y="578680"/>
                    <a:pt x="1676232" y="579569"/>
                    <a:pt x="1676232" y="580667"/>
                  </a:cubicBezTo>
                  <a:lnTo>
                    <a:pt x="1676232" y="604656"/>
                  </a:lnTo>
                  <a:cubicBezTo>
                    <a:pt x="1676232" y="605754"/>
                    <a:pt x="1675339" y="606643"/>
                    <a:pt x="1674246" y="606643"/>
                  </a:cubicBezTo>
                  <a:lnTo>
                    <a:pt x="1646524" y="606643"/>
                  </a:lnTo>
                  <a:cubicBezTo>
                    <a:pt x="1645431" y="606643"/>
                    <a:pt x="1644605" y="605754"/>
                    <a:pt x="1644605" y="604656"/>
                  </a:cubicBezTo>
                  <a:lnTo>
                    <a:pt x="1644605" y="580667"/>
                  </a:lnTo>
                  <a:cubicBezTo>
                    <a:pt x="1644605" y="579569"/>
                    <a:pt x="1645431" y="578680"/>
                    <a:pt x="1646524" y="578680"/>
                  </a:cubicBezTo>
                  <a:close/>
                  <a:moveTo>
                    <a:pt x="1600858" y="578680"/>
                  </a:moveTo>
                  <a:lnTo>
                    <a:pt x="1628512" y="578680"/>
                  </a:lnTo>
                  <a:cubicBezTo>
                    <a:pt x="1629606" y="578680"/>
                    <a:pt x="1630498" y="579569"/>
                    <a:pt x="1630498" y="580667"/>
                  </a:cubicBezTo>
                  <a:lnTo>
                    <a:pt x="1630498" y="604656"/>
                  </a:lnTo>
                  <a:cubicBezTo>
                    <a:pt x="1630498" y="605754"/>
                    <a:pt x="1629606" y="606643"/>
                    <a:pt x="1628512" y="606643"/>
                  </a:cubicBezTo>
                  <a:lnTo>
                    <a:pt x="1600858" y="606643"/>
                  </a:lnTo>
                  <a:cubicBezTo>
                    <a:pt x="1599753" y="606643"/>
                    <a:pt x="1598860" y="605754"/>
                    <a:pt x="1598860" y="604656"/>
                  </a:cubicBezTo>
                  <a:lnTo>
                    <a:pt x="1598860" y="580667"/>
                  </a:lnTo>
                  <a:cubicBezTo>
                    <a:pt x="1598860" y="579569"/>
                    <a:pt x="1599753" y="578680"/>
                    <a:pt x="1600858" y="578680"/>
                  </a:cubicBezTo>
                  <a:close/>
                  <a:moveTo>
                    <a:pt x="374072" y="574705"/>
                  </a:moveTo>
                  <a:lnTo>
                    <a:pt x="407573" y="574705"/>
                  </a:lnTo>
                  <a:cubicBezTo>
                    <a:pt x="412082" y="574705"/>
                    <a:pt x="415715" y="578325"/>
                    <a:pt x="415715" y="582841"/>
                  </a:cubicBezTo>
                  <a:lnTo>
                    <a:pt x="415715" y="616346"/>
                  </a:lnTo>
                  <a:cubicBezTo>
                    <a:pt x="415715" y="620849"/>
                    <a:pt x="412082" y="624483"/>
                    <a:pt x="407573" y="624483"/>
                  </a:cubicBezTo>
                  <a:lnTo>
                    <a:pt x="374072" y="624483"/>
                  </a:lnTo>
                  <a:cubicBezTo>
                    <a:pt x="369551" y="624483"/>
                    <a:pt x="365930" y="620849"/>
                    <a:pt x="365930" y="616346"/>
                  </a:cubicBezTo>
                  <a:lnTo>
                    <a:pt x="365930" y="582841"/>
                  </a:lnTo>
                  <a:cubicBezTo>
                    <a:pt x="365930" y="578325"/>
                    <a:pt x="369551" y="574705"/>
                    <a:pt x="374072" y="574705"/>
                  </a:cubicBezTo>
                  <a:close/>
                  <a:moveTo>
                    <a:pt x="316409" y="574705"/>
                  </a:moveTo>
                  <a:lnTo>
                    <a:pt x="349898" y="574705"/>
                  </a:lnTo>
                  <a:cubicBezTo>
                    <a:pt x="354408" y="574705"/>
                    <a:pt x="358040" y="578325"/>
                    <a:pt x="358040" y="582841"/>
                  </a:cubicBezTo>
                  <a:lnTo>
                    <a:pt x="358040" y="616346"/>
                  </a:lnTo>
                  <a:cubicBezTo>
                    <a:pt x="358040" y="620849"/>
                    <a:pt x="354408" y="624483"/>
                    <a:pt x="349898" y="624483"/>
                  </a:cubicBezTo>
                  <a:lnTo>
                    <a:pt x="316409" y="624483"/>
                  </a:lnTo>
                  <a:cubicBezTo>
                    <a:pt x="311888" y="624483"/>
                    <a:pt x="308267" y="620849"/>
                    <a:pt x="308267" y="616346"/>
                  </a:cubicBezTo>
                  <a:lnTo>
                    <a:pt x="308267" y="582841"/>
                  </a:lnTo>
                  <a:cubicBezTo>
                    <a:pt x="308267" y="578325"/>
                    <a:pt x="311888" y="574705"/>
                    <a:pt x="316409" y="574705"/>
                  </a:cubicBezTo>
                  <a:close/>
                  <a:moveTo>
                    <a:pt x="256749" y="574705"/>
                  </a:moveTo>
                  <a:lnTo>
                    <a:pt x="290238" y="574705"/>
                  </a:lnTo>
                  <a:cubicBezTo>
                    <a:pt x="294759" y="574705"/>
                    <a:pt x="298380" y="578325"/>
                    <a:pt x="298380" y="582841"/>
                  </a:cubicBezTo>
                  <a:lnTo>
                    <a:pt x="298380" y="616346"/>
                  </a:lnTo>
                  <a:cubicBezTo>
                    <a:pt x="298380" y="620862"/>
                    <a:pt x="294759" y="624548"/>
                    <a:pt x="290238" y="624548"/>
                  </a:cubicBezTo>
                  <a:lnTo>
                    <a:pt x="256749" y="624548"/>
                  </a:lnTo>
                  <a:cubicBezTo>
                    <a:pt x="252228" y="624548"/>
                    <a:pt x="248607" y="620862"/>
                    <a:pt x="248607" y="616346"/>
                  </a:cubicBezTo>
                  <a:lnTo>
                    <a:pt x="248607" y="582841"/>
                  </a:lnTo>
                  <a:cubicBezTo>
                    <a:pt x="248607" y="578325"/>
                    <a:pt x="252228" y="574705"/>
                    <a:pt x="256749" y="574705"/>
                  </a:cubicBezTo>
                  <a:close/>
                  <a:moveTo>
                    <a:pt x="992390" y="573302"/>
                  </a:moveTo>
                  <a:cubicBezTo>
                    <a:pt x="1000993" y="573001"/>
                    <a:pt x="1010932" y="574327"/>
                    <a:pt x="1022167" y="578366"/>
                  </a:cubicBezTo>
                  <a:cubicBezTo>
                    <a:pt x="1025690" y="579675"/>
                    <a:pt x="1027567" y="583566"/>
                    <a:pt x="1026251" y="587168"/>
                  </a:cubicBezTo>
                  <a:cubicBezTo>
                    <a:pt x="1024934" y="590701"/>
                    <a:pt x="1021045" y="592519"/>
                    <a:pt x="1017522" y="591257"/>
                  </a:cubicBezTo>
                  <a:cubicBezTo>
                    <a:pt x="981739" y="578297"/>
                    <a:pt x="963086" y="598681"/>
                    <a:pt x="962330" y="599584"/>
                  </a:cubicBezTo>
                  <a:cubicBezTo>
                    <a:pt x="961001" y="601113"/>
                    <a:pt x="959062" y="601866"/>
                    <a:pt x="957197" y="601866"/>
                  </a:cubicBezTo>
                  <a:cubicBezTo>
                    <a:pt x="955600" y="601866"/>
                    <a:pt x="954003" y="601321"/>
                    <a:pt x="952686" y="600210"/>
                  </a:cubicBezTo>
                  <a:cubicBezTo>
                    <a:pt x="949906" y="597708"/>
                    <a:pt x="949565" y="593480"/>
                    <a:pt x="952064" y="590643"/>
                  </a:cubicBezTo>
                  <a:cubicBezTo>
                    <a:pt x="952787" y="589757"/>
                    <a:pt x="966580" y="574206"/>
                    <a:pt x="992390" y="573302"/>
                  </a:cubicBezTo>
                  <a:close/>
                  <a:moveTo>
                    <a:pt x="684971" y="563125"/>
                  </a:moveTo>
                  <a:cubicBezTo>
                    <a:pt x="684971" y="563125"/>
                    <a:pt x="661734" y="603792"/>
                    <a:pt x="661734" y="603792"/>
                  </a:cubicBezTo>
                  <a:lnTo>
                    <a:pt x="691208" y="603792"/>
                  </a:lnTo>
                  <a:cubicBezTo>
                    <a:pt x="693451" y="603792"/>
                    <a:pt x="695275" y="605618"/>
                    <a:pt x="695275" y="607865"/>
                  </a:cubicBezTo>
                  <a:lnTo>
                    <a:pt x="695275" y="611932"/>
                  </a:lnTo>
                  <a:cubicBezTo>
                    <a:pt x="695275" y="621429"/>
                    <a:pt x="703477" y="629075"/>
                    <a:pt x="713170" y="628117"/>
                  </a:cubicBezTo>
                  <a:cubicBezTo>
                    <a:pt x="721630" y="627304"/>
                    <a:pt x="727826" y="619693"/>
                    <a:pt x="727826" y="611197"/>
                  </a:cubicBezTo>
                  <a:lnTo>
                    <a:pt x="727826" y="607865"/>
                  </a:lnTo>
                  <a:cubicBezTo>
                    <a:pt x="727826" y="605618"/>
                    <a:pt x="729636" y="603792"/>
                    <a:pt x="731873" y="603792"/>
                  </a:cubicBezTo>
                  <a:lnTo>
                    <a:pt x="761367" y="603792"/>
                  </a:lnTo>
                  <a:lnTo>
                    <a:pt x="738129" y="563125"/>
                  </a:lnTo>
                  <a:close/>
                  <a:moveTo>
                    <a:pt x="1443583" y="559541"/>
                  </a:moveTo>
                  <a:cubicBezTo>
                    <a:pt x="1453426" y="559541"/>
                    <a:pt x="1461430" y="567519"/>
                    <a:pt x="1461430" y="577398"/>
                  </a:cubicBezTo>
                  <a:cubicBezTo>
                    <a:pt x="1461430" y="583978"/>
                    <a:pt x="1457812" y="589693"/>
                    <a:pt x="1452487" y="592784"/>
                  </a:cubicBezTo>
                  <a:lnTo>
                    <a:pt x="1452487" y="604185"/>
                  </a:lnTo>
                  <a:cubicBezTo>
                    <a:pt x="1452487" y="609110"/>
                    <a:pt x="1448504" y="613104"/>
                    <a:pt x="1443583" y="613104"/>
                  </a:cubicBezTo>
                  <a:cubicBezTo>
                    <a:pt x="1438648" y="613104"/>
                    <a:pt x="1434633" y="609110"/>
                    <a:pt x="1434633" y="604185"/>
                  </a:cubicBezTo>
                  <a:lnTo>
                    <a:pt x="1434633" y="592784"/>
                  </a:lnTo>
                  <a:cubicBezTo>
                    <a:pt x="1429321" y="589693"/>
                    <a:pt x="1425716" y="583978"/>
                    <a:pt x="1425716" y="577398"/>
                  </a:cubicBezTo>
                  <a:cubicBezTo>
                    <a:pt x="1425716" y="567519"/>
                    <a:pt x="1433700" y="559541"/>
                    <a:pt x="1443583" y="559541"/>
                  </a:cubicBezTo>
                  <a:close/>
                  <a:moveTo>
                    <a:pt x="231138" y="552271"/>
                  </a:moveTo>
                  <a:lnTo>
                    <a:pt x="231138" y="697010"/>
                  </a:lnTo>
                  <a:cubicBezTo>
                    <a:pt x="231138" y="708280"/>
                    <a:pt x="240267" y="717456"/>
                    <a:pt x="251525" y="717456"/>
                  </a:cubicBezTo>
                  <a:lnTo>
                    <a:pt x="415023" y="717456"/>
                  </a:lnTo>
                  <a:cubicBezTo>
                    <a:pt x="426293" y="717456"/>
                    <a:pt x="435477" y="708266"/>
                    <a:pt x="435477" y="697010"/>
                  </a:cubicBezTo>
                  <a:lnTo>
                    <a:pt x="435477" y="552271"/>
                  </a:lnTo>
                  <a:close/>
                  <a:moveTo>
                    <a:pt x="679013" y="546856"/>
                  </a:moveTo>
                  <a:lnTo>
                    <a:pt x="744088" y="546856"/>
                  </a:lnTo>
                  <a:cubicBezTo>
                    <a:pt x="748582" y="546856"/>
                    <a:pt x="752209" y="550489"/>
                    <a:pt x="752209" y="555002"/>
                  </a:cubicBezTo>
                  <a:cubicBezTo>
                    <a:pt x="752209" y="555002"/>
                    <a:pt x="784760" y="611932"/>
                    <a:pt x="784760" y="611932"/>
                  </a:cubicBezTo>
                  <a:lnTo>
                    <a:pt x="784760" y="668862"/>
                  </a:lnTo>
                  <a:cubicBezTo>
                    <a:pt x="784760" y="673363"/>
                    <a:pt x="781126" y="677009"/>
                    <a:pt x="776619" y="677009"/>
                  </a:cubicBezTo>
                  <a:lnTo>
                    <a:pt x="646489" y="677009"/>
                  </a:lnTo>
                  <a:cubicBezTo>
                    <a:pt x="641974" y="677009"/>
                    <a:pt x="638341" y="673363"/>
                    <a:pt x="638341" y="668862"/>
                  </a:cubicBezTo>
                  <a:lnTo>
                    <a:pt x="638341" y="611932"/>
                  </a:lnTo>
                  <a:lnTo>
                    <a:pt x="670872" y="555002"/>
                  </a:lnTo>
                  <a:cubicBezTo>
                    <a:pt x="670872" y="550489"/>
                    <a:pt x="674525" y="546856"/>
                    <a:pt x="679013" y="546856"/>
                  </a:cubicBezTo>
                  <a:close/>
                  <a:moveTo>
                    <a:pt x="1077773" y="546470"/>
                  </a:moveTo>
                  <a:lnTo>
                    <a:pt x="1041576" y="555770"/>
                  </a:lnTo>
                  <a:cubicBezTo>
                    <a:pt x="1041503" y="555770"/>
                    <a:pt x="1041503" y="555770"/>
                    <a:pt x="1041503" y="555770"/>
                  </a:cubicBezTo>
                  <a:cubicBezTo>
                    <a:pt x="1041429" y="555770"/>
                    <a:pt x="1041429" y="555770"/>
                    <a:pt x="1041368" y="555770"/>
                  </a:cubicBezTo>
                  <a:cubicBezTo>
                    <a:pt x="1041161" y="555828"/>
                    <a:pt x="1040954" y="555909"/>
                    <a:pt x="1040808" y="555909"/>
                  </a:cubicBezTo>
                  <a:cubicBezTo>
                    <a:pt x="1038735" y="556314"/>
                    <a:pt x="1036784" y="555700"/>
                    <a:pt x="1035334" y="554450"/>
                  </a:cubicBezTo>
                  <a:cubicBezTo>
                    <a:pt x="1033054" y="553963"/>
                    <a:pt x="1027775" y="552921"/>
                    <a:pt x="1015851" y="551392"/>
                  </a:cubicBezTo>
                  <a:cubicBezTo>
                    <a:pt x="1011279" y="550419"/>
                    <a:pt x="1006976" y="550014"/>
                    <a:pt x="1002465" y="550014"/>
                  </a:cubicBezTo>
                  <a:cubicBezTo>
                    <a:pt x="976399" y="550014"/>
                    <a:pt x="951443" y="564422"/>
                    <a:pt x="951162" y="564572"/>
                  </a:cubicBezTo>
                  <a:cubicBezTo>
                    <a:pt x="929522" y="578088"/>
                    <a:pt x="916977" y="599932"/>
                    <a:pt x="916977" y="624474"/>
                  </a:cubicBezTo>
                  <a:cubicBezTo>
                    <a:pt x="916977" y="651795"/>
                    <a:pt x="920512" y="667118"/>
                    <a:pt x="940409" y="679939"/>
                  </a:cubicBezTo>
                  <a:cubicBezTo>
                    <a:pt x="945335" y="682788"/>
                    <a:pt x="948175" y="690687"/>
                    <a:pt x="948809" y="703589"/>
                  </a:cubicBezTo>
                  <a:lnTo>
                    <a:pt x="958441" y="704354"/>
                  </a:lnTo>
                  <a:cubicBezTo>
                    <a:pt x="958294" y="699918"/>
                    <a:pt x="958928" y="695273"/>
                    <a:pt x="961281" y="692285"/>
                  </a:cubicBezTo>
                  <a:cubicBezTo>
                    <a:pt x="963086" y="690143"/>
                    <a:pt x="965719" y="688892"/>
                    <a:pt x="968560" y="688892"/>
                  </a:cubicBezTo>
                  <a:cubicBezTo>
                    <a:pt x="968840" y="688892"/>
                    <a:pt x="969742" y="688961"/>
                    <a:pt x="970084" y="689031"/>
                  </a:cubicBezTo>
                  <a:cubicBezTo>
                    <a:pt x="970364" y="689100"/>
                    <a:pt x="970644" y="689170"/>
                    <a:pt x="970925" y="689239"/>
                  </a:cubicBezTo>
                  <a:cubicBezTo>
                    <a:pt x="980556" y="692007"/>
                    <a:pt x="990749" y="692216"/>
                    <a:pt x="1001221" y="692216"/>
                  </a:cubicBezTo>
                  <a:cubicBezTo>
                    <a:pt x="1004135" y="692216"/>
                    <a:pt x="1005171" y="692146"/>
                    <a:pt x="1007256" y="691938"/>
                  </a:cubicBezTo>
                  <a:lnTo>
                    <a:pt x="1009475" y="691671"/>
                  </a:lnTo>
                  <a:lnTo>
                    <a:pt x="1009536" y="691671"/>
                  </a:lnTo>
                  <a:cubicBezTo>
                    <a:pt x="1015644" y="691671"/>
                    <a:pt x="1017522" y="696026"/>
                    <a:pt x="1019594" y="705743"/>
                  </a:cubicBezTo>
                  <a:lnTo>
                    <a:pt x="1023959" y="705743"/>
                  </a:lnTo>
                  <a:cubicBezTo>
                    <a:pt x="1024861" y="690768"/>
                    <a:pt x="1027360" y="688892"/>
                    <a:pt x="1029018" y="687571"/>
                  </a:cubicBezTo>
                  <a:cubicBezTo>
                    <a:pt x="1029652" y="687085"/>
                    <a:pt x="1030335" y="686738"/>
                    <a:pt x="1031103" y="686460"/>
                  </a:cubicBezTo>
                  <a:cubicBezTo>
                    <a:pt x="1032420" y="686043"/>
                    <a:pt x="1033944" y="685915"/>
                    <a:pt x="1039564" y="685487"/>
                  </a:cubicBezTo>
                  <a:cubicBezTo>
                    <a:pt x="1041990" y="685348"/>
                    <a:pt x="1044551" y="685220"/>
                    <a:pt x="1045672" y="685012"/>
                  </a:cubicBezTo>
                  <a:cubicBezTo>
                    <a:pt x="1046843" y="684664"/>
                    <a:pt x="1048086" y="684664"/>
                    <a:pt x="1049208" y="685012"/>
                  </a:cubicBezTo>
                  <a:cubicBezTo>
                    <a:pt x="1051902" y="685765"/>
                    <a:pt x="1054682" y="687293"/>
                    <a:pt x="1058010" y="697358"/>
                  </a:cubicBezTo>
                  <a:lnTo>
                    <a:pt x="1070275" y="696177"/>
                  </a:lnTo>
                  <a:cubicBezTo>
                    <a:pt x="1067922" y="683969"/>
                    <a:pt x="1070080" y="681746"/>
                    <a:pt x="1071738" y="680090"/>
                  </a:cubicBezTo>
                  <a:cubicBezTo>
                    <a:pt x="1072018" y="679870"/>
                    <a:pt x="1072287" y="679603"/>
                    <a:pt x="1072640" y="679395"/>
                  </a:cubicBezTo>
                  <a:cubicBezTo>
                    <a:pt x="1075554" y="677240"/>
                    <a:pt x="1076590" y="675017"/>
                    <a:pt x="1078187" y="671693"/>
                  </a:cubicBezTo>
                  <a:cubicBezTo>
                    <a:pt x="1079431" y="669064"/>
                    <a:pt x="1080821" y="665937"/>
                    <a:pt x="1083454" y="662682"/>
                  </a:cubicBezTo>
                  <a:cubicBezTo>
                    <a:pt x="1091915" y="653393"/>
                    <a:pt x="1103571" y="650475"/>
                    <a:pt x="1111056" y="649571"/>
                  </a:cubicBezTo>
                  <a:lnTo>
                    <a:pt x="1110983" y="649571"/>
                  </a:lnTo>
                  <a:lnTo>
                    <a:pt x="1110983" y="630299"/>
                  </a:lnTo>
                  <a:cubicBezTo>
                    <a:pt x="1105229" y="628782"/>
                    <a:pt x="1100718" y="624751"/>
                    <a:pt x="1098499" y="619007"/>
                  </a:cubicBezTo>
                  <a:cubicBezTo>
                    <a:pt x="1098292" y="618370"/>
                    <a:pt x="1098157" y="617675"/>
                    <a:pt x="1098084" y="617061"/>
                  </a:cubicBezTo>
                  <a:cubicBezTo>
                    <a:pt x="1096841" y="599862"/>
                    <a:pt x="1088307" y="583219"/>
                    <a:pt x="1073957" y="570247"/>
                  </a:cubicBezTo>
                  <a:cubicBezTo>
                    <a:pt x="1072640" y="569008"/>
                    <a:pt x="1071811" y="567271"/>
                    <a:pt x="1071738" y="565394"/>
                  </a:cubicBezTo>
                  <a:cubicBezTo>
                    <a:pt x="1071665" y="563530"/>
                    <a:pt x="1072433" y="561723"/>
                    <a:pt x="1073676" y="560403"/>
                  </a:cubicBezTo>
                  <a:cubicBezTo>
                    <a:pt x="1076029" y="558052"/>
                    <a:pt x="1077285" y="552156"/>
                    <a:pt x="1077773" y="546470"/>
                  </a:cubicBezTo>
                  <a:close/>
                  <a:moveTo>
                    <a:pt x="2129727" y="542056"/>
                  </a:moveTo>
                  <a:lnTo>
                    <a:pt x="2129727" y="566508"/>
                  </a:lnTo>
                  <a:cubicBezTo>
                    <a:pt x="2129727" y="585284"/>
                    <a:pt x="2144990" y="600533"/>
                    <a:pt x="2163750" y="600533"/>
                  </a:cubicBezTo>
                  <a:cubicBezTo>
                    <a:pt x="2182509" y="600533"/>
                    <a:pt x="2197773" y="585284"/>
                    <a:pt x="2197773" y="566508"/>
                  </a:cubicBezTo>
                  <a:cubicBezTo>
                    <a:pt x="2197773" y="566508"/>
                    <a:pt x="2197773" y="542275"/>
                    <a:pt x="2197773" y="542275"/>
                  </a:cubicBezTo>
                  <a:cubicBezTo>
                    <a:pt x="2186763" y="546059"/>
                    <a:pt x="2175753" y="547399"/>
                    <a:pt x="2165717" y="547399"/>
                  </a:cubicBezTo>
                  <a:cubicBezTo>
                    <a:pt x="2150043" y="547399"/>
                    <a:pt x="2136774" y="544175"/>
                    <a:pt x="2129727" y="542056"/>
                  </a:cubicBezTo>
                  <a:close/>
                  <a:moveTo>
                    <a:pt x="1389988" y="541683"/>
                  </a:moveTo>
                  <a:lnTo>
                    <a:pt x="1389988" y="630980"/>
                  </a:lnTo>
                  <a:lnTo>
                    <a:pt x="1497145" y="630980"/>
                  </a:lnTo>
                  <a:cubicBezTo>
                    <a:pt x="1497145" y="630980"/>
                    <a:pt x="1497145" y="541683"/>
                    <a:pt x="1497145" y="541683"/>
                  </a:cubicBezTo>
                  <a:close/>
                  <a:moveTo>
                    <a:pt x="1736016" y="540902"/>
                  </a:moveTo>
                  <a:lnTo>
                    <a:pt x="1763738" y="540902"/>
                  </a:lnTo>
                  <a:cubicBezTo>
                    <a:pt x="1764831" y="540902"/>
                    <a:pt x="1765724" y="541791"/>
                    <a:pt x="1765724" y="542889"/>
                  </a:cubicBezTo>
                  <a:lnTo>
                    <a:pt x="1765724" y="566878"/>
                  </a:lnTo>
                  <a:cubicBezTo>
                    <a:pt x="1765724" y="567976"/>
                    <a:pt x="1764831" y="568865"/>
                    <a:pt x="1763738" y="568865"/>
                  </a:cubicBezTo>
                  <a:lnTo>
                    <a:pt x="1736016" y="568865"/>
                  </a:lnTo>
                  <a:cubicBezTo>
                    <a:pt x="1734923" y="568865"/>
                    <a:pt x="1734086" y="567976"/>
                    <a:pt x="1734086" y="566878"/>
                  </a:cubicBezTo>
                  <a:lnTo>
                    <a:pt x="1734086" y="542889"/>
                  </a:lnTo>
                  <a:cubicBezTo>
                    <a:pt x="1734086" y="541791"/>
                    <a:pt x="1734923" y="540902"/>
                    <a:pt x="1736016" y="540902"/>
                  </a:cubicBezTo>
                  <a:close/>
                  <a:moveTo>
                    <a:pt x="1690283" y="540902"/>
                  </a:moveTo>
                  <a:lnTo>
                    <a:pt x="1717993" y="540902"/>
                  </a:lnTo>
                  <a:cubicBezTo>
                    <a:pt x="1719087" y="540902"/>
                    <a:pt x="1719979" y="541791"/>
                    <a:pt x="1719979" y="542889"/>
                  </a:cubicBezTo>
                  <a:lnTo>
                    <a:pt x="1719979" y="566878"/>
                  </a:lnTo>
                  <a:cubicBezTo>
                    <a:pt x="1719979" y="567976"/>
                    <a:pt x="1719087" y="568865"/>
                    <a:pt x="1717993" y="568865"/>
                  </a:cubicBezTo>
                  <a:lnTo>
                    <a:pt x="1690283" y="568865"/>
                  </a:lnTo>
                  <a:cubicBezTo>
                    <a:pt x="1689178" y="568865"/>
                    <a:pt x="1688352" y="567976"/>
                    <a:pt x="1688352" y="566878"/>
                  </a:cubicBezTo>
                  <a:lnTo>
                    <a:pt x="1688352" y="542889"/>
                  </a:lnTo>
                  <a:cubicBezTo>
                    <a:pt x="1688352" y="541791"/>
                    <a:pt x="1689178" y="540902"/>
                    <a:pt x="1690283" y="540902"/>
                  </a:cubicBezTo>
                  <a:close/>
                  <a:moveTo>
                    <a:pt x="556839" y="534931"/>
                  </a:moveTo>
                  <a:lnTo>
                    <a:pt x="564604" y="534931"/>
                  </a:lnTo>
                  <a:lnTo>
                    <a:pt x="564604" y="581602"/>
                  </a:lnTo>
                  <a:lnTo>
                    <a:pt x="556839" y="581602"/>
                  </a:lnTo>
                  <a:cubicBezTo>
                    <a:pt x="556839" y="581602"/>
                    <a:pt x="556839" y="534931"/>
                    <a:pt x="556839" y="534931"/>
                  </a:cubicBezTo>
                  <a:close/>
                  <a:moveTo>
                    <a:pt x="540929" y="534931"/>
                  </a:moveTo>
                  <a:lnTo>
                    <a:pt x="548699" y="534931"/>
                  </a:lnTo>
                  <a:lnTo>
                    <a:pt x="548699" y="581602"/>
                  </a:lnTo>
                  <a:lnTo>
                    <a:pt x="540929" y="581602"/>
                  </a:lnTo>
                  <a:cubicBezTo>
                    <a:pt x="540929" y="581602"/>
                    <a:pt x="540929" y="534931"/>
                    <a:pt x="540929" y="534931"/>
                  </a:cubicBezTo>
                  <a:close/>
                  <a:moveTo>
                    <a:pt x="527007" y="534931"/>
                  </a:moveTo>
                  <a:lnTo>
                    <a:pt x="534777" y="534931"/>
                  </a:lnTo>
                  <a:lnTo>
                    <a:pt x="534777" y="581602"/>
                  </a:lnTo>
                  <a:lnTo>
                    <a:pt x="527007" y="581602"/>
                  </a:lnTo>
                  <a:cubicBezTo>
                    <a:pt x="527007" y="581602"/>
                    <a:pt x="527007" y="534931"/>
                    <a:pt x="527007" y="534931"/>
                  </a:cubicBezTo>
                  <a:close/>
                  <a:moveTo>
                    <a:pt x="1083113" y="531008"/>
                  </a:moveTo>
                  <a:cubicBezTo>
                    <a:pt x="1085051" y="530522"/>
                    <a:pt x="1087124" y="530869"/>
                    <a:pt x="1088794" y="532120"/>
                  </a:cubicBezTo>
                  <a:cubicBezTo>
                    <a:pt x="1090440" y="533301"/>
                    <a:pt x="1091428" y="535166"/>
                    <a:pt x="1091574" y="537181"/>
                  </a:cubicBezTo>
                  <a:cubicBezTo>
                    <a:pt x="1091781" y="540366"/>
                    <a:pt x="1092330" y="554230"/>
                    <a:pt x="1087404" y="564225"/>
                  </a:cubicBezTo>
                  <a:cubicBezTo>
                    <a:pt x="1101486" y="578644"/>
                    <a:pt x="1110008" y="596388"/>
                    <a:pt x="1111678" y="614907"/>
                  </a:cubicBezTo>
                  <a:cubicBezTo>
                    <a:pt x="1112166" y="615949"/>
                    <a:pt x="1113336" y="617200"/>
                    <a:pt x="1116250" y="617200"/>
                  </a:cubicBezTo>
                  <a:cubicBezTo>
                    <a:pt x="1118188" y="616853"/>
                    <a:pt x="1120480" y="617478"/>
                    <a:pt x="1122004" y="618798"/>
                  </a:cubicBezTo>
                  <a:cubicBezTo>
                    <a:pt x="1123528" y="620038"/>
                    <a:pt x="1124711" y="621914"/>
                    <a:pt x="1124638" y="623918"/>
                  </a:cubicBezTo>
                  <a:lnTo>
                    <a:pt x="1124638" y="656092"/>
                  </a:lnTo>
                  <a:cubicBezTo>
                    <a:pt x="1124638" y="657968"/>
                    <a:pt x="1123882" y="659706"/>
                    <a:pt x="1122565" y="661014"/>
                  </a:cubicBezTo>
                  <a:cubicBezTo>
                    <a:pt x="1121248" y="662265"/>
                    <a:pt x="1119444" y="663030"/>
                    <a:pt x="1117493" y="662891"/>
                  </a:cubicBezTo>
                  <a:cubicBezTo>
                    <a:pt x="1114311" y="662891"/>
                    <a:pt x="1101278" y="663377"/>
                    <a:pt x="1093854" y="671554"/>
                  </a:cubicBezTo>
                  <a:cubicBezTo>
                    <a:pt x="1092537" y="673222"/>
                    <a:pt x="1091635" y="675237"/>
                    <a:pt x="1090525" y="677518"/>
                  </a:cubicBezTo>
                  <a:cubicBezTo>
                    <a:pt x="1088940" y="681051"/>
                    <a:pt x="1087063" y="684942"/>
                    <a:pt x="1082967" y="688614"/>
                  </a:cubicBezTo>
                  <a:cubicBezTo>
                    <a:pt x="1083174" y="691243"/>
                    <a:pt x="1084149" y="696177"/>
                    <a:pt x="1085259" y="700532"/>
                  </a:cubicBezTo>
                  <a:cubicBezTo>
                    <a:pt x="1085746" y="702477"/>
                    <a:pt x="1085393" y="704562"/>
                    <a:pt x="1084283" y="706149"/>
                  </a:cubicBezTo>
                  <a:cubicBezTo>
                    <a:pt x="1083113" y="707828"/>
                    <a:pt x="1081308" y="708859"/>
                    <a:pt x="1079297" y="709067"/>
                  </a:cubicBezTo>
                  <a:lnTo>
                    <a:pt x="1053780" y="711488"/>
                  </a:lnTo>
                  <a:cubicBezTo>
                    <a:pt x="1050451" y="711835"/>
                    <a:pt x="1047403" y="709693"/>
                    <a:pt x="1046501" y="706496"/>
                  </a:cubicBezTo>
                  <a:cubicBezTo>
                    <a:pt x="1045733" y="703798"/>
                    <a:pt x="1044831" y="700948"/>
                    <a:pt x="1044002" y="698875"/>
                  </a:cubicBezTo>
                  <a:cubicBezTo>
                    <a:pt x="1043027" y="698945"/>
                    <a:pt x="1041856" y="699084"/>
                    <a:pt x="1040539" y="699153"/>
                  </a:cubicBezTo>
                  <a:cubicBezTo>
                    <a:pt x="1039771" y="699223"/>
                    <a:pt x="1039003" y="699292"/>
                    <a:pt x="1038321" y="699292"/>
                  </a:cubicBezTo>
                  <a:cubicBezTo>
                    <a:pt x="1037894" y="702547"/>
                    <a:pt x="1037479" y="707828"/>
                    <a:pt x="1037345" y="712669"/>
                  </a:cubicBezTo>
                  <a:cubicBezTo>
                    <a:pt x="1037272" y="716422"/>
                    <a:pt x="1034297" y="719329"/>
                    <a:pt x="1030554" y="719398"/>
                  </a:cubicBezTo>
                  <a:lnTo>
                    <a:pt x="1014047" y="719468"/>
                  </a:lnTo>
                  <a:lnTo>
                    <a:pt x="1013974" y="719468"/>
                  </a:lnTo>
                  <a:cubicBezTo>
                    <a:pt x="1010719" y="719468"/>
                    <a:pt x="1007878" y="717175"/>
                    <a:pt x="1007256" y="713920"/>
                  </a:cubicBezTo>
                  <a:cubicBezTo>
                    <a:pt x="1006768" y="711291"/>
                    <a:pt x="1006074" y="708164"/>
                    <a:pt x="1005525" y="705801"/>
                  </a:cubicBezTo>
                  <a:cubicBezTo>
                    <a:pt x="1004415" y="705882"/>
                    <a:pt x="1003160" y="705940"/>
                    <a:pt x="1001221" y="705940"/>
                  </a:cubicBezTo>
                  <a:cubicBezTo>
                    <a:pt x="991370" y="705940"/>
                    <a:pt x="981739" y="705743"/>
                    <a:pt x="972095" y="703589"/>
                  </a:cubicBezTo>
                  <a:cubicBezTo>
                    <a:pt x="972168" y="705326"/>
                    <a:pt x="972376" y="707330"/>
                    <a:pt x="972717" y="709276"/>
                  </a:cubicBezTo>
                  <a:cubicBezTo>
                    <a:pt x="972997" y="710110"/>
                    <a:pt x="973205" y="710944"/>
                    <a:pt x="973205" y="711835"/>
                  </a:cubicBezTo>
                  <a:cubicBezTo>
                    <a:pt x="973205" y="715588"/>
                    <a:pt x="970157" y="718646"/>
                    <a:pt x="966414" y="718646"/>
                  </a:cubicBezTo>
                  <a:lnTo>
                    <a:pt x="966280" y="718646"/>
                  </a:lnTo>
                  <a:cubicBezTo>
                    <a:pt x="966073" y="718646"/>
                    <a:pt x="965853" y="718646"/>
                    <a:pt x="965719" y="718646"/>
                  </a:cubicBezTo>
                  <a:lnTo>
                    <a:pt x="941665" y="716769"/>
                  </a:lnTo>
                  <a:cubicBezTo>
                    <a:pt x="938044" y="716480"/>
                    <a:pt x="935350" y="713503"/>
                    <a:pt x="935350" y="709971"/>
                  </a:cubicBezTo>
                  <a:cubicBezTo>
                    <a:pt x="935350" y="702477"/>
                    <a:pt x="934240" y="693953"/>
                    <a:pt x="932997" y="691451"/>
                  </a:cubicBezTo>
                  <a:cubicBezTo>
                    <a:pt x="905541" y="673777"/>
                    <a:pt x="903310" y="650683"/>
                    <a:pt x="903310" y="624474"/>
                  </a:cubicBezTo>
                  <a:cubicBezTo>
                    <a:pt x="903310" y="619968"/>
                    <a:pt x="903797" y="615532"/>
                    <a:pt x="904565" y="611166"/>
                  </a:cubicBezTo>
                  <a:cubicBezTo>
                    <a:pt x="902347" y="612069"/>
                    <a:pt x="899981" y="612614"/>
                    <a:pt x="897494" y="612695"/>
                  </a:cubicBezTo>
                  <a:cubicBezTo>
                    <a:pt x="895483" y="615602"/>
                    <a:pt x="892703" y="617756"/>
                    <a:pt x="888826" y="618370"/>
                  </a:cubicBezTo>
                  <a:cubicBezTo>
                    <a:pt x="867332" y="621624"/>
                    <a:pt x="861370" y="600626"/>
                    <a:pt x="863443" y="583497"/>
                  </a:cubicBezTo>
                  <a:cubicBezTo>
                    <a:pt x="863870" y="579756"/>
                    <a:pt x="871148" y="576420"/>
                    <a:pt x="870514" y="581621"/>
                  </a:cubicBezTo>
                  <a:cubicBezTo>
                    <a:pt x="869197" y="592438"/>
                    <a:pt x="869685" y="607147"/>
                    <a:pt x="882718" y="610402"/>
                  </a:cubicBezTo>
                  <a:cubicBezTo>
                    <a:pt x="884937" y="610957"/>
                    <a:pt x="886948" y="611027"/>
                    <a:pt x="888680" y="610680"/>
                  </a:cubicBezTo>
                  <a:cubicBezTo>
                    <a:pt x="884656" y="608456"/>
                    <a:pt x="881194" y="604576"/>
                    <a:pt x="880853" y="600210"/>
                  </a:cubicBezTo>
                  <a:cubicBezTo>
                    <a:pt x="880219" y="590573"/>
                    <a:pt x="893532" y="579895"/>
                    <a:pt x="898945" y="591824"/>
                  </a:cubicBezTo>
                  <a:cubicBezTo>
                    <a:pt x="900689" y="595496"/>
                    <a:pt x="901164" y="600279"/>
                    <a:pt x="900542" y="604784"/>
                  </a:cubicBezTo>
                  <a:cubicBezTo>
                    <a:pt x="902481" y="604367"/>
                    <a:pt x="904419" y="603603"/>
                    <a:pt x="906297" y="602491"/>
                  </a:cubicBezTo>
                  <a:cubicBezTo>
                    <a:pt x="911844" y="582316"/>
                    <a:pt x="924950" y="564920"/>
                    <a:pt x="944152" y="552921"/>
                  </a:cubicBezTo>
                  <a:cubicBezTo>
                    <a:pt x="945481" y="552087"/>
                    <a:pt x="972790" y="536359"/>
                    <a:pt x="1002538" y="536359"/>
                  </a:cubicBezTo>
                  <a:cubicBezTo>
                    <a:pt x="1008012" y="536359"/>
                    <a:pt x="1013291" y="536903"/>
                    <a:pt x="1018216" y="537946"/>
                  </a:cubicBezTo>
                  <a:cubicBezTo>
                    <a:pt x="1029994" y="539463"/>
                    <a:pt x="1037004" y="540436"/>
                    <a:pt x="1041088" y="541825"/>
                  </a:cubicBezTo>
                  <a:close/>
                  <a:moveTo>
                    <a:pt x="1272963" y="530356"/>
                  </a:moveTo>
                  <a:cubicBezTo>
                    <a:pt x="1280573" y="530356"/>
                    <a:pt x="1286736" y="536519"/>
                    <a:pt x="1286736" y="544130"/>
                  </a:cubicBezTo>
                  <a:cubicBezTo>
                    <a:pt x="1286736" y="551732"/>
                    <a:pt x="1280573" y="557911"/>
                    <a:pt x="1272963" y="557911"/>
                  </a:cubicBezTo>
                  <a:cubicBezTo>
                    <a:pt x="1265352" y="557911"/>
                    <a:pt x="1259181" y="551732"/>
                    <a:pt x="1259181" y="544130"/>
                  </a:cubicBezTo>
                  <a:cubicBezTo>
                    <a:pt x="1259181" y="536519"/>
                    <a:pt x="1265352" y="530356"/>
                    <a:pt x="1272963" y="530356"/>
                  </a:cubicBezTo>
                  <a:close/>
                  <a:moveTo>
                    <a:pt x="1216478" y="530356"/>
                  </a:moveTo>
                  <a:cubicBezTo>
                    <a:pt x="1224089" y="530356"/>
                    <a:pt x="1230259" y="536519"/>
                    <a:pt x="1230259" y="544130"/>
                  </a:cubicBezTo>
                  <a:cubicBezTo>
                    <a:pt x="1230259" y="551732"/>
                    <a:pt x="1224089" y="557911"/>
                    <a:pt x="1216478" y="557911"/>
                  </a:cubicBezTo>
                  <a:cubicBezTo>
                    <a:pt x="1208876" y="557911"/>
                    <a:pt x="1202713" y="551732"/>
                    <a:pt x="1202713" y="544130"/>
                  </a:cubicBezTo>
                  <a:cubicBezTo>
                    <a:pt x="1202713" y="536519"/>
                    <a:pt x="1208876" y="530356"/>
                    <a:pt x="1216478" y="530356"/>
                  </a:cubicBezTo>
                  <a:close/>
                  <a:moveTo>
                    <a:pt x="1578482" y="520448"/>
                  </a:moveTo>
                  <a:lnTo>
                    <a:pt x="1578482" y="661208"/>
                  </a:lnTo>
                  <a:lnTo>
                    <a:pt x="1788714" y="661208"/>
                  </a:lnTo>
                  <a:lnTo>
                    <a:pt x="1788714" y="520448"/>
                  </a:lnTo>
                  <a:close/>
                  <a:moveTo>
                    <a:pt x="510727" y="518464"/>
                  </a:moveTo>
                  <a:lnTo>
                    <a:pt x="510727" y="596270"/>
                  </a:lnTo>
                  <a:lnTo>
                    <a:pt x="580702" y="596270"/>
                  </a:lnTo>
                  <a:cubicBezTo>
                    <a:pt x="580702" y="596270"/>
                    <a:pt x="580702" y="518464"/>
                    <a:pt x="580702" y="518464"/>
                  </a:cubicBezTo>
                  <a:close/>
                  <a:moveTo>
                    <a:pt x="2335766" y="505102"/>
                  </a:moveTo>
                  <a:cubicBezTo>
                    <a:pt x="2337671" y="504951"/>
                    <a:pt x="2339380" y="506354"/>
                    <a:pt x="2339555" y="508275"/>
                  </a:cubicBezTo>
                  <a:lnTo>
                    <a:pt x="2344902" y="569422"/>
                  </a:lnTo>
                  <a:cubicBezTo>
                    <a:pt x="2345067" y="571328"/>
                    <a:pt x="2343652" y="572986"/>
                    <a:pt x="2341733" y="573153"/>
                  </a:cubicBezTo>
                  <a:cubicBezTo>
                    <a:pt x="2341639" y="573153"/>
                    <a:pt x="2341519" y="573153"/>
                    <a:pt x="2341419" y="573153"/>
                  </a:cubicBezTo>
                  <a:cubicBezTo>
                    <a:pt x="2339650" y="573153"/>
                    <a:pt x="2338155" y="571798"/>
                    <a:pt x="2338000" y="569981"/>
                  </a:cubicBezTo>
                  <a:lnTo>
                    <a:pt x="2332658" y="508897"/>
                  </a:lnTo>
                  <a:cubicBezTo>
                    <a:pt x="2332493" y="506976"/>
                    <a:pt x="2333862" y="505278"/>
                    <a:pt x="2335766" y="505102"/>
                  </a:cubicBezTo>
                  <a:close/>
                  <a:moveTo>
                    <a:pt x="526263" y="502928"/>
                  </a:moveTo>
                  <a:cubicBezTo>
                    <a:pt x="526263" y="502928"/>
                    <a:pt x="526263" y="510696"/>
                    <a:pt x="526263" y="510696"/>
                  </a:cubicBezTo>
                  <a:lnTo>
                    <a:pt x="565166" y="510696"/>
                  </a:lnTo>
                  <a:lnTo>
                    <a:pt x="565166" y="502928"/>
                  </a:lnTo>
                  <a:close/>
                  <a:moveTo>
                    <a:pt x="2475534" y="500756"/>
                  </a:moveTo>
                  <a:cubicBezTo>
                    <a:pt x="2462795" y="501102"/>
                    <a:pt x="2452343" y="507185"/>
                    <a:pt x="2444527" y="518902"/>
                  </a:cubicBezTo>
                  <a:cubicBezTo>
                    <a:pt x="2440071" y="525616"/>
                    <a:pt x="2438694" y="532249"/>
                    <a:pt x="2440363" y="539167"/>
                  </a:cubicBezTo>
                  <a:cubicBezTo>
                    <a:pt x="2445188" y="559065"/>
                    <a:pt x="2472433" y="574430"/>
                    <a:pt x="2472737" y="574583"/>
                  </a:cubicBezTo>
                  <a:cubicBezTo>
                    <a:pt x="2475187" y="575978"/>
                    <a:pt x="2476716" y="578617"/>
                    <a:pt x="2476716" y="581419"/>
                  </a:cubicBezTo>
                  <a:lnTo>
                    <a:pt x="2476716" y="630702"/>
                  </a:lnTo>
                  <a:lnTo>
                    <a:pt x="2564023" y="630702"/>
                  </a:lnTo>
                  <a:lnTo>
                    <a:pt x="2564023" y="587818"/>
                  </a:lnTo>
                  <a:cubicBezTo>
                    <a:pt x="2546373" y="592963"/>
                    <a:pt x="2526945" y="594033"/>
                    <a:pt x="2513870" y="594033"/>
                  </a:cubicBezTo>
                  <a:cubicBezTo>
                    <a:pt x="2505294" y="594033"/>
                    <a:pt x="2499461" y="593615"/>
                    <a:pt x="2498583" y="593533"/>
                  </a:cubicBezTo>
                  <a:cubicBezTo>
                    <a:pt x="2494290" y="593157"/>
                    <a:pt x="2491059" y="589397"/>
                    <a:pt x="2491438" y="585087"/>
                  </a:cubicBezTo>
                  <a:cubicBezTo>
                    <a:pt x="2491785" y="580818"/>
                    <a:pt x="2495569" y="577629"/>
                    <a:pt x="2499830" y="578006"/>
                  </a:cubicBezTo>
                  <a:cubicBezTo>
                    <a:pt x="2519941" y="579677"/>
                    <a:pt x="2574941" y="578709"/>
                    <a:pt x="2587821" y="554450"/>
                  </a:cubicBezTo>
                  <a:cubicBezTo>
                    <a:pt x="2594857" y="541215"/>
                    <a:pt x="2595768" y="529029"/>
                    <a:pt x="2590369" y="520023"/>
                  </a:cubicBezTo>
                  <a:cubicBezTo>
                    <a:pt x="2584959" y="511077"/>
                    <a:pt x="2573597" y="505850"/>
                    <a:pt x="2559242" y="505850"/>
                  </a:cubicBezTo>
                  <a:cubicBezTo>
                    <a:pt x="2529948" y="505850"/>
                    <a:pt x="2506086" y="544445"/>
                    <a:pt x="2505858" y="544822"/>
                  </a:cubicBezTo>
                  <a:cubicBezTo>
                    <a:pt x="2503635" y="548520"/>
                    <a:pt x="2498833" y="549692"/>
                    <a:pt x="2495168" y="547491"/>
                  </a:cubicBezTo>
                  <a:cubicBezTo>
                    <a:pt x="2491504" y="545219"/>
                    <a:pt x="2490333" y="540461"/>
                    <a:pt x="2492555" y="536803"/>
                  </a:cubicBezTo>
                  <a:cubicBezTo>
                    <a:pt x="2493086" y="535896"/>
                    <a:pt x="2499494" y="525504"/>
                    <a:pt x="2510086" y="514806"/>
                  </a:cubicBezTo>
                  <a:cubicBezTo>
                    <a:pt x="2503397" y="507358"/>
                    <a:pt x="2489400" y="500420"/>
                    <a:pt x="2475534" y="500756"/>
                  </a:cubicBezTo>
                  <a:close/>
                  <a:moveTo>
                    <a:pt x="518497" y="495161"/>
                  </a:moveTo>
                  <a:lnTo>
                    <a:pt x="572931" y="495161"/>
                  </a:lnTo>
                  <a:lnTo>
                    <a:pt x="572931" y="510696"/>
                  </a:lnTo>
                  <a:cubicBezTo>
                    <a:pt x="572931" y="510696"/>
                    <a:pt x="596238" y="510696"/>
                    <a:pt x="596238" y="510696"/>
                  </a:cubicBezTo>
                  <a:lnTo>
                    <a:pt x="596238" y="518464"/>
                  </a:lnTo>
                  <a:lnTo>
                    <a:pt x="588467" y="518464"/>
                  </a:lnTo>
                  <a:lnTo>
                    <a:pt x="588467" y="604038"/>
                  </a:lnTo>
                  <a:lnTo>
                    <a:pt x="502961" y="604038"/>
                  </a:lnTo>
                  <a:lnTo>
                    <a:pt x="502961" y="518464"/>
                  </a:lnTo>
                  <a:lnTo>
                    <a:pt x="495191" y="518464"/>
                  </a:lnTo>
                  <a:lnTo>
                    <a:pt x="495191" y="510696"/>
                  </a:lnTo>
                  <a:lnTo>
                    <a:pt x="518497" y="510696"/>
                  </a:lnTo>
                  <a:close/>
                  <a:moveTo>
                    <a:pt x="251525" y="495094"/>
                  </a:moveTo>
                  <a:cubicBezTo>
                    <a:pt x="240267" y="495094"/>
                    <a:pt x="231138" y="504284"/>
                    <a:pt x="231138" y="515540"/>
                  </a:cubicBezTo>
                  <a:lnTo>
                    <a:pt x="231138" y="535933"/>
                  </a:lnTo>
                  <a:lnTo>
                    <a:pt x="435477" y="535933"/>
                  </a:lnTo>
                  <a:lnTo>
                    <a:pt x="435477" y="515540"/>
                  </a:lnTo>
                  <a:cubicBezTo>
                    <a:pt x="435477" y="504284"/>
                    <a:pt x="426293" y="495094"/>
                    <a:pt x="415023" y="495094"/>
                  </a:cubicBezTo>
                  <a:lnTo>
                    <a:pt x="390729" y="495094"/>
                  </a:lnTo>
                  <a:lnTo>
                    <a:pt x="390729" y="505297"/>
                  </a:lnTo>
                  <a:cubicBezTo>
                    <a:pt x="390729" y="509800"/>
                    <a:pt x="387031" y="513433"/>
                    <a:pt x="382521" y="513433"/>
                  </a:cubicBezTo>
                  <a:cubicBezTo>
                    <a:pt x="378011" y="513433"/>
                    <a:pt x="374379" y="509800"/>
                    <a:pt x="374379" y="505297"/>
                  </a:cubicBezTo>
                  <a:lnTo>
                    <a:pt x="374379" y="495094"/>
                  </a:lnTo>
                  <a:lnTo>
                    <a:pt x="289931" y="495094"/>
                  </a:lnTo>
                  <a:lnTo>
                    <a:pt x="289931" y="505297"/>
                  </a:lnTo>
                  <a:cubicBezTo>
                    <a:pt x="289931" y="509800"/>
                    <a:pt x="286244" y="513433"/>
                    <a:pt x="281723" y="513433"/>
                  </a:cubicBezTo>
                  <a:cubicBezTo>
                    <a:pt x="277213" y="513433"/>
                    <a:pt x="273592" y="509800"/>
                    <a:pt x="273592" y="505297"/>
                  </a:cubicBezTo>
                  <a:lnTo>
                    <a:pt x="273592" y="495094"/>
                  </a:lnTo>
                  <a:close/>
                  <a:moveTo>
                    <a:pt x="2170956" y="494847"/>
                  </a:moveTo>
                  <a:cubicBezTo>
                    <a:pt x="2187263" y="497912"/>
                    <a:pt x="2197761" y="502846"/>
                    <a:pt x="2195114" y="530893"/>
                  </a:cubicBezTo>
                  <a:cubicBezTo>
                    <a:pt x="2195114" y="530893"/>
                    <a:pt x="2177080" y="535948"/>
                    <a:pt x="2170956" y="534866"/>
                  </a:cubicBezTo>
                  <a:close/>
                  <a:moveTo>
                    <a:pt x="1244712" y="491899"/>
                  </a:moveTo>
                  <a:cubicBezTo>
                    <a:pt x="1201330" y="491899"/>
                    <a:pt x="1166043" y="527186"/>
                    <a:pt x="1166043" y="570568"/>
                  </a:cubicBezTo>
                  <a:cubicBezTo>
                    <a:pt x="1166043" y="613943"/>
                    <a:pt x="1201330" y="649222"/>
                    <a:pt x="1244712" y="649222"/>
                  </a:cubicBezTo>
                  <a:cubicBezTo>
                    <a:pt x="1288087" y="649222"/>
                    <a:pt x="1323374" y="613943"/>
                    <a:pt x="1323374" y="570568"/>
                  </a:cubicBezTo>
                  <a:cubicBezTo>
                    <a:pt x="1323374" y="527186"/>
                    <a:pt x="1288087" y="491899"/>
                    <a:pt x="1244712" y="491899"/>
                  </a:cubicBezTo>
                  <a:close/>
                  <a:moveTo>
                    <a:pt x="2160296" y="491025"/>
                  </a:moveTo>
                  <a:cubicBezTo>
                    <a:pt x="2144746" y="492349"/>
                    <a:pt x="2129727" y="500364"/>
                    <a:pt x="2129727" y="514191"/>
                  </a:cubicBezTo>
                  <a:cubicBezTo>
                    <a:pt x="2129727" y="514191"/>
                    <a:pt x="2129727" y="533746"/>
                    <a:pt x="2129727" y="533746"/>
                  </a:cubicBezTo>
                  <a:cubicBezTo>
                    <a:pt x="2134597" y="535328"/>
                    <a:pt x="2146108" y="538559"/>
                    <a:pt x="2160296" y="539271"/>
                  </a:cubicBezTo>
                  <a:close/>
                  <a:moveTo>
                    <a:pt x="2168182" y="490904"/>
                  </a:moveTo>
                  <a:lnTo>
                    <a:pt x="2168182" y="539399"/>
                  </a:lnTo>
                  <a:cubicBezTo>
                    <a:pt x="2177612" y="539188"/>
                    <a:pt x="2187799" y="537697"/>
                    <a:pt x="2197773" y="533882"/>
                  </a:cubicBezTo>
                  <a:cubicBezTo>
                    <a:pt x="2197773" y="533882"/>
                    <a:pt x="2197773" y="514191"/>
                    <a:pt x="2197773" y="514191"/>
                  </a:cubicBezTo>
                  <a:cubicBezTo>
                    <a:pt x="2197773" y="499108"/>
                    <a:pt x="2183406" y="491820"/>
                    <a:pt x="2168182" y="490904"/>
                  </a:cubicBezTo>
                  <a:close/>
                  <a:moveTo>
                    <a:pt x="2475100" y="485218"/>
                  </a:moveTo>
                  <a:cubicBezTo>
                    <a:pt x="2494377" y="484699"/>
                    <a:pt x="2512395" y="494164"/>
                    <a:pt x="2521763" y="504485"/>
                  </a:cubicBezTo>
                  <a:cubicBezTo>
                    <a:pt x="2532192" y="496579"/>
                    <a:pt x="2544985" y="490323"/>
                    <a:pt x="2559242" y="490323"/>
                  </a:cubicBezTo>
                  <a:cubicBezTo>
                    <a:pt x="2579191" y="490323"/>
                    <a:pt x="2595399" y="498209"/>
                    <a:pt x="2603671" y="512004"/>
                  </a:cubicBezTo>
                  <a:cubicBezTo>
                    <a:pt x="2611998" y="525871"/>
                    <a:pt x="2611261" y="543518"/>
                    <a:pt x="2601557" y="561786"/>
                  </a:cubicBezTo>
                  <a:cubicBezTo>
                    <a:pt x="2596863" y="570619"/>
                    <a:pt x="2588938" y="577109"/>
                    <a:pt x="2579560" y="581796"/>
                  </a:cubicBezTo>
                  <a:lnTo>
                    <a:pt x="2579560" y="638465"/>
                  </a:lnTo>
                  <a:cubicBezTo>
                    <a:pt x="2579560" y="642734"/>
                    <a:pt x="2576101" y="646239"/>
                    <a:pt x="2571786" y="646239"/>
                  </a:cubicBezTo>
                  <a:lnTo>
                    <a:pt x="2468942" y="646239"/>
                  </a:lnTo>
                  <a:cubicBezTo>
                    <a:pt x="2464638" y="646239"/>
                    <a:pt x="2461179" y="642734"/>
                    <a:pt x="2461179" y="638465"/>
                  </a:cubicBezTo>
                  <a:lnTo>
                    <a:pt x="2461179" y="585831"/>
                  </a:lnTo>
                  <a:cubicBezTo>
                    <a:pt x="2452072" y="580003"/>
                    <a:pt x="2430400" y="564170"/>
                    <a:pt x="2425261" y="542896"/>
                  </a:cubicBezTo>
                  <a:cubicBezTo>
                    <a:pt x="2422496" y="531658"/>
                    <a:pt x="2424621" y="520664"/>
                    <a:pt x="2431538" y="510262"/>
                  </a:cubicBezTo>
                  <a:cubicBezTo>
                    <a:pt x="2444993" y="490129"/>
                    <a:pt x="2462665" y="485524"/>
                    <a:pt x="2475100" y="485218"/>
                  </a:cubicBezTo>
                  <a:close/>
                  <a:moveTo>
                    <a:pt x="1244712" y="483222"/>
                  </a:moveTo>
                  <a:cubicBezTo>
                    <a:pt x="1292883" y="483222"/>
                    <a:pt x="1332060" y="522406"/>
                    <a:pt x="1332060" y="570568"/>
                  </a:cubicBezTo>
                  <a:cubicBezTo>
                    <a:pt x="1332060" y="618731"/>
                    <a:pt x="1292883" y="657916"/>
                    <a:pt x="1244712" y="657916"/>
                  </a:cubicBezTo>
                  <a:cubicBezTo>
                    <a:pt x="1196550" y="657916"/>
                    <a:pt x="1157365" y="618731"/>
                    <a:pt x="1157365" y="570568"/>
                  </a:cubicBezTo>
                  <a:cubicBezTo>
                    <a:pt x="1157365" y="522406"/>
                    <a:pt x="1196550" y="483222"/>
                    <a:pt x="1244712" y="483222"/>
                  </a:cubicBezTo>
                  <a:close/>
                  <a:moveTo>
                    <a:pt x="2406610" y="474840"/>
                  </a:moveTo>
                  <a:cubicBezTo>
                    <a:pt x="2395396" y="480245"/>
                    <a:pt x="2374692" y="481991"/>
                    <a:pt x="2360684" y="481991"/>
                  </a:cubicBezTo>
                  <a:cubicBezTo>
                    <a:pt x="2346771" y="481991"/>
                    <a:pt x="2326151" y="480309"/>
                    <a:pt x="2314887" y="474967"/>
                  </a:cubicBezTo>
                  <a:lnTo>
                    <a:pt x="2327001" y="599502"/>
                  </a:lnTo>
                  <a:cubicBezTo>
                    <a:pt x="2335372" y="595069"/>
                    <a:pt x="2350329" y="593658"/>
                    <a:pt x="2360439" y="593658"/>
                  </a:cubicBezTo>
                  <a:cubicBezTo>
                    <a:pt x="2370619" y="593658"/>
                    <a:pt x="2385646" y="595053"/>
                    <a:pt x="2393997" y="599566"/>
                  </a:cubicBezTo>
                  <a:cubicBezTo>
                    <a:pt x="2393997" y="599566"/>
                    <a:pt x="2406610" y="474840"/>
                    <a:pt x="2406610" y="474840"/>
                  </a:cubicBezTo>
                  <a:close/>
                  <a:moveTo>
                    <a:pt x="972583" y="469302"/>
                  </a:moveTo>
                  <a:cubicBezTo>
                    <a:pt x="990200" y="469302"/>
                    <a:pt x="1004476" y="483582"/>
                    <a:pt x="1004476" y="501196"/>
                  </a:cubicBezTo>
                  <a:cubicBezTo>
                    <a:pt x="1004476" y="518812"/>
                    <a:pt x="990200" y="533093"/>
                    <a:pt x="972583" y="533093"/>
                  </a:cubicBezTo>
                  <a:cubicBezTo>
                    <a:pt x="954978" y="533093"/>
                    <a:pt x="940677" y="518812"/>
                    <a:pt x="940677" y="501196"/>
                  </a:cubicBezTo>
                  <a:cubicBezTo>
                    <a:pt x="940677" y="483582"/>
                    <a:pt x="954978" y="469302"/>
                    <a:pt x="972583" y="469302"/>
                  </a:cubicBezTo>
                  <a:close/>
                  <a:moveTo>
                    <a:pt x="1443583" y="461300"/>
                  </a:moveTo>
                  <a:cubicBezTo>
                    <a:pt x="1423844" y="461300"/>
                    <a:pt x="1407842" y="477300"/>
                    <a:pt x="1407842" y="497039"/>
                  </a:cubicBezTo>
                  <a:cubicBezTo>
                    <a:pt x="1407842" y="497039"/>
                    <a:pt x="1407842" y="523797"/>
                    <a:pt x="1407842" y="523797"/>
                  </a:cubicBezTo>
                  <a:lnTo>
                    <a:pt x="1479284" y="523797"/>
                  </a:lnTo>
                  <a:lnTo>
                    <a:pt x="1479284" y="497039"/>
                  </a:lnTo>
                  <a:cubicBezTo>
                    <a:pt x="1479284" y="477300"/>
                    <a:pt x="1463309" y="461300"/>
                    <a:pt x="1443583" y="461300"/>
                  </a:cubicBezTo>
                  <a:close/>
                  <a:moveTo>
                    <a:pt x="1578482" y="459365"/>
                  </a:moveTo>
                  <a:lnTo>
                    <a:pt x="1604764" y="459365"/>
                  </a:lnTo>
                  <a:lnTo>
                    <a:pt x="1604764" y="485525"/>
                  </a:lnTo>
                  <a:cubicBezTo>
                    <a:pt x="1604764" y="495011"/>
                    <a:pt x="1612430" y="502740"/>
                    <a:pt x="1621916" y="502740"/>
                  </a:cubicBezTo>
                  <a:lnTo>
                    <a:pt x="1625398" y="502740"/>
                  </a:lnTo>
                  <a:cubicBezTo>
                    <a:pt x="1634884" y="502740"/>
                    <a:pt x="1642618" y="495011"/>
                    <a:pt x="1642618" y="485525"/>
                  </a:cubicBezTo>
                  <a:lnTo>
                    <a:pt x="1642618" y="459365"/>
                  </a:lnTo>
                  <a:lnTo>
                    <a:pt x="1726441" y="459365"/>
                  </a:lnTo>
                  <a:lnTo>
                    <a:pt x="1726441" y="485338"/>
                  </a:lnTo>
                  <a:cubicBezTo>
                    <a:pt x="1726441" y="494824"/>
                    <a:pt x="1734164" y="502498"/>
                    <a:pt x="1743661" y="502498"/>
                  </a:cubicBezTo>
                  <a:lnTo>
                    <a:pt x="1747143" y="502498"/>
                  </a:lnTo>
                  <a:cubicBezTo>
                    <a:pt x="1756629" y="502498"/>
                    <a:pt x="1764352" y="497250"/>
                    <a:pt x="1764352" y="487765"/>
                  </a:cubicBezTo>
                  <a:lnTo>
                    <a:pt x="1764352" y="459365"/>
                  </a:lnTo>
                  <a:lnTo>
                    <a:pt x="1788714" y="459365"/>
                  </a:lnTo>
                  <a:cubicBezTo>
                    <a:pt x="1797229" y="459365"/>
                    <a:pt x="1804126" y="466269"/>
                    <a:pt x="1804126" y="474779"/>
                  </a:cubicBezTo>
                  <a:lnTo>
                    <a:pt x="1804126" y="661208"/>
                  </a:lnTo>
                  <a:cubicBezTo>
                    <a:pt x="1804126" y="669716"/>
                    <a:pt x="1797229" y="676622"/>
                    <a:pt x="1788714" y="676622"/>
                  </a:cubicBezTo>
                  <a:lnTo>
                    <a:pt x="1578482" y="676622"/>
                  </a:lnTo>
                  <a:cubicBezTo>
                    <a:pt x="1569978" y="676622"/>
                    <a:pt x="1563070" y="669716"/>
                    <a:pt x="1563070" y="661208"/>
                  </a:cubicBezTo>
                  <a:lnTo>
                    <a:pt x="1563070" y="474779"/>
                  </a:lnTo>
                  <a:cubicBezTo>
                    <a:pt x="1563070" y="466269"/>
                    <a:pt x="1569978" y="459365"/>
                    <a:pt x="1578482" y="459365"/>
                  </a:cubicBezTo>
                  <a:close/>
                  <a:moveTo>
                    <a:pt x="2360684" y="456384"/>
                  </a:moveTo>
                  <a:cubicBezTo>
                    <a:pt x="2331049" y="456384"/>
                    <a:pt x="2315852" y="462451"/>
                    <a:pt x="2313953" y="465273"/>
                  </a:cubicBezTo>
                  <a:lnTo>
                    <a:pt x="2314013" y="466325"/>
                  </a:lnTo>
                  <a:cubicBezTo>
                    <a:pt x="2316556" y="469594"/>
                    <a:pt x="2333368" y="475031"/>
                    <a:pt x="2360684" y="475031"/>
                  </a:cubicBezTo>
                  <a:cubicBezTo>
                    <a:pt x="2389654" y="475031"/>
                    <a:pt x="2406715" y="468893"/>
                    <a:pt x="2407545" y="465704"/>
                  </a:cubicBezTo>
                  <a:cubicBezTo>
                    <a:pt x="2407545" y="465704"/>
                    <a:pt x="2407605" y="465648"/>
                    <a:pt x="2407605" y="465648"/>
                  </a:cubicBezTo>
                  <a:cubicBezTo>
                    <a:pt x="2406960" y="463081"/>
                    <a:pt x="2391768" y="456384"/>
                    <a:pt x="2360684" y="456384"/>
                  </a:cubicBezTo>
                  <a:close/>
                  <a:moveTo>
                    <a:pt x="1116567" y="454770"/>
                  </a:moveTo>
                  <a:cubicBezTo>
                    <a:pt x="1118312" y="454770"/>
                    <a:pt x="1119610" y="456187"/>
                    <a:pt x="1119610" y="457942"/>
                  </a:cubicBezTo>
                  <a:lnTo>
                    <a:pt x="1119610" y="471240"/>
                  </a:lnTo>
                  <a:cubicBezTo>
                    <a:pt x="1119610" y="474071"/>
                    <a:pt x="1121948" y="476335"/>
                    <a:pt x="1124768" y="476335"/>
                  </a:cubicBezTo>
                  <a:lnTo>
                    <a:pt x="1134960" y="476335"/>
                  </a:lnTo>
                  <a:cubicBezTo>
                    <a:pt x="1136710" y="476335"/>
                    <a:pt x="1138131" y="477571"/>
                    <a:pt x="1138131" y="479319"/>
                  </a:cubicBezTo>
                  <a:cubicBezTo>
                    <a:pt x="1138131" y="481063"/>
                    <a:pt x="1136710" y="482422"/>
                    <a:pt x="1134960" y="482422"/>
                  </a:cubicBezTo>
                  <a:cubicBezTo>
                    <a:pt x="1134960" y="482422"/>
                    <a:pt x="1119610" y="482422"/>
                    <a:pt x="1119610" y="482422"/>
                  </a:cubicBezTo>
                  <a:cubicBezTo>
                    <a:pt x="1119610" y="482422"/>
                    <a:pt x="1118961" y="482447"/>
                    <a:pt x="1118119" y="482484"/>
                  </a:cubicBezTo>
                  <a:cubicBezTo>
                    <a:pt x="1117277" y="482510"/>
                    <a:pt x="1115606" y="482212"/>
                    <a:pt x="1114641" y="481431"/>
                  </a:cubicBezTo>
                  <a:cubicBezTo>
                    <a:pt x="1114027" y="480940"/>
                    <a:pt x="1113523" y="480296"/>
                    <a:pt x="1113523" y="479565"/>
                  </a:cubicBezTo>
                  <a:lnTo>
                    <a:pt x="1113523" y="457942"/>
                  </a:lnTo>
                  <a:cubicBezTo>
                    <a:pt x="1113523" y="456191"/>
                    <a:pt x="1114817" y="454770"/>
                    <a:pt x="1116567" y="454770"/>
                  </a:cubicBezTo>
                  <a:close/>
                  <a:moveTo>
                    <a:pt x="281723" y="449425"/>
                  </a:moveTo>
                  <a:cubicBezTo>
                    <a:pt x="286244" y="449425"/>
                    <a:pt x="289931" y="453059"/>
                    <a:pt x="289931" y="457561"/>
                  </a:cubicBezTo>
                  <a:lnTo>
                    <a:pt x="289931" y="478757"/>
                  </a:lnTo>
                  <a:lnTo>
                    <a:pt x="374379" y="478757"/>
                  </a:lnTo>
                  <a:lnTo>
                    <a:pt x="374379" y="457561"/>
                  </a:lnTo>
                  <a:cubicBezTo>
                    <a:pt x="374379" y="453059"/>
                    <a:pt x="378011" y="449425"/>
                    <a:pt x="382521" y="449425"/>
                  </a:cubicBezTo>
                  <a:cubicBezTo>
                    <a:pt x="387031" y="449425"/>
                    <a:pt x="390729" y="453059"/>
                    <a:pt x="390729" y="457561"/>
                  </a:cubicBezTo>
                  <a:lnTo>
                    <a:pt x="390729" y="478757"/>
                  </a:lnTo>
                  <a:lnTo>
                    <a:pt x="415023" y="478757"/>
                  </a:lnTo>
                  <a:cubicBezTo>
                    <a:pt x="435301" y="478757"/>
                    <a:pt x="451816" y="495265"/>
                    <a:pt x="451816" y="515540"/>
                  </a:cubicBezTo>
                  <a:lnTo>
                    <a:pt x="451816" y="697010"/>
                  </a:lnTo>
                  <a:cubicBezTo>
                    <a:pt x="451816" y="717285"/>
                    <a:pt x="435301" y="733794"/>
                    <a:pt x="415023" y="733794"/>
                  </a:cubicBezTo>
                  <a:lnTo>
                    <a:pt x="251525" y="733794"/>
                  </a:lnTo>
                  <a:cubicBezTo>
                    <a:pt x="231247" y="733794"/>
                    <a:pt x="214799" y="717285"/>
                    <a:pt x="214799" y="697010"/>
                  </a:cubicBezTo>
                  <a:lnTo>
                    <a:pt x="214799" y="515540"/>
                  </a:lnTo>
                  <a:cubicBezTo>
                    <a:pt x="214799" y="495265"/>
                    <a:pt x="231247" y="478757"/>
                    <a:pt x="251525" y="478757"/>
                  </a:cubicBezTo>
                  <a:lnTo>
                    <a:pt x="273592" y="478757"/>
                  </a:lnTo>
                  <a:lnTo>
                    <a:pt x="273592" y="457561"/>
                  </a:lnTo>
                  <a:cubicBezTo>
                    <a:pt x="273592" y="453059"/>
                    <a:pt x="277213" y="449425"/>
                    <a:pt x="281723" y="449425"/>
                  </a:cubicBezTo>
                  <a:close/>
                  <a:moveTo>
                    <a:pt x="2360684" y="449424"/>
                  </a:moveTo>
                  <a:cubicBezTo>
                    <a:pt x="2379529" y="449424"/>
                    <a:pt x="2410613" y="452461"/>
                    <a:pt x="2414192" y="463528"/>
                  </a:cubicBezTo>
                  <a:cubicBezTo>
                    <a:pt x="2414192" y="463528"/>
                    <a:pt x="2414751" y="463591"/>
                    <a:pt x="2414751" y="463591"/>
                  </a:cubicBezTo>
                  <a:lnTo>
                    <a:pt x="2400084" y="608016"/>
                  </a:lnTo>
                  <a:cubicBezTo>
                    <a:pt x="2399559" y="618755"/>
                    <a:pt x="2375026" y="621625"/>
                    <a:pt x="2360439" y="621625"/>
                  </a:cubicBezTo>
                  <a:cubicBezTo>
                    <a:pt x="2345691" y="621625"/>
                    <a:pt x="2320664" y="618691"/>
                    <a:pt x="2320664" y="607642"/>
                  </a:cubicBezTo>
                  <a:cubicBezTo>
                    <a:pt x="2320664" y="607490"/>
                    <a:pt x="2320779" y="607355"/>
                    <a:pt x="2320789" y="607211"/>
                  </a:cubicBezTo>
                  <a:lnTo>
                    <a:pt x="2307241" y="468127"/>
                  </a:lnTo>
                  <a:cubicBezTo>
                    <a:pt x="2306956" y="467346"/>
                    <a:pt x="2306806" y="466564"/>
                    <a:pt x="2306806" y="465704"/>
                  </a:cubicBezTo>
                  <a:cubicBezTo>
                    <a:pt x="2306806" y="465425"/>
                    <a:pt x="2306921" y="465113"/>
                    <a:pt x="2306931" y="464834"/>
                  </a:cubicBezTo>
                  <a:lnTo>
                    <a:pt x="2306806" y="463591"/>
                  </a:lnTo>
                  <a:lnTo>
                    <a:pt x="2307116" y="463528"/>
                  </a:lnTo>
                  <a:cubicBezTo>
                    <a:pt x="2310684" y="452453"/>
                    <a:pt x="2341833" y="449424"/>
                    <a:pt x="2360684" y="449424"/>
                  </a:cubicBezTo>
                  <a:close/>
                  <a:moveTo>
                    <a:pt x="2167246" y="448622"/>
                  </a:moveTo>
                  <a:cubicBezTo>
                    <a:pt x="2172140" y="453685"/>
                    <a:pt x="2181900" y="459603"/>
                    <a:pt x="2178594" y="468147"/>
                  </a:cubicBezTo>
                  <a:cubicBezTo>
                    <a:pt x="2177115" y="471956"/>
                    <a:pt x="2174923" y="475173"/>
                    <a:pt x="2171608" y="477562"/>
                  </a:cubicBezTo>
                  <a:cubicBezTo>
                    <a:pt x="2170355" y="478479"/>
                    <a:pt x="2168969" y="479295"/>
                    <a:pt x="2167828" y="480333"/>
                  </a:cubicBezTo>
                  <a:cubicBezTo>
                    <a:pt x="2166288" y="481754"/>
                    <a:pt x="2166327" y="481376"/>
                    <a:pt x="2167735" y="482647"/>
                  </a:cubicBezTo>
                  <a:cubicBezTo>
                    <a:pt x="2167863" y="482768"/>
                    <a:pt x="2167957" y="482884"/>
                    <a:pt x="2168061" y="483003"/>
                  </a:cubicBezTo>
                  <a:cubicBezTo>
                    <a:pt x="2186732" y="484002"/>
                    <a:pt x="2205662" y="493848"/>
                    <a:pt x="2205662" y="514191"/>
                  </a:cubicBezTo>
                  <a:lnTo>
                    <a:pt x="2205662" y="566508"/>
                  </a:lnTo>
                  <a:cubicBezTo>
                    <a:pt x="2205662" y="589620"/>
                    <a:pt x="2186868" y="608427"/>
                    <a:pt x="2163750" y="608427"/>
                  </a:cubicBezTo>
                  <a:cubicBezTo>
                    <a:pt x="2140636" y="608427"/>
                    <a:pt x="2121837" y="589620"/>
                    <a:pt x="2121837" y="566508"/>
                  </a:cubicBezTo>
                  <a:lnTo>
                    <a:pt x="2121837" y="514191"/>
                  </a:lnTo>
                  <a:cubicBezTo>
                    <a:pt x="2121837" y="495566"/>
                    <a:pt x="2139666" y="484986"/>
                    <a:pt x="2158961" y="483194"/>
                  </a:cubicBezTo>
                  <a:cubicBezTo>
                    <a:pt x="2158099" y="478873"/>
                    <a:pt x="2161817" y="474869"/>
                    <a:pt x="2166117" y="471827"/>
                  </a:cubicBezTo>
                  <a:cubicBezTo>
                    <a:pt x="2168896" y="469865"/>
                    <a:pt x="2172951" y="465990"/>
                    <a:pt x="2170285" y="462463"/>
                  </a:cubicBezTo>
                  <a:cubicBezTo>
                    <a:pt x="2167910" y="459324"/>
                    <a:pt x="2164398" y="457031"/>
                    <a:pt x="2161658" y="454202"/>
                  </a:cubicBezTo>
                  <a:cubicBezTo>
                    <a:pt x="2158134" y="450547"/>
                    <a:pt x="2163699" y="444960"/>
                    <a:pt x="2167246" y="448622"/>
                  </a:cubicBezTo>
                  <a:close/>
                  <a:moveTo>
                    <a:pt x="517682" y="447430"/>
                  </a:moveTo>
                  <a:cubicBezTo>
                    <a:pt x="519138" y="447430"/>
                    <a:pt x="520357" y="448571"/>
                    <a:pt x="520357" y="450052"/>
                  </a:cubicBezTo>
                  <a:lnTo>
                    <a:pt x="520357" y="452665"/>
                  </a:lnTo>
                  <a:cubicBezTo>
                    <a:pt x="520357" y="454094"/>
                    <a:pt x="519138" y="455268"/>
                    <a:pt x="517682" y="455268"/>
                  </a:cubicBezTo>
                  <a:cubicBezTo>
                    <a:pt x="516214" y="455268"/>
                    <a:pt x="515078" y="454094"/>
                    <a:pt x="515078" y="452665"/>
                  </a:cubicBezTo>
                  <a:lnTo>
                    <a:pt x="515078" y="450052"/>
                  </a:lnTo>
                  <a:cubicBezTo>
                    <a:pt x="515078" y="448571"/>
                    <a:pt x="516214" y="447430"/>
                    <a:pt x="517682" y="447430"/>
                  </a:cubicBezTo>
                  <a:close/>
                  <a:moveTo>
                    <a:pt x="1118119" y="447124"/>
                  </a:moveTo>
                  <a:cubicBezTo>
                    <a:pt x="1101200" y="447124"/>
                    <a:pt x="1087482" y="460844"/>
                    <a:pt x="1087482" y="477763"/>
                  </a:cubicBezTo>
                  <a:cubicBezTo>
                    <a:pt x="1087482" y="494695"/>
                    <a:pt x="1101200" y="508587"/>
                    <a:pt x="1118119" y="508583"/>
                  </a:cubicBezTo>
                  <a:cubicBezTo>
                    <a:pt x="1135039" y="508583"/>
                    <a:pt x="1148757" y="494695"/>
                    <a:pt x="1148757" y="477763"/>
                  </a:cubicBezTo>
                  <a:cubicBezTo>
                    <a:pt x="1148757" y="460844"/>
                    <a:pt x="1135039" y="447124"/>
                    <a:pt x="1118119" y="447124"/>
                  </a:cubicBezTo>
                  <a:close/>
                  <a:moveTo>
                    <a:pt x="1443583" y="443451"/>
                  </a:moveTo>
                  <a:cubicBezTo>
                    <a:pt x="1473159" y="443451"/>
                    <a:pt x="1497145" y="467432"/>
                    <a:pt x="1497145" y="497039"/>
                  </a:cubicBezTo>
                  <a:lnTo>
                    <a:pt x="1497145" y="523797"/>
                  </a:lnTo>
                  <a:cubicBezTo>
                    <a:pt x="1507015" y="523797"/>
                    <a:pt x="1515019" y="531804"/>
                    <a:pt x="1515019" y="541664"/>
                  </a:cubicBezTo>
                  <a:lnTo>
                    <a:pt x="1515019" y="630980"/>
                  </a:lnTo>
                  <a:cubicBezTo>
                    <a:pt x="1515019" y="640831"/>
                    <a:pt x="1507015" y="648838"/>
                    <a:pt x="1497145" y="648838"/>
                  </a:cubicBezTo>
                  <a:lnTo>
                    <a:pt x="1389988" y="648838"/>
                  </a:lnTo>
                  <a:cubicBezTo>
                    <a:pt x="1380131" y="648838"/>
                    <a:pt x="1372134" y="640831"/>
                    <a:pt x="1372134" y="630980"/>
                  </a:cubicBezTo>
                  <a:lnTo>
                    <a:pt x="1372134" y="541664"/>
                  </a:lnTo>
                  <a:cubicBezTo>
                    <a:pt x="1372134" y="531804"/>
                    <a:pt x="1380131" y="523797"/>
                    <a:pt x="1389988" y="523797"/>
                  </a:cubicBezTo>
                  <a:lnTo>
                    <a:pt x="1389988" y="497039"/>
                  </a:lnTo>
                  <a:cubicBezTo>
                    <a:pt x="1389988" y="467432"/>
                    <a:pt x="1413967" y="443451"/>
                    <a:pt x="1443583" y="443451"/>
                  </a:cubicBezTo>
                  <a:close/>
                  <a:moveTo>
                    <a:pt x="786399" y="441469"/>
                  </a:moveTo>
                  <a:cubicBezTo>
                    <a:pt x="790659" y="441469"/>
                    <a:pt x="794359" y="442945"/>
                    <a:pt x="797709" y="445942"/>
                  </a:cubicBezTo>
                  <a:cubicBezTo>
                    <a:pt x="801059" y="448922"/>
                    <a:pt x="802864" y="452421"/>
                    <a:pt x="802864" y="456450"/>
                  </a:cubicBezTo>
                  <a:cubicBezTo>
                    <a:pt x="802864" y="462301"/>
                    <a:pt x="798828" y="467515"/>
                    <a:pt x="793106" y="470058"/>
                  </a:cubicBezTo>
                  <a:lnTo>
                    <a:pt x="793106" y="498080"/>
                  </a:lnTo>
                  <a:cubicBezTo>
                    <a:pt x="793106" y="501865"/>
                    <a:pt x="790182" y="505041"/>
                    <a:pt x="786399" y="505041"/>
                  </a:cubicBezTo>
                  <a:cubicBezTo>
                    <a:pt x="782632" y="505041"/>
                    <a:pt x="779559" y="501865"/>
                    <a:pt x="779559" y="498080"/>
                  </a:cubicBezTo>
                  <a:lnTo>
                    <a:pt x="779559" y="470058"/>
                  </a:lnTo>
                  <a:cubicBezTo>
                    <a:pt x="773822" y="467515"/>
                    <a:pt x="769622" y="462165"/>
                    <a:pt x="769622" y="456450"/>
                  </a:cubicBezTo>
                  <a:cubicBezTo>
                    <a:pt x="769622" y="452421"/>
                    <a:pt x="771323" y="448906"/>
                    <a:pt x="774717" y="445942"/>
                  </a:cubicBezTo>
                  <a:cubicBezTo>
                    <a:pt x="778149" y="442927"/>
                    <a:pt x="782020" y="441469"/>
                    <a:pt x="786399" y="441469"/>
                  </a:cubicBezTo>
                  <a:close/>
                  <a:moveTo>
                    <a:pt x="1620242" y="441467"/>
                  </a:moveTo>
                  <a:lnTo>
                    <a:pt x="1623724" y="441467"/>
                  </a:lnTo>
                  <a:cubicBezTo>
                    <a:pt x="1628970" y="441467"/>
                    <a:pt x="1633166" y="445738"/>
                    <a:pt x="1633166" y="450979"/>
                  </a:cubicBezTo>
                  <a:lnTo>
                    <a:pt x="1633166" y="486963"/>
                  </a:lnTo>
                  <a:cubicBezTo>
                    <a:pt x="1633166" y="492200"/>
                    <a:pt x="1628970" y="496405"/>
                    <a:pt x="1623724" y="496405"/>
                  </a:cubicBezTo>
                  <a:lnTo>
                    <a:pt x="1620242" y="496405"/>
                  </a:lnTo>
                  <a:cubicBezTo>
                    <a:pt x="1614997" y="496405"/>
                    <a:pt x="1610801" y="492200"/>
                    <a:pt x="1610801" y="486963"/>
                  </a:cubicBezTo>
                  <a:lnTo>
                    <a:pt x="1610801" y="450979"/>
                  </a:lnTo>
                  <a:cubicBezTo>
                    <a:pt x="1610801" y="445738"/>
                    <a:pt x="1614997" y="441467"/>
                    <a:pt x="1620242" y="441467"/>
                  </a:cubicBezTo>
                  <a:close/>
                  <a:moveTo>
                    <a:pt x="1743538" y="439483"/>
                  </a:moveTo>
                  <a:lnTo>
                    <a:pt x="1747020" y="439483"/>
                  </a:lnTo>
                  <a:cubicBezTo>
                    <a:pt x="1752254" y="439483"/>
                    <a:pt x="1756461" y="443701"/>
                    <a:pt x="1756461" y="448922"/>
                  </a:cubicBezTo>
                  <a:lnTo>
                    <a:pt x="1756461" y="484965"/>
                  </a:lnTo>
                  <a:cubicBezTo>
                    <a:pt x="1756461" y="490202"/>
                    <a:pt x="1752254" y="494418"/>
                    <a:pt x="1747020" y="494418"/>
                  </a:cubicBezTo>
                  <a:lnTo>
                    <a:pt x="1743538" y="494418"/>
                  </a:lnTo>
                  <a:cubicBezTo>
                    <a:pt x="1738293" y="494418"/>
                    <a:pt x="1734086" y="490202"/>
                    <a:pt x="1734086" y="484965"/>
                  </a:cubicBezTo>
                  <a:lnTo>
                    <a:pt x="1734086" y="448922"/>
                  </a:lnTo>
                  <a:cubicBezTo>
                    <a:pt x="1734086" y="443701"/>
                    <a:pt x="1738293" y="439483"/>
                    <a:pt x="1743538" y="439483"/>
                  </a:cubicBezTo>
                  <a:close/>
                  <a:moveTo>
                    <a:pt x="1118119" y="439483"/>
                  </a:moveTo>
                  <a:cubicBezTo>
                    <a:pt x="1139275" y="439483"/>
                    <a:pt x="1156401" y="456618"/>
                    <a:pt x="1156401" y="477763"/>
                  </a:cubicBezTo>
                  <a:cubicBezTo>
                    <a:pt x="1156401" y="498914"/>
                    <a:pt x="1139275" y="516291"/>
                    <a:pt x="1118119" y="516291"/>
                  </a:cubicBezTo>
                  <a:cubicBezTo>
                    <a:pt x="1096963" y="516291"/>
                    <a:pt x="1079838" y="498914"/>
                    <a:pt x="1079838" y="477763"/>
                  </a:cubicBezTo>
                  <a:cubicBezTo>
                    <a:pt x="1079838" y="456618"/>
                    <a:pt x="1096963" y="439483"/>
                    <a:pt x="1118119" y="439483"/>
                  </a:cubicBezTo>
                  <a:close/>
                  <a:moveTo>
                    <a:pt x="1088850" y="439483"/>
                  </a:moveTo>
                  <a:cubicBezTo>
                    <a:pt x="1089635" y="439563"/>
                    <a:pt x="1090367" y="439942"/>
                    <a:pt x="1090902" y="440601"/>
                  </a:cubicBezTo>
                  <a:cubicBezTo>
                    <a:pt x="1091981" y="441925"/>
                    <a:pt x="1091784" y="443877"/>
                    <a:pt x="1090464" y="444954"/>
                  </a:cubicBezTo>
                  <a:cubicBezTo>
                    <a:pt x="1083100" y="450956"/>
                    <a:pt x="1077921" y="459339"/>
                    <a:pt x="1075926" y="468566"/>
                  </a:cubicBezTo>
                  <a:cubicBezTo>
                    <a:pt x="1075614" y="470013"/>
                    <a:pt x="1074364" y="470988"/>
                    <a:pt x="1072939" y="470988"/>
                  </a:cubicBezTo>
                  <a:cubicBezTo>
                    <a:pt x="1072724" y="470988"/>
                    <a:pt x="1072536" y="470975"/>
                    <a:pt x="1072321" y="470926"/>
                  </a:cubicBezTo>
                  <a:cubicBezTo>
                    <a:pt x="1070654" y="470568"/>
                    <a:pt x="1069593" y="468935"/>
                    <a:pt x="1069957" y="467261"/>
                  </a:cubicBezTo>
                  <a:cubicBezTo>
                    <a:pt x="1072251" y="456691"/>
                    <a:pt x="1078123" y="447055"/>
                    <a:pt x="1086552" y="440168"/>
                  </a:cubicBezTo>
                  <a:cubicBezTo>
                    <a:pt x="1087210" y="439628"/>
                    <a:pt x="1088065" y="439402"/>
                    <a:pt x="1088850" y="439483"/>
                  </a:cubicBezTo>
                  <a:close/>
                  <a:moveTo>
                    <a:pt x="1144161" y="437495"/>
                  </a:moveTo>
                  <a:cubicBezTo>
                    <a:pt x="1144941" y="437391"/>
                    <a:pt x="1145722" y="437604"/>
                    <a:pt x="1146397" y="438116"/>
                  </a:cubicBezTo>
                  <a:cubicBezTo>
                    <a:pt x="1155125" y="444824"/>
                    <a:pt x="1161361" y="454383"/>
                    <a:pt x="1163922" y="465023"/>
                  </a:cubicBezTo>
                  <a:cubicBezTo>
                    <a:pt x="1164321" y="466680"/>
                    <a:pt x="1163330" y="468354"/>
                    <a:pt x="1161685" y="468753"/>
                  </a:cubicBezTo>
                  <a:cubicBezTo>
                    <a:pt x="1161435" y="468818"/>
                    <a:pt x="1161172" y="468818"/>
                    <a:pt x="1160940" y="468818"/>
                  </a:cubicBezTo>
                  <a:cubicBezTo>
                    <a:pt x="1159545" y="468818"/>
                    <a:pt x="1158291" y="467858"/>
                    <a:pt x="1157953" y="466454"/>
                  </a:cubicBezTo>
                  <a:cubicBezTo>
                    <a:pt x="1155721" y="457162"/>
                    <a:pt x="1150279" y="448874"/>
                    <a:pt x="1142670" y="443026"/>
                  </a:cubicBezTo>
                  <a:cubicBezTo>
                    <a:pt x="1141314" y="441992"/>
                    <a:pt x="1141073" y="440013"/>
                    <a:pt x="1142108" y="438676"/>
                  </a:cubicBezTo>
                  <a:cubicBezTo>
                    <a:pt x="1142630" y="437999"/>
                    <a:pt x="1143376" y="437597"/>
                    <a:pt x="1144161" y="437495"/>
                  </a:cubicBezTo>
                  <a:close/>
                  <a:moveTo>
                    <a:pt x="444103" y="435507"/>
                  </a:moveTo>
                  <a:cubicBezTo>
                    <a:pt x="445559" y="435507"/>
                    <a:pt x="446779" y="436674"/>
                    <a:pt x="446779" y="438114"/>
                  </a:cubicBezTo>
                  <a:lnTo>
                    <a:pt x="446779" y="440730"/>
                  </a:lnTo>
                  <a:cubicBezTo>
                    <a:pt x="446779" y="442196"/>
                    <a:pt x="445559" y="443397"/>
                    <a:pt x="444103" y="443397"/>
                  </a:cubicBezTo>
                  <a:cubicBezTo>
                    <a:pt x="442636" y="443397"/>
                    <a:pt x="441499" y="442196"/>
                    <a:pt x="441499" y="440730"/>
                  </a:cubicBezTo>
                  <a:lnTo>
                    <a:pt x="441499" y="438114"/>
                  </a:lnTo>
                  <a:cubicBezTo>
                    <a:pt x="441499" y="436674"/>
                    <a:pt x="442636" y="435507"/>
                    <a:pt x="444103" y="435507"/>
                  </a:cubicBezTo>
                  <a:close/>
                  <a:moveTo>
                    <a:pt x="517682" y="434072"/>
                  </a:moveTo>
                  <a:cubicBezTo>
                    <a:pt x="519138" y="434072"/>
                    <a:pt x="520357" y="435279"/>
                    <a:pt x="520357" y="436745"/>
                  </a:cubicBezTo>
                  <a:lnTo>
                    <a:pt x="520357" y="441596"/>
                  </a:lnTo>
                  <a:cubicBezTo>
                    <a:pt x="520357" y="443042"/>
                    <a:pt x="519138" y="444269"/>
                    <a:pt x="517682" y="444269"/>
                  </a:cubicBezTo>
                  <a:cubicBezTo>
                    <a:pt x="516214" y="444269"/>
                    <a:pt x="515078" y="443042"/>
                    <a:pt x="515078" y="441596"/>
                  </a:cubicBezTo>
                  <a:lnTo>
                    <a:pt x="515078" y="436745"/>
                  </a:lnTo>
                  <a:cubicBezTo>
                    <a:pt x="515078" y="435279"/>
                    <a:pt x="516214" y="434072"/>
                    <a:pt x="517682" y="434072"/>
                  </a:cubicBezTo>
                  <a:close/>
                  <a:moveTo>
                    <a:pt x="609157" y="431522"/>
                  </a:moveTo>
                  <a:cubicBezTo>
                    <a:pt x="610637" y="431522"/>
                    <a:pt x="611832" y="432728"/>
                    <a:pt x="611832" y="434200"/>
                  </a:cubicBezTo>
                  <a:lnTo>
                    <a:pt x="611832" y="436745"/>
                  </a:lnTo>
                  <a:cubicBezTo>
                    <a:pt x="611832" y="438218"/>
                    <a:pt x="610637" y="439419"/>
                    <a:pt x="609157" y="439419"/>
                  </a:cubicBezTo>
                  <a:cubicBezTo>
                    <a:pt x="607713" y="439419"/>
                    <a:pt x="606553" y="438218"/>
                    <a:pt x="606553" y="436745"/>
                  </a:cubicBezTo>
                  <a:lnTo>
                    <a:pt x="606553" y="434200"/>
                  </a:lnTo>
                  <a:cubicBezTo>
                    <a:pt x="606553" y="432728"/>
                    <a:pt x="607713" y="431522"/>
                    <a:pt x="609157" y="431522"/>
                  </a:cubicBezTo>
                  <a:close/>
                  <a:moveTo>
                    <a:pt x="717483" y="426063"/>
                  </a:moveTo>
                  <a:lnTo>
                    <a:pt x="717483" y="509891"/>
                  </a:lnTo>
                  <a:lnTo>
                    <a:pt x="851586" y="509891"/>
                  </a:lnTo>
                  <a:cubicBezTo>
                    <a:pt x="851586" y="509891"/>
                    <a:pt x="851586" y="426063"/>
                    <a:pt x="851586" y="426063"/>
                  </a:cubicBezTo>
                  <a:close/>
                  <a:moveTo>
                    <a:pt x="1982098" y="423908"/>
                  </a:moveTo>
                  <a:cubicBezTo>
                    <a:pt x="1992073" y="437206"/>
                    <a:pt x="1998237" y="457633"/>
                    <a:pt x="1998237" y="480901"/>
                  </a:cubicBezTo>
                  <a:lnTo>
                    <a:pt x="1998237" y="597750"/>
                  </a:lnTo>
                  <a:cubicBezTo>
                    <a:pt x="1998237" y="602994"/>
                    <a:pt x="2002529" y="606792"/>
                    <a:pt x="2007262" y="606792"/>
                  </a:cubicBezTo>
                  <a:lnTo>
                    <a:pt x="2078051" y="606792"/>
                  </a:lnTo>
                  <a:cubicBezTo>
                    <a:pt x="2083274" y="606792"/>
                    <a:pt x="2087076" y="602496"/>
                    <a:pt x="2087076" y="597750"/>
                  </a:cubicBezTo>
                  <a:cubicBezTo>
                    <a:pt x="2087076" y="597750"/>
                    <a:pt x="2087076" y="459530"/>
                    <a:pt x="2087076" y="459530"/>
                  </a:cubicBezTo>
                  <a:cubicBezTo>
                    <a:pt x="2087076" y="440048"/>
                    <a:pt x="2071387" y="423908"/>
                    <a:pt x="2051456" y="423908"/>
                  </a:cubicBezTo>
                  <a:close/>
                  <a:moveTo>
                    <a:pt x="1955032" y="423421"/>
                  </a:moveTo>
                  <a:cubicBezTo>
                    <a:pt x="1943156" y="423421"/>
                    <a:pt x="1930329" y="440048"/>
                    <a:pt x="1926987" y="467114"/>
                  </a:cubicBezTo>
                  <a:lnTo>
                    <a:pt x="1945977" y="467114"/>
                  </a:lnTo>
                  <a:cubicBezTo>
                    <a:pt x="1954082" y="467114"/>
                    <a:pt x="1960245" y="473306"/>
                    <a:pt x="1960245" y="480901"/>
                  </a:cubicBezTo>
                  <a:cubicBezTo>
                    <a:pt x="1960245" y="488508"/>
                    <a:pt x="1953592" y="494669"/>
                    <a:pt x="1945977" y="494669"/>
                  </a:cubicBezTo>
                  <a:lnTo>
                    <a:pt x="1926987" y="494669"/>
                  </a:lnTo>
                  <a:cubicBezTo>
                    <a:pt x="1930329" y="521765"/>
                    <a:pt x="1943156" y="539321"/>
                    <a:pt x="1955032" y="539321"/>
                  </a:cubicBezTo>
                  <a:cubicBezTo>
                    <a:pt x="1968780" y="539321"/>
                    <a:pt x="1983999" y="515574"/>
                    <a:pt x="1983999" y="480901"/>
                  </a:cubicBezTo>
                  <a:cubicBezTo>
                    <a:pt x="1983999" y="446229"/>
                    <a:pt x="1968780" y="423421"/>
                    <a:pt x="1955032" y="423421"/>
                  </a:cubicBezTo>
                  <a:close/>
                  <a:moveTo>
                    <a:pt x="444103" y="420219"/>
                  </a:moveTo>
                  <a:cubicBezTo>
                    <a:pt x="445559" y="420219"/>
                    <a:pt x="446779" y="421348"/>
                    <a:pt x="446779" y="422827"/>
                  </a:cubicBezTo>
                  <a:lnTo>
                    <a:pt x="446779" y="427680"/>
                  </a:lnTo>
                  <a:cubicBezTo>
                    <a:pt x="446779" y="429146"/>
                    <a:pt x="445559" y="430351"/>
                    <a:pt x="444103" y="430351"/>
                  </a:cubicBezTo>
                  <a:cubicBezTo>
                    <a:pt x="442636" y="430351"/>
                    <a:pt x="441499" y="429146"/>
                    <a:pt x="441499" y="427680"/>
                  </a:cubicBezTo>
                  <a:lnTo>
                    <a:pt x="441499" y="422827"/>
                  </a:lnTo>
                  <a:cubicBezTo>
                    <a:pt x="441499" y="421348"/>
                    <a:pt x="442636" y="420219"/>
                    <a:pt x="444103" y="420219"/>
                  </a:cubicBezTo>
                  <a:close/>
                  <a:moveTo>
                    <a:pt x="517682" y="419534"/>
                  </a:moveTo>
                  <a:cubicBezTo>
                    <a:pt x="519138" y="419534"/>
                    <a:pt x="520357" y="420754"/>
                    <a:pt x="520357" y="422213"/>
                  </a:cubicBezTo>
                  <a:lnTo>
                    <a:pt x="520357" y="427051"/>
                  </a:lnTo>
                  <a:cubicBezTo>
                    <a:pt x="520357" y="428517"/>
                    <a:pt x="519138" y="429660"/>
                    <a:pt x="517682" y="429660"/>
                  </a:cubicBezTo>
                  <a:cubicBezTo>
                    <a:pt x="516214" y="429660"/>
                    <a:pt x="515078" y="428517"/>
                    <a:pt x="515078" y="427051"/>
                  </a:cubicBezTo>
                  <a:lnTo>
                    <a:pt x="515078" y="422213"/>
                  </a:lnTo>
                  <a:cubicBezTo>
                    <a:pt x="515078" y="420754"/>
                    <a:pt x="516214" y="419534"/>
                    <a:pt x="517682" y="419534"/>
                  </a:cubicBezTo>
                  <a:close/>
                  <a:moveTo>
                    <a:pt x="609157" y="416235"/>
                  </a:moveTo>
                  <a:cubicBezTo>
                    <a:pt x="610637" y="416235"/>
                    <a:pt x="611832" y="417409"/>
                    <a:pt x="611832" y="418856"/>
                  </a:cubicBezTo>
                  <a:lnTo>
                    <a:pt x="611832" y="423699"/>
                  </a:lnTo>
                  <a:cubicBezTo>
                    <a:pt x="611832" y="425165"/>
                    <a:pt x="610637" y="426369"/>
                    <a:pt x="609157" y="426369"/>
                  </a:cubicBezTo>
                  <a:cubicBezTo>
                    <a:pt x="607713" y="426369"/>
                    <a:pt x="606553" y="425165"/>
                    <a:pt x="606553" y="423699"/>
                  </a:cubicBezTo>
                  <a:lnTo>
                    <a:pt x="606553" y="418856"/>
                  </a:lnTo>
                  <a:cubicBezTo>
                    <a:pt x="606553" y="417409"/>
                    <a:pt x="607713" y="416235"/>
                    <a:pt x="609157" y="416235"/>
                  </a:cubicBezTo>
                  <a:close/>
                  <a:moveTo>
                    <a:pt x="386556" y="413210"/>
                  </a:moveTo>
                  <a:lnTo>
                    <a:pt x="406241" y="413210"/>
                  </a:lnTo>
                  <a:cubicBezTo>
                    <a:pt x="408050" y="413210"/>
                    <a:pt x="409528" y="414670"/>
                    <a:pt x="409528" y="416498"/>
                  </a:cubicBezTo>
                  <a:cubicBezTo>
                    <a:pt x="409528" y="418296"/>
                    <a:pt x="408050" y="419760"/>
                    <a:pt x="406241" y="419760"/>
                  </a:cubicBezTo>
                  <a:lnTo>
                    <a:pt x="386556" y="419760"/>
                  </a:lnTo>
                  <a:cubicBezTo>
                    <a:pt x="384750" y="419760"/>
                    <a:pt x="383283" y="418296"/>
                    <a:pt x="383283" y="416498"/>
                  </a:cubicBezTo>
                  <a:cubicBezTo>
                    <a:pt x="383283" y="414670"/>
                    <a:pt x="384750" y="413210"/>
                    <a:pt x="386556" y="413210"/>
                  </a:cubicBezTo>
                  <a:close/>
                  <a:moveTo>
                    <a:pt x="1955032" y="409652"/>
                  </a:moveTo>
                  <a:lnTo>
                    <a:pt x="2050986" y="409652"/>
                  </a:lnTo>
                  <a:cubicBezTo>
                    <a:pt x="2078511" y="409652"/>
                    <a:pt x="2101314" y="431985"/>
                    <a:pt x="2101314" y="459530"/>
                  </a:cubicBezTo>
                  <a:lnTo>
                    <a:pt x="2101314" y="597282"/>
                  </a:lnTo>
                  <a:cubicBezTo>
                    <a:pt x="2101314" y="609624"/>
                    <a:pt x="2090878" y="620091"/>
                    <a:pt x="2078051" y="620091"/>
                  </a:cubicBezTo>
                  <a:lnTo>
                    <a:pt x="2007262" y="620091"/>
                  </a:lnTo>
                  <a:cubicBezTo>
                    <a:pt x="1994434" y="620091"/>
                    <a:pt x="1983999" y="610112"/>
                    <a:pt x="1983999" y="597282"/>
                  </a:cubicBezTo>
                  <a:lnTo>
                    <a:pt x="1983999" y="553098"/>
                  </a:lnTo>
                  <a:lnTo>
                    <a:pt x="1953592" y="553098"/>
                  </a:lnTo>
                  <a:cubicBezTo>
                    <a:pt x="1933160" y="551682"/>
                    <a:pt x="1916551" y="527438"/>
                    <a:pt x="1912749" y="494210"/>
                  </a:cubicBezTo>
                  <a:lnTo>
                    <a:pt x="1899431" y="494210"/>
                  </a:lnTo>
                  <a:cubicBezTo>
                    <a:pt x="1891356" y="494210"/>
                    <a:pt x="1885193" y="488039"/>
                    <a:pt x="1885193" y="480433"/>
                  </a:cubicBezTo>
                  <a:cubicBezTo>
                    <a:pt x="1885193" y="472828"/>
                    <a:pt x="1891846" y="466655"/>
                    <a:pt x="1899431" y="466655"/>
                  </a:cubicBezTo>
                  <a:lnTo>
                    <a:pt x="1912749" y="466655"/>
                  </a:lnTo>
                  <a:cubicBezTo>
                    <a:pt x="1916551" y="432930"/>
                    <a:pt x="1933650" y="409183"/>
                    <a:pt x="1955032" y="409652"/>
                  </a:cubicBezTo>
                  <a:close/>
                  <a:moveTo>
                    <a:pt x="444103" y="405610"/>
                  </a:moveTo>
                  <a:cubicBezTo>
                    <a:pt x="445559" y="405610"/>
                    <a:pt x="446779" y="406816"/>
                    <a:pt x="446779" y="408282"/>
                  </a:cubicBezTo>
                  <a:lnTo>
                    <a:pt x="446779" y="413134"/>
                  </a:lnTo>
                  <a:cubicBezTo>
                    <a:pt x="446779" y="414579"/>
                    <a:pt x="445559" y="415807"/>
                    <a:pt x="444103" y="415807"/>
                  </a:cubicBezTo>
                  <a:cubicBezTo>
                    <a:pt x="442636" y="415807"/>
                    <a:pt x="441499" y="414579"/>
                    <a:pt x="441499" y="413134"/>
                  </a:cubicBezTo>
                  <a:lnTo>
                    <a:pt x="441499" y="408282"/>
                  </a:lnTo>
                  <a:cubicBezTo>
                    <a:pt x="441499" y="406816"/>
                    <a:pt x="442636" y="405610"/>
                    <a:pt x="444103" y="405610"/>
                  </a:cubicBezTo>
                  <a:close/>
                  <a:moveTo>
                    <a:pt x="517682" y="404995"/>
                  </a:moveTo>
                  <a:cubicBezTo>
                    <a:pt x="519138" y="404995"/>
                    <a:pt x="520357" y="406122"/>
                    <a:pt x="520357" y="407600"/>
                  </a:cubicBezTo>
                  <a:lnTo>
                    <a:pt x="520357" y="412455"/>
                  </a:lnTo>
                  <a:cubicBezTo>
                    <a:pt x="520357" y="413921"/>
                    <a:pt x="519138" y="415128"/>
                    <a:pt x="517682" y="415128"/>
                  </a:cubicBezTo>
                  <a:cubicBezTo>
                    <a:pt x="516214" y="415128"/>
                    <a:pt x="515078" y="413921"/>
                    <a:pt x="515078" y="412455"/>
                  </a:cubicBezTo>
                  <a:lnTo>
                    <a:pt x="515078" y="407600"/>
                  </a:lnTo>
                  <a:cubicBezTo>
                    <a:pt x="515078" y="406122"/>
                    <a:pt x="516214" y="404995"/>
                    <a:pt x="517682" y="404995"/>
                  </a:cubicBezTo>
                  <a:close/>
                  <a:moveTo>
                    <a:pt x="2490801" y="403897"/>
                  </a:moveTo>
                  <a:lnTo>
                    <a:pt x="2499633" y="447397"/>
                  </a:lnTo>
                  <a:cubicBezTo>
                    <a:pt x="2499633" y="447397"/>
                    <a:pt x="2456180" y="438573"/>
                    <a:pt x="2456180" y="438573"/>
                  </a:cubicBezTo>
                  <a:cubicBezTo>
                    <a:pt x="2458427" y="437534"/>
                    <a:pt x="2460525" y="436146"/>
                    <a:pt x="2462323" y="434355"/>
                  </a:cubicBezTo>
                  <a:cubicBezTo>
                    <a:pt x="2464434" y="432243"/>
                    <a:pt x="2466045" y="429739"/>
                    <a:pt x="2467117" y="426986"/>
                  </a:cubicBezTo>
                  <a:cubicBezTo>
                    <a:pt x="2469845" y="425934"/>
                    <a:pt x="2472342" y="424321"/>
                    <a:pt x="2474460" y="422226"/>
                  </a:cubicBezTo>
                  <a:cubicBezTo>
                    <a:pt x="2476559" y="420110"/>
                    <a:pt x="2478176" y="417611"/>
                    <a:pt x="2479235" y="414870"/>
                  </a:cubicBezTo>
                  <a:cubicBezTo>
                    <a:pt x="2481963" y="413811"/>
                    <a:pt x="2484473" y="412196"/>
                    <a:pt x="2486578" y="410091"/>
                  </a:cubicBezTo>
                  <a:cubicBezTo>
                    <a:pt x="2488414" y="408250"/>
                    <a:pt x="2489781" y="406132"/>
                    <a:pt x="2490801" y="403897"/>
                  </a:cubicBezTo>
                  <a:close/>
                  <a:moveTo>
                    <a:pt x="609157" y="401639"/>
                  </a:moveTo>
                  <a:cubicBezTo>
                    <a:pt x="610637" y="401639"/>
                    <a:pt x="611832" y="402864"/>
                    <a:pt x="611832" y="404311"/>
                  </a:cubicBezTo>
                  <a:lnTo>
                    <a:pt x="611832" y="409154"/>
                  </a:lnTo>
                  <a:cubicBezTo>
                    <a:pt x="611832" y="410630"/>
                    <a:pt x="610637" y="411765"/>
                    <a:pt x="609157" y="411772"/>
                  </a:cubicBezTo>
                  <a:cubicBezTo>
                    <a:pt x="607713" y="411772"/>
                    <a:pt x="606553" y="410630"/>
                    <a:pt x="606553" y="409154"/>
                  </a:cubicBezTo>
                  <a:lnTo>
                    <a:pt x="606553" y="404311"/>
                  </a:lnTo>
                  <a:cubicBezTo>
                    <a:pt x="606553" y="402864"/>
                    <a:pt x="607713" y="401639"/>
                    <a:pt x="609157" y="401639"/>
                  </a:cubicBezTo>
                  <a:close/>
                  <a:moveTo>
                    <a:pt x="444103" y="391077"/>
                  </a:moveTo>
                  <a:cubicBezTo>
                    <a:pt x="445559" y="391077"/>
                    <a:pt x="446779" y="392240"/>
                    <a:pt x="446779" y="393686"/>
                  </a:cubicBezTo>
                  <a:lnTo>
                    <a:pt x="446779" y="398524"/>
                  </a:lnTo>
                  <a:cubicBezTo>
                    <a:pt x="446779" y="400003"/>
                    <a:pt x="445559" y="401198"/>
                    <a:pt x="444103" y="401198"/>
                  </a:cubicBezTo>
                  <a:cubicBezTo>
                    <a:pt x="442636" y="401198"/>
                    <a:pt x="441499" y="400003"/>
                    <a:pt x="441499" y="398524"/>
                  </a:cubicBezTo>
                  <a:lnTo>
                    <a:pt x="441499" y="393686"/>
                  </a:lnTo>
                  <a:cubicBezTo>
                    <a:pt x="441499" y="392240"/>
                    <a:pt x="442636" y="391077"/>
                    <a:pt x="444103" y="391077"/>
                  </a:cubicBezTo>
                  <a:close/>
                  <a:moveTo>
                    <a:pt x="517682" y="390394"/>
                  </a:moveTo>
                  <a:cubicBezTo>
                    <a:pt x="519138" y="390394"/>
                    <a:pt x="520357" y="391588"/>
                    <a:pt x="520357" y="393066"/>
                  </a:cubicBezTo>
                  <a:lnTo>
                    <a:pt x="520357" y="397910"/>
                  </a:lnTo>
                  <a:cubicBezTo>
                    <a:pt x="520357" y="399357"/>
                    <a:pt x="519138" y="400515"/>
                    <a:pt x="517682" y="400515"/>
                  </a:cubicBezTo>
                  <a:cubicBezTo>
                    <a:pt x="516214" y="400515"/>
                    <a:pt x="515078" y="399357"/>
                    <a:pt x="515078" y="397910"/>
                  </a:cubicBezTo>
                  <a:lnTo>
                    <a:pt x="515078" y="393066"/>
                  </a:lnTo>
                  <a:cubicBezTo>
                    <a:pt x="515078" y="391588"/>
                    <a:pt x="516214" y="390394"/>
                    <a:pt x="517682" y="390394"/>
                  </a:cubicBezTo>
                  <a:close/>
                  <a:moveTo>
                    <a:pt x="609157" y="387030"/>
                  </a:moveTo>
                  <a:cubicBezTo>
                    <a:pt x="610637" y="387030"/>
                    <a:pt x="611832" y="388235"/>
                    <a:pt x="611832" y="389701"/>
                  </a:cubicBezTo>
                  <a:lnTo>
                    <a:pt x="611832" y="394554"/>
                  </a:lnTo>
                  <a:cubicBezTo>
                    <a:pt x="611832" y="396000"/>
                    <a:pt x="610637" y="397226"/>
                    <a:pt x="609157" y="397226"/>
                  </a:cubicBezTo>
                  <a:cubicBezTo>
                    <a:pt x="607713" y="397226"/>
                    <a:pt x="606553" y="396000"/>
                    <a:pt x="606553" y="394554"/>
                  </a:cubicBezTo>
                  <a:lnTo>
                    <a:pt x="606553" y="389701"/>
                  </a:lnTo>
                  <a:cubicBezTo>
                    <a:pt x="606553" y="388235"/>
                    <a:pt x="607713" y="387030"/>
                    <a:pt x="609157" y="387030"/>
                  </a:cubicBezTo>
                  <a:close/>
                  <a:moveTo>
                    <a:pt x="444103" y="376468"/>
                  </a:moveTo>
                  <a:cubicBezTo>
                    <a:pt x="445559" y="376468"/>
                    <a:pt x="446779" y="377659"/>
                    <a:pt x="446779" y="379138"/>
                  </a:cubicBezTo>
                  <a:lnTo>
                    <a:pt x="446779" y="383992"/>
                  </a:lnTo>
                  <a:cubicBezTo>
                    <a:pt x="446779" y="385439"/>
                    <a:pt x="445559" y="386601"/>
                    <a:pt x="444103" y="386601"/>
                  </a:cubicBezTo>
                  <a:cubicBezTo>
                    <a:pt x="442636" y="386601"/>
                    <a:pt x="441499" y="385439"/>
                    <a:pt x="441499" y="383992"/>
                  </a:cubicBezTo>
                  <a:lnTo>
                    <a:pt x="441499" y="379138"/>
                  </a:lnTo>
                  <a:cubicBezTo>
                    <a:pt x="441499" y="377659"/>
                    <a:pt x="442636" y="376468"/>
                    <a:pt x="444103" y="376468"/>
                  </a:cubicBezTo>
                  <a:close/>
                  <a:moveTo>
                    <a:pt x="517682" y="375849"/>
                  </a:moveTo>
                  <a:cubicBezTo>
                    <a:pt x="519138" y="375849"/>
                    <a:pt x="520357" y="377011"/>
                    <a:pt x="520357" y="378458"/>
                  </a:cubicBezTo>
                  <a:lnTo>
                    <a:pt x="520357" y="383301"/>
                  </a:lnTo>
                  <a:cubicBezTo>
                    <a:pt x="520357" y="384776"/>
                    <a:pt x="519138" y="385975"/>
                    <a:pt x="517682" y="385975"/>
                  </a:cubicBezTo>
                  <a:cubicBezTo>
                    <a:pt x="516214" y="385975"/>
                    <a:pt x="515078" y="384776"/>
                    <a:pt x="515078" y="383301"/>
                  </a:cubicBezTo>
                  <a:lnTo>
                    <a:pt x="515078" y="378458"/>
                  </a:lnTo>
                  <a:cubicBezTo>
                    <a:pt x="515078" y="377011"/>
                    <a:pt x="516214" y="375849"/>
                    <a:pt x="517682" y="375849"/>
                  </a:cubicBezTo>
                  <a:close/>
                  <a:moveTo>
                    <a:pt x="2087440" y="373859"/>
                  </a:moveTo>
                  <a:cubicBezTo>
                    <a:pt x="2089325" y="373859"/>
                    <a:pt x="2090858" y="375390"/>
                    <a:pt x="2090858" y="377277"/>
                  </a:cubicBezTo>
                  <a:cubicBezTo>
                    <a:pt x="2090858" y="379164"/>
                    <a:pt x="2089325" y="380634"/>
                    <a:pt x="2087440" y="380634"/>
                  </a:cubicBezTo>
                  <a:cubicBezTo>
                    <a:pt x="2085555" y="380634"/>
                    <a:pt x="2084084" y="379164"/>
                    <a:pt x="2084084" y="377277"/>
                  </a:cubicBezTo>
                  <a:cubicBezTo>
                    <a:pt x="2084084" y="375390"/>
                    <a:pt x="2085555" y="373859"/>
                    <a:pt x="2087440" y="373859"/>
                  </a:cubicBezTo>
                  <a:close/>
                  <a:moveTo>
                    <a:pt x="340641" y="373847"/>
                  </a:moveTo>
                  <a:lnTo>
                    <a:pt x="393126" y="373847"/>
                  </a:lnTo>
                  <a:cubicBezTo>
                    <a:pt x="396741" y="373847"/>
                    <a:pt x="399682" y="376785"/>
                    <a:pt x="399682" y="380401"/>
                  </a:cubicBezTo>
                  <a:lnTo>
                    <a:pt x="399682" y="409929"/>
                  </a:lnTo>
                  <a:lnTo>
                    <a:pt x="393126" y="409929"/>
                  </a:lnTo>
                  <a:lnTo>
                    <a:pt x="393126" y="380401"/>
                  </a:lnTo>
                  <a:lnTo>
                    <a:pt x="340641" y="380401"/>
                  </a:lnTo>
                  <a:lnTo>
                    <a:pt x="340641" y="413210"/>
                  </a:lnTo>
                  <a:cubicBezTo>
                    <a:pt x="340641" y="413210"/>
                    <a:pt x="380915" y="413210"/>
                    <a:pt x="380915" y="413210"/>
                  </a:cubicBezTo>
                  <a:cubicBezTo>
                    <a:pt x="380349" y="414173"/>
                    <a:pt x="380000" y="415290"/>
                    <a:pt x="380000" y="416498"/>
                  </a:cubicBezTo>
                  <a:cubicBezTo>
                    <a:pt x="380000" y="417687"/>
                    <a:pt x="380349" y="418793"/>
                    <a:pt x="380915" y="419760"/>
                  </a:cubicBezTo>
                  <a:lnTo>
                    <a:pt x="363494" y="419760"/>
                  </a:lnTo>
                  <a:lnTo>
                    <a:pt x="354556" y="431030"/>
                  </a:lnTo>
                  <a:cubicBezTo>
                    <a:pt x="352310" y="433864"/>
                    <a:pt x="350483" y="433231"/>
                    <a:pt x="350483" y="429602"/>
                  </a:cubicBezTo>
                  <a:cubicBezTo>
                    <a:pt x="350483" y="429602"/>
                    <a:pt x="350483" y="419760"/>
                    <a:pt x="350483" y="419760"/>
                  </a:cubicBezTo>
                  <a:lnTo>
                    <a:pt x="340641" y="419760"/>
                  </a:lnTo>
                  <a:cubicBezTo>
                    <a:pt x="337022" y="419760"/>
                    <a:pt x="334085" y="416829"/>
                    <a:pt x="334085" y="413210"/>
                  </a:cubicBezTo>
                  <a:lnTo>
                    <a:pt x="334085" y="380401"/>
                  </a:lnTo>
                  <a:cubicBezTo>
                    <a:pt x="334085" y="376785"/>
                    <a:pt x="337022" y="373847"/>
                    <a:pt x="340641" y="373847"/>
                  </a:cubicBezTo>
                  <a:close/>
                  <a:moveTo>
                    <a:pt x="609157" y="372496"/>
                  </a:moveTo>
                  <a:cubicBezTo>
                    <a:pt x="610637" y="372496"/>
                    <a:pt x="611832" y="373665"/>
                    <a:pt x="611832" y="375105"/>
                  </a:cubicBezTo>
                  <a:lnTo>
                    <a:pt x="611832" y="379945"/>
                  </a:lnTo>
                  <a:cubicBezTo>
                    <a:pt x="611832" y="381435"/>
                    <a:pt x="610637" y="382617"/>
                    <a:pt x="609157" y="382617"/>
                  </a:cubicBezTo>
                  <a:cubicBezTo>
                    <a:pt x="607713" y="382617"/>
                    <a:pt x="606553" y="381435"/>
                    <a:pt x="606553" y="379945"/>
                  </a:cubicBezTo>
                  <a:lnTo>
                    <a:pt x="606553" y="375105"/>
                  </a:lnTo>
                  <a:cubicBezTo>
                    <a:pt x="606553" y="373665"/>
                    <a:pt x="607713" y="372496"/>
                    <a:pt x="609157" y="372496"/>
                  </a:cubicBezTo>
                  <a:close/>
                  <a:moveTo>
                    <a:pt x="2075569" y="363919"/>
                  </a:moveTo>
                  <a:cubicBezTo>
                    <a:pt x="2078573" y="363919"/>
                    <a:pt x="2080979" y="366322"/>
                    <a:pt x="2080979" y="369325"/>
                  </a:cubicBezTo>
                  <a:cubicBezTo>
                    <a:pt x="2080979" y="372322"/>
                    <a:pt x="2078573" y="374792"/>
                    <a:pt x="2075569" y="374792"/>
                  </a:cubicBezTo>
                  <a:cubicBezTo>
                    <a:pt x="2072577" y="374792"/>
                    <a:pt x="2070165" y="372322"/>
                    <a:pt x="2070165" y="369325"/>
                  </a:cubicBezTo>
                  <a:cubicBezTo>
                    <a:pt x="2070165" y="366322"/>
                    <a:pt x="2072577" y="363919"/>
                    <a:pt x="2075569" y="363919"/>
                  </a:cubicBezTo>
                  <a:close/>
                  <a:moveTo>
                    <a:pt x="2056740" y="363919"/>
                  </a:moveTo>
                  <a:cubicBezTo>
                    <a:pt x="2062529" y="363919"/>
                    <a:pt x="2067245" y="368634"/>
                    <a:pt x="2067245" y="374421"/>
                  </a:cubicBezTo>
                  <a:cubicBezTo>
                    <a:pt x="2067245" y="380201"/>
                    <a:pt x="2062529" y="384858"/>
                    <a:pt x="2056740" y="384858"/>
                  </a:cubicBezTo>
                  <a:cubicBezTo>
                    <a:pt x="2050955" y="384858"/>
                    <a:pt x="2046301" y="380201"/>
                    <a:pt x="2046301" y="374421"/>
                  </a:cubicBezTo>
                  <a:cubicBezTo>
                    <a:pt x="2046301" y="368634"/>
                    <a:pt x="2050955" y="363919"/>
                    <a:pt x="2056740" y="363919"/>
                  </a:cubicBezTo>
                  <a:close/>
                  <a:moveTo>
                    <a:pt x="517682" y="361920"/>
                  </a:moveTo>
                  <a:cubicBezTo>
                    <a:pt x="519138" y="361920"/>
                    <a:pt x="520357" y="363126"/>
                    <a:pt x="520357" y="364597"/>
                  </a:cubicBezTo>
                  <a:lnTo>
                    <a:pt x="520357" y="367151"/>
                  </a:lnTo>
                  <a:cubicBezTo>
                    <a:pt x="520357" y="368597"/>
                    <a:pt x="519138" y="369822"/>
                    <a:pt x="517682" y="369822"/>
                  </a:cubicBezTo>
                  <a:cubicBezTo>
                    <a:pt x="516214" y="369822"/>
                    <a:pt x="515078" y="368597"/>
                    <a:pt x="515078" y="367151"/>
                  </a:cubicBezTo>
                  <a:lnTo>
                    <a:pt x="515078" y="364597"/>
                  </a:lnTo>
                  <a:cubicBezTo>
                    <a:pt x="515078" y="363126"/>
                    <a:pt x="516214" y="361920"/>
                    <a:pt x="517682" y="361920"/>
                  </a:cubicBezTo>
                  <a:close/>
                  <a:moveTo>
                    <a:pt x="444103" y="361920"/>
                  </a:moveTo>
                  <a:cubicBezTo>
                    <a:pt x="445559" y="361920"/>
                    <a:pt x="446779" y="363126"/>
                    <a:pt x="446779" y="364597"/>
                  </a:cubicBezTo>
                  <a:lnTo>
                    <a:pt x="446779" y="369448"/>
                  </a:lnTo>
                  <a:cubicBezTo>
                    <a:pt x="446779" y="370894"/>
                    <a:pt x="445559" y="372053"/>
                    <a:pt x="444103" y="372053"/>
                  </a:cubicBezTo>
                  <a:cubicBezTo>
                    <a:pt x="442636" y="372053"/>
                    <a:pt x="441499" y="370894"/>
                    <a:pt x="441499" y="369448"/>
                  </a:cubicBezTo>
                  <a:lnTo>
                    <a:pt x="441499" y="364597"/>
                  </a:lnTo>
                  <a:cubicBezTo>
                    <a:pt x="441499" y="363126"/>
                    <a:pt x="442636" y="361920"/>
                    <a:pt x="444103" y="361920"/>
                  </a:cubicBezTo>
                  <a:close/>
                  <a:moveTo>
                    <a:pt x="2392611" y="358567"/>
                  </a:moveTo>
                  <a:lnTo>
                    <a:pt x="2386552" y="364625"/>
                  </a:lnTo>
                  <a:lnTo>
                    <a:pt x="2444145" y="422226"/>
                  </a:lnTo>
                  <a:cubicBezTo>
                    <a:pt x="2445808" y="423893"/>
                    <a:pt x="2448523" y="423899"/>
                    <a:pt x="2450204" y="422226"/>
                  </a:cubicBezTo>
                  <a:cubicBezTo>
                    <a:pt x="2451880" y="420549"/>
                    <a:pt x="2451880" y="417835"/>
                    <a:pt x="2450204" y="416157"/>
                  </a:cubicBezTo>
                  <a:close/>
                  <a:moveTo>
                    <a:pt x="609157" y="357952"/>
                  </a:moveTo>
                  <a:cubicBezTo>
                    <a:pt x="610637" y="357952"/>
                    <a:pt x="611832" y="359114"/>
                    <a:pt x="611832" y="360561"/>
                  </a:cubicBezTo>
                  <a:lnTo>
                    <a:pt x="611832" y="365412"/>
                  </a:lnTo>
                  <a:cubicBezTo>
                    <a:pt x="611832" y="366866"/>
                    <a:pt x="610637" y="368085"/>
                    <a:pt x="609157" y="368085"/>
                  </a:cubicBezTo>
                  <a:cubicBezTo>
                    <a:pt x="607713" y="368085"/>
                    <a:pt x="606553" y="366866"/>
                    <a:pt x="606553" y="365412"/>
                  </a:cubicBezTo>
                  <a:lnTo>
                    <a:pt x="606553" y="360561"/>
                  </a:lnTo>
                  <a:cubicBezTo>
                    <a:pt x="606553" y="359114"/>
                    <a:pt x="607713" y="357952"/>
                    <a:pt x="609157" y="357952"/>
                  </a:cubicBezTo>
                  <a:close/>
                  <a:moveTo>
                    <a:pt x="2251251" y="355958"/>
                  </a:moveTo>
                  <a:cubicBezTo>
                    <a:pt x="2259030" y="355958"/>
                    <a:pt x="2265361" y="362253"/>
                    <a:pt x="2265361" y="370075"/>
                  </a:cubicBezTo>
                  <a:cubicBezTo>
                    <a:pt x="2265361" y="374363"/>
                    <a:pt x="2263076" y="382526"/>
                    <a:pt x="2260697" y="388965"/>
                  </a:cubicBezTo>
                  <a:cubicBezTo>
                    <a:pt x="2258764" y="394164"/>
                    <a:pt x="2256753" y="398227"/>
                    <a:pt x="2251251" y="398227"/>
                  </a:cubicBezTo>
                  <a:cubicBezTo>
                    <a:pt x="2246157" y="398227"/>
                    <a:pt x="2243762" y="394132"/>
                    <a:pt x="2241868" y="388902"/>
                  </a:cubicBezTo>
                  <a:cubicBezTo>
                    <a:pt x="2239497" y="382462"/>
                    <a:pt x="2237204" y="374331"/>
                    <a:pt x="2237204" y="370075"/>
                  </a:cubicBezTo>
                  <a:cubicBezTo>
                    <a:pt x="2237204" y="362253"/>
                    <a:pt x="2243481" y="355958"/>
                    <a:pt x="2251251" y="355958"/>
                  </a:cubicBezTo>
                  <a:close/>
                  <a:moveTo>
                    <a:pt x="444103" y="349997"/>
                  </a:moveTo>
                  <a:cubicBezTo>
                    <a:pt x="445559" y="349997"/>
                    <a:pt x="446779" y="351159"/>
                    <a:pt x="446779" y="352611"/>
                  </a:cubicBezTo>
                  <a:lnTo>
                    <a:pt x="446779" y="355213"/>
                  </a:lnTo>
                  <a:cubicBezTo>
                    <a:pt x="446779" y="356686"/>
                    <a:pt x="445559" y="357822"/>
                    <a:pt x="444103" y="357822"/>
                  </a:cubicBezTo>
                  <a:cubicBezTo>
                    <a:pt x="442636" y="357822"/>
                    <a:pt x="441499" y="356686"/>
                    <a:pt x="441499" y="355213"/>
                  </a:cubicBezTo>
                  <a:lnTo>
                    <a:pt x="441499" y="352611"/>
                  </a:lnTo>
                  <a:cubicBezTo>
                    <a:pt x="441499" y="351159"/>
                    <a:pt x="442636" y="349997"/>
                    <a:pt x="444103" y="349997"/>
                  </a:cubicBezTo>
                  <a:close/>
                  <a:moveTo>
                    <a:pt x="1279569" y="349995"/>
                  </a:moveTo>
                  <a:cubicBezTo>
                    <a:pt x="1283828" y="349995"/>
                    <a:pt x="1287529" y="351490"/>
                    <a:pt x="1290878" y="354471"/>
                  </a:cubicBezTo>
                  <a:cubicBezTo>
                    <a:pt x="1294235" y="357441"/>
                    <a:pt x="1296041" y="360948"/>
                    <a:pt x="1296041" y="364974"/>
                  </a:cubicBezTo>
                  <a:cubicBezTo>
                    <a:pt x="1296041" y="370817"/>
                    <a:pt x="1292005" y="376069"/>
                    <a:pt x="1286283" y="378645"/>
                  </a:cubicBezTo>
                  <a:lnTo>
                    <a:pt x="1286283" y="406610"/>
                  </a:lnTo>
                  <a:cubicBezTo>
                    <a:pt x="1286283" y="410375"/>
                    <a:pt x="1283351" y="413568"/>
                    <a:pt x="1279569" y="413568"/>
                  </a:cubicBezTo>
                  <a:cubicBezTo>
                    <a:pt x="1275801" y="413568"/>
                    <a:pt x="1272735" y="410375"/>
                    <a:pt x="1272735" y="406610"/>
                  </a:cubicBezTo>
                  <a:lnTo>
                    <a:pt x="1272735" y="378645"/>
                  </a:lnTo>
                  <a:cubicBezTo>
                    <a:pt x="1266998" y="376069"/>
                    <a:pt x="1262791" y="370694"/>
                    <a:pt x="1262791" y="364974"/>
                  </a:cubicBezTo>
                  <a:cubicBezTo>
                    <a:pt x="1262791" y="360948"/>
                    <a:pt x="1264507" y="357422"/>
                    <a:pt x="1267886" y="354471"/>
                  </a:cubicBezTo>
                  <a:cubicBezTo>
                    <a:pt x="1271325" y="351463"/>
                    <a:pt x="1275175" y="349995"/>
                    <a:pt x="1279569" y="349995"/>
                  </a:cubicBezTo>
                  <a:close/>
                  <a:moveTo>
                    <a:pt x="2404736" y="346443"/>
                  </a:moveTo>
                  <a:lnTo>
                    <a:pt x="2398677" y="352507"/>
                  </a:lnTo>
                  <a:lnTo>
                    <a:pt x="2456263" y="410098"/>
                  </a:lnTo>
                  <a:cubicBezTo>
                    <a:pt x="2457939" y="411753"/>
                    <a:pt x="2460654" y="411773"/>
                    <a:pt x="2462323" y="410104"/>
                  </a:cubicBezTo>
                  <a:cubicBezTo>
                    <a:pt x="2463998" y="408418"/>
                    <a:pt x="2463998" y="405688"/>
                    <a:pt x="2462323" y="404033"/>
                  </a:cubicBezTo>
                  <a:close/>
                  <a:moveTo>
                    <a:pt x="609157" y="346018"/>
                  </a:moveTo>
                  <a:cubicBezTo>
                    <a:pt x="610637" y="346018"/>
                    <a:pt x="611832" y="347219"/>
                    <a:pt x="611832" y="348686"/>
                  </a:cubicBezTo>
                  <a:lnTo>
                    <a:pt x="611832" y="351235"/>
                  </a:lnTo>
                  <a:cubicBezTo>
                    <a:pt x="611832" y="352682"/>
                    <a:pt x="610637" y="353909"/>
                    <a:pt x="609157" y="353909"/>
                  </a:cubicBezTo>
                  <a:cubicBezTo>
                    <a:pt x="607713" y="353909"/>
                    <a:pt x="606553" y="352682"/>
                    <a:pt x="606553" y="351235"/>
                  </a:cubicBezTo>
                  <a:lnTo>
                    <a:pt x="606553" y="348686"/>
                  </a:lnTo>
                  <a:cubicBezTo>
                    <a:pt x="606553" y="347219"/>
                    <a:pt x="607713" y="346018"/>
                    <a:pt x="609157" y="346018"/>
                  </a:cubicBezTo>
                  <a:close/>
                  <a:moveTo>
                    <a:pt x="2032875" y="342413"/>
                  </a:moveTo>
                  <a:lnTo>
                    <a:pt x="2021440" y="367956"/>
                  </a:lnTo>
                  <a:cubicBezTo>
                    <a:pt x="2021804" y="368358"/>
                    <a:pt x="2026100" y="374421"/>
                    <a:pt x="2026100" y="374421"/>
                  </a:cubicBezTo>
                  <a:cubicBezTo>
                    <a:pt x="2026100" y="374421"/>
                    <a:pt x="2038782" y="347076"/>
                    <a:pt x="2038782" y="347076"/>
                  </a:cubicBezTo>
                  <a:close/>
                  <a:moveTo>
                    <a:pt x="573244" y="337446"/>
                  </a:moveTo>
                  <a:cubicBezTo>
                    <a:pt x="559371" y="350847"/>
                    <a:pt x="533034" y="359813"/>
                    <a:pt x="501714" y="359813"/>
                  </a:cubicBezTo>
                  <a:cubicBezTo>
                    <a:pt x="470452" y="359813"/>
                    <a:pt x="444080" y="350867"/>
                    <a:pt x="430183" y="337506"/>
                  </a:cubicBezTo>
                  <a:lnTo>
                    <a:pt x="430183" y="427550"/>
                  </a:lnTo>
                  <a:cubicBezTo>
                    <a:pt x="430183" y="445496"/>
                    <a:pt x="462936" y="460615"/>
                    <a:pt x="501714" y="460615"/>
                  </a:cubicBezTo>
                  <a:cubicBezTo>
                    <a:pt x="540480" y="460615"/>
                    <a:pt x="573244" y="445496"/>
                    <a:pt x="573244" y="427550"/>
                  </a:cubicBezTo>
                  <a:close/>
                  <a:moveTo>
                    <a:pt x="1212644" y="336574"/>
                  </a:moveTo>
                  <a:lnTo>
                    <a:pt x="1212644" y="420405"/>
                  </a:lnTo>
                  <a:lnTo>
                    <a:pt x="1346747" y="420405"/>
                  </a:lnTo>
                  <a:cubicBezTo>
                    <a:pt x="1346747" y="420405"/>
                    <a:pt x="1346747" y="336574"/>
                    <a:pt x="1346747" y="336574"/>
                  </a:cubicBezTo>
                  <a:close/>
                  <a:moveTo>
                    <a:pt x="2416860" y="334316"/>
                  </a:moveTo>
                  <a:lnTo>
                    <a:pt x="2410795" y="340378"/>
                  </a:lnTo>
                  <a:lnTo>
                    <a:pt x="2468388" y="397975"/>
                  </a:lnTo>
                  <a:cubicBezTo>
                    <a:pt x="2470083" y="399641"/>
                    <a:pt x="2472772" y="399641"/>
                    <a:pt x="2474447" y="397975"/>
                  </a:cubicBezTo>
                  <a:cubicBezTo>
                    <a:pt x="2476122" y="396298"/>
                    <a:pt x="2476142" y="393577"/>
                    <a:pt x="2474447" y="391912"/>
                  </a:cubicBezTo>
                  <a:close/>
                  <a:moveTo>
                    <a:pt x="784594" y="330109"/>
                  </a:moveTo>
                  <a:cubicBezTo>
                    <a:pt x="798977" y="330109"/>
                    <a:pt x="810764" y="334824"/>
                    <a:pt x="820142" y="344460"/>
                  </a:cubicBezTo>
                  <a:cubicBezTo>
                    <a:pt x="829534" y="354090"/>
                    <a:pt x="834189" y="366257"/>
                    <a:pt x="834189" y="381002"/>
                  </a:cubicBezTo>
                  <a:lnTo>
                    <a:pt x="834189" y="412694"/>
                  </a:lnTo>
                  <a:lnTo>
                    <a:pt x="858420" y="412694"/>
                  </a:lnTo>
                  <a:cubicBezTo>
                    <a:pt x="861948" y="412694"/>
                    <a:pt x="865134" y="415619"/>
                    <a:pt x="865134" y="419404"/>
                  </a:cubicBezTo>
                  <a:lnTo>
                    <a:pt x="865134" y="516727"/>
                  </a:lnTo>
                  <a:cubicBezTo>
                    <a:pt x="865134" y="520512"/>
                    <a:pt x="861948" y="523375"/>
                    <a:pt x="858420" y="523375"/>
                  </a:cubicBezTo>
                  <a:lnTo>
                    <a:pt x="710642" y="523375"/>
                  </a:lnTo>
                  <a:cubicBezTo>
                    <a:pt x="706859" y="523375"/>
                    <a:pt x="703995" y="520512"/>
                    <a:pt x="703995" y="516727"/>
                  </a:cubicBezTo>
                  <a:lnTo>
                    <a:pt x="703995" y="419404"/>
                  </a:lnTo>
                  <a:cubicBezTo>
                    <a:pt x="703995" y="415619"/>
                    <a:pt x="706859" y="412694"/>
                    <a:pt x="710642" y="412694"/>
                  </a:cubicBezTo>
                  <a:lnTo>
                    <a:pt x="820641" y="412694"/>
                  </a:lnTo>
                  <a:lnTo>
                    <a:pt x="820641" y="381002"/>
                  </a:lnTo>
                  <a:cubicBezTo>
                    <a:pt x="820641" y="370042"/>
                    <a:pt x="817255" y="361066"/>
                    <a:pt x="810570" y="354096"/>
                  </a:cubicBezTo>
                  <a:cubicBezTo>
                    <a:pt x="803849" y="347063"/>
                    <a:pt x="795202" y="343466"/>
                    <a:pt x="784594" y="343466"/>
                  </a:cubicBezTo>
                  <a:cubicBezTo>
                    <a:pt x="773889" y="343466"/>
                    <a:pt x="765123" y="347027"/>
                    <a:pt x="758312" y="354096"/>
                  </a:cubicBezTo>
                  <a:cubicBezTo>
                    <a:pt x="751613" y="361032"/>
                    <a:pt x="748181" y="370042"/>
                    <a:pt x="748181" y="381002"/>
                  </a:cubicBezTo>
                  <a:lnTo>
                    <a:pt x="748181" y="388707"/>
                  </a:lnTo>
                  <a:cubicBezTo>
                    <a:pt x="748181" y="392481"/>
                    <a:pt x="745130" y="395424"/>
                    <a:pt x="741340" y="395424"/>
                  </a:cubicBezTo>
                  <a:cubicBezTo>
                    <a:pt x="737819" y="395424"/>
                    <a:pt x="734634" y="392481"/>
                    <a:pt x="734634" y="388707"/>
                  </a:cubicBezTo>
                  <a:lnTo>
                    <a:pt x="734634" y="381002"/>
                  </a:lnTo>
                  <a:cubicBezTo>
                    <a:pt x="734634" y="366257"/>
                    <a:pt x="739423" y="354090"/>
                    <a:pt x="748800" y="344460"/>
                  </a:cubicBezTo>
                  <a:cubicBezTo>
                    <a:pt x="758178" y="334824"/>
                    <a:pt x="770107" y="330109"/>
                    <a:pt x="784594" y="330109"/>
                  </a:cubicBezTo>
                  <a:close/>
                  <a:moveTo>
                    <a:pt x="1649221" y="329337"/>
                  </a:moveTo>
                  <a:cubicBezTo>
                    <a:pt x="1649090" y="329337"/>
                    <a:pt x="1648997" y="329450"/>
                    <a:pt x="1648997" y="329563"/>
                  </a:cubicBezTo>
                  <a:lnTo>
                    <a:pt x="1648997" y="343932"/>
                  </a:lnTo>
                  <a:cubicBezTo>
                    <a:pt x="1648997" y="345622"/>
                    <a:pt x="1648090" y="347153"/>
                    <a:pt x="1646609" y="347967"/>
                  </a:cubicBezTo>
                  <a:cubicBezTo>
                    <a:pt x="1645133" y="348774"/>
                    <a:pt x="1643337" y="348703"/>
                    <a:pt x="1641939" y="347801"/>
                  </a:cubicBezTo>
                  <a:lnTo>
                    <a:pt x="1629832" y="340055"/>
                  </a:lnTo>
                  <a:cubicBezTo>
                    <a:pt x="1629832" y="340055"/>
                    <a:pt x="1629647" y="339933"/>
                    <a:pt x="1629516" y="340113"/>
                  </a:cubicBezTo>
                  <a:cubicBezTo>
                    <a:pt x="1629400" y="340303"/>
                    <a:pt x="1617992" y="358094"/>
                    <a:pt x="1617992" y="358094"/>
                  </a:cubicBezTo>
                  <a:cubicBezTo>
                    <a:pt x="1617924" y="358210"/>
                    <a:pt x="1617958" y="358346"/>
                    <a:pt x="1618064" y="358417"/>
                  </a:cubicBezTo>
                  <a:lnTo>
                    <a:pt x="1633647" y="368389"/>
                  </a:lnTo>
                  <a:cubicBezTo>
                    <a:pt x="1634973" y="369235"/>
                    <a:pt x="1635764" y="370701"/>
                    <a:pt x="1635764" y="372258"/>
                  </a:cubicBezTo>
                  <a:cubicBezTo>
                    <a:pt x="1635764" y="373833"/>
                    <a:pt x="1634973" y="375286"/>
                    <a:pt x="1633647" y="376132"/>
                  </a:cubicBezTo>
                  <a:lnTo>
                    <a:pt x="1618064" y="386105"/>
                  </a:lnTo>
                  <a:cubicBezTo>
                    <a:pt x="1617958" y="386178"/>
                    <a:pt x="1617924" y="386324"/>
                    <a:pt x="1617992" y="386427"/>
                  </a:cubicBezTo>
                  <a:lnTo>
                    <a:pt x="1629516" y="404415"/>
                  </a:lnTo>
                  <a:cubicBezTo>
                    <a:pt x="1629657" y="404582"/>
                    <a:pt x="1629832" y="404469"/>
                    <a:pt x="1629832" y="404469"/>
                  </a:cubicBezTo>
                  <a:lnTo>
                    <a:pt x="1641939" y="396735"/>
                  </a:lnTo>
                  <a:cubicBezTo>
                    <a:pt x="1642672" y="396244"/>
                    <a:pt x="1643536" y="396001"/>
                    <a:pt x="1644410" y="396001"/>
                  </a:cubicBezTo>
                  <a:cubicBezTo>
                    <a:pt x="1645153" y="396001"/>
                    <a:pt x="1645925" y="396194"/>
                    <a:pt x="1646604" y="396567"/>
                  </a:cubicBezTo>
                  <a:cubicBezTo>
                    <a:pt x="1648080" y="397362"/>
                    <a:pt x="1648997" y="398918"/>
                    <a:pt x="1648997" y="400599"/>
                  </a:cubicBezTo>
                  <a:lnTo>
                    <a:pt x="1648997" y="414963"/>
                  </a:lnTo>
                  <a:cubicBezTo>
                    <a:pt x="1648997" y="415096"/>
                    <a:pt x="1649090" y="415187"/>
                    <a:pt x="1649221" y="415187"/>
                  </a:cubicBezTo>
                  <a:lnTo>
                    <a:pt x="1670581" y="415187"/>
                  </a:lnTo>
                  <a:cubicBezTo>
                    <a:pt x="1670697" y="415187"/>
                    <a:pt x="1670799" y="415096"/>
                    <a:pt x="1670799" y="414963"/>
                  </a:cubicBezTo>
                  <a:lnTo>
                    <a:pt x="1670799" y="400599"/>
                  </a:lnTo>
                  <a:cubicBezTo>
                    <a:pt x="1670799" y="398918"/>
                    <a:pt x="1671722" y="397362"/>
                    <a:pt x="1673192" y="396567"/>
                  </a:cubicBezTo>
                  <a:cubicBezTo>
                    <a:pt x="1674668" y="395760"/>
                    <a:pt x="1676455" y="395818"/>
                    <a:pt x="1677872" y="396725"/>
                  </a:cubicBezTo>
                  <a:cubicBezTo>
                    <a:pt x="1677872" y="396725"/>
                    <a:pt x="1689795" y="404369"/>
                    <a:pt x="1689970" y="404469"/>
                  </a:cubicBezTo>
                  <a:cubicBezTo>
                    <a:pt x="1690144" y="404582"/>
                    <a:pt x="1690285" y="404415"/>
                    <a:pt x="1690285" y="404415"/>
                  </a:cubicBezTo>
                  <a:lnTo>
                    <a:pt x="1701810" y="386427"/>
                  </a:lnTo>
                  <a:cubicBezTo>
                    <a:pt x="1701878" y="386324"/>
                    <a:pt x="1701844" y="386178"/>
                    <a:pt x="1701737" y="386105"/>
                  </a:cubicBezTo>
                  <a:lnTo>
                    <a:pt x="1686149" y="376132"/>
                  </a:lnTo>
                  <a:cubicBezTo>
                    <a:pt x="1684829" y="375286"/>
                    <a:pt x="1684037" y="373833"/>
                    <a:pt x="1684037" y="372258"/>
                  </a:cubicBezTo>
                  <a:cubicBezTo>
                    <a:pt x="1684037" y="370701"/>
                    <a:pt x="1684829" y="369235"/>
                    <a:pt x="1686149" y="368389"/>
                  </a:cubicBezTo>
                  <a:lnTo>
                    <a:pt x="1701737" y="358406"/>
                  </a:lnTo>
                  <a:cubicBezTo>
                    <a:pt x="1701844" y="358346"/>
                    <a:pt x="1701878" y="358210"/>
                    <a:pt x="1701810" y="358094"/>
                  </a:cubicBezTo>
                  <a:lnTo>
                    <a:pt x="1690285" y="340113"/>
                  </a:lnTo>
                  <a:cubicBezTo>
                    <a:pt x="1690285" y="340113"/>
                    <a:pt x="1690169" y="339933"/>
                    <a:pt x="1689979" y="340055"/>
                  </a:cubicBezTo>
                  <a:cubicBezTo>
                    <a:pt x="1689795" y="340171"/>
                    <a:pt x="1677872" y="347793"/>
                    <a:pt x="1677872" y="347793"/>
                  </a:cubicBezTo>
                  <a:cubicBezTo>
                    <a:pt x="1676464" y="348703"/>
                    <a:pt x="1674668" y="348774"/>
                    <a:pt x="1673192" y="347967"/>
                  </a:cubicBezTo>
                  <a:cubicBezTo>
                    <a:pt x="1671722" y="347153"/>
                    <a:pt x="1670799" y="345603"/>
                    <a:pt x="1670799" y="343932"/>
                  </a:cubicBezTo>
                  <a:lnTo>
                    <a:pt x="1670799" y="329563"/>
                  </a:lnTo>
                  <a:cubicBezTo>
                    <a:pt x="1670799" y="329450"/>
                    <a:pt x="1670697" y="329337"/>
                    <a:pt x="1670581" y="329337"/>
                  </a:cubicBezTo>
                  <a:close/>
                  <a:moveTo>
                    <a:pt x="2013860" y="328676"/>
                  </a:moveTo>
                  <a:lnTo>
                    <a:pt x="1996211" y="346141"/>
                  </a:lnTo>
                  <a:cubicBezTo>
                    <a:pt x="1996211" y="346178"/>
                    <a:pt x="1996256" y="346178"/>
                    <a:pt x="1996272" y="346204"/>
                  </a:cubicBezTo>
                  <a:lnTo>
                    <a:pt x="2002113" y="360935"/>
                  </a:lnTo>
                  <a:lnTo>
                    <a:pt x="2013239" y="363979"/>
                  </a:lnTo>
                  <a:cubicBezTo>
                    <a:pt x="2013239" y="363979"/>
                    <a:pt x="2025479" y="337007"/>
                    <a:pt x="2025479" y="337007"/>
                  </a:cubicBezTo>
                  <a:close/>
                  <a:moveTo>
                    <a:pt x="1563809" y="327365"/>
                  </a:moveTo>
                  <a:cubicBezTo>
                    <a:pt x="1544745" y="331130"/>
                    <a:pt x="1522177" y="333276"/>
                    <a:pt x="1507100" y="333584"/>
                  </a:cubicBezTo>
                  <a:lnTo>
                    <a:pt x="1507100" y="414547"/>
                  </a:lnTo>
                  <a:cubicBezTo>
                    <a:pt x="1535923" y="414173"/>
                    <a:pt x="1557700" y="409317"/>
                    <a:pt x="1563809" y="404364"/>
                  </a:cubicBezTo>
                  <a:cubicBezTo>
                    <a:pt x="1563809" y="404364"/>
                    <a:pt x="1563809" y="327365"/>
                    <a:pt x="1563809" y="327365"/>
                  </a:cubicBezTo>
                  <a:close/>
                  <a:moveTo>
                    <a:pt x="1443352" y="327358"/>
                  </a:moveTo>
                  <a:lnTo>
                    <a:pt x="1443352" y="404364"/>
                  </a:lnTo>
                  <a:cubicBezTo>
                    <a:pt x="1449454" y="409317"/>
                    <a:pt x="1471237" y="414173"/>
                    <a:pt x="1500061" y="414547"/>
                  </a:cubicBezTo>
                  <a:cubicBezTo>
                    <a:pt x="1500061" y="414547"/>
                    <a:pt x="1500061" y="333584"/>
                    <a:pt x="1500061" y="333584"/>
                  </a:cubicBezTo>
                  <a:cubicBezTo>
                    <a:pt x="1484984" y="333276"/>
                    <a:pt x="1462416" y="331130"/>
                    <a:pt x="1443352" y="327358"/>
                  </a:cubicBezTo>
                  <a:close/>
                  <a:moveTo>
                    <a:pt x="2186683" y="326383"/>
                  </a:moveTo>
                  <a:cubicBezTo>
                    <a:pt x="2182793" y="326383"/>
                    <a:pt x="2179726" y="329573"/>
                    <a:pt x="2179726" y="333468"/>
                  </a:cubicBezTo>
                  <a:lnTo>
                    <a:pt x="2179726" y="382742"/>
                  </a:lnTo>
                  <a:cubicBezTo>
                    <a:pt x="2179726" y="409955"/>
                    <a:pt x="2201825" y="432095"/>
                    <a:pt x="2229003" y="432095"/>
                  </a:cubicBezTo>
                  <a:lnTo>
                    <a:pt x="2271261" y="432095"/>
                  </a:lnTo>
                  <a:cubicBezTo>
                    <a:pt x="2298432" y="432095"/>
                    <a:pt x="2320601" y="409955"/>
                    <a:pt x="2320601" y="382742"/>
                  </a:cubicBezTo>
                  <a:lnTo>
                    <a:pt x="2320601" y="354593"/>
                  </a:lnTo>
                  <a:cubicBezTo>
                    <a:pt x="2320601" y="354593"/>
                    <a:pt x="2320601" y="333468"/>
                    <a:pt x="2320601" y="333468"/>
                  </a:cubicBezTo>
                  <a:cubicBezTo>
                    <a:pt x="2320601" y="329573"/>
                    <a:pt x="2317401" y="326383"/>
                    <a:pt x="2313519" y="326383"/>
                  </a:cubicBezTo>
                  <a:close/>
                  <a:moveTo>
                    <a:pt x="1649221" y="320157"/>
                  </a:moveTo>
                  <a:lnTo>
                    <a:pt x="1670581" y="320157"/>
                  </a:lnTo>
                  <a:cubicBezTo>
                    <a:pt x="1675775" y="320157"/>
                    <a:pt x="1679984" y="324374"/>
                    <a:pt x="1679984" y="329563"/>
                  </a:cubicBezTo>
                  <a:lnTo>
                    <a:pt x="1679984" y="335554"/>
                  </a:lnTo>
                  <a:lnTo>
                    <a:pt x="1685018" y="332313"/>
                  </a:lnTo>
                  <a:cubicBezTo>
                    <a:pt x="1687101" y="330977"/>
                    <a:pt x="1689688" y="330523"/>
                    <a:pt x="1692096" y="331046"/>
                  </a:cubicBezTo>
                  <a:cubicBezTo>
                    <a:pt x="1694562" y="331582"/>
                    <a:pt x="1696659" y="333037"/>
                    <a:pt x="1698009" y="335160"/>
                  </a:cubicBezTo>
                  <a:lnTo>
                    <a:pt x="1709533" y="353153"/>
                  </a:lnTo>
                  <a:cubicBezTo>
                    <a:pt x="1712330" y="357509"/>
                    <a:pt x="1711058" y="363332"/>
                    <a:pt x="1706679" y="366141"/>
                  </a:cubicBezTo>
                  <a:lnTo>
                    <a:pt x="1697135" y="372258"/>
                  </a:lnTo>
                  <a:lnTo>
                    <a:pt x="1706679" y="378386"/>
                  </a:lnTo>
                  <a:cubicBezTo>
                    <a:pt x="1708800" y="379743"/>
                    <a:pt x="1710266" y="381835"/>
                    <a:pt x="1710805" y="384289"/>
                  </a:cubicBezTo>
                  <a:cubicBezTo>
                    <a:pt x="1711344" y="386733"/>
                    <a:pt x="1710883" y="389262"/>
                    <a:pt x="1709533" y="391369"/>
                  </a:cubicBezTo>
                  <a:lnTo>
                    <a:pt x="1698009" y="409361"/>
                  </a:lnTo>
                  <a:cubicBezTo>
                    <a:pt x="1696659" y="411486"/>
                    <a:pt x="1694562" y="412946"/>
                    <a:pt x="1692096" y="413475"/>
                  </a:cubicBezTo>
                  <a:cubicBezTo>
                    <a:pt x="1691450" y="413624"/>
                    <a:pt x="1690761" y="413689"/>
                    <a:pt x="1690086" y="413689"/>
                  </a:cubicBezTo>
                  <a:cubicBezTo>
                    <a:pt x="1688290" y="413689"/>
                    <a:pt x="1686538" y="413178"/>
                    <a:pt x="1685008" y="412209"/>
                  </a:cubicBezTo>
                  <a:lnTo>
                    <a:pt x="1679969" y="408986"/>
                  </a:lnTo>
                  <a:lnTo>
                    <a:pt x="1679969" y="414963"/>
                  </a:lnTo>
                  <a:cubicBezTo>
                    <a:pt x="1679984" y="420149"/>
                    <a:pt x="1675756" y="424371"/>
                    <a:pt x="1670581" y="424371"/>
                  </a:cubicBezTo>
                  <a:lnTo>
                    <a:pt x="1649221" y="424371"/>
                  </a:lnTo>
                  <a:cubicBezTo>
                    <a:pt x="1644026" y="424371"/>
                    <a:pt x="1639818" y="420149"/>
                    <a:pt x="1639818" y="414963"/>
                  </a:cubicBezTo>
                  <a:lnTo>
                    <a:pt x="1639818" y="408986"/>
                  </a:lnTo>
                  <a:lnTo>
                    <a:pt x="1634779" y="412209"/>
                  </a:lnTo>
                  <a:cubicBezTo>
                    <a:pt x="1632701" y="413534"/>
                    <a:pt x="1630113" y="414005"/>
                    <a:pt x="1627686" y="413475"/>
                  </a:cubicBezTo>
                  <a:cubicBezTo>
                    <a:pt x="1625239" y="412946"/>
                    <a:pt x="1623133" y="411486"/>
                    <a:pt x="1621793" y="409371"/>
                  </a:cubicBezTo>
                  <a:lnTo>
                    <a:pt x="1610268" y="391369"/>
                  </a:lnTo>
                  <a:cubicBezTo>
                    <a:pt x="1608904" y="389262"/>
                    <a:pt x="1608462" y="386733"/>
                    <a:pt x="1608996" y="384296"/>
                  </a:cubicBezTo>
                  <a:cubicBezTo>
                    <a:pt x="1609540" y="381835"/>
                    <a:pt x="1610991" y="379743"/>
                    <a:pt x="1613113" y="378386"/>
                  </a:cubicBezTo>
                  <a:lnTo>
                    <a:pt x="1622667" y="372258"/>
                  </a:lnTo>
                  <a:lnTo>
                    <a:pt x="1613113" y="366141"/>
                  </a:lnTo>
                  <a:cubicBezTo>
                    <a:pt x="1608744" y="363332"/>
                    <a:pt x="1607472" y="357519"/>
                    <a:pt x="1610268" y="353153"/>
                  </a:cubicBezTo>
                  <a:lnTo>
                    <a:pt x="1621793" y="335160"/>
                  </a:lnTo>
                  <a:cubicBezTo>
                    <a:pt x="1623133" y="333037"/>
                    <a:pt x="1625239" y="331582"/>
                    <a:pt x="1627686" y="331059"/>
                  </a:cubicBezTo>
                  <a:cubicBezTo>
                    <a:pt x="1630123" y="330523"/>
                    <a:pt x="1632701" y="330988"/>
                    <a:pt x="1634779" y="332313"/>
                  </a:cubicBezTo>
                  <a:lnTo>
                    <a:pt x="1639818" y="335554"/>
                  </a:lnTo>
                  <a:lnTo>
                    <a:pt x="1639818" y="329563"/>
                  </a:lnTo>
                  <a:cubicBezTo>
                    <a:pt x="1639818" y="324374"/>
                    <a:pt x="1644026" y="320157"/>
                    <a:pt x="1649221" y="320157"/>
                  </a:cubicBezTo>
                  <a:close/>
                  <a:moveTo>
                    <a:pt x="2001122" y="319545"/>
                  </a:moveTo>
                  <a:lnTo>
                    <a:pt x="1979495" y="339676"/>
                  </a:lnTo>
                  <a:cubicBezTo>
                    <a:pt x="1979495" y="339676"/>
                    <a:pt x="1989101" y="340728"/>
                    <a:pt x="1989252" y="340734"/>
                  </a:cubicBezTo>
                  <a:cubicBezTo>
                    <a:pt x="1989252" y="340734"/>
                    <a:pt x="2006649" y="323457"/>
                    <a:pt x="2006649" y="323457"/>
                  </a:cubicBezTo>
                  <a:close/>
                  <a:moveTo>
                    <a:pt x="895019" y="318538"/>
                  </a:moveTo>
                  <a:lnTo>
                    <a:pt x="895019" y="340243"/>
                  </a:lnTo>
                  <a:cubicBezTo>
                    <a:pt x="895019" y="343254"/>
                    <a:pt x="895307" y="345173"/>
                    <a:pt x="895897" y="346110"/>
                  </a:cubicBezTo>
                  <a:cubicBezTo>
                    <a:pt x="896396" y="346897"/>
                    <a:pt x="897466" y="347567"/>
                    <a:pt x="899460" y="348789"/>
                  </a:cubicBezTo>
                  <a:lnTo>
                    <a:pt x="925536" y="364681"/>
                  </a:lnTo>
                  <a:cubicBezTo>
                    <a:pt x="926840" y="365476"/>
                    <a:pt x="927636" y="366891"/>
                    <a:pt x="927636" y="368401"/>
                  </a:cubicBezTo>
                  <a:lnTo>
                    <a:pt x="927636" y="379555"/>
                  </a:lnTo>
                  <a:cubicBezTo>
                    <a:pt x="927636" y="381092"/>
                    <a:pt x="926835" y="382514"/>
                    <a:pt x="925514" y="383301"/>
                  </a:cubicBezTo>
                  <a:cubicBezTo>
                    <a:pt x="916164" y="388914"/>
                    <a:pt x="901661" y="397691"/>
                    <a:pt x="900018" y="398840"/>
                  </a:cubicBezTo>
                  <a:cubicBezTo>
                    <a:pt x="897910" y="400306"/>
                    <a:pt x="895019" y="402321"/>
                    <a:pt x="895019" y="408115"/>
                  </a:cubicBezTo>
                  <a:lnTo>
                    <a:pt x="895019" y="426463"/>
                  </a:lnTo>
                  <a:lnTo>
                    <a:pt x="965677" y="426463"/>
                  </a:lnTo>
                  <a:lnTo>
                    <a:pt x="965677" y="407721"/>
                  </a:lnTo>
                  <a:cubicBezTo>
                    <a:pt x="965677" y="404713"/>
                    <a:pt x="965385" y="402794"/>
                    <a:pt x="964799" y="401851"/>
                  </a:cubicBezTo>
                  <a:cubicBezTo>
                    <a:pt x="964301" y="401077"/>
                    <a:pt x="963235" y="400403"/>
                    <a:pt x="961236" y="399171"/>
                  </a:cubicBezTo>
                  <a:lnTo>
                    <a:pt x="935155" y="383295"/>
                  </a:lnTo>
                  <a:cubicBezTo>
                    <a:pt x="933852" y="382501"/>
                    <a:pt x="933061" y="381086"/>
                    <a:pt x="933061" y="379555"/>
                  </a:cubicBezTo>
                  <a:lnTo>
                    <a:pt x="933061" y="368401"/>
                  </a:lnTo>
                  <a:cubicBezTo>
                    <a:pt x="933061" y="366871"/>
                    <a:pt x="933866" y="365456"/>
                    <a:pt x="935183" y="364662"/>
                  </a:cubicBezTo>
                  <a:cubicBezTo>
                    <a:pt x="944532" y="359050"/>
                    <a:pt x="959031" y="350279"/>
                    <a:pt x="960683" y="349136"/>
                  </a:cubicBezTo>
                  <a:cubicBezTo>
                    <a:pt x="962791" y="347664"/>
                    <a:pt x="965677" y="345642"/>
                    <a:pt x="965677" y="339862"/>
                  </a:cubicBezTo>
                  <a:lnTo>
                    <a:pt x="965677" y="318538"/>
                  </a:lnTo>
                  <a:close/>
                  <a:moveTo>
                    <a:pt x="1082157" y="318167"/>
                  </a:moveTo>
                  <a:cubicBezTo>
                    <a:pt x="1087729" y="318091"/>
                    <a:pt x="1093024" y="320914"/>
                    <a:pt x="1096264" y="325998"/>
                  </a:cubicBezTo>
                  <a:cubicBezTo>
                    <a:pt x="1106436" y="342021"/>
                    <a:pt x="1093767" y="362952"/>
                    <a:pt x="1077431" y="366950"/>
                  </a:cubicBezTo>
                  <a:cubicBezTo>
                    <a:pt x="1073732" y="367880"/>
                    <a:pt x="1069440" y="367628"/>
                    <a:pt x="1065125" y="366699"/>
                  </a:cubicBezTo>
                  <a:cubicBezTo>
                    <a:pt x="1048797" y="364547"/>
                    <a:pt x="1033061" y="350323"/>
                    <a:pt x="1039526" y="332460"/>
                  </a:cubicBezTo>
                  <a:cubicBezTo>
                    <a:pt x="1042300" y="325061"/>
                    <a:pt x="1049097" y="319862"/>
                    <a:pt x="1057111" y="322333"/>
                  </a:cubicBezTo>
                  <a:cubicBezTo>
                    <a:pt x="1060802" y="323568"/>
                    <a:pt x="1063908" y="326019"/>
                    <a:pt x="1066374" y="329107"/>
                  </a:cubicBezTo>
                  <a:cubicBezTo>
                    <a:pt x="1068524" y="324789"/>
                    <a:pt x="1071574" y="321070"/>
                    <a:pt x="1076498" y="319226"/>
                  </a:cubicBezTo>
                  <a:cubicBezTo>
                    <a:pt x="1078348" y="318532"/>
                    <a:pt x="1080300" y="318193"/>
                    <a:pt x="1082157" y="318167"/>
                  </a:cubicBezTo>
                  <a:close/>
                  <a:moveTo>
                    <a:pt x="583625" y="316876"/>
                  </a:moveTo>
                  <a:cubicBezTo>
                    <a:pt x="583613" y="316934"/>
                    <a:pt x="583566" y="316999"/>
                    <a:pt x="583554" y="317063"/>
                  </a:cubicBezTo>
                  <a:cubicBezTo>
                    <a:pt x="583578" y="317226"/>
                    <a:pt x="583744" y="317323"/>
                    <a:pt x="583744" y="317491"/>
                  </a:cubicBezTo>
                  <a:lnTo>
                    <a:pt x="583744" y="418541"/>
                  </a:lnTo>
                  <a:cubicBezTo>
                    <a:pt x="592515" y="420575"/>
                    <a:pt x="600149" y="434176"/>
                    <a:pt x="603132" y="440285"/>
                  </a:cubicBezTo>
                  <a:cubicBezTo>
                    <a:pt x="620462" y="474372"/>
                    <a:pt x="648894" y="484266"/>
                    <a:pt x="662423" y="487082"/>
                  </a:cubicBezTo>
                  <a:cubicBezTo>
                    <a:pt x="653262" y="451214"/>
                    <a:pt x="657937" y="422029"/>
                    <a:pt x="661110" y="402257"/>
                  </a:cubicBezTo>
                  <a:cubicBezTo>
                    <a:pt x="662258" y="395081"/>
                    <a:pt x="663702" y="386339"/>
                    <a:pt x="662850" y="383245"/>
                  </a:cubicBezTo>
                  <a:cubicBezTo>
                    <a:pt x="662021" y="383320"/>
                    <a:pt x="660790" y="383501"/>
                    <a:pt x="659807" y="383676"/>
                  </a:cubicBezTo>
                  <a:cubicBezTo>
                    <a:pt x="651238" y="385122"/>
                    <a:pt x="635305" y="387874"/>
                    <a:pt x="622213" y="361985"/>
                  </a:cubicBezTo>
                  <a:cubicBezTo>
                    <a:pt x="612022" y="341853"/>
                    <a:pt x="595604" y="326525"/>
                    <a:pt x="583625" y="316876"/>
                  </a:cubicBezTo>
                  <a:close/>
                  <a:moveTo>
                    <a:pt x="2388067" y="314617"/>
                  </a:moveTo>
                  <a:cubicBezTo>
                    <a:pt x="2393927" y="308752"/>
                    <a:pt x="2403433" y="308752"/>
                    <a:pt x="2409293" y="314617"/>
                  </a:cubicBezTo>
                  <a:cubicBezTo>
                    <a:pt x="2409806" y="315132"/>
                    <a:pt x="2410737" y="316191"/>
                    <a:pt x="2410737" y="316191"/>
                  </a:cubicBezTo>
                  <a:lnTo>
                    <a:pt x="2480461" y="385905"/>
                  </a:lnTo>
                  <a:cubicBezTo>
                    <a:pt x="2485461" y="390929"/>
                    <a:pt x="2485532" y="399011"/>
                    <a:pt x="2480506" y="404033"/>
                  </a:cubicBezTo>
                  <a:cubicBezTo>
                    <a:pt x="2478183" y="406364"/>
                    <a:pt x="2475147" y="407575"/>
                    <a:pt x="2472085" y="407717"/>
                  </a:cubicBezTo>
                  <a:cubicBezTo>
                    <a:pt x="2471937" y="410808"/>
                    <a:pt x="2470731" y="413811"/>
                    <a:pt x="2468388" y="416164"/>
                  </a:cubicBezTo>
                  <a:cubicBezTo>
                    <a:pt x="2466058" y="418481"/>
                    <a:pt x="2463041" y="419695"/>
                    <a:pt x="2459967" y="419837"/>
                  </a:cubicBezTo>
                  <a:cubicBezTo>
                    <a:pt x="2459813" y="422937"/>
                    <a:pt x="2458613" y="425947"/>
                    <a:pt x="2456263" y="428297"/>
                  </a:cubicBezTo>
                  <a:cubicBezTo>
                    <a:pt x="2451257" y="433291"/>
                    <a:pt x="2443170" y="433220"/>
                    <a:pt x="2438163" y="428207"/>
                  </a:cubicBezTo>
                  <a:lnTo>
                    <a:pt x="2368433" y="358496"/>
                  </a:lnTo>
                  <a:cubicBezTo>
                    <a:pt x="2367868" y="358068"/>
                    <a:pt x="2367361" y="357566"/>
                    <a:pt x="2366847" y="357054"/>
                  </a:cubicBezTo>
                  <a:cubicBezTo>
                    <a:pt x="2360994" y="351197"/>
                    <a:pt x="2360994" y="341691"/>
                    <a:pt x="2366847" y="335826"/>
                  </a:cubicBezTo>
                  <a:close/>
                  <a:moveTo>
                    <a:pt x="503643" y="308236"/>
                  </a:moveTo>
                  <a:cubicBezTo>
                    <a:pt x="490812" y="308236"/>
                    <a:pt x="483816" y="311821"/>
                    <a:pt x="483201" y="313268"/>
                  </a:cubicBezTo>
                  <a:cubicBezTo>
                    <a:pt x="483816" y="314293"/>
                    <a:pt x="490812" y="317929"/>
                    <a:pt x="503643" y="317929"/>
                  </a:cubicBezTo>
                  <a:cubicBezTo>
                    <a:pt x="516474" y="317929"/>
                    <a:pt x="523434" y="314346"/>
                    <a:pt x="524085" y="312899"/>
                  </a:cubicBezTo>
                  <a:cubicBezTo>
                    <a:pt x="523458" y="311864"/>
                    <a:pt x="516498" y="308236"/>
                    <a:pt x="503643" y="308236"/>
                  </a:cubicBezTo>
                  <a:close/>
                  <a:moveTo>
                    <a:pt x="883379" y="302260"/>
                  </a:moveTo>
                  <a:lnTo>
                    <a:pt x="977323" y="302260"/>
                  </a:lnTo>
                  <a:cubicBezTo>
                    <a:pt x="978654" y="302260"/>
                    <a:pt x="979747" y="303345"/>
                    <a:pt x="979747" y="304691"/>
                  </a:cubicBezTo>
                  <a:lnTo>
                    <a:pt x="979747" y="316120"/>
                  </a:lnTo>
                  <a:cubicBezTo>
                    <a:pt x="979747" y="317452"/>
                    <a:pt x="978654" y="318538"/>
                    <a:pt x="977323" y="318538"/>
                  </a:cubicBezTo>
                  <a:lnTo>
                    <a:pt x="974409" y="318538"/>
                  </a:lnTo>
                  <a:lnTo>
                    <a:pt x="974409" y="339855"/>
                  </a:lnTo>
                  <a:cubicBezTo>
                    <a:pt x="974409" y="350202"/>
                    <a:pt x="968294" y="354471"/>
                    <a:pt x="965682" y="356298"/>
                  </a:cubicBezTo>
                  <a:cubicBezTo>
                    <a:pt x="963614" y="357739"/>
                    <a:pt x="947834" y="367242"/>
                    <a:pt x="941797" y="370878"/>
                  </a:cubicBezTo>
                  <a:lnTo>
                    <a:pt x="941797" y="377102"/>
                  </a:lnTo>
                  <a:lnTo>
                    <a:pt x="965778" y="391724"/>
                  </a:lnTo>
                  <a:cubicBezTo>
                    <a:pt x="971290" y="395088"/>
                    <a:pt x="974409" y="397487"/>
                    <a:pt x="974409" y="407721"/>
                  </a:cubicBezTo>
                  <a:lnTo>
                    <a:pt x="974409" y="426463"/>
                  </a:lnTo>
                  <a:lnTo>
                    <a:pt x="977323" y="426463"/>
                  </a:lnTo>
                  <a:cubicBezTo>
                    <a:pt x="978654" y="426463"/>
                    <a:pt x="979747" y="427549"/>
                    <a:pt x="979747" y="428885"/>
                  </a:cubicBezTo>
                  <a:lnTo>
                    <a:pt x="979747" y="440317"/>
                  </a:lnTo>
                  <a:cubicBezTo>
                    <a:pt x="979747" y="441653"/>
                    <a:pt x="978654" y="442751"/>
                    <a:pt x="977323" y="442751"/>
                  </a:cubicBezTo>
                  <a:lnTo>
                    <a:pt x="883379" y="442751"/>
                  </a:lnTo>
                  <a:cubicBezTo>
                    <a:pt x="882038" y="442751"/>
                    <a:pt x="880950" y="441653"/>
                    <a:pt x="880950" y="440317"/>
                  </a:cubicBezTo>
                  <a:lnTo>
                    <a:pt x="880950" y="428885"/>
                  </a:lnTo>
                  <a:cubicBezTo>
                    <a:pt x="880950" y="427549"/>
                    <a:pt x="882038" y="426463"/>
                    <a:pt x="883379" y="426463"/>
                  </a:cubicBezTo>
                  <a:lnTo>
                    <a:pt x="886292" y="426463"/>
                  </a:lnTo>
                  <a:lnTo>
                    <a:pt x="886292" y="408115"/>
                  </a:lnTo>
                  <a:cubicBezTo>
                    <a:pt x="886292" y="397768"/>
                    <a:pt x="892403" y="393493"/>
                    <a:pt x="895015" y="391665"/>
                  </a:cubicBezTo>
                  <a:cubicBezTo>
                    <a:pt x="897087" y="390231"/>
                    <a:pt x="912862" y="380725"/>
                    <a:pt x="918900" y="377089"/>
                  </a:cubicBezTo>
                  <a:lnTo>
                    <a:pt x="918900" y="370858"/>
                  </a:lnTo>
                  <a:lnTo>
                    <a:pt x="894919" y="356246"/>
                  </a:lnTo>
                  <a:cubicBezTo>
                    <a:pt x="889407" y="352888"/>
                    <a:pt x="886292" y="350487"/>
                    <a:pt x="886292" y="340243"/>
                  </a:cubicBezTo>
                  <a:lnTo>
                    <a:pt x="886292" y="318538"/>
                  </a:lnTo>
                  <a:lnTo>
                    <a:pt x="883379" y="318538"/>
                  </a:lnTo>
                  <a:cubicBezTo>
                    <a:pt x="882038" y="318538"/>
                    <a:pt x="880950" y="317452"/>
                    <a:pt x="880950" y="316120"/>
                  </a:cubicBezTo>
                  <a:lnTo>
                    <a:pt x="880950" y="304691"/>
                  </a:lnTo>
                  <a:cubicBezTo>
                    <a:pt x="880950" y="303345"/>
                    <a:pt x="882038" y="302260"/>
                    <a:pt x="883379" y="302260"/>
                  </a:cubicBezTo>
                  <a:close/>
                  <a:moveTo>
                    <a:pt x="2024982" y="301582"/>
                  </a:moveTo>
                  <a:cubicBezTo>
                    <a:pt x="2022017" y="301582"/>
                    <a:pt x="2019214" y="302661"/>
                    <a:pt x="2017032" y="304690"/>
                  </a:cubicBezTo>
                  <a:lnTo>
                    <a:pt x="2007707" y="313395"/>
                  </a:lnTo>
                  <a:lnTo>
                    <a:pt x="2042200" y="338189"/>
                  </a:lnTo>
                  <a:lnTo>
                    <a:pt x="2047481" y="326565"/>
                  </a:lnTo>
                  <a:cubicBezTo>
                    <a:pt x="2049775" y="321507"/>
                    <a:pt x="2048152" y="315468"/>
                    <a:pt x="2043627" y="312208"/>
                  </a:cubicBezTo>
                  <a:lnTo>
                    <a:pt x="2031818" y="303759"/>
                  </a:lnTo>
                  <a:cubicBezTo>
                    <a:pt x="2029815" y="302318"/>
                    <a:pt x="2027449" y="301582"/>
                    <a:pt x="2024982" y="301582"/>
                  </a:cubicBezTo>
                  <a:close/>
                  <a:moveTo>
                    <a:pt x="1898868" y="301333"/>
                  </a:moveTo>
                  <a:lnTo>
                    <a:pt x="1825863" y="354570"/>
                  </a:lnTo>
                  <a:lnTo>
                    <a:pt x="1852313" y="390453"/>
                  </a:lnTo>
                  <a:lnTo>
                    <a:pt x="1884562" y="366737"/>
                  </a:lnTo>
                  <a:cubicBezTo>
                    <a:pt x="1905554" y="351525"/>
                    <a:pt x="1911026" y="323232"/>
                    <a:pt x="1898868" y="301333"/>
                  </a:cubicBezTo>
                  <a:close/>
                  <a:moveTo>
                    <a:pt x="503643" y="300286"/>
                  </a:moveTo>
                  <a:cubicBezTo>
                    <a:pt x="517303" y="300286"/>
                    <a:pt x="531981" y="304276"/>
                    <a:pt x="531981" y="313079"/>
                  </a:cubicBezTo>
                  <a:cubicBezTo>
                    <a:pt x="532004" y="321858"/>
                    <a:pt x="517303" y="325886"/>
                    <a:pt x="503643" y="325886"/>
                  </a:cubicBezTo>
                  <a:cubicBezTo>
                    <a:pt x="489983" y="325886"/>
                    <a:pt x="475306" y="321858"/>
                    <a:pt x="475306" y="313079"/>
                  </a:cubicBezTo>
                  <a:cubicBezTo>
                    <a:pt x="475306" y="304276"/>
                    <a:pt x="489983" y="300286"/>
                    <a:pt x="503643" y="300286"/>
                  </a:cubicBezTo>
                  <a:close/>
                  <a:moveTo>
                    <a:pt x="1568343" y="293328"/>
                  </a:moveTo>
                  <a:cubicBezTo>
                    <a:pt x="1564627" y="295145"/>
                    <a:pt x="1559382" y="296708"/>
                    <a:pt x="1552542" y="298058"/>
                  </a:cubicBezTo>
                  <a:cubicBezTo>
                    <a:pt x="1540258" y="300491"/>
                    <a:pt x="1524237" y="301892"/>
                    <a:pt x="1507100" y="302075"/>
                  </a:cubicBezTo>
                  <a:lnTo>
                    <a:pt x="1507100" y="326553"/>
                  </a:lnTo>
                  <a:cubicBezTo>
                    <a:pt x="1523646" y="326202"/>
                    <a:pt x="1549291" y="323525"/>
                    <a:pt x="1568343" y="319227"/>
                  </a:cubicBezTo>
                  <a:cubicBezTo>
                    <a:pt x="1568343" y="319227"/>
                    <a:pt x="1568343" y="293328"/>
                    <a:pt x="1568343" y="293328"/>
                  </a:cubicBezTo>
                  <a:close/>
                  <a:moveTo>
                    <a:pt x="1438825" y="293328"/>
                  </a:moveTo>
                  <a:lnTo>
                    <a:pt x="1438825" y="319227"/>
                  </a:lnTo>
                  <a:cubicBezTo>
                    <a:pt x="1457870" y="323525"/>
                    <a:pt x="1483515" y="326202"/>
                    <a:pt x="1500061" y="326553"/>
                  </a:cubicBezTo>
                  <a:cubicBezTo>
                    <a:pt x="1500061" y="326553"/>
                    <a:pt x="1500061" y="302075"/>
                    <a:pt x="1500061" y="302075"/>
                  </a:cubicBezTo>
                  <a:cubicBezTo>
                    <a:pt x="1482930" y="301892"/>
                    <a:pt x="1466903" y="300491"/>
                    <a:pt x="1454632" y="298058"/>
                  </a:cubicBezTo>
                  <a:cubicBezTo>
                    <a:pt x="1447779" y="296708"/>
                    <a:pt x="1442541" y="295145"/>
                    <a:pt x="1438825" y="293328"/>
                  </a:cubicBezTo>
                  <a:close/>
                  <a:moveTo>
                    <a:pt x="1901301" y="286420"/>
                  </a:moveTo>
                  <a:cubicBezTo>
                    <a:pt x="1902814" y="286734"/>
                    <a:pt x="1904334" y="287641"/>
                    <a:pt x="1905247" y="288855"/>
                  </a:cubicBezTo>
                  <a:cubicBezTo>
                    <a:pt x="1925632" y="316844"/>
                    <a:pt x="1919852" y="356092"/>
                    <a:pt x="1892168" y="376469"/>
                  </a:cubicBezTo>
                  <a:lnTo>
                    <a:pt x="1855059" y="403853"/>
                  </a:lnTo>
                  <a:cubicBezTo>
                    <a:pt x="1853846" y="404763"/>
                    <a:pt x="1852626" y="405074"/>
                    <a:pt x="1851406" y="405074"/>
                  </a:cubicBezTo>
                  <a:cubicBezTo>
                    <a:pt x="1849580" y="405074"/>
                    <a:pt x="1847760" y="404152"/>
                    <a:pt x="1846533" y="402639"/>
                  </a:cubicBezTo>
                  <a:lnTo>
                    <a:pt x="1842295" y="396864"/>
                  </a:lnTo>
                  <a:lnTo>
                    <a:pt x="1811551" y="419372"/>
                  </a:lnTo>
                  <a:cubicBezTo>
                    <a:pt x="1802125" y="426362"/>
                    <a:pt x="1789054" y="424241"/>
                    <a:pt x="1782054" y="414806"/>
                  </a:cubicBezTo>
                  <a:cubicBezTo>
                    <a:pt x="1775048" y="405366"/>
                    <a:pt x="1776875" y="392291"/>
                    <a:pt x="1786307" y="385285"/>
                  </a:cubicBezTo>
                  <a:lnTo>
                    <a:pt x="1817037" y="362789"/>
                  </a:lnTo>
                  <a:lnTo>
                    <a:pt x="1812777" y="357011"/>
                  </a:lnTo>
                  <a:cubicBezTo>
                    <a:pt x="1810651" y="354258"/>
                    <a:pt x="1811265" y="350623"/>
                    <a:pt x="1813991" y="348483"/>
                  </a:cubicBezTo>
                  <a:lnTo>
                    <a:pt x="1896728" y="287641"/>
                  </a:lnTo>
                  <a:cubicBezTo>
                    <a:pt x="1897941" y="286734"/>
                    <a:pt x="1899775" y="286128"/>
                    <a:pt x="1901301" y="286420"/>
                  </a:cubicBezTo>
                  <a:close/>
                  <a:moveTo>
                    <a:pt x="2122070" y="285695"/>
                  </a:moveTo>
                  <a:lnTo>
                    <a:pt x="2139217" y="285695"/>
                  </a:lnTo>
                  <a:cubicBezTo>
                    <a:pt x="2141584" y="285695"/>
                    <a:pt x="2143501" y="287615"/>
                    <a:pt x="2143501" y="289979"/>
                  </a:cubicBezTo>
                  <a:cubicBezTo>
                    <a:pt x="2143501" y="292347"/>
                    <a:pt x="2141584" y="294271"/>
                    <a:pt x="2139217" y="294271"/>
                  </a:cubicBezTo>
                  <a:lnTo>
                    <a:pt x="2122070" y="294271"/>
                  </a:lnTo>
                  <a:cubicBezTo>
                    <a:pt x="2119693" y="294271"/>
                    <a:pt x="2117781" y="292347"/>
                    <a:pt x="2117781" y="289979"/>
                  </a:cubicBezTo>
                  <a:cubicBezTo>
                    <a:pt x="2117781" y="287615"/>
                    <a:pt x="2119693" y="285695"/>
                    <a:pt x="2122070" y="285695"/>
                  </a:cubicBezTo>
                  <a:close/>
                  <a:moveTo>
                    <a:pt x="501714" y="283002"/>
                  </a:moveTo>
                  <a:cubicBezTo>
                    <a:pt x="462936" y="283002"/>
                    <a:pt x="430183" y="298186"/>
                    <a:pt x="430183" y="316129"/>
                  </a:cubicBezTo>
                  <a:cubicBezTo>
                    <a:pt x="430183" y="334101"/>
                    <a:pt x="462936" y="349252"/>
                    <a:pt x="501714" y="349252"/>
                  </a:cubicBezTo>
                  <a:cubicBezTo>
                    <a:pt x="540480" y="349252"/>
                    <a:pt x="573244" y="334101"/>
                    <a:pt x="573244" y="316129"/>
                  </a:cubicBezTo>
                  <a:cubicBezTo>
                    <a:pt x="573244" y="312639"/>
                    <a:pt x="571670" y="309307"/>
                    <a:pt x="569385" y="306123"/>
                  </a:cubicBezTo>
                  <a:cubicBezTo>
                    <a:pt x="569385" y="306123"/>
                    <a:pt x="569267" y="306058"/>
                    <a:pt x="569267" y="306058"/>
                  </a:cubicBezTo>
                  <a:cubicBezTo>
                    <a:pt x="568107" y="305343"/>
                    <a:pt x="567444" y="304276"/>
                    <a:pt x="567089" y="303082"/>
                  </a:cubicBezTo>
                  <a:cubicBezTo>
                    <a:pt x="555891" y="291417"/>
                    <a:pt x="530513" y="283002"/>
                    <a:pt x="501714" y="283002"/>
                  </a:cubicBezTo>
                  <a:close/>
                  <a:moveTo>
                    <a:pt x="1071092" y="281435"/>
                  </a:moveTo>
                  <a:cubicBezTo>
                    <a:pt x="1056574" y="280742"/>
                    <a:pt x="1041850" y="284333"/>
                    <a:pt x="1029829" y="292497"/>
                  </a:cubicBezTo>
                  <a:cubicBezTo>
                    <a:pt x="999322" y="312839"/>
                    <a:pt x="993829" y="354122"/>
                    <a:pt x="1020629" y="379690"/>
                  </a:cubicBezTo>
                  <a:cubicBezTo>
                    <a:pt x="1046205" y="404346"/>
                    <a:pt x="1081936" y="402181"/>
                    <a:pt x="1113976" y="394479"/>
                  </a:cubicBezTo>
                  <a:cubicBezTo>
                    <a:pt x="1116750" y="393861"/>
                    <a:pt x="1118576" y="395109"/>
                    <a:pt x="1119500" y="396657"/>
                  </a:cubicBezTo>
                  <a:cubicBezTo>
                    <a:pt x="1122583" y="397581"/>
                    <a:pt x="1125989" y="398841"/>
                    <a:pt x="1129071" y="400077"/>
                  </a:cubicBezTo>
                  <a:cubicBezTo>
                    <a:pt x="1131221" y="400694"/>
                    <a:pt x="1133062" y="401564"/>
                    <a:pt x="1134912" y="401876"/>
                  </a:cubicBezTo>
                  <a:cubicBezTo>
                    <a:pt x="1134295" y="399718"/>
                    <a:pt x="1133355" y="397574"/>
                    <a:pt x="1132738" y="396032"/>
                  </a:cubicBezTo>
                  <a:cubicBezTo>
                    <a:pt x="1131505" y="391723"/>
                    <a:pt x="1129988" y="387414"/>
                    <a:pt x="1128763" y="383109"/>
                  </a:cubicBezTo>
                  <a:cubicBezTo>
                    <a:pt x="1128146" y="381250"/>
                    <a:pt x="1128779" y="379432"/>
                    <a:pt x="1130004" y="378509"/>
                  </a:cubicBezTo>
                  <a:cubicBezTo>
                    <a:pt x="1130004" y="378197"/>
                    <a:pt x="1130012" y="377579"/>
                    <a:pt x="1130320" y="377267"/>
                  </a:cubicBezTo>
                  <a:cubicBezTo>
                    <a:pt x="1141416" y="349222"/>
                    <a:pt x="1134904" y="315642"/>
                    <a:pt x="1111178" y="296230"/>
                  </a:cubicBezTo>
                  <a:cubicBezTo>
                    <a:pt x="1099932" y="287136"/>
                    <a:pt x="1085619" y="282135"/>
                    <a:pt x="1071092" y="281435"/>
                  </a:cubicBezTo>
                  <a:close/>
                  <a:moveTo>
                    <a:pt x="1536661" y="276808"/>
                  </a:moveTo>
                  <a:cubicBezTo>
                    <a:pt x="1536661" y="276822"/>
                    <a:pt x="1536661" y="276853"/>
                    <a:pt x="1536661" y="276853"/>
                  </a:cubicBezTo>
                  <a:cubicBezTo>
                    <a:pt x="1536635" y="277482"/>
                    <a:pt x="1536801" y="278463"/>
                    <a:pt x="1536954" y="279430"/>
                  </a:cubicBezTo>
                  <a:cubicBezTo>
                    <a:pt x="1537419" y="282403"/>
                    <a:pt x="1538057" y="286469"/>
                    <a:pt x="1535152" y="289525"/>
                  </a:cubicBezTo>
                  <a:cubicBezTo>
                    <a:pt x="1533271" y="291495"/>
                    <a:pt x="1530918" y="292256"/>
                    <a:pt x="1528412" y="292256"/>
                  </a:cubicBezTo>
                  <a:cubicBezTo>
                    <a:pt x="1520634" y="292256"/>
                    <a:pt x="1511388" y="284887"/>
                    <a:pt x="1510018" y="283753"/>
                  </a:cubicBezTo>
                  <a:cubicBezTo>
                    <a:pt x="1508569" y="284835"/>
                    <a:pt x="1506768" y="285478"/>
                    <a:pt x="1504827" y="285478"/>
                  </a:cubicBezTo>
                  <a:lnTo>
                    <a:pt x="1502334" y="285478"/>
                  </a:lnTo>
                  <a:cubicBezTo>
                    <a:pt x="1500340" y="285478"/>
                    <a:pt x="1498498" y="284803"/>
                    <a:pt x="1497023" y="283661"/>
                  </a:cubicBezTo>
                  <a:cubicBezTo>
                    <a:pt x="1497009" y="283686"/>
                    <a:pt x="1496983" y="283707"/>
                    <a:pt x="1496956" y="283731"/>
                  </a:cubicBezTo>
                  <a:cubicBezTo>
                    <a:pt x="1491080" y="288820"/>
                    <a:pt x="1483961" y="291817"/>
                    <a:pt x="1477818" y="291817"/>
                  </a:cubicBezTo>
                  <a:cubicBezTo>
                    <a:pt x="1477666" y="291817"/>
                    <a:pt x="1477526" y="291817"/>
                    <a:pt x="1477373" y="291817"/>
                  </a:cubicBezTo>
                  <a:cubicBezTo>
                    <a:pt x="1474475" y="291748"/>
                    <a:pt x="1472746" y="290487"/>
                    <a:pt x="1471796" y="289441"/>
                  </a:cubicBezTo>
                  <a:cubicBezTo>
                    <a:pt x="1469124" y="286489"/>
                    <a:pt x="1469456" y="282020"/>
                    <a:pt x="1469755" y="278087"/>
                  </a:cubicBezTo>
                  <a:cubicBezTo>
                    <a:pt x="1469788" y="277673"/>
                    <a:pt x="1469815" y="277236"/>
                    <a:pt x="1469848" y="276822"/>
                  </a:cubicBezTo>
                  <a:lnTo>
                    <a:pt x="1468991" y="276924"/>
                  </a:lnTo>
                  <a:cubicBezTo>
                    <a:pt x="1447373" y="279490"/>
                    <a:pt x="1440121" y="283524"/>
                    <a:pt x="1438938" y="285049"/>
                  </a:cubicBezTo>
                  <a:cubicBezTo>
                    <a:pt x="1439868" y="286213"/>
                    <a:pt x="1444515" y="289092"/>
                    <a:pt x="1458022" y="291559"/>
                  </a:cubicBezTo>
                  <a:cubicBezTo>
                    <a:pt x="1470440" y="293819"/>
                    <a:pt x="1486626" y="295068"/>
                    <a:pt x="1503577" y="295068"/>
                  </a:cubicBezTo>
                  <a:cubicBezTo>
                    <a:pt x="1520541" y="295068"/>
                    <a:pt x="1536721" y="293819"/>
                    <a:pt x="1549138" y="291559"/>
                  </a:cubicBezTo>
                  <a:cubicBezTo>
                    <a:pt x="1562646" y="289092"/>
                    <a:pt x="1567306" y="286213"/>
                    <a:pt x="1568223" y="285049"/>
                  </a:cubicBezTo>
                  <a:cubicBezTo>
                    <a:pt x="1567040" y="283524"/>
                    <a:pt x="1559801" y="279490"/>
                    <a:pt x="1538210" y="276924"/>
                  </a:cubicBezTo>
                  <a:cubicBezTo>
                    <a:pt x="1537745" y="276892"/>
                    <a:pt x="1537206" y="276853"/>
                    <a:pt x="1536661" y="276808"/>
                  </a:cubicBezTo>
                  <a:close/>
                  <a:moveTo>
                    <a:pt x="2113492" y="272836"/>
                  </a:moveTo>
                  <a:lnTo>
                    <a:pt x="2147791" y="272836"/>
                  </a:lnTo>
                  <a:cubicBezTo>
                    <a:pt x="2150163" y="272836"/>
                    <a:pt x="2152080" y="274756"/>
                    <a:pt x="2152080" y="277119"/>
                  </a:cubicBezTo>
                  <a:cubicBezTo>
                    <a:pt x="2152080" y="279501"/>
                    <a:pt x="2150163" y="281406"/>
                    <a:pt x="2147791" y="281406"/>
                  </a:cubicBezTo>
                  <a:lnTo>
                    <a:pt x="2113492" y="281406"/>
                  </a:lnTo>
                  <a:cubicBezTo>
                    <a:pt x="2111125" y="281406"/>
                    <a:pt x="2109202" y="279501"/>
                    <a:pt x="2109202" y="277119"/>
                  </a:cubicBezTo>
                  <a:cubicBezTo>
                    <a:pt x="2109202" y="274756"/>
                    <a:pt x="2111125" y="272836"/>
                    <a:pt x="2113492" y="272836"/>
                  </a:cubicBezTo>
                  <a:close/>
                  <a:moveTo>
                    <a:pt x="501714" y="272442"/>
                  </a:moveTo>
                  <a:cubicBezTo>
                    <a:pt x="535863" y="272442"/>
                    <a:pt x="564390" y="283035"/>
                    <a:pt x="576914" y="298482"/>
                  </a:cubicBezTo>
                  <a:cubicBezTo>
                    <a:pt x="583021" y="302409"/>
                    <a:pt x="614768" y="323864"/>
                    <a:pt x="631659" y="357204"/>
                  </a:cubicBezTo>
                  <a:cubicBezTo>
                    <a:pt x="641224" y="376102"/>
                    <a:pt x="650551" y="374506"/>
                    <a:pt x="658067" y="373241"/>
                  </a:cubicBezTo>
                  <a:cubicBezTo>
                    <a:pt x="662329" y="372515"/>
                    <a:pt x="667644" y="371626"/>
                    <a:pt x="670993" y="376102"/>
                  </a:cubicBezTo>
                  <a:cubicBezTo>
                    <a:pt x="675172" y="381675"/>
                    <a:pt x="673716" y="390511"/>
                    <a:pt x="671550" y="403931"/>
                  </a:cubicBezTo>
                  <a:cubicBezTo>
                    <a:pt x="668330" y="424178"/>
                    <a:pt x="663430" y="454779"/>
                    <a:pt x="674781" y="491924"/>
                  </a:cubicBezTo>
                  <a:cubicBezTo>
                    <a:pt x="675302" y="493579"/>
                    <a:pt x="674982" y="495350"/>
                    <a:pt x="673917" y="496712"/>
                  </a:cubicBezTo>
                  <a:cubicBezTo>
                    <a:pt x="672911" y="498012"/>
                    <a:pt x="671384" y="498766"/>
                    <a:pt x="669750" y="498766"/>
                  </a:cubicBezTo>
                  <a:cubicBezTo>
                    <a:pt x="669668" y="498766"/>
                    <a:pt x="669608" y="498787"/>
                    <a:pt x="669502" y="498766"/>
                  </a:cubicBezTo>
                  <a:cubicBezTo>
                    <a:pt x="667466" y="498683"/>
                    <a:pt x="619444" y="495665"/>
                    <a:pt x="593687" y="445012"/>
                  </a:cubicBezTo>
                  <a:cubicBezTo>
                    <a:pt x="590431" y="438347"/>
                    <a:pt x="586099" y="432670"/>
                    <a:pt x="583246" y="430416"/>
                  </a:cubicBezTo>
                  <a:cubicBezTo>
                    <a:pt x="580512" y="453498"/>
                    <a:pt x="545901" y="471241"/>
                    <a:pt x="501714" y="471241"/>
                  </a:cubicBezTo>
                  <a:cubicBezTo>
                    <a:pt x="455680" y="471241"/>
                    <a:pt x="419625" y="452054"/>
                    <a:pt x="419625" y="427550"/>
                  </a:cubicBezTo>
                  <a:lnTo>
                    <a:pt x="419625" y="317491"/>
                  </a:lnTo>
                  <a:cubicBezTo>
                    <a:pt x="419625" y="317323"/>
                    <a:pt x="419790" y="317226"/>
                    <a:pt x="419814" y="317063"/>
                  </a:cubicBezTo>
                  <a:cubicBezTo>
                    <a:pt x="419802" y="316740"/>
                    <a:pt x="419625" y="316456"/>
                    <a:pt x="419625" y="316129"/>
                  </a:cubicBezTo>
                  <a:cubicBezTo>
                    <a:pt x="419625" y="291625"/>
                    <a:pt x="455680" y="272442"/>
                    <a:pt x="501714" y="272442"/>
                  </a:cubicBezTo>
                  <a:close/>
                  <a:moveTo>
                    <a:pt x="1502334" y="272287"/>
                  </a:moveTo>
                  <a:cubicBezTo>
                    <a:pt x="1501410" y="272287"/>
                    <a:pt x="1500652" y="273043"/>
                    <a:pt x="1500652" y="273966"/>
                  </a:cubicBezTo>
                  <a:cubicBezTo>
                    <a:pt x="1500652" y="273966"/>
                    <a:pt x="1500652" y="276776"/>
                    <a:pt x="1500652" y="276776"/>
                  </a:cubicBezTo>
                  <a:cubicBezTo>
                    <a:pt x="1500652" y="277699"/>
                    <a:pt x="1501410" y="278448"/>
                    <a:pt x="1502334" y="278448"/>
                  </a:cubicBezTo>
                  <a:lnTo>
                    <a:pt x="1504827" y="278448"/>
                  </a:lnTo>
                  <a:cubicBezTo>
                    <a:pt x="1505744" y="278448"/>
                    <a:pt x="1506502" y="277699"/>
                    <a:pt x="1506502" y="276776"/>
                  </a:cubicBezTo>
                  <a:lnTo>
                    <a:pt x="1506502" y="273966"/>
                  </a:lnTo>
                  <a:cubicBezTo>
                    <a:pt x="1506502" y="273043"/>
                    <a:pt x="1505757" y="272287"/>
                    <a:pt x="1504827" y="272287"/>
                  </a:cubicBezTo>
                  <a:close/>
                  <a:moveTo>
                    <a:pt x="1067615" y="270440"/>
                  </a:moveTo>
                  <a:cubicBezTo>
                    <a:pt x="1085445" y="270401"/>
                    <a:pt x="1103369" y="276033"/>
                    <a:pt x="1117390" y="287278"/>
                  </a:cubicBezTo>
                  <a:cubicBezTo>
                    <a:pt x="1144815" y="309173"/>
                    <a:pt x="1153698" y="348272"/>
                    <a:pt x="1140760" y="380313"/>
                  </a:cubicBezTo>
                  <a:cubicBezTo>
                    <a:pt x="1140452" y="381236"/>
                    <a:pt x="1139875" y="382180"/>
                    <a:pt x="1138958" y="382797"/>
                  </a:cubicBezTo>
                  <a:cubicBezTo>
                    <a:pt x="1140800" y="388649"/>
                    <a:pt x="1142625" y="394532"/>
                    <a:pt x="1144483" y="400694"/>
                  </a:cubicBezTo>
                  <a:cubicBezTo>
                    <a:pt x="1145708" y="404698"/>
                    <a:pt x="1147565" y="409613"/>
                    <a:pt x="1143866" y="412687"/>
                  </a:cubicBezTo>
                  <a:cubicBezTo>
                    <a:pt x="1140160" y="416080"/>
                    <a:pt x="1135259" y="412978"/>
                    <a:pt x="1131561" y="411132"/>
                  </a:cubicBezTo>
                  <a:cubicBezTo>
                    <a:pt x="1126937" y="408981"/>
                    <a:pt x="1122006" y="406830"/>
                    <a:pt x="1117390" y="404361"/>
                  </a:cubicBezTo>
                  <a:lnTo>
                    <a:pt x="1117082" y="404361"/>
                  </a:lnTo>
                  <a:cubicBezTo>
                    <a:pt x="1079486" y="416996"/>
                    <a:pt x="1033212" y="413284"/>
                    <a:pt x="1006712" y="380620"/>
                  </a:cubicBezTo>
                  <a:cubicBezTo>
                    <a:pt x="982986" y="351660"/>
                    <a:pt x="989806" y="311012"/>
                    <a:pt x="1018148" y="287592"/>
                  </a:cubicBezTo>
                  <a:cubicBezTo>
                    <a:pt x="1032010" y="276188"/>
                    <a:pt x="1049777" y="270474"/>
                    <a:pt x="1067615" y="270440"/>
                  </a:cubicBezTo>
                  <a:close/>
                  <a:moveTo>
                    <a:pt x="705547" y="268586"/>
                  </a:moveTo>
                  <a:cubicBezTo>
                    <a:pt x="702529" y="268586"/>
                    <a:pt x="700082" y="270989"/>
                    <a:pt x="700082" y="273999"/>
                  </a:cubicBezTo>
                  <a:cubicBezTo>
                    <a:pt x="700082" y="277001"/>
                    <a:pt x="702529" y="279468"/>
                    <a:pt x="705547" y="279468"/>
                  </a:cubicBezTo>
                  <a:cubicBezTo>
                    <a:pt x="708555" y="279468"/>
                    <a:pt x="711020" y="277001"/>
                    <a:pt x="711020" y="273999"/>
                  </a:cubicBezTo>
                  <a:cubicBezTo>
                    <a:pt x="711020" y="271178"/>
                    <a:pt x="708787" y="269064"/>
                    <a:pt x="706047" y="268776"/>
                  </a:cubicBezTo>
                  <a:cubicBezTo>
                    <a:pt x="705850" y="268776"/>
                    <a:pt x="705734" y="268614"/>
                    <a:pt x="705547" y="268586"/>
                  </a:cubicBezTo>
                  <a:close/>
                  <a:moveTo>
                    <a:pt x="1477453" y="266545"/>
                  </a:moveTo>
                  <a:cubicBezTo>
                    <a:pt x="1475871" y="267540"/>
                    <a:pt x="1476289" y="270659"/>
                    <a:pt x="1476688" y="272437"/>
                  </a:cubicBezTo>
                  <a:cubicBezTo>
                    <a:pt x="1477094" y="274256"/>
                    <a:pt x="1476934" y="276370"/>
                    <a:pt x="1476768" y="278616"/>
                  </a:cubicBezTo>
                  <a:cubicBezTo>
                    <a:pt x="1476629" y="280366"/>
                    <a:pt x="1476363" y="283990"/>
                    <a:pt x="1477001" y="284719"/>
                  </a:cubicBezTo>
                  <a:cubicBezTo>
                    <a:pt x="1477014" y="284713"/>
                    <a:pt x="1477167" y="284780"/>
                    <a:pt x="1477546" y="284790"/>
                  </a:cubicBezTo>
                  <a:cubicBezTo>
                    <a:pt x="1482026" y="284887"/>
                    <a:pt x="1487696" y="282452"/>
                    <a:pt x="1492356" y="278417"/>
                  </a:cubicBezTo>
                  <a:cubicBezTo>
                    <a:pt x="1492755" y="278080"/>
                    <a:pt x="1493207" y="277834"/>
                    <a:pt x="1493672" y="277699"/>
                  </a:cubicBezTo>
                  <a:cubicBezTo>
                    <a:pt x="1493639" y="277408"/>
                    <a:pt x="1493626" y="277085"/>
                    <a:pt x="1493626" y="276769"/>
                  </a:cubicBezTo>
                  <a:lnTo>
                    <a:pt x="1493626" y="273966"/>
                  </a:lnTo>
                  <a:cubicBezTo>
                    <a:pt x="1493626" y="273097"/>
                    <a:pt x="1493752" y="272254"/>
                    <a:pt x="1494005" y="271448"/>
                  </a:cubicBezTo>
                  <a:cubicBezTo>
                    <a:pt x="1493759" y="271344"/>
                    <a:pt x="1493533" y="271203"/>
                    <a:pt x="1493314" y="271042"/>
                  </a:cubicBezTo>
                  <a:cubicBezTo>
                    <a:pt x="1488275" y="267049"/>
                    <a:pt x="1480265" y="264782"/>
                    <a:pt x="1477453" y="266545"/>
                  </a:cubicBezTo>
                  <a:close/>
                  <a:moveTo>
                    <a:pt x="1529429" y="265899"/>
                  </a:moveTo>
                  <a:cubicBezTo>
                    <a:pt x="1526464" y="264396"/>
                    <a:pt x="1518201" y="267488"/>
                    <a:pt x="1513528" y="271080"/>
                  </a:cubicBezTo>
                  <a:cubicBezTo>
                    <a:pt x="1513395" y="271182"/>
                    <a:pt x="1513262" y="271266"/>
                    <a:pt x="1513129" y="271333"/>
                  </a:cubicBezTo>
                  <a:cubicBezTo>
                    <a:pt x="1513389" y="272170"/>
                    <a:pt x="1513542" y="273058"/>
                    <a:pt x="1513542" y="273966"/>
                  </a:cubicBezTo>
                  <a:lnTo>
                    <a:pt x="1513542" y="276776"/>
                  </a:lnTo>
                  <a:cubicBezTo>
                    <a:pt x="1513542" y="277106"/>
                    <a:pt x="1513522" y="277428"/>
                    <a:pt x="1513482" y="277751"/>
                  </a:cubicBezTo>
                  <a:cubicBezTo>
                    <a:pt x="1513834" y="277880"/>
                    <a:pt x="1514173" y="278080"/>
                    <a:pt x="1514472" y="278325"/>
                  </a:cubicBezTo>
                  <a:cubicBezTo>
                    <a:pt x="1520694" y="283454"/>
                    <a:pt x="1528279" y="286535"/>
                    <a:pt x="1530067" y="284657"/>
                  </a:cubicBezTo>
                  <a:cubicBezTo>
                    <a:pt x="1530579" y="284131"/>
                    <a:pt x="1530227" y="281961"/>
                    <a:pt x="1530007" y="280528"/>
                  </a:cubicBezTo>
                  <a:cubicBezTo>
                    <a:pt x="1529794" y="279230"/>
                    <a:pt x="1529588" y="277896"/>
                    <a:pt x="1529635" y="276594"/>
                  </a:cubicBezTo>
                  <a:cubicBezTo>
                    <a:pt x="1529695" y="275105"/>
                    <a:pt x="1529947" y="273779"/>
                    <a:pt x="1530193" y="272500"/>
                  </a:cubicBezTo>
                  <a:cubicBezTo>
                    <a:pt x="1530406" y="271382"/>
                    <a:pt x="1530612" y="270330"/>
                    <a:pt x="1530632" y="269356"/>
                  </a:cubicBezTo>
                  <a:lnTo>
                    <a:pt x="1530639" y="269325"/>
                  </a:lnTo>
                  <a:cubicBezTo>
                    <a:pt x="1530685" y="266534"/>
                    <a:pt x="1529741" y="266054"/>
                    <a:pt x="1529429" y="265899"/>
                  </a:cubicBezTo>
                  <a:close/>
                  <a:moveTo>
                    <a:pt x="1768329" y="262496"/>
                  </a:moveTo>
                  <a:cubicBezTo>
                    <a:pt x="1756020" y="262496"/>
                    <a:pt x="1746023" y="272562"/>
                    <a:pt x="1746023" y="284868"/>
                  </a:cubicBezTo>
                  <a:cubicBezTo>
                    <a:pt x="1746023" y="297180"/>
                    <a:pt x="1756020" y="307175"/>
                    <a:pt x="1768329" y="307175"/>
                  </a:cubicBezTo>
                  <a:cubicBezTo>
                    <a:pt x="1780638" y="307175"/>
                    <a:pt x="1790642" y="297180"/>
                    <a:pt x="1790642" y="284868"/>
                  </a:cubicBezTo>
                  <a:cubicBezTo>
                    <a:pt x="1790642" y="272562"/>
                    <a:pt x="1780638" y="262496"/>
                    <a:pt x="1768329" y="262496"/>
                  </a:cubicBezTo>
                  <a:close/>
                  <a:moveTo>
                    <a:pt x="2104918" y="259971"/>
                  </a:moveTo>
                  <a:lnTo>
                    <a:pt x="2156359" y="259971"/>
                  </a:lnTo>
                  <a:cubicBezTo>
                    <a:pt x="2158736" y="259971"/>
                    <a:pt x="2160654" y="261897"/>
                    <a:pt x="2160654" y="264260"/>
                  </a:cubicBezTo>
                  <a:cubicBezTo>
                    <a:pt x="2160654" y="266636"/>
                    <a:pt x="2158736" y="268547"/>
                    <a:pt x="2156359" y="268547"/>
                  </a:cubicBezTo>
                  <a:lnTo>
                    <a:pt x="2104918" y="268547"/>
                  </a:lnTo>
                  <a:cubicBezTo>
                    <a:pt x="2102551" y="268547"/>
                    <a:pt x="2100634" y="266636"/>
                    <a:pt x="2100634" y="264260"/>
                  </a:cubicBezTo>
                  <a:cubicBezTo>
                    <a:pt x="2100634" y="261897"/>
                    <a:pt x="2102551" y="259971"/>
                    <a:pt x="2104918" y="259971"/>
                  </a:cubicBezTo>
                  <a:close/>
                  <a:moveTo>
                    <a:pt x="1532606" y="259628"/>
                  </a:moveTo>
                  <a:cubicBezTo>
                    <a:pt x="1534960" y="260823"/>
                    <a:pt x="1537745" y="263471"/>
                    <a:pt x="1537665" y="269348"/>
                  </a:cubicBezTo>
                  <a:cubicBezTo>
                    <a:pt x="1537665" y="269419"/>
                    <a:pt x="1537665" y="269478"/>
                    <a:pt x="1537665" y="269542"/>
                  </a:cubicBezTo>
                  <a:cubicBezTo>
                    <a:pt x="1537665" y="269632"/>
                    <a:pt x="1537652" y="269731"/>
                    <a:pt x="1537652" y="269832"/>
                  </a:cubicBezTo>
                  <a:cubicBezTo>
                    <a:pt x="1538223" y="269871"/>
                    <a:pt x="1538675" y="269910"/>
                    <a:pt x="1538862" y="269923"/>
                  </a:cubicBezTo>
                  <a:cubicBezTo>
                    <a:pt x="1538895" y="269931"/>
                    <a:pt x="1538941" y="269931"/>
                    <a:pt x="1538981" y="269931"/>
                  </a:cubicBezTo>
                  <a:cubicBezTo>
                    <a:pt x="1549172" y="271144"/>
                    <a:pt x="1557760" y="272874"/>
                    <a:pt x="1563823" y="274948"/>
                  </a:cubicBezTo>
                  <a:cubicBezTo>
                    <a:pt x="1566674" y="275918"/>
                    <a:pt x="1575369" y="278887"/>
                    <a:pt x="1575369" y="285049"/>
                  </a:cubicBezTo>
                  <a:cubicBezTo>
                    <a:pt x="1575369" y="285049"/>
                    <a:pt x="1575376" y="291288"/>
                    <a:pt x="1575376" y="291288"/>
                  </a:cubicBezTo>
                  <a:lnTo>
                    <a:pt x="1575376" y="322007"/>
                  </a:lnTo>
                  <a:cubicBezTo>
                    <a:pt x="1575376" y="323632"/>
                    <a:pt x="1574259" y="325046"/>
                    <a:pt x="1572690" y="325434"/>
                  </a:cubicBezTo>
                  <a:cubicBezTo>
                    <a:pt x="1572072" y="325582"/>
                    <a:pt x="1571454" y="325725"/>
                    <a:pt x="1570822" y="325872"/>
                  </a:cubicBezTo>
                  <a:cubicBezTo>
                    <a:pt x="1570836" y="325970"/>
                    <a:pt x="1570836" y="326073"/>
                    <a:pt x="1570836" y="326163"/>
                  </a:cubicBezTo>
                  <a:lnTo>
                    <a:pt x="1570836" y="405844"/>
                  </a:lnTo>
                  <a:cubicBezTo>
                    <a:pt x="1570836" y="406703"/>
                    <a:pt x="1570530" y="407523"/>
                    <a:pt x="1569971" y="408167"/>
                  </a:cubicBezTo>
                  <a:cubicBezTo>
                    <a:pt x="1561842" y="417443"/>
                    <a:pt x="1530778" y="421600"/>
                    <a:pt x="1503577" y="421600"/>
                  </a:cubicBezTo>
                  <a:cubicBezTo>
                    <a:pt x="1476383" y="421600"/>
                    <a:pt x="1445319" y="417443"/>
                    <a:pt x="1437196" y="408167"/>
                  </a:cubicBezTo>
                  <a:cubicBezTo>
                    <a:pt x="1436624" y="407523"/>
                    <a:pt x="1436325" y="406703"/>
                    <a:pt x="1436325" y="405844"/>
                  </a:cubicBezTo>
                  <a:lnTo>
                    <a:pt x="1436325" y="326163"/>
                  </a:lnTo>
                  <a:cubicBezTo>
                    <a:pt x="1436325" y="326073"/>
                    <a:pt x="1436325" y="325970"/>
                    <a:pt x="1436339" y="325866"/>
                  </a:cubicBezTo>
                  <a:cubicBezTo>
                    <a:pt x="1435714" y="325725"/>
                    <a:pt x="1435089" y="325572"/>
                    <a:pt x="1434484" y="325420"/>
                  </a:cubicBezTo>
                  <a:cubicBezTo>
                    <a:pt x="1432902" y="325046"/>
                    <a:pt x="1431792" y="323632"/>
                    <a:pt x="1431792" y="322007"/>
                  </a:cubicBezTo>
                  <a:lnTo>
                    <a:pt x="1431792" y="291288"/>
                  </a:lnTo>
                  <a:lnTo>
                    <a:pt x="1431805" y="285049"/>
                  </a:lnTo>
                  <a:cubicBezTo>
                    <a:pt x="1431805" y="278887"/>
                    <a:pt x="1440487" y="275925"/>
                    <a:pt x="1443338" y="274948"/>
                  </a:cubicBezTo>
                  <a:cubicBezTo>
                    <a:pt x="1449374" y="272882"/>
                    <a:pt x="1457956" y="271150"/>
                    <a:pt x="1468146" y="269938"/>
                  </a:cubicBezTo>
                  <a:lnTo>
                    <a:pt x="1469296" y="269800"/>
                  </a:lnTo>
                  <a:cubicBezTo>
                    <a:pt x="1469197" y="264666"/>
                    <a:pt x="1471503" y="261973"/>
                    <a:pt x="1473717" y="260585"/>
                  </a:cubicBezTo>
                  <a:cubicBezTo>
                    <a:pt x="1480464" y="256369"/>
                    <a:pt x="1491997" y="261030"/>
                    <a:pt x="1497674" y="265525"/>
                  </a:cubicBezTo>
                  <a:cubicBezTo>
                    <a:pt x="1497940" y="265731"/>
                    <a:pt x="1498159" y="265970"/>
                    <a:pt x="1498346" y="266229"/>
                  </a:cubicBezTo>
                  <a:cubicBezTo>
                    <a:pt x="1499549" y="265609"/>
                    <a:pt x="1500898" y="265262"/>
                    <a:pt x="1502334" y="265262"/>
                  </a:cubicBezTo>
                  <a:lnTo>
                    <a:pt x="1504827" y="265262"/>
                  </a:lnTo>
                  <a:cubicBezTo>
                    <a:pt x="1506176" y="265262"/>
                    <a:pt x="1507472" y="265570"/>
                    <a:pt x="1508616" y="266128"/>
                  </a:cubicBezTo>
                  <a:cubicBezTo>
                    <a:pt x="1508795" y="265899"/>
                    <a:pt x="1509008" y="265693"/>
                    <a:pt x="1509247" y="265507"/>
                  </a:cubicBezTo>
                  <a:cubicBezTo>
                    <a:pt x="1513788" y="262027"/>
                    <a:pt x="1525460" y="256011"/>
                    <a:pt x="1532606" y="259628"/>
                  </a:cubicBezTo>
                  <a:close/>
                  <a:moveTo>
                    <a:pt x="867382" y="256928"/>
                  </a:moveTo>
                  <a:cubicBezTo>
                    <a:pt x="867382" y="263331"/>
                    <a:pt x="872577" y="268528"/>
                    <a:pt x="878986" y="268528"/>
                  </a:cubicBezTo>
                  <a:lnTo>
                    <a:pt x="902194" y="268528"/>
                  </a:lnTo>
                  <a:cubicBezTo>
                    <a:pt x="908603" y="268528"/>
                    <a:pt x="913798" y="263331"/>
                    <a:pt x="913798" y="256928"/>
                  </a:cubicBezTo>
                  <a:close/>
                  <a:moveTo>
                    <a:pt x="1768329" y="256529"/>
                  </a:moveTo>
                  <a:cubicBezTo>
                    <a:pt x="1783955" y="256529"/>
                    <a:pt x="1796672" y="269244"/>
                    <a:pt x="1796672" y="284868"/>
                  </a:cubicBezTo>
                  <a:cubicBezTo>
                    <a:pt x="1796672" y="300486"/>
                    <a:pt x="1783955" y="313206"/>
                    <a:pt x="1768329" y="313206"/>
                  </a:cubicBezTo>
                  <a:cubicBezTo>
                    <a:pt x="1752703" y="313206"/>
                    <a:pt x="1740054" y="300486"/>
                    <a:pt x="1740054" y="284868"/>
                  </a:cubicBezTo>
                  <a:cubicBezTo>
                    <a:pt x="1740054" y="269244"/>
                    <a:pt x="1752703" y="256529"/>
                    <a:pt x="1768329" y="256529"/>
                  </a:cubicBezTo>
                  <a:close/>
                  <a:moveTo>
                    <a:pt x="2250132" y="255974"/>
                  </a:moveTo>
                  <a:cubicBezTo>
                    <a:pt x="2234544" y="255974"/>
                    <a:pt x="2221921" y="268582"/>
                    <a:pt x="2221921" y="284125"/>
                  </a:cubicBezTo>
                  <a:lnTo>
                    <a:pt x="2221921" y="312277"/>
                  </a:lnTo>
                  <a:lnTo>
                    <a:pt x="2278343" y="312277"/>
                  </a:lnTo>
                  <a:lnTo>
                    <a:pt x="2278343" y="284125"/>
                  </a:lnTo>
                  <a:cubicBezTo>
                    <a:pt x="2278343" y="268582"/>
                    <a:pt x="2265682" y="255974"/>
                    <a:pt x="2250132" y="255974"/>
                  </a:cubicBezTo>
                  <a:close/>
                  <a:moveTo>
                    <a:pt x="702002" y="250877"/>
                  </a:moveTo>
                  <a:cubicBezTo>
                    <a:pt x="679655" y="251290"/>
                    <a:pt x="658753" y="260810"/>
                    <a:pt x="643718" y="277286"/>
                  </a:cubicBezTo>
                  <a:cubicBezTo>
                    <a:pt x="646807" y="282758"/>
                    <a:pt x="650397" y="287948"/>
                    <a:pt x="654959" y="292515"/>
                  </a:cubicBezTo>
                  <a:cubicBezTo>
                    <a:pt x="668173" y="305742"/>
                    <a:pt x="685726" y="313086"/>
                    <a:pt x="704430" y="313086"/>
                  </a:cubicBezTo>
                  <a:lnTo>
                    <a:pt x="704493" y="317063"/>
                  </a:lnTo>
                  <a:lnTo>
                    <a:pt x="704493" y="313086"/>
                  </a:lnTo>
                  <a:cubicBezTo>
                    <a:pt x="723171" y="313086"/>
                    <a:pt x="740751" y="305742"/>
                    <a:pt x="753956" y="292515"/>
                  </a:cubicBezTo>
                  <a:cubicBezTo>
                    <a:pt x="758179" y="288291"/>
                    <a:pt x="761554" y="283550"/>
                    <a:pt x="764518" y="278534"/>
                  </a:cubicBezTo>
                  <a:cubicBezTo>
                    <a:pt x="750536" y="262521"/>
                    <a:pt x="731010" y="253145"/>
                    <a:pt x="710020" y="251433"/>
                  </a:cubicBezTo>
                  <a:lnTo>
                    <a:pt x="710020" y="261379"/>
                  </a:lnTo>
                  <a:cubicBezTo>
                    <a:pt x="715260" y="263238"/>
                    <a:pt x="719028" y="268114"/>
                    <a:pt x="719028" y="273999"/>
                  </a:cubicBezTo>
                  <a:cubicBezTo>
                    <a:pt x="719028" y="279883"/>
                    <a:pt x="715260" y="284816"/>
                    <a:pt x="710020" y="286670"/>
                  </a:cubicBezTo>
                  <a:lnTo>
                    <a:pt x="710020" y="302702"/>
                  </a:lnTo>
                  <a:cubicBezTo>
                    <a:pt x="710020" y="304934"/>
                    <a:pt x="708270" y="306749"/>
                    <a:pt x="706047" y="306749"/>
                  </a:cubicBezTo>
                  <a:cubicBezTo>
                    <a:pt x="703814" y="306749"/>
                    <a:pt x="702002" y="304934"/>
                    <a:pt x="702002" y="302702"/>
                  </a:cubicBezTo>
                  <a:lnTo>
                    <a:pt x="702002" y="286863"/>
                  </a:lnTo>
                  <a:cubicBezTo>
                    <a:pt x="696288" y="285276"/>
                    <a:pt x="692065" y="280213"/>
                    <a:pt x="692065" y="273999"/>
                  </a:cubicBezTo>
                  <a:cubicBezTo>
                    <a:pt x="692065" y="267785"/>
                    <a:pt x="696288" y="262773"/>
                    <a:pt x="702002" y="261193"/>
                  </a:cubicBezTo>
                  <a:close/>
                  <a:moveTo>
                    <a:pt x="2071284" y="250690"/>
                  </a:moveTo>
                  <a:cubicBezTo>
                    <a:pt x="2073500" y="250322"/>
                    <a:pt x="2075849" y="250761"/>
                    <a:pt x="2077807" y="252178"/>
                  </a:cubicBezTo>
                  <a:cubicBezTo>
                    <a:pt x="2081751" y="255012"/>
                    <a:pt x="2082685" y="260481"/>
                    <a:pt x="2079860" y="264423"/>
                  </a:cubicBezTo>
                  <a:lnTo>
                    <a:pt x="2049780" y="306000"/>
                  </a:lnTo>
                  <a:cubicBezTo>
                    <a:pt x="2056879" y="311806"/>
                    <a:pt x="2059330" y="321784"/>
                    <a:pt x="2055498" y="330233"/>
                  </a:cubicBezTo>
                  <a:lnTo>
                    <a:pt x="2033686" y="378270"/>
                  </a:lnTo>
                  <a:cubicBezTo>
                    <a:pt x="2032315" y="381294"/>
                    <a:pt x="2029418" y="383244"/>
                    <a:pt x="2026100" y="383431"/>
                  </a:cubicBezTo>
                  <a:lnTo>
                    <a:pt x="2025608" y="383431"/>
                  </a:lnTo>
                  <a:cubicBezTo>
                    <a:pt x="2022492" y="383431"/>
                    <a:pt x="2019611" y="381824"/>
                    <a:pt x="2018022" y="379142"/>
                  </a:cubicBezTo>
                  <a:lnTo>
                    <a:pt x="2014604" y="373421"/>
                  </a:lnTo>
                  <a:lnTo>
                    <a:pt x="1999875" y="369448"/>
                  </a:lnTo>
                  <a:cubicBezTo>
                    <a:pt x="1997167" y="368725"/>
                    <a:pt x="1994997" y="366763"/>
                    <a:pt x="1993973" y="364160"/>
                  </a:cubicBezTo>
                  <a:lnTo>
                    <a:pt x="1988133" y="349436"/>
                  </a:lnTo>
                  <a:lnTo>
                    <a:pt x="1978746" y="348564"/>
                  </a:lnTo>
                  <a:cubicBezTo>
                    <a:pt x="1975272" y="348271"/>
                    <a:pt x="1972296" y="345954"/>
                    <a:pt x="1971166" y="342659"/>
                  </a:cubicBezTo>
                  <a:cubicBezTo>
                    <a:pt x="1970025" y="339358"/>
                    <a:pt x="1970970" y="335664"/>
                    <a:pt x="1973526" y="333280"/>
                  </a:cubicBezTo>
                  <a:lnTo>
                    <a:pt x="2011063" y="298288"/>
                  </a:lnTo>
                  <a:cubicBezTo>
                    <a:pt x="2014862" y="294731"/>
                    <a:pt x="2019835" y="292757"/>
                    <a:pt x="2025049" y="292757"/>
                  </a:cubicBezTo>
                  <a:cubicBezTo>
                    <a:pt x="2028897" y="292757"/>
                    <a:pt x="2032556" y="293916"/>
                    <a:pt x="2035795" y="295927"/>
                  </a:cubicBezTo>
                  <a:lnTo>
                    <a:pt x="2065567" y="254229"/>
                  </a:lnTo>
                  <a:cubicBezTo>
                    <a:pt x="2066982" y="252265"/>
                    <a:pt x="2069069" y="251051"/>
                    <a:pt x="2071284" y="250690"/>
                  </a:cubicBezTo>
                  <a:close/>
                  <a:moveTo>
                    <a:pt x="2104918" y="247118"/>
                  </a:moveTo>
                  <a:lnTo>
                    <a:pt x="2156359" y="247118"/>
                  </a:lnTo>
                  <a:cubicBezTo>
                    <a:pt x="2158736" y="247118"/>
                    <a:pt x="2160654" y="249039"/>
                    <a:pt x="2160654" y="251402"/>
                  </a:cubicBezTo>
                  <a:cubicBezTo>
                    <a:pt x="2160654" y="253770"/>
                    <a:pt x="2158736" y="255695"/>
                    <a:pt x="2156359" y="255695"/>
                  </a:cubicBezTo>
                  <a:lnTo>
                    <a:pt x="2104918" y="255695"/>
                  </a:lnTo>
                  <a:cubicBezTo>
                    <a:pt x="2102551" y="255695"/>
                    <a:pt x="2100634" y="253770"/>
                    <a:pt x="2100634" y="251402"/>
                  </a:cubicBezTo>
                  <a:cubicBezTo>
                    <a:pt x="2100634" y="249039"/>
                    <a:pt x="2102551" y="247118"/>
                    <a:pt x="2104918" y="247118"/>
                  </a:cubicBezTo>
                  <a:close/>
                  <a:moveTo>
                    <a:pt x="753706" y="240627"/>
                  </a:moveTo>
                  <a:lnTo>
                    <a:pt x="762902" y="240627"/>
                  </a:lnTo>
                  <a:cubicBezTo>
                    <a:pt x="764027" y="240627"/>
                    <a:pt x="764955" y="241513"/>
                    <a:pt x="764955" y="242610"/>
                  </a:cubicBezTo>
                  <a:cubicBezTo>
                    <a:pt x="764955" y="243721"/>
                    <a:pt x="764027" y="244666"/>
                    <a:pt x="762902" y="244666"/>
                  </a:cubicBezTo>
                  <a:cubicBezTo>
                    <a:pt x="762902" y="244666"/>
                    <a:pt x="753706" y="244666"/>
                    <a:pt x="753706" y="244666"/>
                  </a:cubicBezTo>
                  <a:cubicBezTo>
                    <a:pt x="752590" y="244666"/>
                    <a:pt x="751724" y="243727"/>
                    <a:pt x="751724" y="242610"/>
                  </a:cubicBezTo>
                  <a:cubicBezTo>
                    <a:pt x="751724" y="241493"/>
                    <a:pt x="752590" y="240627"/>
                    <a:pt x="753706" y="240627"/>
                  </a:cubicBezTo>
                  <a:close/>
                  <a:moveTo>
                    <a:pt x="646325" y="240627"/>
                  </a:moveTo>
                  <a:lnTo>
                    <a:pt x="655521" y="240627"/>
                  </a:lnTo>
                  <a:cubicBezTo>
                    <a:pt x="656646" y="240627"/>
                    <a:pt x="657575" y="241539"/>
                    <a:pt x="657575" y="242675"/>
                  </a:cubicBezTo>
                  <a:cubicBezTo>
                    <a:pt x="657575" y="243773"/>
                    <a:pt x="656682" y="244666"/>
                    <a:pt x="655584" y="244666"/>
                  </a:cubicBezTo>
                  <a:lnTo>
                    <a:pt x="646325" y="244666"/>
                  </a:lnTo>
                  <a:cubicBezTo>
                    <a:pt x="645209" y="244666"/>
                    <a:pt x="644334" y="243773"/>
                    <a:pt x="644334" y="242675"/>
                  </a:cubicBezTo>
                  <a:cubicBezTo>
                    <a:pt x="644334" y="241539"/>
                    <a:pt x="645209" y="240627"/>
                    <a:pt x="646325" y="240627"/>
                  </a:cubicBezTo>
                  <a:close/>
                  <a:moveTo>
                    <a:pt x="1279755" y="240621"/>
                  </a:moveTo>
                  <a:cubicBezTo>
                    <a:pt x="1294131" y="240621"/>
                    <a:pt x="1305933" y="245362"/>
                    <a:pt x="1315303" y="254972"/>
                  </a:cubicBezTo>
                  <a:cubicBezTo>
                    <a:pt x="1324680" y="264582"/>
                    <a:pt x="1329350" y="276788"/>
                    <a:pt x="1329350" y="291514"/>
                  </a:cubicBezTo>
                  <a:lnTo>
                    <a:pt x="1329350" y="323206"/>
                  </a:lnTo>
                  <a:lnTo>
                    <a:pt x="1353581" y="323206"/>
                  </a:lnTo>
                  <a:cubicBezTo>
                    <a:pt x="1357117" y="323206"/>
                    <a:pt x="1360295" y="326150"/>
                    <a:pt x="1360295" y="329917"/>
                  </a:cubicBezTo>
                  <a:lnTo>
                    <a:pt x="1360295" y="427240"/>
                  </a:lnTo>
                  <a:cubicBezTo>
                    <a:pt x="1360295" y="431036"/>
                    <a:pt x="1357117" y="433890"/>
                    <a:pt x="1353581" y="433890"/>
                  </a:cubicBezTo>
                  <a:lnTo>
                    <a:pt x="1205803" y="433890"/>
                  </a:lnTo>
                  <a:cubicBezTo>
                    <a:pt x="1202020" y="433890"/>
                    <a:pt x="1199156" y="431036"/>
                    <a:pt x="1199156" y="427240"/>
                  </a:cubicBezTo>
                  <a:lnTo>
                    <a:pt x="1199156" y="329917"/>
                  </a:lnTo>
                  <a:cubicBezTo>
                    <a:pt x="1199156" y="326150"/>
                    <a:pt x="1202020" y="323206"/>
                    <a:pt x="1205803" y="323206"/>
                  </a:cubicBezTo>
                  <a:lnTo>
                    <a:pt x="1315802" y="323206"/>
                  </a:lnTo>
                  <a:lnTo>
                    <a:pt x="1315802" y="291514"/>
                  </a:lnTo>
                  <a:cubicBezTo>
                    <a:pt x="1315802" y="280580"/>
                    <a:pt x="1312393" y="271597"/>
                    <a:pt x="1305731" y="264608"/>
                  </a:cubicBezTo>
                  <a:cubicBezTo>
                    <a:pt x="1298995" y="257594"/>
                    <a:pt x="1290348" y="254042"/>
                    <a:pt x="1279755" y="254042"/>
                  </a:cubicBezTo>
                  <a:cubicBezTo>
                    <a:pt x="1269035" y="254042"/>
                    <a:pt x="1260284" y="257558"/>
                    <a:pt x="1253473" y="264608"/>
                  </a:cubicBezTo>
                  <a:cubicBezTo>
                    <a:pt x="1246759" y="271570"/>
                    <a:pt x="1243342" y="280580"/>
                    <a:pt x="1243342" y="291514"/>
                  </a:cubicBezTo>
                  <a:lnTo>
                    <a:pt x="1243342" y="299218"/>
                  </a:lnTo>
                  <a:cubicBezTo>
                    <a:pt x="1243342" y="302997"/>
                    <a:pt x="1240291" y="305937"/>
                    <a:pt x="1236501" y="305937"/>
                  </a:cubicBezTo>
                  <a:cubicBezTo>
                    <a:pt x="1232980" y="305937"/>
                    <a:pt x="1229795" y="302997"/>
                    <a:pt x="1229795" y="299218"/>
                  </a:cubicBezTo>
                  <a:lnTo>
                    <a:pt x="1229795" y="291514"/>
                  </a:lnTo>
                  <a:cubicBezTo>
                    <a:pt x="1229795" y="276788"/>
                    <a:pt x="1234576" y="264582"/>
                    <a:pt x="1243961" y="254972"/>
                  </a:cubicBezTo>
                  <a:cubicBezTo>
                    <a:pt x="1253339" y="245362"/>
                    <a:pt x="1265260" y="240621"/>
                    <a:pt x="1279755" y="240621"/>
                  </a:cubicBezTo>
                  <a:close/>
                  <a:moveTo>
                    <a:pt x="861580" y="239517"/>
                  </a:moveTo>
                  <a:cubicBezTo>
                    <a:pt x="858365" y="239517"/>
                    <a:pt x="855771" y="242106"/>
                    <a:pt x="855771" y="245316"/>
                  </a:cubicBezTo>
                  <a:cubicBezTo>
                    <a:pt x="855771" y="248539"/>
                    <a:pt x="858365" y="251122"/>
                    <a:pt x="861580" y="251122"/>
                  </a:cubicBezTo>
                  <a:lnTo>
                    <a:pt x="919606" y="251122"/>
                  </a:lnTo>
                  <a:cubicBezTo>
                    <a:pt x="922814" y="251122"/>
                    <a:pt x="925408" y="248539"/>
                    <a:pt x="925408" y="245316"/>
                  </a:cubicBezTo>
                  <a:cubicBezTo>
                    <a:pt x="925408" y="242106"/>
                    <a:pt x="922814" y="239517"/>
                    <a:pt x="919606" y="239517"/>
                  </a:cubicBezTo>
                  <a:close/>
                  <a:moveTo>
                    <a:pt x="1761189" y="238693"/>
                  </a:moveTo>
                  <a:cubicBezTo>
                    <a:pt x="1761060" y="238710"/>
                    <a:pt x="1760796" y="238885"/>
                    <a:pt x="1760750" y="239007"/>
                  </a:cubicBezTo>
                  <a:lnTo>
                    <a:pt x="1759632" y="243042"/>
                  </a:lnTo>
                  <a:cubicBezTo>
                    <a:pt x="1759005" y="245341"/>
                    <a:pt x="1756957" y="247594"/>
                    <a:pt x="1754721" y="248449"/>
                  </a:cubicBezTo>
                  <a:lnTo>
                    <a:pt x="1751305" y="249882"/>
                  </a:lnTo>
                  <a:cubicBezTo>
                    <a:pt x="1750073" y="250464"/>
                    <a:pt x="1748812" y="250562"/>
                    <a:pt x="1747950" y="250562"/>
                  </a:cubicBezTo>
                  <a:cubicBezTo>
                    <a:pt x="1746484" y="250562"/>
                    <a:pt x="1745064" y="250260"/>
                    <a:pt x="1743968" y="249631"/>
                  </a:cubicBezTo>
                  <a:lnTo>
                    <a:pt x="1740863" y="247891"/>
                  </a:lnTo>
                  <a:cubicBezTo>
                    <a:pt x="1740863" y="247891"/>
                    <a:pt x="1740832" y="247827"/>
                    <a:pt x="1740742" y="247827"/>
                  </a:cubicBezTo>
                  <a:cubicBezTo>
                    <a:pt x="1740545" y="247827"/>
                    <a:pt x="1740349" y="247920"/>
                    <a:pt x="1740303" y="247955"/>
                  </a:cubicBezTo>
                  <a:lnTo>
                    <a:pt x="1730548" y="257711"/>
                  </a:lnTo>
                  <a:cubicBezTo>
                    <a:pt x="1730480" y="257805"/>
                    <a:pt x="1730435" y="258142"/>
                    <a:pt x="1730488" y="258270"/>
                  </a:cubicBezTo>
                  <a:lnTo>
                    <a:pt x="1732415" y="261687"/>
                  </a:lnTo>
                  <a:cubicBezTo>
                    <a:pt x="1733601" y="263794"/>
                    <a:pt x="1733737" y="266898"/>
                    <a:pt x="1732725" y="269081"/>
                  </a:cubicBezTo>
                  <a:cubicBezTo>
                    <a:pt x="1732694" y="269150"/>
                    <a:pt x="1729740" y="275385"/>
                    <a:pt x="1726445" y="276293"/>
                  </a:cubicBezTo>
                  <a:lnTo>
                    <a:pt x="1722471" y="277346"/>
                  </a:lnTo>
                  <a:cubicBezTo>
                    <a:pt x="1722358" y="277393"/>
                    <a:pt x="1722176" y="277649"/>
                    <a:pt x="1722161" y="277783"/>
                  </a:cubicBezTo>
                  <a:lnTo>
                    <a:pt x="1722161" y="291638"/>
                  </a:lnTo>
                  <a:cubicBezTo>
                    <a:pt x="1722176" y="291754"/>
                    <a:pt x="1722403" y="291958"/>
                    <a:pt x="1722531" y="292017"/>
                  </a:cubicBezTo>
                  <a:lnTo>
                    <a:pt x="1726445" y="293134"/>
                  </a:lnTo>
                  <a:cubicBezTo>
                    <a:pt x="1728750" y="293769"/>
                    <a:pt x="1731017" y="295847"/>
                    <a:pt x="1731856" y="298106"/>
                  </a:cubicBezTo>
                  <a:lnTo>
                    <a:pt x="1732974" y="300777"/>
                  </a:lnTo>
                  <a:cubicBezTo>
                    <a:pt x="1733971" y="302966"/>
                    <a:pt x="1733782" y="306028"/>
                    <a:pt x="1732596" y="308107"/>
                  </a:cubicBezTo>
                  <a:lnTo>
                    <a:pt x="1730858" y="311279"/>
                  </a:lnTo>
                  <a:cubicBezTo>
                    <a:pt x="1730820" y="311390"/>
                    <a:pt x="1730836" y="311734"/>
                    <a:pt x="1730919" y="311838"/>
                  </a:cubicBezTo>
                  <a:lnTo>
                    <a:pt x="1740674" y="321595"/>
                  </a:lnTo>
                  <a:cubicBezTo>
                    <a:pt x="1740704" y="321618"/>
                    <a:pt x="1740855" y="321659"/>
                    <a:pt x="1741051" y="321659"/>
                  </a:cubicBezTo>
                  <a:cubicBezTo>
                    <a:pt x="1741142" y="321659"/>
                    <a:pt x="1741225" y="321664"/>
                    <a:pt x="1741233" y="321659"/>
                  </a:cubicBezTo>
                  <a:lnTo>
                    <a:pt x="1744217" y="319918"/>
                  </a:lnTo>
                  <a:cubicBezTo>
                    <a:pt x="1745336" y="319290"/>
                    <a:pt x="1746794" y="318923"/>
                    <a:pt x="1748260" y="318923"/>
                  </a:cubicBezTo>
                  <a:cubicBezTo>
                    <a:pt x="1749121" y="318923"/>
                    <a:pt x="1750338" y="319103"/>
                    <a:pt x="1751554" y="319668"/>
                  </a:cubicBezTo>
                  <a:lnTo>
                    <a:pt x="1754781" y="320972"/>
                  </a:lnTo>
                  <a:cubicBezTo>
                    <a:pt x="1757033" y="321816"/>
                    <a:pt x="1759058" y="324075"/>
                    <a:pt x="1759692" y="326380"/>
                  </a:cubicBezTo>
                  <a:lnTo>
                    <a:pt x="1760750" y="330234"/>
                  </a:lnTo>
                  <a:cubicBezTo>
                    <a:pt x="1760803" y="330338"/>
                    <a:pt x="1761045" y="330530"/>
                    <a:pt x="1761189" y="330542"/>
                  </a:cubicBezTo>
                  <a:lnTo>
                    <a:pt x="1774979" y="330542"/>
                  </a:lnTo>
                  <a:cubicBezTo>
                    <a:pt x="1775122" y="330519"/>
                    <a:pt x="1775371" y="330286"/>
                    <a:pt x="1775417" y="330169"/>
                  </a:cubicBezTo>
                  <a:lnTo>
                    <a:pt x="1776475" y="326380"/>
                  </a:lnTo>
                  <a:cubicBezTo>
                    <a:pt x="1777117" y="324075"/>
                    <a:pt x="1779195" y="321810"/>
                    <a:pt x="1781447" y="320972"/>
                  </a:cubicBezTo>
                  <a:lnTo>
                    <a:pt x="1784363" y="319790"/>
                  </a:lnTo>
                  <a:cubicBezTo>
                    <a:pt x="1785572" y="319243"/>
                    <a:pt x="1786872" y="319109"/>
                    <a:pt x="1787718" y="319109"/>
                  </a:cubicBezTo>
                  <a:cubicBezTo>
                    <a:pt x="1789199" y="319109"/>
                    <a:pt x="1790590" y="319476"/>
                    <a:pt x="1791700" y="320105"/>
                  </a:cubicBezTo>
                  <a:lnTo>
                    <a:pt x="1794927" y="321903"/>
                  </a:lnTo>
                  <a:cubicBezTo>
                    <a:pt x="1794927" y="321903"/>
                    <a:pt x="1794965" y="321903"/>
                    <a:pt x="1795055" y="321903"/>
                  </a:cubicBezTo>
                  <a:cubicBezTo>
                    <a:pt x="1795244" y="321903"/>
                    <a:pt x="1795448" y="321868"/>
                    <a:pt x="1795486" y="321845"/>
                  </a:cubicBezTo>
                  <a:lnTo>
                    <a:pt x="1805248" y="312025"/>
                  </a:lnTo>
                  <a:cubicBezTo>
                    <a:pt x="1805316" y="311925"/>
                    <a:pt x="1805369" y="311658"/>
                    <a:pt x="1805309" y="311529"/>
                  </a:cubicBezTo>
                  <a:lnTo>
                    <a:pt x="1803503" y="308293"/>
                  </a:lnTo>
                  <a:cubicBezTo>
                    <a:pt x="1802324" y="306209"/>
                    <a:pt x="1802196" y="303147"/>
                    <a:pt x="1803193" y="300964"/>
                  </a:cubicBezTo>
                  <a:lnTo>
                    <a:pt x="1804379" y="298106"/>
                  </a:lnTo>
                  <a:cubicBezTo>
                    <a:pt x="1805218" y="295859"/>
                    <a:pt x="1807478" y="293774"/>
                    <a:pt x="1809782" y="293134"/>
                  </a:cubicBezTo>
                  <a:lnTo>
                    <a:pt x="1813696" y="292017"/>
                  </a:lnTo>
                  <a:cubicBezTo>
                    <a:pt x="1813802" y="291964"/>
                    <a:pt x="1813991" y="291714"/>
                    <a:pt x="1814006" y="291580"/>
                  </a:cubicBezTo>
                  <a:lnTo>
                    <a:pt x="1814006" y="277783"/>
                  </a:lnTo>
                  <a:cubicBezTo>
                    <a:pt x="1813991" y="277667"/>
                    <a:pt x="1813825" y="277393"/>
                    <a:pt x="1813696" y="277346"/>
                  </a:cubicBezTo>
                  <a:lnTo>
                    <a:pt x="1809782" y="276293"/>
                  </a:lnTo>
                  <a:cubicBezTo>
                    <a:pt x="1807478" y="275658"/>
                    <a:pt x="1805218" y="273574"/>
                    <a:pt x="1804379" y="271322"/>
                  </a:cubicBezTo>
                  <a:lnTo>
                    <a:pt x="1803382" y="268772"/>
                  </a:lnTo>
                  <a:cubicBezTo>
                    <a:pt x="1802385" y="266583"/>
                    <a:pt x="1802513" y="263574"/>
                    <a:pt x="1803692" y="261501"/>
                  </a:cubicBezTo>
                  <a:lnTo>
                    <a:pt x="1805679" y="257962"/>
                  </a:lnTo>
                  <a:cubicBezTo>
                    <a:pt x="1805724" y="257851"/>
                    <a:pt x="1805641" y="257566"/>
                    <a:pt x="1805558" y="257461"/>
                  </a:cubicBezTo>
                  <a:lnTo>
                    <a:pt x="1795803" y="247705"/>
                  </a:lnTo>
                  <a:cubicBezTo>
                    <a:pt x="1795773" y="247687"/>
                    <a:pt x="1795622" y="247582"/>
                    <a:pt x="1795425" y="247582"/>
                  </a:cubicBezTo>
                  <a:cubicBezTo>
                    <a:pt x="1795335" y="247582"/>
                    <a:pt x="1795252" y="247640"/>
                    <a:pt x="1795244" y="247640"/>
                  </a:cubicBezTo>
                  <a:lnTo>
                    <a:pt x="1792010" y="249509"/>
                  </a:lnTo>
                  <a:cubicBezTo>
                    <a:pt x="1790899" y="250138"/>
                    <a:pt x="1789433" y="250440"/>
                    <a:pt x="1787968" y="250440"/>
                  </a:cubicBezTo>
                  <a:cubicBezTo>
                    <a:pt x="1787106" y="250440"/>
                    <a:pt x="1785837" y="250324"/>
                    <a:pt x="1784613" y="249753"/>
                  </a:cubicBezTo>
                  <a:lnTo>
                    <a:pt x="1781507" y="248449"/>
                  </a:lnTo>
                  <a:cubicBezTo>
                    <a:pt x="1779263" y="247605"/>
                    <a:pt x="1777170" y="245353"/>
                    <a:pt x="1776535" y="243042"/>
                  </a:cubicBezTo>
                  <a:lnTo>
                    <a:pt x="1775417" y="239007"/>
                  </a:lnTo>
                  <a:cubicBezTo>
                    <a:pt x="1775371" y="238903"/>
                    <a:pt x="1775122" y="238710"/>
                    <a:pt x="1774979" y="238693"/>
                  </a:cubicBezTo>
                  <a:close/>
                  <a:moveTo>
                    <a:pt x="2250132" y="234841"/>
                  </a:moveTo>
                  <a:cubicBezTo>
                    <a:pt x="2222891" y="234841"/>
                    <a:pt x="2200792" y="256870"/>
                    <a:pt x="2200792" y="284125"/>
                  </a:cubicBezTo>
                  <a:cubicBezTo>
                    <a:pt x="2200792" y="284125"/>
                    <a:pt x="2200792" y="312277"/>
                    <a:pt x="2200792" y="312277"/>
                  </a:cubicBezTo>
                  <a:lnTo>
                    <a:pt x="2214894" y="312277"/>
                  </a:lnTo>
                  <a:lnTo>
                    <a:pt x="2214894" y="284190"/>
                  </a:lnTo>
                  <a:cubicBezTo>
                    <a:pt x="2214894" y="264713"/>
                    <a:pt x="2230662" y="248952"/>
                    <a:pt x="2250132" y="248952"/>
                  </a:cubicBezTo>
                  <a:cubicBezTo>
                    <a:pt x="2269571" y="248952"/>
                    <a:pt x="2285371" y="264713"/>
                    <a:pt x="2285371" y="284190"/>
                  </a:cubicBezTo>
                  <a:lnTo>
                    <a:pt x="2285371" y="312277"/>
                  </a:lnTo>
                  <a:lnTo>
                    <a:pt x="2299410" y="312277"/>
                  </a:lnTo>
                  <a:lnTo>
                    <a:pt x="2299410" y="284125"/>
                  </a:lnTo>
                  <a:cubicBezTo>
                    <a:pt x="2299410" y="256870"/>
                    <a:pt x="2277350" y="234841"/>
                    <a:pt x="2250132" y="234841"/>
                  </a:cubicBezTo>
                  <a:close/>
                  <a:moveTo>
                    <a:pt x="1761189" y="232668"/>
                  </a:moveTo>
                  <a:lnTo>
                    <a:pt x="1775047" y="232668"/>
                  </a:lnTo>
                  <a:cubicBezTo>
                    <a:pt x="1777842" y="232668"/>
                    <a:pt x="1780517" y="234688"/>
                    <a:pt x="1781258" y="237389"/>
                  </a:cubicBezTo>
                  <a:lnTo>
                    <a:pt x="1782376" y="241429"/>
                  </a:lnTo>
                  <a:cubicBezTo>
                    <a:pt x="1782504" y="241877"/>
                    <a:pt x="1783185" y="242640"/>
                    <a:pt x="1783623" y="242797"/>
                  </a:cubicBezTo>
                  <a:lnTo>
                    <a:pt x="1783804" y="242855"/>
                  </a:lnTo>
                  <a:lnTo>
                    <a:pt x="1787159" y="244287"/>
                  </a:lnTo>
                  <a:cubicBezTo>
                    <a:pt x="1787257" y="244334"/>
                    <a:pt x="1787529" y="244474"/>
                    <a:pt x="1787968" y="244474"/>
                  </a:cubicBezTo>
                  <a:cubicBezTo>
                    <a:pt x="1788474" y="244474"/>
                    <a:pt x="1788897" y="244304"/>
                    <a:pt x="1789025" y="244223"/>
                  </a:cubicBezTo>
                  <a:lnTo>
                    <a:pt x="1792320" y="242360"/>
                  </a:lnTo>
                  <a:cubicBezTo>
                    <a:pt x="1793234" y="241848"/>
                    <a:pt x="1794307" y="241551"/>
                    <a:pt x="1795425" y="241551"/>
                  </a:cubicBezTo>
                  <a:cubicBezTo>
                    <a:pt x="1797201" y="241551"/>
                    <a:pt x="1798909" y="242250"/>
                    <a:pt x="1800088" y="243414"/>
                  </a:cubicBezTo>
                  <a:lnTo>
                    <a:pt x="1809843" y="253176"/>
                  </a:lnTo>
                  <a:cubicBezTo>
                    <a:pt x="1811822" y="255155"/>
                    <a:pt x="1812283" y="258503"/>
                    <a:pt x="1810900" y="260942"/>
                  </a:cubicBezTo>
                  <a:lnTo>
                    <a:pt x="1808913" y="264423"/>
                  </a:lnTo>
                  <a:cubicBezTo>
                    <a:pt x="1808679" y="264831"/>
                    <a:pt x="1808649" y="265931"/>
                    <a:pt x="1808853" y="266350"/>
                  </a:cubicBezTo>
                  <a:lnTo>
                    <a:pt x="1808913" y="266473"/>
                  </a:lnTo>
                  <a:lnTo>
                    <a:pt x="1810031" y="269208"/>
                  </a:lnTo>
                  <a:cubicBezTo>
                    <a:pt x="1810183" y="269651"/>
                    <a:pt x="1810953" y="270390"/>
                    <a:pt x="1811399" y="270512"/>
                  </a:cubicBezTo>
                  <a:lnTo>
                    <a:pt x="1815313" y="271566"/>
                  </a:lnTo>
                  <a:cubicBezTo>
                    <a:pt x="1818011" y="272311"/>
                    <a:pt x="1820036" y="274989"/>
                    <a:pt x="1820036" y="277783"/>
                  </a:cubicBezTo>
                  <a:lnTo>
                    <a:pt x="1820036" y="291638"/>
                  </a:lnTo>
                  <a:cubicBezTo>
                    <a:pt x="1820036" y="294438"/>
                    <a:pt x="1818018" y="297110"/>
                    <a:pt x="1815313" y="297856"/>
                  </a:cubicBezTo>
                  <a:lnTo>
                    <a:pt x="1811399" y="298909"/>
                  </a:lnTo>
                  <a:cubicBezTo>
                    <a:pt x="1810953" y="299031"/>
                    <a:pt x="1810190" y="299776"/>
                    <a:pt x="1810031" y="300219"/>
                  </a:cubicBezTo>
                  <a:lnTo>
                    <a:pt x="1809971" y="300341"/>
                  </a:lnTo>
                  <a:lnTo>
                    <a:pt x="1808664" y="303449"/>
                  </a:lnTo>
                  <a:cubicBezTo>
                    <a:pt x="1808467" y="303869"/>
                    <a:pt x="1808498" y="304975"/>
                    <a:pt x="1808724" y="305376"/>
                  </a:cubicBezTo>
                  <a:lnTo>
                    <a:pt x="1810530" y="308544"/>
                  </a:lnTo>
                  <a:cubicBezTo>
                    <a:pt x="1811905" y="310982"/>
                    <a:pt x="1811452" y="314330"/>
                    <a:pt x="1809472" y="316315"/>
                  </a:cubicBezTo>
                  <a:lnTo>
                    <a:pt x="1799717" y="326072"/>
                  </a:lnTo>
                  <a:cubicBezTo>
                    <a:pt x="1798546" y="327236"/>
                    <a:pt x="1796823" y="327934"/>
                    <a:pt x="1795055" y="327934"/>
                  </a:cubicBezTo>
                  <a:cubicBezTo>
                    <a:pt x="1793937" y="327934"/>
                    <a:pt x="1792864" y="327643"/>
                    <a:pt x="1791950" y="327125"/>
                  </a:cubicBezTo>
                  <a:lnTo>
                    <a:pt x="1788776" y="325321"/>
                  </a:lnTo>
                  <a:cubicBezTo>
                    <a:pt x="1788648" y="325239"/>
                    <a:pt x="1788240" y="325076"/>
                    <a:pt x="1787718" y="325076"/>
                  </a:cubicBezTo>
                  <a:cubicBezTo>
                    <a:pt x="1787287" y="325076"/>
                    <a:pt x="1787000" y="325216"/>
                    <a:pt x="1786910" y="325262"/>
                  </a:cubicBezTo>
                  <a:lnTo>
                    <a:pt x="1786728" y="325321"/>
                  </a:lnTo>
                  <a:lnTo>
                    <a:pt x="1783555" y="326630"/>
                  </a:lnTo>
                  <a:cubicBezTo>
                    <a:pt x="1783124" y="326782"/>
                    <a:pt x="1782436" y="327544"/>
                    <a:pt x="1782316" y="327992"/>
                  </a:cubicBezTo>
                  <a:lnTo>
                    <a:pt x="1781258" y="331788"/>
                  </a:lnTo>
                  <a:cubicBezTo>
                    <a:pt x="1780517" y="334489"/>
                    <a:pt x="1777842" y="336509"/>
                    <a:pt x="1775047" y="336509"/>
                  </a:cubicBezTo>
                  <a:lnTo>
                    <a:pt x="1761189" y="336509"/>
                  </a:lnTo>
                  <a:cubicBezTo>
                    <a:pt x="1758378" y="336509"/>
                    <a:pt x="1755718" y="334489"/>
                    <a:pt x="1754970" y="331788"/>
                  </a:cubicBezTo>
                  <a:lnTo>
                    <a:pt x="1753912" y="327992"/>
                  </a:lnTo>
                  <a:cubicBezTo>
                    <a:pt x="1753784" y="327544"/>
                    <a:pt x="1753111" y="326729"/>
                    <a:pt x="1752673" y="326566"/>
                  </a:cubicBezTo>
                  <a:lnTo>
                    <a:pt x="1752484" y="326566"/>
                  </a:lnTo>
                  <a:lnTo>
                    <a:pt x="1749069" y="325076"/>
                  </a:lnTo>
                  <a:cubicBezTo>
                    <a:pt x="1748978" y="325029"/>
                    <a:pt x="1748691" y="324948"/>
                    <a:pt x="1748260" y="324948"/>
                  </a:cubicBezTo>
                  <a:cubicBezTo>
                    <a:pt x="1747754" y="324948"/>
                    <a:pt x="1747331" y="325065"/>
                    <a:pt x="1747202" y="325134"/>
                  </a:cubicBezTo>
                  <a:lnTo>
                    <a:pt x="1744157" y="326875"/>
                  </a:lnTo>
                  <a:cubicBezTo>
                    <a:pt x="1743243" y="327387"/>
                    <a:pt x="1742170" y="327684"/>
                    <a:pt x="1741051" y="327684"/>
                  </a:cubicBezTo>
                  <a:cubicBezTo>
                    <a:pt x="1739283" y="327684"/>
                    <a:pt x="1737621" y="326991"/>
                    <a:pt x="1736450" y="325821"/>
                  </a:cubicBezTo>
                  <a:lnTo>
                    <a:pt x="1726634" y="316064"/>
                  </a:lnTo>
                  <a:cubicBezTo>
                    <a:pt x="1724655" y="314085"/>
                    <a:pt x="1724254" y="310721"/>
                    <a:pt x="1725637" y="308293"/>
                  </a:cubicBezTo>
                  <a:lnTo>
                    <a:pt x="1727375" y="305126"/>
                  </a:lnTo>
                  <a:cubicBezTo>
                    <a:pt x="1727609" y="304719"/>
                    <a:pt x="1727700" y="303688"/>
                    <a:pt x="1727503" y="303263"/>
                  </a:cubicBezTo>
                  <a:lnTo>
                    <a:pt x="1727443" y="303135"/>
                  </a:lnTo>
                  <a:lnTo>
                    <a:pt x="1726196" y="300219"/>
                  </a:lnTo>
                  <a:cubicBezTo>
                    <a:pt x="1726037" y="299776"/>
                    <a:pt x="1725274" y="299037"/>
                    <a:pt x="1724828" y="298909"/>
                  </a:cubicBezTo>
                  <a:lnTo>
                    <a:pt x="1720914" y="297856"/>
                  </a:lnTo>
                  <a:cubicBezTo>
                    <a:pt x="1718224" y="297110"/>
                    <a:pt x="1716192" y="294438"/>
                    <a:pt x="1716192" y="291638"/>
                  </a:cubicBezTo>
                  <a:lnTo>
                    <a:pt x="1716192" y="277783"/>
                  </a:lnTo>
                  <a:cubicBezTo>
                    <a:pt x="1716192" y="274989"/>
                    <a:pt x="1718224" y="272311"/>
                    <a:pt x="1720914" y="271566"/>
                  </a:cubicBezTo>
                  <a:lnTo>
                    <a:pt x="1724519" y="270576"/>
                  </a:lnTo>
                  <a:cubicBezTo>
                    <a:pt x="1725244" y="269930"/>
                    <a:pt x="1726778" y="267701"/>
                    <a:pt x="1727314" y="266537"/>
                  </a:cubicBezTo>
                  <a:cubicBezTo>
                    <a:pt x="1727511" y="266112"/>
                    <a:pt x="1727428" y="265017"/>
                    <a:pt x="1727193" y="264609"/>
                  </a:cubicBezTo>
                  <a:lnTo>
                    <a:pt x="1725267" y="261192"/>
                  </a:lnTo>
                  <a:cubicBezTo>
                    <a:pt x="1723884" y="258759"/>
                    <a:pt x="1724337" y="255464"/>
                    <a:pt x="1726325" y="253485"/>
                  </a:cubicBezTo>
                  <a:lnTo>
                    <a:pt x="1736080" y="243664"/>
                  </a:lnTo>
                  <a:cubicBezTo>
                    <a:pt x="1737243" y="242494"/>
                    <a:pt x="1738966" y="241866"/>
                    <a:pt x="1740742" y="241866"/>
                  </a:cubicBezTo>
                  <a:cubicBezTo>
                    <a:pt x="1741860" y="241866"/>
                    <a:pt x="1742933" y="242093"/>
                    <a:pt x="1743847" y="242610"/>
                  </a:cubicBezTo>
                  <a:lnTo>
                    <a:pt x="1746953" y="244410"/>
                  </a:lnTo>
                  <a:cubicBezTo>
                    <a:pt x="1747089" y="244479"/>
                    <a:pt x="1747452" y="244596"/>
                    <a:pt x="1747950" y="244596"/>
                  </a:cubicBezTo>
                  <a:cubicBezTo>
                    <a:pt x="1748381" y="244596"/>
                    <a:pt x="1748660" y="244520"/>
                    <a:pt x="1748759" y="244474"/>
                  </a:cubicBezTo>
                  <a:lnTo>
                    <a:pt x="1748880" y="244351"/>
                  </a:lnTo>
                  <a:lnTo>
                    <a:pt x="1752544" y="242855"/>
                  </a:lnTo>
                  <a:cubicBezTo>
                    <a:pt x="1752990" y="242704"/>
                    <a:pt x="1753731" y="241877"/>
                    <a:pt x="1753852" y="241429"/>
                  </a:cubicBezTo>
                  <a:lnTo>
                    <a:pt x="1754970" y="237389"/>
                  </a:lnTo>
                  <a:cubicBezTo>
                    <a:pt x="1755718" y="234688"/>
                    <a:pt x="1758378" y="232668"/>
                    <a:pt x="1761189" y="232668"/>
                  </a:cubicBezTo>
                  <a:close/>
                  <a:moveTo>
                    <a:pt x="564358" y="229683"/>
                  </a:moveTo>
                  <a:cubicBezTo>
                    <a:pt x="563170" y="229683"/>
                    <a:pt x="562035" y="229947"/>
                    <a:pt x="560940" y="230431"/>
                  </a:cubicBezTo>
                  <a:cubicBezTo>
                    <a:pt x="556641" y="232349"/>
                    <a:pt x="554678" y="237379"/>
                    <a:pt x="556589" y="241680"/>
                  </a:cubicBezTo>
                  <a:cubicBezTo>
                    <a:pt x="557956" y="244762"/>
                    <a:pt x="560990" y="246776"/>
                    <a:pt x="564358" y="246776"/>
                  </a:cubicBezTo>
                  <a:cubicBezTo>
                    <a:pt x="565550" y="246776"/>
                    <a:pt x="566735" y="246518"/>
                    <a:pt x="567838" y="246027"/>
                  </a:cubicBezTo>
                  <a:cubicBezTo>
                    <a:pt x="572129" y="244116"/>
                    <a:pt x="574100" y="239073"/>
                    <a:pt x="572189" y="234779"/>
                  </a:cubicBezTo>
                  <a:cubicBezTo>
                    <a:pt x="570822" y="231704"/>
                    <a:pt x="567738" y="229683"/>
                    <a:pt x="564358" y="229683"/>
                  </a:cubicBezTo>
                  <a:close/>
                  <a:moveTo>
                    <a:pt x="1845825" y="227196"/>
                  </a:moveTo>
                  <a:cubicBezTo>
                    <a:pt x="1836161" y="227009"/>
                    <a:pt x="1828242" y="234688"/>
                    <a:pt x="1828053" y="244351"/>
                  </a:cubicBezTo>
                  <a:cubicBezTo>
                    <a:pt x="1827864" y="254009"/>
                    <a:pt x="1835481" y="261990"/>
                    <a:pt x="1845145" y="262182"/>
                  </a:cubicBezTo>
                  <a:cubicBezTo>
                    <a:pt x="1854809" y="262368"/>
                    <a:pt x="1862788" y="254684"/>
                    <a:pt x="1862977" y="245032"/>
                  </a:cubicBezTo>
                  <a:cubicBezTo>
                    <a:pt x="1863166" y="235363"/>
                    <a:pt x="1855489" y="227388"/>
                    <a:pt x="1845825" y="227196"/>
                  </a:cubicBezTo>
                  <a:close/>
                  <a:moveTo>
                    <a:pt x="760107" y="226767"/>
                  </a:moveTo>
                  <a:cubicBezTo>
                    <a:pt x="761214" y="226509"/>
                    <a:pt x="762304" y="227142"/>
                    <a:pt x="762598" y="228195"/>
                  </a:cubicBezTo>
                  <a:cubicBezTo>
                    <a:pt x="762875" y="229280"/>
                    <a:pt x="762250" y="230374"/>
                    <a:pt x="761170" y="230681"/>
                  </a:cubicBezTo>
                  <a:lnTo>
                    <a:pt x="752215" y="233046"/>
                  </a:lnTo>
                  <a:cubicBezTo>
                    <a:pt x="752063" y="233092"/>
                    <a:pt x="751902" y="233106"/>
                    <a:pt x="751724" y="233106"/>
                  </a:cubicBezTo>
                  <a:cubicBezTo>
                    <a:pt x="750831" y="233106"/>
                    <a:pt x="750027" y="232516"/>
                    <a:pt x="749795" y="231619"/>
                  </a:cubicBezTo>
                  <a:cubicBezTo>
                    <a:pt x="749509" y="230546"/>
                    <a:pt x="750134" y="229422"/>
                    <a:pt x="751224" y="229125"/>
                  </a:cubicBezTo>
                  <a:close/>
                  <a:moveTo>
                    <a:pt x="648807" y="226767"/>
                  </a:moveTo>
                  <a:lnTo>
                    <a:pt x="657762" y="229125"/>
                  </a:lnTo>
                  <a:cubicBezTo>
                    <a:pt x="658816" y="229422"/>
                    <a:pt x="659486" y="230526"/>
                    <a:pt x="659191" y="231619"/>
                  </a:cubicBezTo>
                  <a:cubicBezTo>
                    <a:pt x="658950" y="232516"/>
                    <a:pt x="658084" y="233106"/>
                    <a:pt x="657200" y="233106"/>
                  </a:cubicBezTo>
                  <a:cubicBezTo>
                    <a:pt x="657021" y="233106"/>
                    <a:pt x="656878" y="233106"/>
                    <a:pt x="656700" y="233046"/>
                  </a:cubicBezTo>
                  <a:lnTo>
                    <a:pt x="647816" y="230681"/>
                  </a:lnTo>
                  <a:cubicBezTo>
                    <a:pt x="646736" y="230374"/>
                    <a:pt x="646111" y="229260"/>
                    <a:pt x="646388" y="228195"/>
                  </a:cubicBezTo>
                  <a:cubicBezTo>
                    <a:pt x="646682" y="227116"/>
                    <a:pt x="647754" y="226509"/>
                    <a:pt x="648807" y="226767"/>
                  </a:cubicBezTo>
                  <a:close/>
                  <a:moveTo>
                    <a:pt x="564358" y="226703"/>
                  </a:moveTo>
                  <a:cubicBezTo>
                    <a:pt x="568918" y="226703"/>
                    <a:pt x="573074" y="229377"/>
                    <a:pt x="574923" y="233538"/>
                  </a:cubicBezTo>
                  <a:cubicBezTo>
                    <a:pt x="577512" y="239349"/>
                    <a:pt x="574891" y="246175"/>
                    <a:pt x="569080" y="248765"/>
                  </a:cubicBezTo>
                  <a:cubicBezTo>
                    <a:pt x="567586" y="249419"/>
                    <a:pt x="565977" y="249760"/>
                    <a:pt x="564358" y="249760"/>
                  </a:cubicBezTo>
                  <a:cubicBezTo>
                    <a:pt x="559802" y="249760"/>
                    <a:pt x="555708" y="247086"/>
                    <a:pt x="553855" y="242920"/>
                  </a:cubicBezTo>
                  <a:cubicBezTo>
                    <a:pt x="551265" y="237109"/>
                    <a:pt x="553890" y="230281"/>
                    <a:pt x="559698" y="227697"/>
                  </a:cubicBezTo>
                  <a:cubicBezTo>
                    <a:pt x="561189" y="227032"/>
                    <a:pt x="562746" y="226703"/>
                    <a:pt x="564358" y="226703"/>
                  </a:cubicBezTo>
                  <a:close/>
                  <a:moveTo>
                    <a:pt x="1632674" y="224710"/>
                  </a:moveTo>
                  <a:lnTo>
                    <a:pt x="1644231" y="224710"/>
                  </a:lnTo>
                  <a:lnTo>
                    <a:pt x="1644231" y="241488"/>
                  </a:lnTo>
                  <a:lnTo>
                    <a:pt x="1632674" y="241488"/>
                  </a:lnTo>
                  <a:cubicBezTo>
                    <a:pt x="1632674" y="241488"/>
                    <a:pt x="1632674" y="224710"/>
                    <a:pt x="1632674" y="224710"/>
                  </a:cubicBezTo>
                  <a:close/>
                  <a:moveTo>
                    <a:pt x="1388944" y="223725"/>
                  </a:moveTo>
                  <a:lnTo>
                    <a:pt x="1388944" y="234976"/>
                  </a:lnTo>
                  <a:lnTo>
                    <a:pt x="1417027" y="234976"/>
                  </a:lnTo>
                  <a:lnTo>
                    <a:pt x="1417027" y="223725"/>
                  </a:lnTo>
                  <a:cubicBezTo>
                    <a:pt x="1417027" y="223725"/>
                    <a:pt x="1388944" y="223725"/>
                    <a:pt x="1388944" y="223725"/>
                  </a:cubicBezTo>
                  <a:close/>
                  <a:moveTo>
                    <a:pt x="861580" y="222111"/>
                  </a:moveTo>
                  <a:cubicBezTo>
                    <a:pt x="858365" y="222111"/>
                    <a:pt x="855771" y="224694"/>
                    <a:pt x="855771" y="227904"/>
                  </a:cubicBezTo>
                  <a:cubicBezTo>
                    <a:pt x="855771" y="231127"/>
                    <a:pt x="858365" y="233710"/>
                    <a:pt x="861580" y="233710"/>
                  </a:cubicBezTo>
                  <a:lnTo>
                    <a:pt x="919606" y="233710"/>
                  </a:lnTo>
                  <a:cubicBezTo>
                    <a:pt x="922814" y="233710"/>
                    <a:pt x="925408" y="231127"/>
                    <a:pt x="925408" y="227904"/>
                  </a:cubicBezTo>
                  <a:cubicBezTo>
                    <a:pt x="925408" y="224694"/>
                    <a:pt x="922814" y="222111"/>
                    <a:pt x="919606" y="222111"/>
                  </a:cubicBezTo>
                  <a:close/>
                  <a:moveTo>
                    <a:pt x="2250132" y="220735"/>
                  </a:moveTo>
                  <a:cubicBezTo>
                    <a:pt x="2285152" y="220735"/>
                    <a:pt x="2313519" y="249117"/>
                    <a:pt x="2313519" y="284125"/>
                  </a:cubicBezTo>
                  <a:lnTo>
                    <a:pt x="2313519" y="312277"/>
                  </a:lnTo>
                  <a:cubicBezTo>
                    <a:pt x="2325179" y="312277"/>
                    <a:pt x="2334648" y="321778"/>
                    <a:pt x="2334648" y="333468"/>
                  </a:cubicBezTo>
                  <a:lnTo>
                    <a:pt x="2334648" y="382742"/>
                  </a:lnTo>
                  <a:cubicBezTo>
                    <a:pt x="2334648" y="417763"/>
                    <a:pt x="2306281" y="446196"/>
                    <a:pt x="2271261" y="446196"/>
                  </a:cubicBezTo>
                  <a:lnTo>
                    <a:pt x="2229003" y="446196"/>
                  </a:lnTo>
                  <a:cubicBezTo>
                    <a:pt x="2193984" y="446196"/>
                    <a:pt x="2165616" y="417763"/>
                    <a:pt x="2165616" y="382742"/>
                  </a:cubicBezTo>
                  <a:lnTo>
                    <a:pt x="2165616" y="333468"/>
                  </a:lnTo>
                  <a:cubicBezTo>
                    <a:pt x="2165616" y="321778"/>
                    <a:pt x="2175023" y="312277"/>
                    <a:pt x="2186683" y="312277"/>
                  </a:cubicBezTo>
                  <a:lnTo>
                    <a:pt x="2186683" y="284125"/>
                  </a:lnTo>
                  <a:cubicBezTo>
                    <a:pt x="2186683" y="249117"/>
                    <a:pt x="2215113" y="220735"/>
                    <a:pt x="2250132" y="220735"/>
                  </a:cubicBezTo>
                  <a:close/>
                  <a:moveTo>
                    <a:pt x="567591" y="213838"/>
                  </a:moveTo>
                  <a:cubicBezTo>
                    <a:pt x="566129" y="213728"/>
                    <a:pt x="564637" y="213735"/>
                    <a:pt x="563178" y="213902"/>
                  </a:cubicBezTo>
                  <a:cubicBezTo>
                    <a:pt x="563200" y="214879"/>
                    <a:pt x="563038" y="215893"/>
                    <a:pt x="562681" y="216821"/>
                  </a:cubicBezTo>
                  <a:cubicBezTo>
                    <a:pt x="561561" y="219728"/>
                    <a:pt x="558707" y="221667"/>
                    <a:pt x="555596" y="221667"/>
                  </a:cubicBezTo>
                  <a:cubicBezTo>
                    <a:pt x="554661" y="221667"/>
                    <a:pt x="553735" y="221510"/>
                    <a:pt x="552862" y="221171"/>
                  </a:cubicBezTo>
                  <a:cubicBezTo>
                    <a:pt x="551884" y="220800"/>
                    <a:pt x="551051" y="220226"/>
                    <a:pt x="550315" y="219491"/>
                  </a:cubicBezTo>
                  <a:cubicBezTo>
                    <a:pt x="549195" y="220451"/>
                    <a:pt x="548127" y="221520"/>
                    <a:pt x="547206" y="222661"/>
                  </a:cubicBezTo>
                  <a:cubicBezTo>
                    <a:pt x="547930" y="223338"/>
                    <a:pt x="548543" y="224161"/>
                    <a:pt x="548948" y="225088"/>
                  </a:cubicBezTo>
                  <a:cubicBezTo>
                    <a:pt x="549778" y="226935"/>
                    <a:pt x="549796" y="228973"/>
                    <a:pt x="549070" y="230864"/>
                  </a:cubicBezTo>
                  <a:cubicBezTo>
                    <a:pt x="548341" y="232756"/>
                    <a:pt x="546947" y="234268"/>
                    <a:pt x="545093" y="235092"/>
                  </a:cubicBezTo>
                  <a:cubicBezTo>
                    <a:pt x="544118" y="235519"/>
                    <a:pt x="543058" y="235712"/>
                    <a:pt x="541987" y="235712"/>
                  </a:cubicBezTo>
                  <a:cubicBezTo>
                    <a:pt x="541865" y="237178"/>
                    <a:pt x="541900" y="238670"/>
                    <a:pt x="542050" y="240124"/>
                  </a:cubicBezTo>
                  <a:cubicBezTo>
                    <a:pt x="543070" y="240078"/>
                    <a:pt x="544083" y="240249"/>
                    <a:pt x="545031" y="240622"/>
                  </a:cubicBezTo>
                  <a:cubicBezTo>
                    <a:pt x="546927" y="241357"/>
                    <a:pt x="548426" y="242797"/>
                    <a:pt x="549257" y="244664"/>
                  </a:cubicBezTo>
                  <a:cubicBezTo>
                    <a:pt x="550078" y="246513"/>
                    <a:pt x="550113" y="248542"/>
                    <a:pt x="549382" y="250441"/>
                  </a:cubicBezTo>
                  <a:cubicBezTo>
                    <a:pt x="549000" y="251452"/>
                    <a:pt x="548411" y="252356"/>
                    <a:pt x="547640" y="253112"/>
                  </a:cubicBezTo>
                  <a:cubicBezTo>
                    <a:pt x="548596" y="254229"/>
                    <a:pt x="549661" y="255237"/>
                    <a:pt x="550811" y="256160"/>
                  </a:cubicBezTo>
                  <a:cubicBezTo>
                    <a:pt x="551502" y="255404"/>
                    <a:pt x="552345" y="254829"/>
                    <a:pt x="553296" y="254418"/>
                  </a:cubicBezTo>
                  <a:cubicBezTo>
                    <a:pt x="554276" y="253977"/>
                    <a:pt x="555277" y="253738"/>
                    <a:pt x="556342" y="253738"/>
                  </a:cubicBezTo>
                  <a:cubicBezTo>
                    <a:pt x="559341" y="253738"/>
                    <a:pt x="562085" y="255469"/>
                    <a:pt x="563302" y="258208"/>
                  </a:cubicBezTo>
                  <a:cubicBezTo>
                    <a:pt x="563749" y="259217"/>
                    <a:pt x="563934" y="260294"/>
                    <a:pt x="563924" y="261378"/>
                  </a:cubicBezTo>
                  <a:cubicBezTo>
                    <a:pt x="565391" y="261482"/>
                    <a:pt x="566875" y="261475"/>
                    <a:pt x="568334" y="261315"/>
                  </a:cubicBezTo>
                  <a:cubicBezTo>
                    <a:pt x="568284" y="260287"/>
                    <a:pt x="568459" y="259230"/>
                    <a:pt x="568833" y="258272"/>
                  </a:cubicBezTo>
                  <a:cubicBezTo>
                    <a:pt x="569951" y="255353"/>
                    <a:pt x="572795" y="253423"/>
                    <a:pt x="575916" y="253423"/>
                  </a:cubicBezTo>
                  <a:cubicBezTo>
                    <a:pt x="576846" y="253423"/>
                    <a:pt x="577777" y="253585"/>
                    <a:pt x="578650" y="253919"/>
                  </a:cubicBezTo>
                  <a:cubicBezTo>
                    <a:pt x="579665" y="254313"/>
                    <a:pt x="580571" y="254896"/>
                    <a:pt x="581324" y="255663"/>
                  </a:cubicBezTo>
                  <a:cubicBezTo>
                    <a:pt x="582435" y="254694"/>
                    <a:pt x="583455" y="253641"/>
                    <a:pt x="584368" y="252491"/>
                  </a:cubicBezTo>
                  <a:cubicBezTo>
                    <a:pt x="583627" y="251809"/>
                    <a:pt x="582988" y="251006"/>
                    <a:pt x="582567" y="250070"/>
                  </a:cubicBezTo>
                  <a:cubicBezTo>
                    <a:pt x="580873" y="246240"/>
                    <a:pt x="582594" y="241709"/>
                    <a:pt x="586419" y="240001"/>
                  </a:cubicBezTo>
                  <a:cubicBezTo>
                    <a:pt x="587389" y="239575"/>
                    <a:pt x="588462" y="239381"/>
                    <a:pt x="589527" y="239381"/>
                  </a:cubicBezTo>
                  <a:cubicBezTo>
                    <a:pt x="589639" y="237921"/>
                    <a:pt x="589557" y="236424"/>
                    <a:pt x="589402" y="234966"/>
                  </a:cubicBezTo>
                  <a:cubicBezTo>
                    <a:pt x="588390" y="234989"/>
                    <a:pt x="587422" y="234821"/>
                    <a:pt x="586481" y="234472"/>
                  </a:cubicBezTo>
                  <a:cubicBezTo>
                    <a:pt x="582574" y="232962"/>
                    <a:pt x="580631" y="228557"/>
                    <a:pt x="582130" y="224649"/>
                  </a:cubicBezTo>
                  <a:cubicBezTo>
                    <a:pt x="582504" y="223675"/>
                    <a:pt x="583083" y="222828"/>
                    <a:pt x="583809" y="222104"/>
                  </a:cubicBezTo>
                  <a:cubicBezTo>
                    <a:pt x="582854" y="220987"/>
                    <a:pt x="581778" y="219982"/>
                    <a:pt x="580641" y="219058"/>
                  </a:cubicBezTo>
                  <a:cubicBezTo>
                    <a:pt x="579957" y="219766"/>
                    <a:pt x="579184" y="220323"/>
                    <a:pt x="578278" y="220735"/>
                  </a:cubicBezTo>
                  <a:cubicBezTo>
                    <a:pt x="577300" y="221171"/>
                    <a:pt x="576228" y="221358"/>
                    <a:pt x="575172" y="221358"/>
                  </a:cubicBezTo>
                  <a:cubicBezTo>
                    <a:pt x="572166" y="221358"/>
                    <a:pt x="569427" y="219621"/>
                    <a:pt x="568212" y="216882"/>
                  </a:cubicBezTo>
                  <a:cubicBezTo>
                    <a:pt x="567783" y="215930"/>
                    <a:pt x="567601" y="214879"/>
                    <a:pt x="567591" y="213838"/>
                  </a:cubicBezTo>
                  <a:close/>
                  <a:moveTo>
                    <a:pt x="569392" y="211041"/>
                  </a:moveTo>
                  <a:cubicBezTo>
                    <a:pt x="569804" y="211099"/>
                    <a:pt x="570208" y="211315"/>
                    <a:pt x="570447" y="211662"/>
                  </a:cubicBezTo>
                  <a:cubicBezTo>
                    <a:pt x="570684" y="212010"/>
                    <a:pt x="570787" y="212436"/>
                    <a:pt x="570697" y="212843"/>
                  </a:cubicBezTo>
                  <a:cubicBezTo>
                    <a:pt x="570507" y="213792"/>
                    <a:pt x="570612" y="214748"/>
                    <a:pt x="571009" y="215640"/>
                  </a:cubicBezTo>
                  <a:cubicBezTo>
                    <a:pt x="571735" y="217286"/>
                    <a:pt x="573354" y="218378"/>
                    <a:pt x="575172" y="218378"/>
                  </a:cubicBezTo>
                  <a:cubicBezTo>
                    <a:pt x="575804" y="218378"/>
                    <a:pt x="576445" y="218204"/>
                    <a:pt x="577036" y="217939"/>
                  </a:cubicBezTo>
                  <a:cubicBezTo>
                    <a:pt x="577894" y="217564"/>
                    <a:pt x="578605" y="216939"/>
                    <a:pt x="579087" y="216137"/>
                  </a:cubicBezTo>
                  <a:cubicBezTo>
                    <a:pt x="579304" y="215778"/>
                    <a:pt x="579680" y="215536"/>
                    <a:pt x="580080" y="215452"/>
                  </a:cubicBezTo>
                  <a:cubicBezTo>
                    <a:pt x="580491" y="215365"/>
                    <a:pt x="580915" y="215459"/>
                    <a:pt x="581262" y="215704"/>
                  </a:cubicBezTo>
                  <a:cubicBezTo>
                    <a:pt x="583497" y="217273"/>
                    <a:pt x="585443" y="219179"/>
                    <a:pt x="587102" y="221358"/>
                  </a:cubicBezTo>
                  <a:cubicBezTo>
                    <a:pt x="587359" y="221694"/>
                    <a:pt x="587484" y="222138"/>
                    <a:pt x="587414" y="222537"/>
                  </a:cubicBezTo>
                  <a:cubicBezTo>
                    <a:pt x="587339" y="222960"/>
                    <a:pt x="587075" y="223314"/>
                    <a:pt x="586731" y="223532"/>
                  </a:cubicBezTo>
                  <a:cubicBezTo>
                    <a:pt x="585900" y="224076"/>
                    <a:pt x="585276" y="224882"/>
                    <a:pt x="584927" y="225768"/>
                  </a:cubicBezTo>
                  <a:cubicBezTo>
                    <a:pt x="584024" y="228126"/>
                    <a:pt x="585239" y="230765"/>
                    <a:pt x="587601" y="231672"/>
                  </a:cubicBezTo>
                  <a:cubicBezTo>
                    <a:pt x="588474" y="232012"/>
                    <a:pt x="589410" y="232031"/>
                    <a:pt x="590335" y="231799"/>
                  </a:cubicBezTo>
                  <a:cubicBezTo>
                    <a:pt x="590737" y="231702"/>
                    <a:pt x="591161" y="231824"/>
                    <a:pt x="591515" y="232045"/>
                  </a:cubicBezTo>
                  <a:cubicBezTo>
                    <a:pt x="591867" y="232276"/>
                    <a:pt x="592129" y="232632"/>
                    <a:pt x="592199" y="233040"/>
                  </a:cubicBezTo>
                  <a:cubicBezTo>
                    <a:pt x="592668" y="235751"/>
                    <a:pt x="592688" y="238512"/>
                    <a:pt x="592324" y="241243"/>
                  </a:cubicBezTo>
                  <a:cubicBezTo>
                    <a:pt x="592261" y="241661"/>
                    <a:pt x="592047" y="241990"/>
                    <a:pt x="591703" y="242237"/>
                  </a:cubicBezTo>
                  <a:cubicBezTo>
                    <a:pt x="591348" y="242469"/>
                    <a:pt x="590932" y="242571"/>
                    <a:pt x="590520" y="242487"/>
                  </a:cubicBezTo>
                  <a:cubicBezTo>
                    <a:pt x="589562" y="242268"/>
                    <a:pt x="588554" y="242399"/>
                    <a:pt x="587661" y="242797"/>
                  </a:cubicBezTo>
                  <a:cubicBezTo>
                    <a:pt x="585351" y="243831"/>
                    <a:pt x="584338" y="246518"/>
                    <a:pt x="585363" y="248823"/>
                  </a:cubicBezTo>
                  <a:cubicBezTo>
                    <a:pt x="585750" y="249703"/>
                    <a:pt x="586391" y="250386"/>
                    <a:pt x="587227" y="250877"/>
                  </a:cubicBezTo>
                  <a:cubicBezTo>
                    <a:pt x="587584" y="251086"/>
                    <a:pt x="587818" y="251458"/>
                    <a:pt x="587911" y="251871"/>
                  </a:cubicBezTo>
                  <a:cubicBezTo>
                    <a:pt x="588000" y="252285"/>
                    <a:pt x="587960" y="252713"/>
                    <a:pt x="587723" y="253050"/>
                  </a:cubicBezTo>
                  <a:cubicBezTo>
                    <a:pt x="586139" y="255310"/>
                    <a:pt x="584213" y="257335"/>
                    <a:pt x="582008" y="259015"/>
                  </a:cubicBezTo>
                  <a:cubicBezTo>
                    <a:pt x="581669" y="259269"/>
                    <a:pt x="581242" y="259339"/>
                    <a:pt x="580826" y="259266"/>
                  </a:cubicBezTo>
                  <a:cubicBezTo>
                    <a:pt x="580411" y="259189"/>
                    <a:pt x="579995" y="258943"/>
                    <a:pt x="579770" y="258582"/>
                  </a:cubicBezTo>
                  <a:cubicBezTo>
                    <a:pt x="579229" y="257719"/>
                    <a:pt x="578508" y="257072"/>
                    <a:pt x="577595" y="256718"/>
                  </a:cubicBezTo>
                  <a:cubicBezTo>
                    <a:pt x="577066" y="256511"/>
                    <a:pt x="576472" y="256406"/>
                    <a:pt x="575916" y="256406"/>
                  </a:cubicBezTo>
                  <a:cubicBezTo>
                    <a:pt x="574030" y="256406"/>
                    <a:pt x="572306" y="257632"/>
                    <a:pt x="571630" y="259389"/>
                  </a:cubicBezTo>
                  <a:cubicBezTo>
                    <a:pt x="571281" y="260274"/>
                    <a:pt x="571253" y="261231"/>
                    <a:pt x="571505" y="262186"/>
                  </a:cubicBezTo>
                  <a:cubicBezTo>
                    <a:pt x="571612" y="262601"/>
                    <a:pt x="571543" y="263012"/>
                    <a:pt x="571318" y="263368"/>
                  </a:cubicBezTo>
                  <a:cubicBezTo>
                    <a:pt x="571089" y="263725"/>
                    <a:pt x="570737" y="263969"/>
                    <a:pt x="570325" y="264052"/>
                  </a:cubicBezTo>
                  <a:cubicBezTo>
                    <a:pt x="568828" y="264313"/>
                    <a:pt x="567301" y="264485"/>
                    <a:pt x="565787" y="264485"/>
                  </a:cubicBezTo>
                  <a:cubicBezTo>
                    <a:pt x="564552" y="264485"/>
                    <a:pt x="563282" y="264345"/>
                    <a:pt x="562060" y="264175"/>
                  </a:cubicBezTo>
                  <a:cubicBezTo>
                    <a:pt x="561648" y="264119"/>
                    <a:pt x="561304" y="263904"/>
                    <a:pt x="561065" y="263555"/>
                  </a:cubicBezTo>
                  <a:cubicBezTo>
                    <a:pt x="560823" y="263206"/>
                    <a:pt x="560730" y="262773"/>
                    <a:pt x="560815" y="262373"/>
                  </a:cubicBezTo>
                  <a:cubicBezTo>
                    <a:pt x="561042" y="261385"/>
                    <a:pt x="560972" y="260371"/>
                    <a:pt x="560568" y="259454"/>
                  </a:cubicBezTo>
                  <a:cubicBezTo>
                    <a:pt x="559832" y="257802"/>
                    <a:pt x="558151" y="256718"/>
                    <a:pt x="556342" y="256718"/>
                  </a:cubicBezTo>
                  <a:cubicBezTo>
                    <a:pt x="555703" y="256718"/>
                    <a:pt x="555072" y="256896"/>
                    <a:pt x="554478" y="257154"/>
                  </a:cubicBezTo>
                  <a:cubicBezTo>
                    <a:pt x="553595" y="257548"/>
                    <a:pt x="552854" y="258168"/>
                    <a:pt x="552365" y="259015"/>
                  </a:cubicBezTo>
                  <a:cubicBezTo>
                    <a:pt x="552156" y="259377"/>
                    <a:pt x="551844" y="259667"/>
                    <a:pt x="551432" y="259764"/>
                  </a:cubicBezTo>
                  <a:cubicBezTo>
                    <a:pt x="551021" y="259854"/>
                    <a:pt x="550594" y="259757"/>
                    <a:pt x="550252" y="259514"/>
                  </a:cubicBezTo>
                  <a:cubicBezTo>
                    <a:pt x="547992" y="257923"/>
                    <a:pt x="545949" y="256011"/>
                    <a:pt x="544285" y="253797"/>
                  </a:cubicBezTo>
                  <a:cubicBezTo>
                    <a:pt x="544031" y="253454"/>
                    <a:pt x="543961" y="253035"/>
                    <a:pt x="544038" y="252616"/>
                  </a:cubicBezTo>
                  <a:cubicBezTo>
                    <a:pt x="544108" y="252188"/>
                    <a:pt x="544362" y="251794"/>
                    <a:pt x="544722" y="251561"/>
                  </a:cubicBezTo>
                  <a:cubicBezTo>
                    <a:pt x="545590" y="251025"/>
                    <a:pt x="546231" y="250296"/>
                    <a:pt x="546585" y="249385"/>
                  </a:cubicBezTo>
                  <a:cubicBezTo>
                    <a:pt x="547019" y="248235"/>
                    <a:pt x="546957" y="246957"/>
                    <a:pt x="546460" y="245841"/>
                  </a:cubicBezTo>
                  <a:cubicBezTo>
                    <a:pt x="545964" y="244724"/>
                    <a:pt x="545116" y="243852"/>
                    <a:pt x="543976" y="243418"/>
                  </a:cubicBezTo>
                  <a:cubicBezTo>
                    <a:pt x="543090" y="243070"/>
                    <a:pt x="542115" y="243045"/>
                    <a:pt x="541179" y="243295"/>
                  </a:cubicBezTo>
                  <a:cubicBezTo>
                    <a:pt x="540767" y="243386"/>
                    <a:pt x="540293" y="243329"/>
                    <a:pt x="539937" y="243107"/>
                  </a:cubicBezTo>
                  <a:cubicBezTo>
                    <a:pt x="539582" y="242875"/>
                    <a:pt x="539380" y="242526"/>
                    <a:pt x="539315" y="242113"/>
                  </a:cubicBezTo>
                  <a:cubicBezTo>
                    <a:pt x="538851" y="239409"/>
                    <a:pt x="538802" y="236593"/>
                    <a:pt x="539191" y="233847"/>
                  </a:cubicBezTo>
                  <a:cubicBezTo>
                    <a:pt x="539253" y="233428"/>
                    <a:pt x="539470" y="233090"/>
                    <a:pt x="539812" y="232853"/>
                  </a:cubicBezTo>
                  <a:cubicBezTo>
                    <a:pt x="540161" y="232613"/>
                    <a:pt x="540580" y="232509"/>
                    <a:pt x="540992" y="232606"/>
                  </a:cubicBezTo>
                  <a:cubicBezTo>
                    <a:pt x="541947" y="232815"/>
                    <a:pt x="542953" y="232761"/>
                    <a:pt x="543851" y="232357"/>
                  </a:cubicBezTo>
                  <a:cubicBezTo>
                    <a:pt x="544974" y="231858"/>
                    <a:pt x="545834" y="230949"/>
                    <a:pt x="546273" y="229809"/>
                  </a:cubicBezTo>
                  <a:cubicBezTo>
                    <a:pt x="546712" y="228673"/>
                    <a:pt x="546650" y="227387"/>
                    <a:pt x="546151" y="226267"/>
                  </a:cubicBezTo>
                  <a:cubicBezTo>
                    <a:pt x="545764" y="225412"/>
                    <a:pt x="545163" y="224702"/>
                    <a:pt x="544347" y="224216"/>
                  </a:cubicBezTo>
                  <a:cubicBezTo>
                    <a:pt x="543991" y="223997"/>
                    <a:pt x="543746" y="223635"/>
                    <a:pt x="543664" y="223222"/>
                  </a:cubicBezTo>
                  <a:cubicBezTo>
                    <a:pt x="543574" y="222815"/>
                    <a:pt x="543671" y="222389"/>
                    <a:pt x="543913" y="222040"/>
                  </a:cubicBezTo>
                  <a:cubicBezTo>
                    <a:pt x="545512" y="219800"/>
                    <a:pt x="547378" y="217849"/>
                    <a:pt x="549569" y="216201"/>
                  </a:cubicBezTo>
                  <a:cubicBezTo>
                    <a:pt x="549911" y="215950"/>
                    <a:pt x="550340" y="215868"/>
                    <a:pt x="550749" y="215950"/>
                  </a:cubicBezTo>
                  <a:cubicBezTo>
                    <a:pt x="551160" y="216014"/>
                    <a:pt x="551522" y="216229"/>
                    <a:pt x="551742" y="216571"/>
                  </a:cubicBezTo>
                  <a:cubicBezTo>
                    <a:pt x="552283" y="217410"/>
                    <a:pt x="553091" y="218023"/>
                    <a:pt x="553980" y="218378"/>
                  </a:cubicBezTo>
                  <a:cubicBezTo>
                    <a:pt x="554513" y="218567"/>
                    <a:pt x="555032" y="218684"/>
                    <a:pt x="555596" y="218684"/>
                  </a:cubicBezTo>
                  <a:cubicBezTo>
                    <a:pt x="557480" y="218684"/>
                    <a:pt x="559211" y="217528"/>
                    <a:pt x="559885" y="215763"/>
                  </a:cubicBezTo>
                  <a:cubicBezTo>
                    <a:pt x="560221" y="214903"/>
                    <a:pt x="560296" y="213947"/>
                    <a:pt x="560069" y="213030"/>
                  </a:cubicBezTo>
                  <a:cubicBezTo>
                    <a:pt x="559972" y="212623"/>
                    <a:pt x="560024" y="212197"/>
                    <a:pt x="560256" y="211848"/>
                  </a:cubicBezTo>
                  <a:cubicBezTo>
                    <a:pt x="560486" y="211500"/>
                    <a:pt x="560840" y="211223"/>
                    <a:pt x="561252" y="211166"/>
                  </a:cubicBezTo>
                  <a:cubicBezTo>
                    <a:pt x="563924" y="210700"/>
                    <a:pt x="566673" y="210660"/>
                    <a:pt x="569392" y="211041"/>
                  </a:cubicBezTo>
                  <a:close/>
                  <a:moveTo>
                    <a:pt x="756259" y="210854"/>
                  </a:moveTo>
                  <a:cubicBezTo>
                    <a:pt x="756750" y="210996"/>
                    <a:pt x="757223" y="211308"/>
                    <a:pt x="757500" y="211790"/>
                  </a:cubicBezTo>
                  <a:cubicBezTo>
                    <a:pt x="758054" y="212766"/>
                    <a:pt x="757723" y="213954"/>
                    <a:pt x="756750" y="214524"/>
                  </a:cubicBezTo>
                  <a:lnTo>
                    <a:pt x="748733" y="219185"/>
                  </a:lnTo>
                  <a:cubicBezTo>
                    <a:pt x="748420" y="219366"/>
                    <a:pt x="748099" y="219437"/>
                    <a:pt x="747742" y="219437"/>
                  </a:cubicBezTo>
                  <a:cubicBezTo>
                    <a:pt x="747045" y="219437"/>
                    <a:pt x="746367" y="219069"/>
                    <a:pt x="746001" y="218436"/>
                  </a:cubicBezTo>
                  <a:cubicBezTo>
                    <a:pt x="745438" y="217469"/>
                    <a:pt x="745777" y="216249"/>
                    <a:pt x="746751" y="215704"/>
                  </a:cubicBezTo>
                  <a:lnTo>
                    <a:pt x="754706" y="211041"/>
                  </a:lnTo>
                  <a:cubicBezTo>
                    <a:pt x="755179" y="210763"/>
                    <a:pt x="755759" y="210718"/>
                    <a:pt x="756259" y="210854"/>
                  </a:cubicBezTo>
                  <a:close/>
                  <a:moveTo>
                    <a:pt x="653780" y="210854"/>
                  </a:moveTo>
                  <a:cubicBezTo>
                    <a:pt x="654280" y="210731"/>
                    <a:pt x="654789" y="210763"/>
                    <a:pt x="655271" y="211041"/>
                  </a:cubicBezTo>
                  <a:lnTo>
                    <a:pt x="663289" y="215640"/>
                  </a:lnTo>
                  <a:cubicBezTo>
                    <a:pt x="664253" y="216185"/>
                    <a:pt x="664584" y="217480"/>
                    <a:pt x="664039" y="218436"/>
                  </a:cubicBezTo>
                  <a:cubicBezTo>
                    <a:pt x="663664" y="219088"/>
                    <a:pt x="662914" y="219437"/>
                    <a:pt x="662235" y="219437"/>
                  </a:cubicBezTo>
                  <a:cubicBezTo>
                    <a:pt x="661887" y="219437"/>
                    <a:pt x="661557" y="219366"/>
                    <a:pt x="661235" y="219185"/>
                  </a:cubicBezTo>
                  <a:lnTo>
                    <a:pt x="653280" y="214524"/>
                  </a:lnTo>
                  <a:cubicBezTo>
                    <a:pt x="652316" y="213969"/>
                    <a:pt x="651986" y="212753"/>
                    <a:pt x="652539" y="211790"/>
                  </a:cubicBezTo>
                  <a:cubicBezTo>
                    <a:pt x="652816" y="211300"/>
                    <a:pt x="653280" y="210989"/>
                    <a:pt x="653780" y="210854"/>
                  </a:cubicBezTo>
                  <a:close/>
                  <a:moveTo>
                    <a:pt x="1841412" y="210791"/>
                  </a:moveTo>
                  <a:lnTo>
                    <a:pt x="1850986" y="210977"/>
                  </a:lnTo>
                  <a:cubicBezTo>
                    <a:pt x="1851983" y="210995"/>
                    <a:pt x="1852973" y="211822"/>
                    <a:pt x="1853222" y="212782"/>
                  </a:cubicBezTo>
                  <a:lnTo>
                    <a:pt x="1853902" y="215576"/>
                  </a:lnTo>
                  <a:cubicBezTo>
                    <a:pt x="1854152" y="216537"/>
                    <a:pt x="1855157" y="217648"/>
                    <a:pt x="1856079" y="217998"/>
                  </a:cubicBezTo>
                  <a:lnTo>
                    <a:pt x="1858315" y="218929"/>
                  </a:lnTo>
                  <a:cubicBezTo>
                    <a:pt x="1859207" y="219389"/>
                    <a:pt x="1860612" y="219412"/>
                    <a:pt x="1861489" y="218929"/>
                  </a:cubicBezTo>
                  <a:lnTo>
                    <a:pt x="1863786" y="217689"/>
                  </a:lnTo>
                  <a:cubicBezTo>
                    <a:pt x="1864662" y="217212"/>
                    <a:pt x="1865954" y="217404"/>
                    <a:pt x="1866642" y="218126"/>
                  </a:cubicBezTo>
                  <a:lnTo>
                    <a:pt x="1873292" y="225024"/>
                  </a:lnTo>
                  <a:cubicBezTo>
                    <a:pt x="1873979" y="225734"/>
                    <a:pt x="1874108" y="227033"/>
                    <a:pt x="1873609" y="227883"/>
                  </a:cubicBezTo>
                  <a:lnTo>
                    <a:pt x="1872173" y="230240"/>
                  </a:lnTo>
                  <a:cubicBezTo>
                    <a:pt x="1871667" y="231096"/>
                    <a:pt x="1871584" y="232574"/>
                    <a:pt x="1871992" y="233471"/>
                  </a:cubicBezTo>
                  <a:lnTo>
                    <a:pt x="1872672" y="235276"/>
                  </a:lnTo>
                  <a:cubicBezTo>
                    <a:pt x="1872989" y="236213"/>
                    <a:pt x="1874077" y="237226"/>
                    <a:pt x="1875037" y="237511"/>
                  </a:cubicBezTo>
                  <a:lnTo>
                    <a:pt x="1877704" y="238321"/>
                  </a:lnTo>
                  <a:cubicBezTo>
                    <a:pt x="1878664" y="238606"/>
                    <a:pt x="1879404" y="239630"/>
                    <a:pt x="1879382" y="240620"/>
                  </a:cubicBezTo>
                  <a:lnTo>
                    <a:pt x="1879200" y="250190"/>
                  </a:lnTo>
                  <a:cubicBezTo>
                    <a:pt x="1879178" y="251186"/>
                    <a:pt x="1878422" y="252187"/>
                    <a:pt x="1877455" y="252426"/>
                  </a:cubicBezTo>
                  <a:lnTo>
                    <a:pt x="1874727" y="253176"/>
                  </a:lnTo>
                  <a:cubicBezTo>
                    <a:pt x="1873760" y="253421"/>
                    <a:pt x="1872649" y="254352"/>
                    <a:pt x="1872302" y="255284"/>
                  </a:cubicBezTo>
                  <a:lnTo>
                    <a:pt x="1871433" y="257339"/>
                  </a:lnTo>
                  <a:cubicBezTo>
                    <a:pt x="1870979" y="258224"/>
                    <a:pt x="1870957" y="259697"/>
                    <a:pt x="1871433" y="260570"/>
                  </a:cubicBezTo>
                  <a:lnTo>
                    <a:pt x="1872672" y="262805"/>
                  </a:lnTo>
                  <a:cubicBezTo>
                    <a:pt x="1873148" y="263678"/>
                    <a:pt x="1872959" y="264976"/>
                    <a:pt x="1872241" y="265663"/>
                  </a:cubicBezTo>
                  <a:lnTo>
                    <a:pt x="1865342" y="272253"/>
                  </a:lnTo>
                  <a:cubicBezTo>
                    <a:pt x="1864617" y="272946"/>
                    <a:pt x="1863333" y="273138"/>
                    <a:pt x="1862479" y="272625"/>
                  </a:cubicBezTo>
                  <a:lnTo>
                    <a:pt x="1860310" y="271322"/>
                  </a:lnTo>
                  <a:cubicBezTo>
                    <a:pt x="1859441" y="270809"/>
                    <a:pt x="1857983" y="270722"/>
                    <a:pt x="1857076" y="271135"/>
                  </a:cubicBezTo>
                  <a:lnTo>
                    <a:pt x="1854960" y="271938"/>
                  </a:lnTo>
                  <a:cubicBezTo>
                    <a:pt x="1854016" y="272253"/>
                    <a:pt x="1853011" y="273289"/>
                    <a:pt x="1852724" y="274238"/>
                  </a:cubicBezTo>
                  <a:lnTo>
                    <a:pt x="1851976" y="276852"/>
                  </a:lnTo>
                  <a:cubicBezTo>
                    <a:pt x="1851696" y="277801"/>
                    <a:pt x="1850616" y="278616"/>
                    <a:pt x="1849618" y="278592"/>
                  </a:cubicBezTo>
                  <a:lnTo>
                    <a:pt x="1840044" y="278406"/>
                  </a:lnTo>
                  <a:cubicBezTo>
                    <a:pt x="1839055" y="278389"/>
                    <a:pt x="1838057" y="277568"/>
                    <a:pt x="1837808" y="276601"/>
                  </a:cubicBezTo>
                  <a:lnTo>
                    <a:pt x="1837128" y="273929"/>
                  </a:lnTo>
                  <a:cubicBezTo>
                    <a:pt x="1836878" y="272958"/>
                    <a:pt x="1835949" y="271916"/>
                    <a:pt x="1835012" y="271566"/>
                  </a:cubicBezTo>
                  <a:lnTo>
                    <a:pt x="1832715" y="270576"/>
                  </a:lnTo>
                  <a:cubicBezTo>
                    <a:pt x="1831831" y="270123"/>
                    <a:pt x="1830418" y="270111"/>
                    <a:pt x="1829541" y="270576"/>
                  </a:cubicBezTo>
                  <a:lnTo>
                    <a:pt x="1827433" y="271752"/>
                  </a:lnTo>
                  <a:cubicBezTo>
                    <a:pt x="1826564" y="272230"/>
                    <a:pt x="1825265" y="272043"/>
                    <a:pt x="1824569" y="271322"/>
                  </a:cubicBezTo>
                  <a:lnTo>
                    <a:pt x="1817988" y="264423"/>
                  </a:lnTo>
                  <a:cubicBezTo>
                    <a:pt x="1817300" y="263702"/>
                    <a:pt x="1817096" y="262426"/>
                    <a:pt x="1817610" y="261565"/>
                  </a:cubicBezTo>
                  <a:lnTo>
                    <a:pt x="1818918" y="259388"/>
                  </a:lnTo>
                  <a:cubicBezTo>
                    <a:pt x="1819431" y="258538"/>
                    <a:pt x="1819514" y="257065"/>
                    <a:pt x="1819106" y="256157"/>
                  </a:cubicBezTo>
                  <a:lnTo>
                    <a:pt x="1818358" y="254230"/>
                  </a:lnTo>
                  <a:cubicBezTo>
                    <a:pt x="1818041" y="253287"/>
                    <a:pt x="1816953" y="252274"/>
                    <a:pt x="1815993" y="251994"/>
                  </a:cubicBezTo>
                  <a:lnTo>
                    <a:pt x="1813326" y="251186"/>
                  </a:lnTo>
                  <a:cubicBezTo>
                    <a:pt x="1812366" y="250900"/>
                    <a:pt x="1811626" y="249882"/>
                    <a:pt x="1811648" y="248886"/>
                  </a:cubicBezTo>
                  <a:lnTo>
                    <a:pt x="1811830" y="239316"/>
                  </a:lnTo>
                  <a:cubicBezTo>
                    <a:pt x="1811860" y="238326"/>
                    <a:pt x="1812608" y="237319"/>
                    <a:pt x="1813575" y="237081"/>
                  </a:cubicBezTo>
                  <a:lnTo>
                    <a:pt x="1816311" y="236393"/>
                  </a:lnTo>
                  <a:cubicBezTo>
                    <a:pt x="1817278" y="236149"/>
                    <a:pt x="1818978" y="233436"/>
                    <a:pt x="1819416" y="232540"/>
                  </a:cubicBezTo>
                  <a:cubicBezTo>
                    <a:pt x="1819847" y="231649"/>
                    <a:pt x="1819817" y="230252"/>
                    <a:pt x="1819356" y="229373"/>
                  </a:cubicBezTo>
                  <a:lnTo>
                    <a:pt x="1818049" y="226951"/>
                  </a:lnTo>
                  <a:cubicBezTo>
                    <a:pt x="1817573" y="226078"/>
                    <a:pt x="1817769" y="224780"/>
                    <a:pt x="1818479" y="224093"/>
                  </a:cubicBezTo>
                  <a:lnTo>
                    <a:pt x="1825378" y="217503"/>
                  </a:lnTo>
                  <a:cubicBezTo>
                    <a:pt x="1826103" y="216804"/>
                    <a:pt x="1827380" y="216624"/>
                    <a:pt x="1828242" y="217131"/>
                  </a:cubicBezTo>
                  <a:lnTo>
                    <a:pt x="1830350" y="218435"/>
                  </a:lnTo>
                  <a:cubicBezTo>
                    <a:pt x="1831211" y="218941"/>
                    <a:pt x="1832685" y="218987"/>
                    <a:pt x="1833584" y="218557"/>
                  </a:cubicBezTo>
                  <a:lnTo>
                    <a:pt x="1836009" y="217567"/>
                  </a:lnTo>
                  <a:cubicBezTo>
                    <a:pt x="1836954" y="217247"/>
                    <a:pt x="1837951" y="216222"/>
                    <a:pt x="1838246" y="215268"/>
                  </a:cubicBezTo>
                  <a:lnTo>
                    <a:pt x="1839055" y="212468"/>
                  </a:lnTo>
                  <a:cubicBezTo>
                    <a:pt x="1839342" y="211519"/>
                    <a:pt x="1840422" y="210768"/>
                    <a:pt x="1841412" y="210791"/>
                  </a:cubicBezTo>
                  <a:close/>
                  <a:moveTo>
                    <a:pt x="746313" y="198862"/>
                  </a:moveTo>
                  <a:cubicBezTo>
                    <a:pt x="746822" y="198862"/>
                    <a:pt x="747349" y="199037"/>
                    <a:pt x="747742" y="199422"/>
                  </a:cubicBezTo>
                  <a:cubicBezTo>
                    <a:pt x="748536" y="200212"/>
                    <a:pt x="748536" y="201492"/>
                    <a:pt x="747742" y="202283"/>
                  </a:cubicBezTo>
                  <a:lnTo>
                    <a:pt x="741215" y="208808"/>
                  </a:lnTo>
                  <a:cubicBezTo>
                    <a:pt x="740831" y="209200"/>
                    <a:pt x="740304" y="209362"/>
                    <a:pt x="739786" y="209362"/>
                  </a:cubicBezTo>
                  <a:cubicBezTo>
                    <a:pt x="739260" y="209362"/>
                    <a:pt x="738751" y="209200"/>
                    <a:pt x="738358" y="208808"/>
                  </a:cubicBezTo>
                  <a:cubicBezTo>
                    <a:pt x="737572" y="208025"/>
                    <a:pt x="737572" y="206740"/>
                    <a:pt x="738358" y="205952"/>
                  </a:cubicBezTo>
                  <a:lnTo>
                    <a:pt x="744885" y="199422"/>
                  </a:lnTo>
                  <a:cubicBezTo>
                    <a:pt x="745277" y="199037"/>
                    <a:pt x="745804" y="198862"/>
                    <a:pt x="746313" y="198862"/>
                  </a:cubicBezTo>
                  <a:close/>
                  <a:moveTo>
                    <a:pt x="664218" y="198862"/>
                  </a:moveTo>
                  <a:cubicBezTo>
                    <a:pt x="664735" y="198862"/>
                    <a:pt x="665253" y="199031"/>
                    <a:pt x="665655" y="199422"/>
                  </a:cubicBezTo>
                  <a:lnTo>
                    <a:pt x="672173" y="205952"/>
                  </a:lnTo>
                  <a:cubicBezTo>
                    <a:pt x="672967" y="206714"/>
                    <a:pt x="672967" y="208025"/>
                    <a:pt x="672173" y="208808"/>
                  </a:cubicBezTo>
                  <a:cubicBezTo>
                    <a:pt x="671780" y="209213"/>
                    <a:pt x="671253" y="209426"/>
                    <a:pt x="670744" y="209426"/>
                  </a:cubicBezTo>
                  <a:cubicBezTo>
                    <a:pt x="670217" y="209426"/>
                    <a:pt x="669708" y="209213"/>
                    <a:pt x="669316" y="208808"/>
                  </a:cubicBezTo>
                  <a:lnTo>
                    <a:pt x="662789" y="202283"/>
                  </a:lnTo>
                  <a:cubicBezTo>
                    <a:pt x="662003" y="201489"/>
                    <a:pt x="662003" y="200199"/>
                    <a:pt x="662789" y="199422"/>
                  </a:cubicBezTo>
                  <a:cubicBezTo>
                    <a:pt x="663182" y="199031"/>
                    <a:pt x="663709" y="198862"/>
                    <a:pt x="664218" y="198862"/>
                  </a:cubicBezTo>
                  <a:close/>
                  <a:moveTo>
                    <a:pt x="733947" y="190975"/>
                  </a:moveTo>
                  <a:cubicBezTo>
                    <a:pt x="734447" y="190839"/>
                    <a:pt x="734956" y="190884"/>
                    <a:pt x="735438" y="191155"/>
                  </a:cubicBezTo>
                  <a:cubicBezTo>
                    <a:pt x="736403" y="191707"/>
                    <a:pt x="736724" y="192919"/>
                    <a:pt x="736179" y="193894"/>
                  </a:cubicBezTo>
                  <a:lnTo>
                    <a:pt x="731581" y="201905"/>
                  </a:lnTo>
                  <a:cubicBezTo>
                    <a:pt x="731215" y="202537"/>
                    <a:pt x="730537" y="202904"/>
                    <a:pt x="729849" y="202904"/>
                  </a:cubicBezTo>
                  <a:cubicBezTo>
                    <a:pt x="729483" y="202904"/>
                    <a:pt x="729180" y="202822"/>
                    <a:pt x="728849" y="202653"/>
                  </a:cubicBezTo>
                  <a:cubicBezTo>
                    <a:pt x="727885" y="202103"/>
                    <a:pt x="727546" y="200824"/>
                    <a:pt x="728108" y="199858"/>
                  </a:cubicBezTo>
                  <a:lnTo>
                    <a:pt x="732706" y="191905"/>
                  </a:lnTo>
                  <a:cubicBezTo>
                    <a:pt x="732992" y="191440"/>
                    <a:pt x="733447" y="191098"/>
                    <a:pt x="733947" y="190975"/>
                  </a:cubicBezTo>
                  <a:close/>
                  <a:moveTo>
                    <a:pt x="676646" y="190975"/>
                  </a:moveTo>
                  <a:cubicBezTo>
                    <a:pt x="677146" y="191110"/>
                    <a:pt x="677619" y="191421"/>
                    <a:pt x="677896" y="191905"/>
                  </a:cubicBezTo>
                  <a:lnTo>
                    <a:pt x="682556" y="199922"/>
                  </a:lnTo>
                  <a:cubicBezTo>
                    <a:pt x="683101" y="200888"/>
                    <a:pt x="682708" y="202109"/>
                    <a:pt x="681744" y="202653"/>
                  </a:cubicBezTo>
                  <a:cubicBezTo>
                    <a:pt x="681431" y="202822"/>
                    <a:pt x="681092" y="202904"/>
                    <a:pt x="680753" y="202904"/>
                  </a:cubicBezTo>
                  <a:cubicBezTo>
                    <a:pt x="680065" y="202904"/>
                    <a:pt x="679387" y="202537"/>
                    <a:pt x="679012" y="201905"/>
                  </a:cubicBezTo>
                  <a:lnTo>
                    <a:pt x="674414" y="193958"/>
                  </a:lnTo>
                  <a:cubicBezTo>
                    <a:pt x="673842" y="192973"/>
                    <a:pt x="674199" y="191698"/>
                    <a:pt x="675155" y="191155"/>
                  </a:cubicBezTo>
                  <a:cubicBezTo>
                    <a:pt x="675637" y="190871"/>
                    <a:pt x="676155" y="190839"/>
                    <a:pt x="676646" y="190975"/>
                  </a:cubicBezTo>
                  <a:close/>
                  <a:moveTo>
                    <a:pt x="1228184" y="185608"/>
                  </a:moveTo>
                  <a:lnTo>
                    <a:pt x="1208687" y="205113"/>
                  </a:lnTo>
                  <a:lnTo>
                    <a:pt x="1237733" y="212735"/>
                  </a:lnTo>
                  <a:cubicBezTo>
                    <a:pt x="1237733" y="212735"/>
                    <a:pt x="1228184" y="185608"/>
                    <a:pt x="1228184" y="185608"/>
                  </a:cubicBezTo>
                  <a:close/>
                  <a:moveTo>
                    <a:pt x="1858265" y="185246"/>
                  </a:moveTo>
                  <a:lnTo>
                    <a:pt x="1870203" y="190233"/>
                  </a:lnTo>
                  <a:lnTo>
                    <a:pt x="1870204" y="190240"/>
                  </a:lnTo>
                  <a:cubicBezTo>
                    <a:pt x="1870204" y="190240"/>
                    <a:pt x="1865932" y="188452"/>
                    <a:pt x="1861661" y="186667"/>
                  </a:cubicBezTo>
                  <a:close/>
                  <a:moveTo>
                    <a:pt x="720832" y="185013"/>
                  </a:moveTo>
                  <a:cubicBezTo>
                    <a:pt x="721921" y="185278"/>
                    <a:pt x="722555" y="186421"/>
                    <a:pt x="722260" y="187489"/>
                  </a:cubicBezTo>
                  <a:lnTo>
                    <a:pt x="719841" y="196380"/>
                  </a:lnTo>
                  <a:cubicBezTo>
                    <a:pt x="719609" y="197287"/>
                    <a:pt x="718805" y="197872"/>
                    <a:pt x="717912" y="197872"/>
                  </a:cubicBezTo>
                  <a:cubicBezTo>
                    <a:pt x="717743" y="197872"/>
                    <a:pt x="717591" y="197859"/>
                    <a:pt x="717412" y="197808"/>
                  </a:cubicBezTo>
                  <a:cubicBezTo>
                    <a:pt x="716350" y="197530"/>
                    <a:pt x="715689" y="196387"/>
                    <a:pt x="715984" y="195322"/>
                  </a:cubicBezTo>
                  <a:lnTo>
                    <a:pt x="718350" y="186441"/>
                  </a:lnTo>
                  <a:cubicBezTo>
                    <a:pt x="718626" y="185369"/>
                    <a:pt x="719751" y="184706"/>
                    <a:pt x="720832" y="185013"/>
                  </a:cubicBezTo>
                  <a:close/>
                  <a:moveTo>
                    <a:pt x="689574" y="185013"/>
                  </a:moveTo>
                  <a:cubicBezTo>
                    <a:pt x="690654" y="184751"/>
                    <a:pt x="691708" y="185369"/>
                    <a:pt x="692002" y="186441"/>
                  </a:cubicBezTo>
                  <a:lnTo>
                    <a:pt x="694422" y="195322"/>
                  </a:lnTo>
                  <a:cubicBezTo>
                    <a:pt x="694699" y="196406"/>
                    <a:pt x="694074" y="197519"/>
                    <a:pt x="692993" y="197808"/>
                  </a:cubicBezTo>
                  <a:cubicBezTo>
                    <a:pt x="692815" y="197853"/>
                    <a:pt x="692609" y="197872"/>
                    <a:pt x="692431" y="197872"/>
                  </a:cubicBezTo>
                  <a:cubicBezTo>
                    <a:pt x="691547" y="197872"/>
                    <a:pt x="690743" y="197272"/>
                    <a:pt x="690511" y="196380"/>
                  </a:cubicBezTo>
                  <a:lnTo>
                    <a:pt x="688145" y="187431"/>
                  </a:lnTo>
                  <a:cubicBezTo>
                    <a:pt x="687860" y="186350"/>
                    <a:pt x="688494" y="185278"/>
                    <a:pt x="689574" y="185013"/>
                  </a:cubicBezTo>
                  <a:close/>
                  <a:moveTo>
                    <a:pt x="703993" y="182954"/>
                  </a:moveTo>
                  <a:cubicBezTo>
                    <a:pt x="705100" y="182954"/>
                    <a:pt x="705984" y="183832"/>
                    <a:pt x="705984" y="184949"/>
                  </a:cubicBezTo>
                  <a:lnTo>
                    <a:pt x="705984" y="194197"/>
                  </a:lnTo>
                  <a:cubicBezTo>
                    <a:pt x="705984" y="195322"/>
                    <a:pt x="705109" y="196189"/>
                    <a:pt x="703993" y="196189"/>
                  </a:cubicBezTo>
                  <a:cubicBezTo>
                    <a:pt x="702868" y="196189"/>
                    <a:pt x="702002" y="195322"/>
                    <a:pt x="702002" y="194197"/>
                  </a:cubicBezTo>
                  <a:lnTo>
                    <a:pt x="702002" y="184949"/>
                  </a:lnTo>
                  <a:cubicBezTo>
                    <a:pt x="702002" y="183832"/>
                    <a:pt x="702868" y="182954"/>
                    <a:pt x="703993" y="182954"/>
                  </a:cubicBezTo>
                  <a:close/>
                  <a:moveTo>
                    <a:pt x="704430" y="173072"/>
                  </a:moveTo>
                  <a:cubicBezTo>
                    <a:pt x="665825" y="173093"/>
                    <a:pt x="634442" y="204494"/>
                    <a:pt x="634451" y="243045"/>
                  </a:cubicBezTo>
                  <a:cubicBezTo>
                    <a:pt x="634451" y="252336"/>
                    <a:pt x="636254" y="261320"/>
                    <a:pt x="639674" y="269640"/>
                  </a:cubicBezTo>
                  <a:cubicBezTo>
                    <a:pt x="656093" y="252797"/>
                    <a:pt x="678378" y="243057"/>
                    <a:pt x="702002" y="242675"/>
                  </a:cubicBezTo>
                  <a:lnTo>
                    <a:pt x="702002" y="208873"/>
                  </a:lnTo>
                  <a:cubicBezTo>
                    <a:pt x="702002" y="206649"/>
                    <a:pt x="703814" y="204824"/>
                    <a:pt x="706047" y="204824"/>
                  </a:cubicBezTo>
                  <a:cubicBezTo>
                    <a:pt x="708270" y="204824"/>
                    <a:pt x="710020" y="206649"/>
                    <a:pt x="710020" y="208873"/>
                  </a:cubicBezTo>
                  <a:lnTo>
                    <a:pt x="710020" y="242922"/>
                  </a:lnTo>
                  <a:cubicBezTo>
                    <a:pt x="732358" y="244563"/>
                    <a:pt x="753143" y="254548"/>
                    <a:pt x="768500" y="270956"/>
                  </a:cubicBezTo>
                  <a:cubicBezTo>
                    <a:pt x="772294" y="262250"/>
                    <a:pt x="774401" y="252834"/>
                    <a:pt x="774401" y="243045"/>
                  </a:cubicBezTo>
                  <a:cubicBezTo>
                    <a:pt x="774401" y="224372"/>
                    <a:pt x="767170" y="206791"/>
                    <a:pt x="753956" y="193584"/>
                  </a:cubicBezTo>
                  <a:cubicBezTo>
                    <a:pt x="740733" y="180357"/>
                    <a:pt x="723100" y="173072"/>
                    <a:pt x="704430" y="173072"/>
                  </a:cubicBezTo>
                  <a:close/>
                  <a:moveTo>
                    <a:pt x="1865943" y="171322"/>
                  </a:moveTo>
                  <a:lnTo>
                    <a:pt x="1868562" y="188133"/>
                  </a:lnTo>
                  <a:lnTo>
                    <a:pt x="1854175" y="182127"/>
                  </a:lnTo>
                  <a:close/>
                  <a:moveTo>
                    <a:pt x="1867096" y="170284"/>
                  </a:moveTo>
                  <a:lnTo>
                    <a:pt x="1870204" y="190233"/>
                  </a:lnTo>
                  <a:lnTo>
                    <a:pt x="1870203" y="190233"/>
                  </a:lnTo>
                  <a:close/>
                  <a:moveTo>
                    <a:pt x="2013362" y="166361"/>
                  </a:moveTo>
                  <a:cubicBezTo>
                    <a:pt x="2008222" y="166361"/>
                    <a:pt x="2004042" y="170530"/>
                    <a:pt x="2004042" y="175681"/>
                  </a:cubicBezTo>
                  <a:lnTo>
                    <a:pt x="2004042" y="258020"/>
                  </a:lnTo>
                  <a:cubicBezTo>
                    <a:pt x="2004042" y="263164"/>
                    <a:pt x="2008222" y="267341"/>
                    <a:pt x="2013362" y="267341"/>
                  </a:cubicBezTo>
                  <a:cubicBezTo>
                    <a:pt x="2018515" y="267341"/>
                    <a:pt x="2022750" y="263164"/>
                    <a:pt x="2022750" y="258020"/>
                  </a:cubicBezTo>
                  <a:lnTo>
                    <a:pt x="2022750" y="189046"/>
                  </a:lnTo>
                  <a:cubicBezTo>
                    <a:pt x="2022750" y="189046"/>
                    <a:pt x="2022750" y="175681"/>
                    <a:pt x="2022750" y="175681"/>
                  </a:cubicBezTo>
                  <a:cubicBezTo>
                    <a:pt x="2022750" y="170530"/>
                    <a:pt x="2018515" y="166361"/>
                    <a:pt x="2013362" y="166361"/>
                  </a:cubicBezTo>
                  <a:close/>
                  <a:moveTo>
                    <a:pt x="1985459" y="166361"/>
                  </a:moveTo>
                  <a:cubicBezTo>
                    <a:pt x="1980312" y="166361"/>
                    <a:pt x="1976139" y="170530"/>
                    <a:pt x="1976139" y="175681"/>
                  </a:cubicBezTo>
                  <a:lnTo>
                    <a:pt x="1976139" y="258020"/>
                  </a:lnTo>
                  <a:cubicBezTo>
                    <a:pt x="1976139" y="263164"/>
                    <a:pt x="1980312" y="267341"/>
                    <a:pt x="1985459" y="267341"/>
                  </a:cubicBezTo>
                  <a:cubicBezTo>
                    <a:pt x="1990612" y="267341"/>
                    <a:pt x="1994785" y="263164"/>
                    <a:pt x="1994785" y="258020"/>
                  </a:cubicBezTo>
                  <a:cubicBezTo>
                    <a:pt x="1994785" y="258020"/>
                    <a:pt x="1994785" y="175681"/>
                    <a:pt x="1994785" y="175681"/>
                  </a:cubicBezTo>
                  <a:cubicBezTo>
                    <a:pt x="1994785" y="170530"/>
                    <a:pt x="1990612" y="166361"/>
                    <a:pt x="1985459" y="166361"/>
                  </a:cubicBezTo>
                  <a:close/>
                  <a:moveTo>
                    <a:pt x="1957556" y="166361"/>
                  </a:moveTo>
                  <a:cubicBezTo>
                    <a:pt x="1952409" y="166361"/>
                    <a:pt x="1948236" y="170530"/>
                    <a:pt x="1948236" y="175681"/>
                  </a:cubicBezTo>
                  <a:lnTo>
                    <a:pt x="1948236" y="258020"/>
                  </a:lnTo>
                  <a:cubicBezTo>
                    <a:pt x="1948236" y="263164"/>
                    <a:pt x="1952409" y="267341"/>
                    <a:pt x="1957556" y="267341"/>
                  </a:cubicBezTo>
                  <a:cubicBezTo>
                    <a:pt x="1962702" y="267341"/>
                    <a:pt x="1966882" y="263164"/>
                    <a:pt x="1966882" y="258020"/>
                  </a:cubicBezTo>
                  <a:cubicBezTo>
                    <a:pt x="1966882" y="258020"/>
                    <a:pt x="1966882" y="175681"/>
                    <a:pt x="1966882" y="175681"/>
                  </a:cubicBezTo>
                  <a:cubicBezTo>
                    <a:pt x="1966882" y="170530"/>
                    <a:pt x="1962702" y="166361"/>
                    <a:pt x="1957556" y="166361"/>
                  </a:cubicBezTo>
                  <a:close/>
                  <a:moveTo>
                    <a:pt x="1929659" y="166361"/>
                  </a:moveTo>
                  <a:cubicBezTo>
                    <a:pt x="1924513" y="166361"/>
                    <a:pt x="1920333" y="170530"/>
                    <a:pt x="1920333" y="175681"/>
                  </a:cubicBezTo>
                  <a:lnTo>
                    <a:pt x="1920333" y="258020"/>
                  </a:lnTo>
                  <a:cubicBezTo>
                    <a:pt x="1920333" y="263164"/>
                    <a:pt x="1924513" y="267341"/>
                    <a:pt x="1929659" y="267341"/>
                  </a:cubicBezTo>
                  <a:cubicBezTo>
                    <a:pt x="1934806" y="267341"/>
                    <a:pt x="1938979" y="263164"/>
                    <a:pt x="1938979" y="258020"/>
                  </a:cubicBezTo>
                  <a:cubicBezTo>
                    <a:pt x="1938979" y="258020"/>
                    <a:pt x="1938979" y="175681"/>
                    <a:pt x="1938979" y="175681"/>
                  </a:cubicBezTo>
                  <a:cubicBezTo>
                    <a:pt x="1938979" y="170530"/>
                    <a:pt x="1934806" y="166361"/>
                    <a:pt x="1929659" y="166361"/>
                  </a:cubicBezTo>
                  <a:close/>
                  <a:moveTo>
                    <a:pt x="1573016" y="165063"/>
                  </a:moveTo>
                  <a:lnTo>
                    <a:pt x="1589796" y="165063"/>
                  </a:lnTo>
                  <a:lnTo>
                    <a:pt x="1589796" y="176424"/>
                  </a:lnTo>
                  <a:lnTo>
                    <a:pt x="1573016" y="176424"/>
                  </a:lnTo>
                  <a:cubicBezTo>
                    <a:pt x="1573016" y="176424"/>
                    <a:pt x="1573016" y="165063"/>
                    <a:pt x="1573016" y="165063"/>
                  </a:cubicBezTo>
                  <a:close/>
                  <a:moveTo>
                    <a:pt x="704430" y="165057"/>
                  </a:moveTo>
                  <a:cubicBezTo>
                    <a:pt x="725269" y="165057"/>
                    <a:pt x="744876" y="173132"/>
                    <a:pt x="759607" y="187868"/>
                  </a:cubicBezTo>
                  <a:cubicBezTo>
                    <a:pt x="774357" y="202613"/>
                    <a:pt x="782482" y="222221"/>
                    <a:pt x="782482" y="243045"/>
                  </a:cubicBezTo>
                  <a:cubicBezTo>
                    <a:pt x="782482" y="263898"/>
                    <a:pt x="774339" y="283486"/>
                    <a:pt x="759607" y="298230"/>
                  </a:cubicBezTo>
                  <a:cubicBezTo>
                    <a:pt x="744867" y="312969"/>
                    <a:pt x="725314" y="321100"/>
                    <a:pt x="704493" y="321100"/>
                  </a:cubicBezTo>
                  <a:cubicBezTo>
                    <a:pt x="683628" y="321100"/>
                    <a:pt x="663976" y="312963"/>
                    <a:pt x="649245" y="298230"/>
                  </a:cubicBezTo>
                  <a:cubicBezTo>
                    <a:pt x="643834" y="292825"/>
                    <a:pt x="639683" y="286618"/>
                    <a:pt x="636129" y="280079"/>
                  </a:cubicBezTo>
                  <a:cubicBezTo>
                    <a:pt x="636040" y="280018"/>
                    <a:pt x="635915" y="280037"/>
                    <a:pt x="635826" y="279966"/>
                  </a:cubicBezTo>
                  <a:cubicBezTo>
                    <a:pt x="634897" y="279178"/>
                    <a:pt x="634477" y="278099"/>
                    <a:pt x="634451" y="276982"/>
                  </a:cubicBezTo>
                  <a:cubicBezTo>
                    <a:pt x="629370" y="266500"/>
                    <a:pt x="626442" y="255043"/>
                    <a:pt x="626442" y="243045"/>
                  </a:cubicBezTo>
                  <a:cubicBezTo>
                    <a:pt x="626442" y="200037"/>
                    <a:pt x="661378" y="165057"/>
                    <a:pt x="704430" y="165057"/>
                  </a:cubicBezTo>
                  <a:close/>
                  <a:moveTo>
                    <a:pt x="1482778" y="165057"/>
                  </a:moveTo>
                  <a:cubicBezTo>
                    <a:pt x="1484740" y="165057"/>
                    <a:pt x="1486691" y="165574"/>
                    <a:pt x="1488378" y="166555"/>
                  </a:cubicBezTo>
                  <a:lnTo>
                    <a:pt x="1510311" y="179162"/>
                  </a:lnTo>
                  <a:cubicBezTo>
                    <a:pt x="1512907" y="180660"/>
                    <a:pt x="1514750" y="183121"/>
                    <a:pt x="1515528" y="186003"/>
                  </a:cubicBezTo>
                  <a:cubicBezTo>
                    <a:pt x="1516306" y="188897"/>
                    <a:pt x="1515911" y="191933"/>
                    <a:pt x="1514415" y="194509"/>
                  </a:cubicBezTo>
                  <a:cubicBezTo>
                    <a:pt x="1512429" y="197976"/>
                    <a:pt x="1508660" y="200108"/>
                    <a:pt x="1504651" y="200108"/>
                  </a:cubicBezTo>
                  <a:cubicBezTo>
                    <a:pt x="1502689" y="200108"/>
                    <a:pt x="1500750" y="199603"/>
                    <a:pt x="1499063" y="198609"/>
                  </a:cubicBezTo>
                  <a:lnTo>
                    <a:pt x="1477190" y="185939"/>
                  </a:lnTo>
                  <a:cubicBezTo>
                    <a:pt x="1474593" y="184440"/>
                    <a:pt x="1472739" y="182056"/>
                    <a:pt x="1471973" y="179162"/>
                  </a:cubicBezTo>
                  <a:cubicBezTo>
                    <a:pt x="1471195" y="176265"/>
                    <a:pt x="1471590" y="173242"/>
                    <a:pt x="1473086" y="170656"/>
                  </a:cubicBezTo>
                  <a:cubicBezTo>
                    <a:pt x="1475072" y="167201"/>
                    <a:pt x="1478781" y="165057"/>
                    <a:pt x="1482778" y="165057"/>
                  </a:cubicBezTo>
                  <a:close/>
                  <a:moveTo>
                    <a:pt x="1321709" y="165057"/>
                  </a:moveTo>
                  <a:cubicBezTo>
                    <a:pt x="1325694" y="165057"/>
                    <a:pt x="1329391" y="167188"/>
                    <a:pt x="1331401" y="170656"/>
                  </a:cubicBezTo>
                  <a:cubicBezTo>
                    <a:pt x="1332909" y="173255"/>
                    <a:pt x="1333292" y="176282"/>
                    <a:pt x="1332514" y="179162"/>
                  </a:cubicBezTo>
                  <a:cubicBezTo>
                    <a:pt x="1331736" y="182056"/>
                    <a:pt x="1329893" y="184440"/>
                    <a:pt x="1327297" y="185939"/>
                  </a:cubicBezTo>
                  <a:lnTo>
                    <a:pt x="1305424" y="198545"/>
                  </a:lnTo>
                  <a:cubicBezTo>
                    <a:pt x="1303725" y="199551"/>
                    <a:pt x="1301810" y="200108"/>
                    <a:pt x="1299824" y="200108"/>
                  </a:cubicBezTo>
                  <a:cubicBezTo>
                    <a:pt x="1295839" y="200108"/>
                    <a:pt x="1292142" y="197976"/>
                    <a:pt x="1290132" y="194509"/>
                  </a:cubicBezTo>
                  <a:cubicBezTo>
                    <a:pt x="1287057" y="189166"/>
                    <a:pt x="1288827" y="182243"/>
                    <a:pt x="1294176" y="179162"/>
                  </a:cubicBezTo>
                  <a:lnTo>
                    <a:pt x="1316049" y="166555"/>
                  </a:lnTo>
                  <a:cubicBezTo>
                    <a:pt x="1317748" y="165548"/>
                    <a:pt x="1319735" y="165057"/>
                    <a:pt x="1321709" y="165057"/>
                  </a:cubicBezTo>
                  <a:close/>
                  <a:moveTo>
                    <a:pt x="1929659" y="157096"/>
                  </a:moveTo>
                  <a:cubicBezTo>
                    <a:pt x="1935228" y="157096"/>
                    <a:pt x="1940188" y="159561"/>
                    <a:pt x="1943580" y="163442"/>
                  </a:cubicBezTo>
                  <a:cubicBezTo>
                    <a:pt x="1946999" y="159561"/>
                    <a:pt x="1951987" y="157096"/>
                    <a:pt x="1957556" y="157096"/>
                  </a:cubicBezTo>
                  <a:cubicBezTo>
                    <a:pt x="1963131" y="157096"/>
                    <a:pt x="1968125" y="159561"/>
                    <a:pt x="1971538" y="163442"/>
                  </a:cubicBezTo>
                  <a:cubicBezTo>
                    <a:pt x="1974944" y="159561"/>
                    <a:pt x="1979890" y="157096"/>
                    <a:pt x="1985459" y="157096"/>
                  </a:cubicBezTo>
                  <a:cubicBezTo>
                    <a:pt x="1991034" y="157096"/>
                    <a:pt x="1996029" y="159561"/>
                    <a:pt x="1999441" y="163442"/>
                  </a:cubicBezTo>
                  <a:cubicBezTo>
                    <a:pt x="2002847" y="159561"/>
                    <a:pt x="2007800" y="157096"/>
                    <a:pt x="2013362" y="157096"/>
                  </a:cubicBezTo>
                  <a:cubicBezTo>
                    <a:pt x="2023607" y="157096"/>
                    <a:pt x="2031945" y="165457"/>
                    <a:pt x="2031945" y="175681"/>
                  </a:cubicBezTo>
                  <a:lnTo>
                    <a:pt x="2031945" y="179782"/>
                  </a:lnTo>
                  <a:lnTo>
                    <a:pt x="2037099" y="179782"/>
                  </a:lnTo>
                  <a:lnTo>
                    <a:pt x="2037099" y="161700"/>
                  </a:lnTo>
                  <a:cubicBezTo>
                    <a:pt x="2037099" y="159134"/>
                    <a:pt x="2039220" y="157096"/>
                    <a:pt x="2041762" y="157096"/>
                  </a:cubicBezTo>
                  <a:cubicBezTo>
                    <a:pt x="2044318" y="157096"/>
                    <a:pt x="2046377" y="159134"/>
                    <a:pt x="2046363" y="161700"/>
                  </a:cubicBezTo>
                  <a:lnTo>
                    <a:pt x="2046363" y="184445"/>
                  </a:lnTo>
                  <a:cubicBezTo>
                    <a:pt x="2046363" y="186985"/>
                    <a:pt x="2044305" y="189046"/>
                    <a:pt x="2041762" y="189046"/>
                  </a:cubicBezTo>
                  <a:lnTo>
                    <a:pt x="2031945" y="189046"/>
                  </a:lnTo>
                  <a:lnTo>
                    <a:pt x="2031945" y="258020"/>
                  </a:lnTo>
                  <a:cubicBezTo>
                    <a:pt x="2031945" y="268251"/>
                    <a:pt x="2023593" y="276607"/>
                    <a:pt x="2013362" y="276607"/>
                  </a:cubicBezTo>
                  <a:cubicBezTo>
                    <a:pt x="2007800" y="276607"/>
                    <a:pt x="2002847" y="274084"/>
                    <a:pt x="1999441" y="270203"/>
                  </a:cubicBezTo>
                  <a:cubicBezTo>
                    <a:pt x="1996029" y="274084"/>
                    <a:pt x="1991034" y="276607"/>
                    <a:pt x="1985459" y="276607"/>
                  </a:cubicBezTo>
                  <a:cubicBezTo>
                    <a:pt x="1979911" y="276607"/>
                    <a:pt x="1974937" y="274084"/>
                    <a:pt x="1971538" y="270203"/>
                  </a:cubicBezTo>
                  <a:cubicBezTo>
                    <a:pt x="1968125" y="274084"/>
                    <a:pt x="1963131" y="276607"/>
                    <a:pt x="1957556" y="276607"/>
                  </a:cubicBezTo>
                  <a:cubicBezTo>
                    <a:pt x="1952001" y="276607"/>
                    <a:pt x="1946979" y="274084"/>
                    <a:pt x="1943580" y="270203"/>
                  </a:cubicBezTo>
                  <a:cubicBezTo>
                    <a:pt x="1940174" y="274084"/>
                    <a:pt x="1935228" y="276607"/>
                    <a:pt x="1929659" y="276607"/>
                  </a:cubicBezTo>
                  <a:cubicBezTo>
                    <a:pt x="1919428" y="276607"/>
                    <a:pt x="1911076" y="268251"/>
                    <a:pt x="1911076" y="258020"/>
                  </a:cubicBezTo>
                  <a:lnTo>
                    <a:pt x="1911076" y="189046"/>
                  </a:lnTo>
                  <a:lnTo>
                    <a:pt x="1901756" y="189046"/>
                  </a:lnTo>
                  <a:cubicBezTo>
                    <a:pt x="1899214" y="189046"/>
                    <a:pt x="1897155" y="186938"/>
                    <a:pt x="1897155" y="184387"/>
                  </a:cubicBezTo>
                  <a:cubicBezTo>
                    <a:pt x="1897155" y="181836"/>
                    <a:pt x="1899214" y="179782"/>
                    <a:pt x="1901756" y="179782"/>
                  </a:cubicBezTo>
                  <a:lnTo>
                    <a:pt x="1911076" y="179782"/>
                  </a:lnTo>
                  <a:lnTo>
                    <a:pt x="1911076" y="175681"/>
                  </a:lnTo>
                  <a:cubicBezTo>
                    <a:pt x="1911076" y="165457"/>
                    <a:pt x="1919407" y="157096"/>
                    <a:pt x="1929659" y="157096"/>
                  </a:cubicBezTo>
                  <a:close/>
                  <a:moveTo>
                    <a:pt x="2130650" y="157094"/>
                  </a:moveTo>
                  <a:cubicBezTo>
                    <a:pt x="2143275" y="157094"/>
                    <a:pt x="2155899" y="161849"/>
                    <a:pt x="2165734" y="171356"/>
                  </a:cubicBezTo>
                  <a:cubicBezTo>
                    <a:pt x="2185408" y="190368"/>
                    <a:pt x="2186457" y="221175"/>
                    <a:pt x="2168116" y="241500"/>
                  </a:cubicBezTo>
                  <a:cubicBezTo>
                    <a:pt x="2166535" y="243249"/>
                    <a:pt x="2163827" y="243388"/>
                    <a:pt x="2162069" y="241811"/>
                  </a:cubicBezTo>
                  <a:cubicBezTo>
                    <a:pt x="2160307" y="240227"/>
                    <a:pt x="2160168" y="237510"/>
                    <a:pt x="2161754" y="235758"/>
                  </a:cubicBezTo>
                  <a:cubicBezTo>
                    <a:pt x="2176974" y="218883"/>
                    <a:pt x="2176111" y="193309"/>
                    <a:pt x="2159770" y="177522"/>
                  </a:cubicBezTo>
                  <a:cubicBezTo>
                    <a:pt x="2143439" y="161726"/>
                    <a:pt x="2117848" y="161726"/>
                    <a:pt x="2101513" y="177522"/>
                  </a:cubicBezTo>
                  <a:cubicBezTo>
                    <a:pt x="2085177" y="193309"/>
                    <a:pt x="2084304" y="218883"/>
                    <a:pt x="2099528" y="235758"/>
                  </a:cubicBezTo>
                  <a:cubicBezTo>
                    <a:pt x="2101120" y="237510"/>
                    <a:pt x="2100980" y="240227"/>
                    <a:pt x="2099228" y="241811"/>
                  </a:cubicBezTo>
                  <a:cubicBezTo>
                    <a:pt x="2098396" y="242539"/>
                    <a:pt x="2097368" y="242908"/>
                    <a:pt x="2096345" y="242908"/>
                  </a:cubicBezTo>
                  <a:cubicBezTo>
                    <a:pt x="2095177" y="242908"/>
                    <a:pt x="2094009" y="242436"/>
                    <a:pt x="2093166" y="241500"/>
                  </a:cubicBezTo>
                  <a:cubicBezTo>
                    <a:pt x="2074831" y="221175"/>
                    <a:pt x="2075875" y="190368"/>
                    <a:pt x="2095554" y="171356"/>
                  </a:cubicBezTo>
                  <a:cubicBezTo>
                    <a:pt x="2105396" y="161849"/>
                    <a:pt x="2118024" y="157094"/>
                    <a:pt x="2130650" y="157094"/>
                  </a:cubicBezTo>
                  <a:close/>
                  <a:moveTo>
                    <a:pt x="704984" y="153253"/>
                  </a:moveTo>
                  <a:cubicBezTo>
                    <a:pt x="656253" y="153253"/>
                    <a:pt x="616558" y="192867"/>
                    <a:pt x="616558" y="241617"/>
                  </a:cubicBezTo>
                  <a:cubicBezTo>
                    <a:pt x="616558" y="290341"/>
                    <a:pt x="656209" y="329981"/>
                    <a:pt x="704922" y="329981"/>
                  </a:cubicBezTo>
                  <a:lnTo>
                    <a:pt x="704984" y="329981"/>
                  </a:lnTo>
                  <a:cubicBezTo>
                    <a:pt x="728590" y="329981"/>
                    <a:pt x="750822" y="320777"/>
                    <a:pt x="767500" y="304075"/>
                  </a:cubicBezTo>
                  <a:cubicBezTo>
                    <a:pt x="784196" y="287368"/>
                    <a:pt x="793374" y="265176"/>
                    <a:pt x="793356" y="241558"/>
                  </a:cubicBezTo>
                  <a:cubicBezTo>
                    <a:pt x="793356" y="217965"/>
                    <a:pt x="784151" y="195787"/>
                    <a:pt x="767437" y="179098"/>
                  </a:cubicBezTo>
                  <a:cubicBezTo>
                    <a:pt x="750759" y="162415"/>
                    <a:pt x="728590" y="153253"/>
                    <a:pt x="704984" y="153253"/>
                  </a:cubicBezTo>
                  <a:close/>
                  <a:moveTo>
                    <a:pt x="704984" y="145171"/>
                  </a:moveTo>
                  <a:cubicBezTo>
                    <a:pt x="730760" y="145171"/>
                    <a:pt x="754929" y="155182"/>
                    <a:pt x="773160" y="173382"/>
                  </a:cubicBezTo>
                  <a:cubicBezTo>
                    <a:pt x="791383" y="191609"/>
                    <a:pt x="801392" y="215821"/>
                    <a:pt x="801374" y="241558"/>
                  </a:cubicBezTo>
                  <a:cubicBezTo>
                    <a:pt x="801392" y="267321"/>
                    <a:pt x="791428" y="291592"/>
                    <a:pt x="773223" y="309791"/>
                  </a:cubicBezTo>
                  <a:cubicBezTo>
                    <a:pt x="755009" y="328017"/>
                    <a:pt x="730751" y="338066"/>
                    <a:pt x="704984" y="338066"/>
                  </a:cubicBezTo>
                  <a:lnTo>
                    <a:pt x="704922" y="338066"/>
                  </a:lnTo>
                  <a:cubicBezTo>
                    <a:pt x="651780" y="338066"/>
                    <a:pt x="608559" y="294790"/>
                    <a:pt x="608541" y="241617"/>
                  </a:cubicBezTo>
                  <a:cubicBezTo>
                    <a:pt x="608559" y="188411"/>
                    <a:pt x="651807" y="145171"/>
                    <a:pt x="704984" y="145171"/>
                  </a:cubicBezTo>
                  <a:close/>
                  <a:moveTo>
                    <a:pt x="1037396" y="141316"/>
                  </a:moveTo>
                  <a:cubicBezTo>
                    <a:pt x="1027477" y="141316"/>
                    <a:pt x="1023788" y="143576"/>
                    <a:pt x="1023788" y="149455"/>
                  </a:cubicBezTo>
                  <a:cubicBezTo>
                    <a:pt x="1023788" y="156960"/>
                    <a:pt x="1029897" y="163064"/>
                    <a:pt x="1037396" y="163064"/>
                  </a:cubicBezTo>
                  <a:cubicBezTo>
                    <a:pt x="1044905" y="163064"/>
                    <a:pt x="1051007" y="156960"/>
                    <a:pt x="1051007" y="149455"/>
                  </a:cubicBezTo>
                  <a:cubicBezTo>
                    <a:pt x="1051007" y="143576"/>
                    <a:pt x="1047311" y="141316"/>
                    <a:pt x="1037396" y="141316"/>
                  </a:cubicBezTo>
                  <a:close/>
                  <a:moveTo>
                    <a:pt x="994145" y="141316"/>
                  </a:moveTo>
                  <a:cubicBezTo>
                    <a:pt x="984226" y="141316"/>
                    <a:pt x="980534" y="143576"/>
                    <a:pt x="980534" y="149455"/>
                  </a:cubicBezTo>
                  <a:cubicBezTo>
                    <a:pt x="980534" y="156960"/>
                    <a:pt x="986643" y="163064"/>
                    <a:pt x="994145" y="163064"/>
                  </a:cubicBezTo>
                  <a:cubicBezTo>
                    <a:pt x="1001647" y="163064"/>
                    <a:pt x="1007753" y="156960"/>
                    <a:pt x="1007753" y="149455"/>
                  </a:cubicBezTo>
                  <a:cubicBezTo>
                    <a:pt x="1007753" y="143576"/>
                    <a:pt x="1004064" y="141316"/>
                    <a:pt x="994145" y="141316"/>
                  </a:cubicBezTo>
                  <a:close/>
                  <a:moveTo>
                    <a:pt x="1185365" y="137673"/>
                  </a:moveTo>
                  <a:lnTo>
                    <a:pt x="1160134" y="162926"/>
                  </a:lnTo>
                  <a:lnTo>
                    <a:pt x="1197786" y="200578"/>
                  </a:lnTo>
                  <a:lnTo>
                    <a:pt x="1223006" y="175326"/>
                  </a:lnTo>
                  <a:cubicBezTo>
                    <a:pt x="1223006" y="175326"/>
                    <a:pt x="1185365" y="137673"/>
                    <a:pt x="1185365" y="137673"/>
                  </a:cubicBezTo>
                  <a:close/>
                  <a:moveTo>
                    <a:pt x="994145" y="137214"/>
                  </a:moveTo>
                  <a:cubicBezTo>
                    <a:pt x="996817" y="137214"/>
                    <a:pt x="1001286" y="137204"/>
                    <a:pt x="1005081" y="138767"/>
                  </a:cubicBezTo>
                  <a:cubicBezTo>
                    <a:pt x="1006313" y="139154"/>
                    <a:pt x="1010618" y="140386"/>
                    <a:pt x="1015768" y="140386"/>
                  </a:cubicBezTo>
                  <a:cubicBezTo>
                    <a:pt x="1020916" y="140386"/>
                    <a:pt x="1025231" y="139154"/>
                    <a:pt x="1026460" y="138767"/>
                  </a:cubicBezTo>
                  <a:cubicBezTo>
                    <a:pt x="1030251" y="137204"/>
                    <a:pt x="1034724" y="137214"/>
                    <a:pt x="1037396" y="137214"/>
                  </a:cubicBezTo>
                  <a:cubicBezTo>
                    <a:pt x="1042714" y="137214"/>
                    <a:pt x="1055170" y="137234"/>
                    <a:pt x="1055170" y="149455"/>
                  </a:cubicBezTo>
                  <a:cubicBezTo>
                    <a:pt x="1055170" y="159257"/>
                    <a:pt x="1047198" y="167169"/>
                    <a:pt x="1037396" y="167169"/>
                  </a:cubicBezTo>
                  <a:cubicBezTo>
                    <a:pt x="1027597" y="167169"/>
                    <a:pt x="1019621" y="159257"/>
                    <a:pt x="1019621" y="149455"/>
                  </a:cubicBezTo>
                  <a:cubicBezTo>
                    <a:pt x="1019621" y="148744"/>
                    <a:pt x="1019669" y="148041"/>
                    <a:pt x="1019749" y="147406"/>
                  </a:cubicBezTo>
                  <a:cubicBezTo>
                    <a:pt x="1018696" y="146930"/>
                    <a:pt x="1017248" y="146472"/>
                    <a:pt x="1015583" y="146472"/>
                  </a:cubicBezTo>
                  <a:cubicBezTo>
                    <a:pt x="1014088" y="146472"/>
                    <a:pt x="1012801" y="146818"/>
                    <a:pt x="1011791" y="147219"/>
                  </a:cubicBezTo>
                  <a:cubicBezTo>
                    <a:pt x="1011883" y="147905"/>
                    <a:pt x="1011915" y="148686"/>
                    <a:pt x="1011915" y="149455"/>
                  </a:cubicBezTo>
                  <a:cubicBezTo>
                    <a:pt x="1011915" y="159257"/>
                    <a:pt x="1003929" y="167169"/>
                    <a:pt x="994145" y="167169"/>
                  </a:cubicBezTo>
                  <a:cubicBezTo>
                    <a:pt x="984350" y="167169"/>
                    <a:pt x="976433" y="159257"/>
                    <a:pt x="976433" y="149455"/>
                  </a:cubicBezTo>
                  <a:cubicBezTo>
                    <a:pt x="976433" y="137234"/>
                    <a:pt x="988827" y="137214"/>
                    <a:pt x="994145" y="137214"/>
                  </a:cubicBezTo>
                  <a:close/>
                  <a:moveTo>
                    <a:pt x="1040068" y="125286"/>
                  </a:moveTo>
                  <a:lnTo>
                    <a:pt x="1049640" y="125286"/>
                  </a:lnTo>
                  <a:cubicBezTo>
                    <a:pt x="1049640" y="125286"/>
                    <a:pt x="1049640" y="137650"/>
                    <a:pt x="1049640" y="137650"/>
                  </a:cubicBezTo>
                  <a:cubicBezTo>
                    <a:pt x="1046315" y="136317"/>
                    <a:pt x="1042732" y="136007"/>
                    <a:pt x="1040068" y="135910"/>
                  </a:cubicBezTo>
                  <a:close/>
                  <a:moveTo>
                    <a:pt x="982400" y="123296"/>
                  </a:moveTo>
                  <a:lnTo>
                    <a:pt x="991969" y="123296"/>
                  </a:lnTo>
                  <a:cubicBezTo>
                    <a:pt x="991969" y="123296"/>
                    <a:pt x="991969" y="135974"/>
                    <a:pt x="991969" y="135974"/>
                  </a:cubicBezTo>
                  <a:cubicBezTo>
                    <a:pt x="989315" y="136048"/>
                    <a:pt x="985703" y="136394"/>
                    <a:pt x="982400" y="137712"/>
                  </a:cubicBezTo>
                  <a:close/>
                  <a:moveTo>
                    <a:pt x="1494708" y="117329"/>
                  </a:moveTo>
                  <a:lnTo>
                    <a:pt x="1519943" y="117329"/>
                  </a:lnTo>
                  <a:cubicBezTo>
                    <a:pt x="1526129" y="117329"/>
                    <a:pt x="1531191" y="122342"/>
                    <a:pt x="1531191" y="128515"/>
                  </a:cubicBezTo>
                  <a:cubicBezTo>
                    <a:pt x="1531191" y="134711"/>
                    <a:pt x="1526129" y="139701"/>
                    <a:pt x="1519943" y="139701"/>
                  </a:cubicBezTo>
                  <a:lnTo>
                    <a:pt x="1494708" y="139701"/>
                  </a:lnTo>
                  <a:cubicBezTo>
                    <a:pt x="1488533" y="139701"/>
                    <a:pt x="1483532" y="134711"/>
                    <a:pt x="1483532" y="128515"/>
                  </a:cubicBezTo>
                  <a:cubicBezTo>
                    <a:pt x="1483532" y="122342"/>
                    <a:pt x="1488533" y="117329"/>
                    <a:pt x="1494708" y="117329"/>
                  </a:cubicBezTo>
                  <a:close/>
                  <a:moveTo>
                    <a:pt x="1283922" y="117329"/>
                  </a:moveTo>
                  <a:lnTo>
                    <a:pt x="1309217" y="117329"/>
                  </a:lnTo>
                  <a:cubicBezTo>
                    <a:pt x="1315379" y="117329"/>
                    <a:pt x="1320393" y="122342"/>
                    <a:pt x="1320393" y="128515"/>
                  </a:cubicBezTo>
                  <a:cubicBezTo>
                    <a:pt x="1320393" y="134711"/>
                    <a:pt x="1315379" y="139701"/>
                    <a:pt x="1309217" y="139701"/>
                  </a:cubicBezTo>
                  <a:lnTo>
                    <a:pt x="1283922" y="139701"/>
                  </a:lnTo>
                  <a:cubicBezTo>
                    <a:pt x="1277735" y="139701"/>
                    <a:pt x="1272734" y="134711"/>
                    <a:pt x="1272734" y="128515"/>
                  </a:cubicBezTo>
                  <a:cubicBezTo>
                    <a:pt x="1272734" y="122342"/>
                    <a:pt x="1277735" y="117329"/>
                    <a:pt x="1283922" y="117329"/>
                  </a:cubicBezTo>
                  <a:close/>
                  <a:moveTo>
                    <a:pt x="996317" y="113350"/>
                  </a:moveTo>
                  <a:lnTo>
                    <a:pt x="1005828" y="113350"/>
                  </a:lnTo>
                  <a:lnTo>
                    <a:pt x="1005828" y="137214"/>
                  </a:lnTo>
                  <a:cubicBezTo>
                    <a:pt x="1002584" y="135878"/>
                    <a:pt x="999081" y="135555"/>
                    <a:pt x="996317" y="135477"/>
                  </a:cubicBezTo>
                  <a:close/>
                  <a:moveTo>
                    <a:pt x="1024160" y="107383"/>
                  </a:moveTo>
                  <a:lnTo>
                    <a:pt x="1033729" y="107383"/>
                  </a:lnTo>
                  <a:lnTo>
                    <a:pt x="1033729" y="134728"/>
                  </a:lnTo>
                  <a:cubicBezTo>
                    <a:pt x="1030962" y="134806"/>
                    <a:pt x="1027492" y="135116"/>
                    <a:pt x="1024408" y="136407"/>
                  </a:cubicBezTo>
                  <a:cubicBezTo>
                    <a:pt x="1024346" y="136410"/>
                    <a:pt x="1024240" y="136439"/>
                    <a:pt x="1024160" y="136468"/>
                  </a:cubicBezTo>
                  <a:close/>
                  <a:moveTo>
                    <a:pt x="1638634" y="105400"/>
                  </a:moveTo>
                  <a:cubicBezTo>
                    <a:pt x="1638718" y="105400"/>
                    <a:pt x="1638746" y="105400"/>
                    <a:pt x="1638821" y="105400"/>
                  </a:cubicBezTo>
                  <a:cubicBezTo>
                    <a:pt x="1675356" y="105400"/>
                    <a:pt x="1705008" y="134986"/>
                    <a:pt x="1705008" y="171516"/>
                  </a:cubicBezTo>
                  <a:cubicBezTo>
                    <a:pt x="1705008" y="171828"/>
                    <a:pt x="1704942" y="172142"/>
                    <a:pt x="1704942" y="172453"/>
                  </a:cubicBezTo>
                  <a:lnTo>
                    <a:pt x="1638634" y="172453"/>
                  </a:lnTo>
                  <a:close/>
                  <a:moveTo>
                    <a:pt x="1998446" y="99427"/>
                  </a:moveTo>
                  <a:cubicBezTo>
                    <a:pt x="2001721" y="99562"/>
                    <a:pt x="2004657" y="104115"/>
                    <a:pt x="2001804" y="107508"/>
                  </a:cubicBezTo>
                  <a:cubicBezTo>
                    <a:pt x="1996823" y="113454"/>
                    <a:pt x="2003234" y="119253"/>
                    <a:pt x="2005099" y="125156"/>
                  </a:cubicBezTo>
                  <a:cubicBezTo>
                    <a:pt x="2007179" y="131714"/>
                    <a:pt x="2005417" y="137144"/>
                    <a:pt x="2001307" y="142439"/>
                  </a:cubicBezTo>
                  <a:cubicBezTo>
                    <a:pt x="1997652" y="147148"/>
                    <a:pt x="1991172" y="140560"/>
                    <a:pt x="1994785" y="135905"/>
                  </a:cubicBezTo>
                  <a:cubicBezTo>
                    <a:pt x="1999773" y="129484"/>
                    <a:pt x="1993514" y="123749"/>
                    <a:pt x="1991490" y="117512"/>
                  </a:cubicBezTo>
                  <a:cubicBezTo>
                    <a:pt x="1989424" y="111201"/>
                    <a:pt x="1991130" y="105951"/>
                    <a:pt x="1995282" y="100989"/>
                  </a:cubicBezTo>
                  <a:cubicBezTo>
                    <a:pt x="1996236" y="99839"/>
                    <a:pt x="1997355" y="99387"/>
                    <a:pt x="1998446" y="99427"/>
                  </a:cubicBezTo>
                  <a:close/>
                  <a:moveTo>
                    <a:pt x="1970606" y="99427"/>
                  </a:moveTo>
                  <a:cubicBezTo>
                    <a:pt x="1973880" y="99562"/>
                    <a:pt x="1976823" y="104115"/>
                    <a:pt x="1973963" y="107508"/>
                  </a:cubicBezTo>
                  <a:cubicBezTo>
                    <a:pt x="1968982" y="113454"/>
                    <a:pt x="1975393" y="119253"/>
                    <a:pt x="1977258" y="125156"/>
                  </a:cubicBezTo>
                  <a:cubicBezTo>
                    <a:pt x="1979331" y="131714"/>
                    <a:pt x="1977569" y="137144"/>
                    <a:pt x="1973466" y="142439"/>
                  </a:cubicBezTo>
                  <a:cubicBezTo>
                    <a:pt x="1969811" y="147148"/>
                    <a:pt x="1963283" y="140560"/>
                    <a:pt x="1966882" y="135905"/>
                  </a:cubicBezTo>
                  <a:cubicBezTo>
                    <a:pt x="1971877" y="129484"/>
                    <a:pt x="1965673" y="123749"/>
                    <a:pt x="1963649" y="117512"/>
                  </a:cubicBezTo>
                  <a:cubicBezTo>
                    <a:pt x="1961583" y="111201"/>
                    <a:pt x="1963283" y="105951"/>
                    <a:pt x="1967441" y="100989"/>
                  </a:cubicBezTo>
                  <a:cubicBezTo>
                    <a:pt x="1968402" y="99839"/>
                    <a:pt x="1969521" y="99387"/>
                    <a:pt x="1970606" y="99427"/>
                  </a:cubicBezTo>
                  <a:close/>
                  <a:moveTo>
                    <a:pt x="1942772" y="99427"/>
                  </a:moveTo>
                  <a:cubicBezTo>
                    <a:pt x="1946039" y="99562"/>
                    <a:pt x="1948982" y="104115"/>
                    <a:pt x="1946122" y="107508"/>
                  </a:cubicBezTo>
                  <a:cubicBezTo>
                    <a:pt x="1941148" y="113454"/>
                    <a:pt x="1947538" y="119253"/>
                    <a:pt x="1949417" y="125156"/>
                  </a:cubicBezTo>
                  <a:cubicBezTo>
                    <a:pt x="1951490" y="131714"/>
                    <a:pt x="1949749" y="137144"/>
                    <a:pt x="1945625" y="142439"/>
                  </a:cubicBezTo>
                  <a:cubicBezTo>
                    <a:pt x="1941977" y="147148"/>
                    <a:pt x="1935490" y="140560"/>
                    <a:pt x="1939103" y="135905"/>
                  </a:cubicBezTo>
                  <a:cubicBezTo>
                    <a:pt x="1944091" y="129484"/>
                    <a:pt x="1937853" y="123749"/>
                    <a:pt x="1935808" y="117512"/>
                  </a:cubicBezTo>
                  <a:cubicBezTo>
                    <a:pt x="1933749" y="111201"/>
                    <a:pt x="1935428" y="105951"/>
                    <a:pt x="1939601" y="100989"/>
                  </a:cubicBezTo>
                  <a:cubicBezTo>
                    <a:pt x="1940561" y="99839"/>
                    <a:pt x="1941680" y="99387"/>
                    <a:pt x="1942772" y="99427"/>
                  </a:cubicBezTo>
                  <a:close/>
                  <a:moveTo>
                    <a:pt x="1010239" y="97443"/>
                  </a:moveTo>
                  <a:lnTo>
                    <a:pt x="1019749" y="97443"/>
                  </a:lnTo>
                  <a:lnTo>
                    <a:pt x="1019749" y="138457"/>
                  </a:lnTo>
                  <a:cubicBezTo>
                    <a:pt x="1018331" y="138687"/>
                    <a:pt x="1016753" y="138829"/>
                    <a:pt x="1015025" y="138829"/>
                  </a:cubicBezTo>
                  <a:cubicBezTo>
                    <a:pt x="1013286" y="138829"/>
                    <a:pt x="1011653" y="138687"/>
                    <a:pt x="1010239" y="138457"/>
                  </a:cubicBezTo>
                  <a:close/>
                  <a:moveTo>
                    <a:pt x="1637953" y="88363"/>
                  </a:moveTo>
                  <a:cubicBezTo>
                    <a:pt x="1592370" y="88363"/>
                    <a:pt x="1555238" y="125499"/>
                    <a:pt x="1555238" y="171076"/>
                  </a:cubicBezTo>
                  <a:cubicBezTo>
                    <a:pt x="1555238" y="216660"/>
                    <a:pt x="1592370" y="253732"/>
                    <a:pt x="1637953" y="253732"/>
                  </a:cubicBezTo>
                  <a:cubicBezTo>
                    <a:pt x="1683536" y="253732"/>
                    <a:pt x="1720603" y="216660"/>
                    <a:pt x="1720603" y="171076"/>
                  </a:cubicBezTo>
                  <a:cubicBezTo>
                    <a:pt x="1720603" y="125499"/>
                    <a:pt x="1683536" y="88363"/>
                    <a:pt x="1637953" y="88363"/>
                  </a:cubicBezTo>
                  <a:close/>
                  <a:moveTo>
                    <a:pt x="1402800" y="83519"/>
                  </a:moveTo>
                  <a:lnTo>
                    <a:pt x="1421263" y="83519"/>
                  </a:lnTo>
                  <a:cubicBezTo>
                    <a:pt x="1423572" y="83519"/>
                    <a:pt x="1424793" y="85269"/>
                    <a:pt x="1423991" y="87441"/>
                  </a:cubicBezTo>
                  <a:lnTo>
                    <a:pt x="1413365" y="116463"/>
                  </a:lnTo>
                  <a:cubicBezTo>
                    <a:pt x="1412576" y="118635"/>
                    <a:pt x="1413784" y="120377"/>
                    <a:pt x="1416106" y="120377"/>
                  </a:cubicBezTo>
                  <a:lnTo>
                    <a:pt x="1422627" y="120377"/>
                  </a:lnTo>
                  <a:cubicBezTo>
                    <a:pt x="1424936" y="120377"/>
                    <a:pt x="1425702" y="121898"/>
                    <a:pt x="1424302" y="123729"/>
                  </a:cubicBezTo>
                  <a:lnTo>
                    <a:pt x="1388441" y="171020"/>
                  </a:lnTo>
                  <a:cubicBezTo>
                    <a:pt x="1387053" y="172861"/>
                    <a:pt x="1386156" y="172492"/>
                    <a:pt x="1386455" y="170207"/>
                  </a:cubicBezTo>
                  <a:lnTo>
                    <a:pt x="1390248" y="141628"/>
                  </a:lnTo>
                  <a:cubicBezTo>
                    <a:pt x="1390535" y="139333"/>
                    <a:pt x="1388884" y="137466"/>
                    <a:pt x="1386586" y="137466"/>
                  </a:cubicBezTo>
                  <a:lnTo>
                    <a:pt x="1383104" y="137466"/>
                  </a:lnTo>
                  <a:cubicBezTo>
                    <a:pt x="1380795" y="137466"/>
                    <a:pt x="1379515" y="135724"/>
                    <a:pt x="1380305" y="133553"/>
                  </a:cubicBezTo>
                  <a:lnTo>
                    <a:pt x="1397212" y="87441"/>
                  </a:lnTo>
                  <a:cubicBezTo>
                    <a:pt x="1398002" y="85269"/>
                    <a:pt x="1400502" y="83519"/>
                    <a:pt x="1402800" y="83519"/>
                  </a:cubicBezTo>
                  <a:close/>
                  <a:moveTo>
                    <a:pt x="890590" y="82866"/>
                  </a:moveTo>
                  <a:cubicBezTo>
                    <a:pt x="858544" y="82866"/>
                    <a:pt x="832563" y="108839"/>
                    <a:pt x="832563" y="140876"/>
                  </a:cubicBezTo>
                  <a:cubicBezTo>
                    <a:pt x="832563" y="172432"/>
                    <a:pt x="851580" y="176104"/>
                    <a:pt x="855138" y="210508"/>
                  </a:cubicBezTo>
                  <a:lnTo>
                    <a:pt x="855151" y="210508"/>
                  </a:lnTo>
                  <a:cubicBezTo>
                    <a:pt x="855151" y="213721"/>
                    <a:pt x="857738" y="216305"/>
                    <a:pt x="860953" y="216305"/>
                  </a:cubicBezTo>
                  <a:lnTo>
                    <a:pt x="920220" y="216305"/>
                  </a:lnTo>
                  <a:cubicBezTo>
                    <a:pt x="923435" y="216305"/>
                    <a:pt x="926022" y="213721"/>
                    <a:pt x="926022" y="210508"/>
                  </a:cubicBezTo>
                  <a:cubicBezTo>
                    <a:pt x="929600" y="176104"/>
                    <a:pt x="948616" y="172432"/>
                    <a:pt x="948616" y="140876"/>
                  </a:cubicBezTo>
                  <a:cubicBezTo>
                    <a:pt x="948616" y="108839"/>
                    <a:pt x="922629" y="82866"/>
                    <a:pt x="890590" y="82866"/>
                  </a:cubicBezTo>
                  <a:close/>
                  <a:moveTo>
                    <a:pt x="1818637" y="75815"/>
                  </a:moveTo>
                  <a:lnTo>
                    <a:pt x="1819808" y="77366"/>
                  </a:lnTo>
                  <a:lnTo>
                    <a:pt x="1818328" y="78113"/>
                  </a:lnTo>
                  <a:cubicBezTo>
                    <a:pt x="1811687" y="75938"/>
                    <a:pt x="1801386" y="79237"/>
                    <a:pt x="1792054" y="86549"/>
                  </a:cubicBezTo>
                  <a:lnTo>
                    <a:pt x="1829278" y="136510"/>
                  </a:lnTo>
                  <a:cubicBezTo>
                    <a:pt x="1838885" y="142401"/>
                    <a:pt x="1851781" y="142103"/>
                    <a:pt x="1861124" y="135686"/>
                  </a:cubicBezTo>
                  <a:lnTo>
                    <a:pt x="1861698" y="135633"/>
                  </a:lnTo>
                  <a:lnTo>
                    <a:pt x="1867093" y="170265"/>
                  </a:lnTo>
                  <a:lnTo>
                    <a:pt x="1865943" y="171322"/>
                  </a:lnTo>
                  <a:lnTo>
                    <a:pt x="1860895" y="138922"/>
                  </a:lnTo>
                  <a:cubicBezTo>
                    <a:pt x="1851609" y="144454"/>
                    <a:pt x="1839534" y="144803"/>
                    <a:pt x="1829967" y="139878"/>
                  </a:cubicBezTo>
                  <a:cubicBezTo>
                    <a:pt x="1830575" y="142330"/>
                    <a:pt x="1830879" y="144868"/>
                    <a:pt x="1830879" y="147421"/>
                  </a:cubicBezTo>
                  <a:cubicBezTo>
                    <a:pt x="1830879" y="155468"/>
                    <a:pt x="1827929" y="163024"/>
                    <a:pt x="1822540" y="168913"/>
                  </a:cubicBezTo>
                  <a:lnTo>
                    <a:pt x="1854175" y="182127"/>
                  </a:lnTo>
                  <a:lnTo>
                    <a:pt x="1853118" y="183095"/>
                  </a:lnTo>
                  <a:lnTo>
                    <a:pt x="1858265" y="185246"/>
                  </a:lnTo>
                  <a:lnTo>
                    <a:pt x="1819227" y="168941"/>
                  </a:lnTo>
                  <a:lnTo>
                    <a:pt x="1819378" y="168454"/>
                  </a:lnTo>
                  <a:cubicBezTo>
                    <a:pt x="1825123" y="162881"/>
                    <a:pt x="1828285" y="155408"/>
                    <a:pt x="1828285" y="147421"/>
                  </a:cubicBezTo>
                  <a:cubicBezTo>
                    <a:pt x="1828285" y="144029"/>
                    <a:pt x="1827711" y="140708"/>
                    <a:pt x="1826569" y="137540"/>
                  </a:cubicBezTo>
                  <a:cubicBezTo>
                    <a:pt x="1826517" y="137391"/>
                    <a:pt x="1826494" y="137261"/>
                    <a:pt x="1826494" y="137125"/>
                  </a:cubicBezTo>
                  <a:lnTo>
                    <a:pt x="1790051" y="88208"/>
                  </a:lnTo>
                  <a:cubicBezTo>
                    <a:pt x="1782733" y="94545"/>
                    <a:pt x="1775800" y="104007"/>
                    <a:pt x="1776581" y="113234"/>
                  </a:cubicBezTo>
                  <a:lnTo>
                    <a:pt x="1776198" y="113686"/>
                  </a:lnTo>
                  <a:lnTo>
                    <a:pt x="1774555" y="111504"/>
                  </a:lnTo>
                  <a:lnTo>
                    <a:pt x="1778599" y="97433"/>
                  </a:lnTo>
                  <a:cubicBezTo>
                    <a:pt x="1781722" y="92451"/>
                    <a:pt x="1786019" y="88007"/>
                    <a:pt x="1790252" y="84664"/>
                  </a:cubicBezTo>
                  <a:close/>
                  <a:moveTo>
                    <a:pt x="1402991" y="72158"/>
                  </a:moveTo>
                  <a:cubicBezTo>
                    <a:pt x="1372024" y="72158"/>
                    <a:pt x="1346813" y="97308"/>
                    <a:pt x="1346813" y="128271"/>
                  </a:cubicBezTo>
                  <a:cubicBezTo>
                    <a:pt x="1346813" y="149479"/>
                    <a:pt x="1358790" y="168661"/>
                    <a:pt x="1378067" y="178297"/>
                  </a:cubicBezTo>
                  <a:lnTo>
                    <a:pt x="1387388" y="182954"/>
                  </a:lnTo>
                  <a:lnTo>
                    <a:pt x="1388944" y="183703"/>
                  </a:lnTo>
                  <a:lnTo>
                    <a:pt x="1388944" y="201289"/>
                  </a:lnTo>
                  <a:lnTo>
                    <a:pt x="1417027" y="201289"/>
                  </a:lnTo>
                  <a:lnTo>
                    <a:pt x="1417027" y="183703"/>
                  </a:lnTo>
                  <a:lnTo>
                    <a:pt x="1427904" y="178297"/>
                  </a:lnTo>
                  <a:cubicBezTo>
                    <a:pt x="1447192" y="168661"/>
                    <a:pt x="1459170" y="149479"/>
                    <a:pt x="1459170" y="128271"/>
                  </a:cubicBezTo>
                  <a:cubicBezTo>
                    <a:pt x="1459170" y="97308"/>
                    <a:pt x="1433958" y="72158"/>
                    <a:pt x="1402991" y="72158"/>
                  </a:cubicBezTo>
                  <a:close/>
                  <a:moveTo>
                    <a:pt x="890590" y="69594"/>
                  </a:moveTo>
                  <a:cubicBezTo>
                    <a:pt x="929897" y="69594"/>
                    <a:pt x="961877" y="101572"/>
                    <a:pt x="961877" y="140876"/>
                  </a:cubicBezTo>
                  <a:cubicBezTo>
                    <a:pt x="961877" y="160626"/>
                    <a:pt x="955421" y="171957"/>
                    <a:pt x="949738" y="181962"/>
                  </a:cubicBezTo>
                  <a:cubicBezTo>
                    <a:pt x="944920" y="190448"/>
                    <a:pt x="940761" y="197775"/>
                    <a:pt x="939256" y="211411"/>
                  </a:cubicBezTo>
                  <a:cubicBezTo>
                    <a:pt x="939118" y="214439"/>
                    <a:pt x="938260" y="217307"/>
                    <a:pt x="936854" y="219820"/>
                  </a:cubicBezTo>
                  <a:cubicBezTo>
                    <a:pt x="938015" y="222266"/>
                    <a:pt x="938669" y="225017"/>
                    <a:pt x="938669" y="227904"/>
                  </a:cubicBezTo>
                  <a:cubicBezTo>
                    <a:pt x="938669" y="231043"/>
                    <a:pt x="937903" y="234007"/>
                    <a:pt x="936550" y="236610"/>
                  </a:cubicBezTo>
                  <a:cubicBezTo>
                    <a:pt x="937903" y="239239"/>
                    <a:pt x="938669" y="242184"/>
                    <a:pt x="938669" y="245316"/>
                  </a:cubicBezTo>
                  <a:cubicBezTo>
                    <a:pt x="938669" y="253499"/>
                    <a:pt x="933494" y="260464"/>
                    <a:pt x="926253" y="263176"/>
                  </a:cubicBezTo>
                  <a:cubicBezTo>
                    <a:pt x="923487" y="273875"/>
                    <a:pt x="913745" y="281789"/>
                    <a:pt x="902194" y="281789"/>
                  </a:cubicBezTo>
                  <a:lnTo>
                    <a:pt x="878986" y="281789"/>
                  </a:lnTo>
                  <a:cubicBezTo>
                    <a:pt x="867428" y="281789"/>
                    <a:pt x="857686" y="273875"/>
                    <a:pt x="854920" y="263176"/>
                  </a:cubicBezTo>
                  <a:cubicBezTo>
                    <a:pt x="847679" y="260464"/>
                    <a:pt x="842511" y="253499"/>
                    <a:pt x="842511" y="245316"/>
                  </a:cubicBezTo>
                  <a:cubicBezTo>
                    <a:pt x="842511" y="242190"/>
                    <a:pt x="843257" y="239239"/>
                    <a:pt x="844610" y="236610"/>
                  </a:cubicBezTo>
                  <a:cubicBezTo>
                    <a:pt x="843257" y="234007"/>
                    <a:pt x="842511" y="231043"/>
                    <a:pt x="842511" y="227904"/>
                  </a:cubicBezTo>
                  <a:cubicBezTo>
                    <a:pt x="842511" y="225017"/>
                    <a:pt x="843157" y="222266"/>
                    <a:pt x="844326" y="219800"/>
                  </a:cubicBezTo>
                  <a:cubicBezTo>
                    <a:pt x="842907" y="217307"/>
                    <a:pt x="842049" y="214458"/>
                    <a:pt x="841903" y="211430"/>
                  </a:cubicBezTo>
                  <a:cubicBezTo>
                    <a:pt x="840412" y="197775"/>
                    <a:pt x="836247" y="190428"/>
                    <a:pt x="831422" y="181962"/>
                  </a:cubicBezTo>
                  <a:cubicBezTo>
                    <a:pt x="825752" y="171938"/>
                    <a:pt x="819303" y="160626"/>
                    <a:pt x="819303" y="140876"/>
                  </a:cubicBezTo>
                  <a:cubicBezTo>
                    <a:pt x="819303" y="101572"/>
                    <a:pt x="851283" y="69594"/>
                    <a:pt x="890590" y="69594"/>
                  </a:cubicBezTo>
                  <a:close/>
                  <a:moveTo>
                    <a:pt x="1110491" y="62807"/>
                  </a:moveTo>
                  <a:lnTo>
                    <a:pt x="1085271" y="88040"/>
                  </a:lnTo>
                  <a:cubicBezTo>
                    <a:pt x="1085271" y="88040"/>
                    <a:pt x="1119442" y="122224"/>
                    <a:pt x="1119442" y="122224"/>
                  </a:cubicBezTo>
                  <a:lnTo>
                    <a:pt x="1144673" y="96979"/>
                  </a:lnTo>
                  <a:close/>
                  <a:moveTo>
                    <a:pt x="1808137" y="61915"/>
                  </a:moveTo>
                  <a:lnTo>
                    <a:pt x="1809373" y="63549"/>
                  </a:lnTo>
                  <a:lnTo>
                    <a:pt x="1808399" y="64047"/>
                  </a:lnTo>
                  <a:cubicBezTo>
                    <a:pt x="1801696" y="61847"/>
                    <a:pt x="1791313" y="65216"/>
                    <a:pt x="1781930" y="72630"/>
                  </a:cubicBezTo>
                  <a:cubicBezTo>
                    <a:pt x="1773987" y="78898"/>
                    <a:pt x="1765803" y="89170"/>
                    <a:pt x="1766641" y="99161"/>
                  </a:cubicBezTo>
                  <a:lnTo>
                    <a:pt x="1765917" y="100016"/>
                  </a:lnTo>
                  <a:lnTo>
                    <a:pt x="1764435" y="98050"/>
                  </a:lnTo>
                  <a:lnTo>
                    <a:pt x="1768660" y="83367"/>
                  </a:lnTo>
                  <a:cubicBezTo>
                    <a:pt x="1771783" y="78380"/>
                    <a:pt x="1776082" y="73934"/>
                    <a:pt x="1780317" y="70589"/>
                  </a:cubicBezTo>
                  <a:close/>
                  <a:moveTo>
                    <a:pt x="1504651" y="59661"/>
                  </a:moveTo>
                  <a:cubicBezTo>
                    <a:pt x="1508671" y="59661"/>
                    <a:pt x="1512393" y="61821"/>
                    <a:pt x="1514355" y="65248"/>
                  </a:cubicBezTo>
                  <a:cubicBezTo>
                    <a:pt x="1515851" y="67851"/>
                    <a:pt x="1516246" y="70873"/>
                    <a:pt x="1515468" y="73767"/>
                  </a:cubicBezTo>
                  <a:cubicBezTo>
                    <a:pt x="1514702" y="76660"/>
                    <a:pt x="1512847" y="79101"/>
                    <a:pt x="1510251" y="80600"/>
                  </a:cubicBezTo>
                  <a:lnTo>
                    <a:pt x="1488378" y="93219"/>
                  </a:lnTo>
                  <a:cubicBezTo>
                    <a:pt x="1486667" y="94182"/>
                    <a:pt x="1484728" y="94705"/>
                    <a:pt x="1482778" y="94705"/>
                  </a:cubicBezTo>
                  <a:cubicBezTo>
                    <a:pt x="1478769" y="94705"/>
                    <a:pt x="1475048" y="92556"/>
                    <a:pt x="1473086" y="89118"/>
                  </a:cubicBezTo>
                  <a:cubicBezTo>
                    <a:pt x="1471590" y="86528"/>
                    <a:pt x="1471195" y="83506"/>
                    <a:pt x="1471973" y="80600"/>
                  </a:cubicBezTo>
                  <a:cubicBezTo>
                    <a:pt x="1472739" y="77706"/>
                    <a:pt x="1474593" y="75265"/>
                    <a:pt x="1477190" y="73767"/>
                  </a:cubicBezTo>
                  <a:lnTo>
                    <a:pt x="1499063" y="61147"/>
                  </a:lnTo>
                  <a:cubicBezTo>
                    <a:pt x="1500762" y="60181"/>
                    <a:pt x="1502701" y="59661"/>
                    <a:pt x="1504651" y="59661"/>
                  </a:cubicBezTo>
                  <a:close/>
                  <a:moveTo>
                    <a:pt x="1299824" y="59661"/>
                  </a:moveTo>
                  <a:cubicBezTo>
                    <a:pt x="1301798" y="59661"/>
                    <a:pt x="1303737" y="60168"/>
                    <a:pt x="1305424" y="61147"/>
                  </a:cubicBezTo>
                  <a:lnTo>
                    <a:pt x="1327297" y="73831"/>
                  </a:lnTo>
                  <a:cubicBezTo>
                    <a:pt x="1329893" y="75342"/>
                    <a:pt x="1331796" y="77706"/>
                    <a:pt x="1332574" y="80600"/>
                  </a:cubicBezTo>
                  <a:cubicBezTo>
                    <a:pt x="1333351" y="83506"/>
                    <a:pt x="1332957" y="86516"/>
                    <a:pt x="1331461" y="89118"/>
                  </a:cubicBezTo>
                  <a:cubicBezTo>
                    <a:pt x="1329451" y="92569"/>
                    <a:pt x="1325694" y="94705"/>
                    <a:pt x="1321709" y="94705"/>
                  </a:cubicBezTo>
                  <a:cubicBezTo>
                    <a:pt x="1319735" y="94705"/>
                    <a:pt x="1317808" y="94195"/>
                    <a:pt x="1316109" y="93219"/>
                  </a:cubicBezTo>
                  <a:lnTo>
                    <a:pt x="1294176" y="80535"/>
                  </a:lnTo>
                  <a:cubicBezTo>
                    <a:pt x="1288839" y="77450"/>
                    <a:pt x="1287057" y="70595"/>
                    <a:pt x="1290132" y="65248"/>
                  </a:cubicBezTo>
                  <a:cubicBezTo>
                    <a:pt x="1292130" y="61782"/>
                    <a:pt x="1295815" y="59661"/>
                    <a:pt x="1299824" y="59661"/>
                  </a:cubicBezTo>
                  <a:close/>
                  <a:moveTo>
                    <a:pt x="1794872" y="52907"/>
                  </a:moveTo>
                  <a:cubicBezTo>
                    <a:pt x="1777941" y="52907"/>
                    <a:pt x="1751656" y="76847"/>
                    <a:pt x="1761143" y="93671"/>
                  </a:cubicBezTo>
                  <a:lnTo>
                    <a:pt x="1764435" y="98050"/>
                  </a:lnTo>
                  <a:lnTo>
                    <a:pt x="1764052" y="99381"/>
                  </a:lnTo>
                  <a:cubicBezTo>
                    <a:pt x="1764110" y="100054"/>
                    <a:pt x="1764684" y="100569"/>
                    <a:pt x="1765349" y="100569"/>
                  </a:cubicBezTo>
                  <a:cubicBezTo>
                    <a:pt x="1765384" y="100569"/>
                    <a:pt x="1765430" y="100569"/>
                    <a:pt x="1765458" y="100563"/>
                  </a:cubicBezTo>
                  <a:lnTo>
                    <a:pt x="1765917" y="100016"/>
                  </a:lnTo>
                  <a:lnTo>
                    <a:pt x="1774555" y="111504"/>
                  </a:lnTo>
                  <a:lnTo>
                    <a:pt x="1773993" y="113460"/>
                  </a:lnTo>
                  <a:cubicBezTo>
                    <a:pt x="1774061" y="114171"/>
                    <a:pt x="1774704" y="114690"/>
                    <a:pt x="1775393" y="114649"/>
                  </a:cubicBezTo>
                  <a:lnTo>
                    <a:pt x="1776198" y="113686"/>
                  </a:lnTo>
                  <a:lnTo>
                    <a:pt x="1817076" y="168047"/>
                  </a:lnTo>
                  <a:lnTo>
                    <a:pt x="1819227" y="168941"/>
                  </a:lnTo>
                  <a:lnTo>
                    <a:pt x="1819016" y="169623"/>
                  </a:lnTo>
                  <a:cubicBezTo>
                    <a:pt x="1819097" y="170046"/>
                    <a:pt x="1819378" y="170411"/>
                    <a:pt x="1819785" y="170582"/>
                  </a:cubicBezTo>
                  <a:lnTo>
                    <a:pt x="1869705" y="191428"/>
                  </a:lnTo>
                  <a:cubicBezTo>
                    <a:pt x="1869865" y="191499"/>
                    <a:pt x="1870026" y="191525"/>
                    <a:pt x="1870204" y="191525"/>
                  </a:cubicBezTo>
                  <a:cubicBezTo>
                    <a:pt x="1870485" y="191525"/>
                    <a:pt x="1870772" y="191442"/>
                    <a:pt x="1870996" y="191252"/>
                  </a:cubicBezTo>
                  <a:cubicBezTo>
                    <a:pt x="1871380" y="190963"/>
                    <a:pt x="1871553" y="190499"/>
                    <a:pt x="1871484" y="190033"/>
                  </a:cubicBezTo>
                  <a:lnTo>
                    <a:pt x="1863156" y="136556"/>
                  </a:lnTo>
                  <a:cubicBezTo>
                    <a:pt x="1863070" y="136125"/>
                    <a:pt x="1862795" y="135749"/>
                    <a:pt x="1862376" y="135569"/>
                  </a:cubicBezTo>
                  <a:lnTo>
                    <a:pt x="1861698" y="135633"/>
                  </a:lnTo>
                  <a:lnTo>
                    <a:pt x="1861147" y="132099"/>
                  </a:lnTo>
                  <a:lnTo>
                    <a:pt x="1819808" y="77366"/>
                  </a:lnTo>
                  <a:lnTo>
                    <a:pt x="1819969" y="77286"/>
                  </a:lnTo>
                  <a:cubicBezTo>
                    <a:pt x="1820193" y="76608"/>
                    <a:pt x="1819820" y="75878"/>
                    <a:pt x="1819143" y="75659"/>
                  </a:cubicBezTo>
                  <a:lnTo>
                    <a:pt x="1818637" y="75815"/>
                  </a:lnTo>
                  <a:lnTo>
                    <a:pt x="1809373" y="63549"/>
                  </a:lnTo>
                  <a:lnTo>
                    <a:pt x="1810035" y="63213"/>
                  </a:lnTo>
                  <a:cubicBezTo>
                    <a:pt x="1810264" y="62535"/>
                    <a:pt x="1809891" y="61812"/>
                    <a:pt x="1809214" y="61581"/>
                  </a:cubicBezTo>
                  <a:lnTo>
                    <a:pt x="1808137" y="61915"/>
                  </a:lnTo>
                  <a:lnTo>
                    <a:pt x="1805208" y="58040"/>
                  </a:lnTo>
                  <a:cubicBezTo>
                    <a:pt x="1802849" y="54452"/>
                    <a:pt x="1799159" y="52907"/>
                    <a:pt x="1794872" y="52907"/>
                  </a:cubicBezTo>
                  <a:close/>
                  <a:moveTo>
                    <a:pt x="1402991" y="49722"/>
                  </a:moveTo>
                  <a:cubicBezTo>
                    <a:pt x="1446319" y="49722"/>
                    <a:pt x="1481534" y="84953"/>
                    <a:pt x="1481534" y="128271"/>
                  </a:cubicBezTo>
                  <a:cubicBezTo>
                    <a:pt x="1481534" y="157449"/>
                    <a:pt x="1465476" y="183857"/>
                    <a:pt x="1439462" y="197558"/>
                  </a:cubicBezTo>
                  <a:lnTo>
                    <a:pt x="1439462" y="237766"/>
                  </a:lnTo>
                  <a:cubicBezTo>
                    <a:pt x="1439462" y="247696"/>
                    <a:pt x="1432032" y="255935"/>
                    <a:pt x="1422435" y="257215"/>
                  </a:cubicBezTo>
                  <a:cubicBezTo>
                    <a:pt x="1421155" y="266791"/>
                    <a:pt x="1412935" y="274244"/>
                    <a:pt x="1402991" y="274244"/>
                  </a:cubicBezTo>
                  <a:cubicBezTo>
                    <a:pt x="1393048" y="274244"/>
                    <a:pt x="1384816" y="266791"/>
                    <a:pt x="1383535" y="257215"/>
                  </a:cubicBezTo>
                  <a:cubicBezTo>
                    <a:pt x="1373939" y="255935"/>
                    <a:pt x="1366520" y="247696"/>
                    <a:pt x="1366508" y="237766"/>
                  </a:cubicBezTo>
                  <a:lnTo>
                    <a:pt x="1366508" y="197558"/>
                  </a:lnTo>
                  <a:cubicBezTo>
                    <a:pt x="1340495" y="183857"/>
                    <a:pt x="1324437" y="157449"/>
                    <a:pt x="1324437" y="128271"/>
                  </a:cubicBezTo>
                  <a:cubicBezTo>
                    <a:pt x="1324437" y="84953"/>
                    <a:pt x="1359664" y="49722"/>
                    <a:pt x="1402991" y="49722"/>
                  </a:cubicBezTo>
                  <a:close/>
                  <a:moveTo>
                    <a:pt x="1794872" y="47720"/>
                  </a:moveTo>
                  <a:cubicBezTo>
                    <a:pt x="1801093" y="47720"/>
                    <a:pt x="1806270" y="50325"/>
                    <a:pt x="1809449" y="55037"/>
                  </a:cubicBezTo>
                  <a:lnTo>
                    <a:pt x="1865280" y="128973"/>
                  </a:lnTo>
                  <a:cubicBezTo>
                    <a:pt x="1865785" y="129658"/>
                    <a:pt x="1866135" y="130455"/>
                    <a:pt x="1866267" y="131305"/>
                  </a:cubicBezTo>
                  <a:lnTo>
                    <a:pt x="1875335" y="189425"/>
                  </a:lnTo>
                  <a:cubicBezTo>
                    <a:pt x="1875622" y="191292"/>
                    <a:pt x="1874887" y="193159"/>
                    <a:pt x="1873406" y="194314"/>
                  </a:cubicBezTo>
                  <a:cubicBezTo>
                    <a:pt x="1872477" y="195043"/>
                    <a:pt x="1871346" y="195418"/>
                    <a:pt x="1870204" y="195418"/>
                  </a:cubicBezTo>
                  <a:cubicBezTo>
                    <a:pt x="1869521" y="195418"/>
                    <a:pt x="1868838" y="195295"/>
                    <a:pt x="1868201" y="195018"/>
                  </a:cubicBezTo>
                  <a:lnTo>
                    <a:pt x="1815079" y="172839"/>
                  </a:lnTo>
                  <a:cubicBezTo>
                    <a:pt x="1814230" y="172484"/>
                    <a:pt x="1813484" y="171899"/>
                    <a:pt x="1812933" y="171154"/>
                  </a:cubicBezTo>
                  <a:lnTo>
                    <a:pt x="1756993" y="96785"/>
                  </a:lnTo>
                  <a:cubicBezTo>
                    <a:pt x="1756850" y="96604"/>
                    <a:pt x="1756724" y="96416"/>
                    <a:pt x="1756620" y="96219"/>
                  </a:cubicBezTo>
                  <a:cubicBezTo>
                    <a:pt x="1752563" y="89034"/>
                    <a:pt x="1753137" y="80259"/>
                    <a:pt x="1758239" y="71514"/>
                  </a:cubicBezTo>
                  <a:cubicBezTo>
                    <a:pt x="1765906" y="58392"/>
                    <a:pt x="1782337" y="47720"/>
                    <a:pt x="1794872" y="47720"/>
                  </a:cubicBezTo>
                  <a:close/>
                  <a:moveTo>
                    <a:pt x="1081350" y="33666"/>
                  </a:moveTo>
                  <a:lnTo>
                    <a:pt x="1056099" y="58899"/>
                  </a:lnTo>
                  <a:cubicBezTo>
                    <a:pt x="1056099" y="58899"/>
                    <a:pt x="1077524" y="80324"/>
                    <a:pt x="1077524" y="80324"/>
                  </a:cubicBezTo>
                  <a:lnTo>
                    <a:pt x="1102776" y="55095"/>
                  </a:lnTo>
                  <a:close/>
                  <a:moveTo>
                    <a:pt x="1223771" y="33353"/>
                  </a:moveTo>
                  <a:lnTo>
                    <a:pt x="1196874" y="60249"/>
                  </a:lnTo>
                  <a:lnTo>
                    <a:pt x="1212157" y="75523"/>
                  </a:lnTo>
                  <a:cubicBezTo>
                    <a:pt x="1214295" y="77661"/>
                    <a:pt x="1214295" y="81117"/>
                    <a:pt x="1212157" y="83257"/>
                  </a:cubicBezTo>
                  <a:cubicBezTo>
                    <a:pt x="1210029" y="85385"/>
                    <a:pt x="1206549" y="85385"/>
                    <a:pt x="1204421" y="83257"/>
                  </a:cubicBezTo>
                  <a:lnTo>
                    <a:pt x="1189149" y="67986"/>
                  </a:lnTo>
                  <a:lnTo>
                    <a:pt x="1170113" y="87019"/>
                  </a:lnTo>
                  <a:lnTo>
                    <a:pt x="1184631" y="101539"/>
                  </a:lnTo>
                  <a:cubicBezTo>
                    <a:pt x="1186769" y="103676"/>
                    <a:pt x="1186769" y="107147"/>
                    <a:pt x="1184631" y="109269"/>
                  </a:cubicBezTo>
                  <a:cubicBezTo>
                    <a:pt x="1182493" y="111394"/>
                    <a:pt x="1179023" y="111394"/>
                    <a:pt x="1176895" y="109269"/>
                  </a:cubicBezTo>
                  <a:lnTo>
                    <a:pt x="1162377" y="94747"/>
                  </a:lnTo>
                  <a:lnTo>
                    <a:pt x="1140952" y="116173"/>
                  </a:lnTo>
                  <a:lnTo>
                    <a:pt x="1155470" y="130691"/>
                  </a:lnTo>
                  <a:cubicBezTo>
                    <a:pt x="1157608" y="132817"/>
                    <a:pt x="1157608" y="136304"/>
                    <a:pt x="1155470" y="138424"/>
                  </a:cubicBezTo>
                  <a:cubicBezTo>
                    <a:pt x="1153342" y="140553"/>
                    <a:pt x="1149893" y="140553"/>
                    <a:pt x="1147755" y="138424"/>
                  </a:cubicBezTo>
                  <a:lnTo>
                    <a:pt x="1133226" y="123898"/>
                  </a:lnTo>
                  <a:lnTo>
                    <a:pt x="1113824" y="143301"/>
                  </a:lnTo>
                  <a:lnTo>
                    <a:pt x="1128342" y="157843"/>
                  </a:lnTo>
                  <a:cubicBezTo>
                    <a:pt x="1130470" y="159981"/>
                    <a:pt x="1130470" y="163416"/>
                    <a:pt x="1128342" y="165563"/>
                  </a:cubicBezTo>
                  <a:cubicBezTo>
                    <a:pt x="1126203" y="167692"/>
                    <a:pt x="1122755" y="167692"/>
                    <a:pt x="1120616" y="165563"/>
                  </a:cubicBezTo>
                  <a:lnTo>
                    <a:pt x="1106088" y="151048"/>
                  </a:lnTo>
                  <a:lnTo>
                    <a:pt x="1086298" y="170831"/>
                  </a:lnTo>
                  <a:lnTo>
                    <a:pt x="1100816" y="185349"/>
                  </a:lnTo>
                  <a:cubicBezTo>
                    <a:pt x="1102954" y="187476"/>
                    <a:pt x="1102954" y="190942"/>
                    <a:pt x="1100816" y="193082"/>
                  </a:cubicBezTo>
                  <a:cubicBezTo>
                    <a:pt x="1098688" y="195218"/>
                    <a:pt x="1095229" y="195218"/>
                    <a:pt x="1093101" y="193082"/>
                  </a:cubicBezTo>
                  <a:lnTo>
                    <a:pt x="1078573" y="178550"/>
                  </a:lnTo>
                  <a:lnTo>
                    <a:pt x="1053510" y="203627"/>
                  </a:lnTo>
                  <a:lnTo>
                    <a:pt x="1078740" y="228868"/>
                  </a:lnTo>
                  <a:lnTo>
                    <a:pt x="1144673" y="162926"/>
                  </a:lnTo>
                  <a:lnTo>
                    <a:pt x="1152398" y="155188"/>
                  </a:lnTo>
                  <a:lnTo>
                    <a:pt x="1177639" y="129968"/>
                  </a:lnTo>
                  <a:cubicBezTo>
                    <a:pt x="1177639" y="129968"/>
                    <a:pt x="1185365" y="122224"/>
                    <a:pt x="1185365" y="122224"/>
                  </a:cubicBezTo>
                  <a:lnTo>
                    <a:pt x="1249023" y="58584"/>
                  </a:lnTo>
                  <a:close/>
                  <a:moveTo>
                    <a:pt x="1604645" y="21876"/>
                  </a:moveTo>
                  <a:lnTo>
                    <a:pt x="1671196" y="21876"/>
                  </a:lnTo>
                  <a:cubicBezTo>
                    <a:pt x="1675477" y="21876"/>
                    <a:pt x="1678966" y="25360"/>
                    <a:pt x="1678966" y="29642"/>
                  </a:cubicBezTo>
                  <a:lnTo>
                    <a:pt x="1678966" y="47726"/>
                  </a:lnTo>
                  <a:cubicBezTo>
                    <a:pt x="1678966" y="52008"/>
                    <a:pt x="1675477" y="55431"/>
                    <a:pt x="1671196" y="55431"/>
                  </a:cubicBezTo>
                  <a:lnTo>
                    <a:pt x="1655974" y="55431"/>
                  </a:lnTo>
                  <a:lnTo>
                    <a:pt x="1655974" y="71971"/>
                  </a:lnTo>
                  <a:cubicBezTo>
                    <a:pt x="1667903" y="74122"/>
                    <a:pt x="1679078" y="78354"/>
                    <a:pt x="1689160" y="84327"/>
                  </a:cubicBezTo>
                  <a:lnTo>
                    <a:pt x="1701958" y="70847"/>
                  </a:lnTo>
                  <a:cubicBezTo>
                    <a:pt x="1704905" y="67734"/>
                    <a:pt x="1709793" y="67653"/>
                    <a:pt x="1712899" y="70592"/>
                  </a:cubicBezTo>
                  <a:lnTo>
                    <a:pt x="1722282" y="79477"/>
                  </a:lnTo>
                  <a:cubicBezTo>
                    <a:pt x="1725379" y="82427"/>
                    <a:pt x="1725537" y="87324"/>
                    <a:pt x="1722590" y="90425"/>
                  </a:cubicBezTo>
                  <a:lnTo>
                    <a:pt x="1711406" y="102229"/>
                  </a:lnTo>
                  <a:cubicBezTo>
                    <a:pt x="1728307" y="120256"/>
                    <a:pt x="1738689" y="144487"/>
                    <a:pt x="1738689" y="171076"/>
                  </a:cubicBezTo>
                  <a:cubicBezTo>
                    <a:pt x="1738689" y="226632"/>
                    <a:pt x="1693507" y="271817"/>
                    <a:pt x="1637953" y="271817"/>
                  </a:cubicBezTo>
                  <a:cubicBezTo>
                    <a:pt x="1582399" y="271817"/>
                    <a:pt x="1537218" y="226632"/>
                    <a:pt x="1537218" y="171076"/>
                  </a:cubicBezTo>
                  <a:cubicBezTo>
                    <a:pt x="1537218" y="144787"/>
                    <a:pt x="1547319" y="120810"/>
                    <a:pt x="1563875" y="102851"/>
                  </a:cubicBezTo>
                  <a:lnTo>
                    <a:pt x="1551759" y="91349"/>
                  </a:lnTo>
                  <a:cubicBezTo>
                    <a:pt x="1548653" y="88410"/>
                    <a:pt x="1548504" y="83461"/>
                    <a:pt x="1551451" y="80357"/>
                  </a:cubicBezTo>
                  <a:lnTo>
                    <a:pt x="1560331" y="70972"/>
                  </a:lnTo>
                  <a:cubicBezTo>
                    <a:pt x="1563288" y="67863"/>
                    <a:pt x="1568175" y="67780"/>
                    <a:pt x="1571272" y="70718"/>
                  </a:cubicBezTo>
                  <a:lnTo>
                    <a:pt x="1585813" y="84455"/>
                  </a:lnTo>
                  <a:cubicBezTo>
                    <a:pt x="1585888" y="84535"/>
                    <a:pt x="1585991" y="84626"/>
                    <a:pt x="1586065" y="84709"/>
                  </a:cubicBezTo>
                  <a:cubicBezTo>
                    <a:pt x="1596251" y="78565"/>
                    <a:pt x="1607593" y="74188"/>
                    <a:pt x="1619681" y="71971"/>
                  </a:cubicBezTo>
                  <a:lnTo>
                    <a:pt x="1619681" y="55431"/>
                  </a:lnTo>
                  <a:lnTo>
                    <a:pt x="1604645" y="55431"/>
                  </a:lnTo>
                  <a:cubicBezTo>
                    <a:pt x="1600364" y="55431"/>
                    <a:pt x="1596941" y="52008"/>
                    <a:pt x="1596941" y="47726"/>
                  </a:cubicBezTo>
                  <a:lnTo>
                    <a:pt x="1596941" y="29642"/>
                  </a:lnTo>
                  <a:cubicBezTo>
                    <a:pt x="1596941" y="25360"/>
                    <a:pt x="1600364" y="21876"/>
                    <a:pt x="1604645" y="21876"/>
                  </a:cubicBezTo>
                  <a:close/>
                  <a:moveTo>
                    <a:pt x="1223771" y="17888"/>
                  </a:moveTo>
                  <a:lnTo>
                    <a:pt x="1264463" y="58584"/>
                  </a:lnTo>
                  <a:lnTo>
                    <a:pt x="1193100" y="129968"/>
                  </a:lnTo>
                  <a:lnTo>
                    <a:pt x="1234945" y="171802"/>
                  </a:lnTo>
                  <a:lnTo>
                    <a:pt x="1254861" y="228563"/>
                  </a:lnTo>
                  <a:lnTo>
                    <a:pt x="1194421" y="212670"/>
                  </a:lnTo>
                  <a:lnTo>
                    <a:pt x="1152398" y="170650"/>
                  </a:lnTo>
                  <a:lnTo>
                    <a:pt x="1078740" y="244309"/>
                  </a:lnTo>
                  <a:lnTo>
                    <a:pt x="1038049" y="203627"/>
                  </a:lnTo>
                  <a:lnTo>
                    <a:pt x="1111707" y="129968"/>
                  </a:lnTo>
                  <a:lnTo>
                    <a:pt x="1040648" y="58899"/>
                  </a:lnTo>
                  <a:lnTo>
                    <a:pt x="1081350" y="18213"/>
                  </a:lnTo>
                  <a:lnTo>
                    <a:pt x="1152398" y="89267"/>
                  </a:lnTo>
                  <a:cubicBezTo>
                    <a:pt x="1152398" y="89267"/>
                    <a:pt x="1223771" y="17888"/>
                    <a:pt x="1223771" y="17888"/>
                  </a:cubicBezTo>
                  <a:close/>
                  <a:moveTo>
                    <a:pt x="1461587" y="15912"/>
                  </a:moveTo>
                  <a:cubicBezTo>
                    <a:pt x="1463537" y="15912"/>
                    <a:pt x="1465476" y="16429"/>
                    <a:pt x="1467187" y="17410"/>
                  </a:cubicBezTo>
                  <a:cubicBezTo>
                    <a:pt x="1469771" y="18895"/>
                    <a:pt x="1471638" y="21279"/>
                    <a:pt x="1472404" y="24174"/>
                  </a:cubicBezTo>
                  <a:cubicBezTo>
                    <a:pt x="1473182" y="27081"/>
                    <a:pt x="1472787" y="30103"/>
                    <a:pt x="1471279" y="32693"/>
                  </a:cubicBezTo>
                  <a:lnTo>
                    <a:pt x="1458667" y="54559"/>
                  </a:lnTo>
                  <a:cubicBezTo>
                    <a:pt x="1456693" y="58014"/>
                    <a:pt x="1452972" y="60155"/>
                    <a:pt x="1448975" y="60155"/>
                  </a:cubicBezTo>
                  <a:cubicBezTo>
                    <a:pt x="1447013" y="60155"/>
                    <a:pt x="1445086" y="59648"/>
                    <a:pt x="1443387" y="58670"/>
                  </a:cubicBezTo>
                  <a:cubicBezTo>
                    <a:pt x="1440791" y="57175"/>
                    <a:pt x="1438936" y="54775"/>
                    <a:pt x="1438158" y="51892"/>
                  </a:cubicBezTo>
                  <a:cubicBezTo>
                    <a:pt x="1437380" y="48998"/>
                    <a:pt x="1437775" y="45963"/>
                    <a:pt x="1439283" y="43373"/>
                  </a:cubicBezTo>
                  <a:lnTo>
                    <a:pt x="1451895" y="21508"/>
                  </a:lnTo>
                  <a:cubicBezTo>
                    <a:pt x="1453881" y="18056"/>
                    <a:pt x="1457590" y="15912"/>
                    <a:pt x="1461587" y="15912"/>
                  </a:cubicBezTo>
                  <a:close/>
                  <a:moveTo>
                    <a:pt x="1343582" y="15912"/>
                  </a:moveTo>
                  <a:cubicBezTo>
                    <a:pt x="1347555" y="15912"/>
                    <a:pt x="1351240" y="18030"/>
                    <a:pt x="1353274" y="21508"/>
                  </a:cubicBezTo>
                  <a:lnTo>
                    <a:pt x="1365886" y="43321"/>
                  </a:lnTo>
                  <a:cubicBezTo>
                    <a:pt x="1367382" y="45926"/>
                    <a:pt x="1367788" y="48985"/>
                    <a:pt x="1367011" y="51892"/>
                  </a:cubicBezTo>
                  <a:cubicBezTo>
                    <a:pt x="1366233" y="54775"/>
                    <a:pt x="1364390" y="57162"/>
                    <a:pt x="1361782" y="58670"/>
                  </a:cubicBezTo>
                  <a:cubicBezTo>
                    <a:pt x="1360083" y="59635"/>
                    <a:pt x="1358156" y="60155"/>
                    <a:pt x="1356194" y="60155"/>
                  </a:cubicBezTo>
                  <a:cubicBezTo>
                    <a:pt x="1352197" y="60155"/>
                    <a:pt x="1348500" y="58022"/>
                    <a:pt x="1346502" y="54559"/>
                  </a:cubicBezTo>
                  <a:lnTo>
                    <a:pt x="1333878" y="32693"/>
                  </a:lnTo>
                  <a:cubicBezTo>
                    <a:pt x="1332382" y="30103"/>
                    <a:pt x="1331975" y="27132"/>
                    <a:pt x="1332765" y="24237"/>
                  </a:cubicBezTo>
                  <a:cubicBezTo>
                    <a:pt x="1333543" y="21344"/>
                    <a:pt x="1335410" y="18883"/>
                    <a:pt x="1337982" y="17410"/>
                  </a:cubicBezTo>
                  <a:cubicBezTo>
                    <a:pt x="1339681" y="16409"/>
                    <a:pt x="1341608" y="15912"/>
                    <a:pt x="1343582" y="15912"/>
                  </a:cubicBezTo>
                  <a:close/>
                  <a:moveTo>
                    <a:pt x="1403231" y="0"/>
                  </a:moveTo>
                  <a:cubicBezTo>
                    <a:pt x="1409417" y="0"/>
                    <a:pt x="1414418" y="5003"/>
                    <a:pt x="1414418" y="11185"/>
                  </a:cubicBezTo>
                  <a:lnTo>
                    <a:pt x="1414418" y="36482"/>
                  </a:lnTo>
                  <a:cubicBezTo>
                    <a:pt x="1414418" y="42663"/>
                    <a:pt x="1409417" y="47668"/>
                    <a:pt x="1403231" y="47668"/>
                  </a:cubicBezTo>
                  <a:cubicBezTo>
                    <a:pt x="1397056" y="47668"/>
                    <a:pt x="1392055" y="42663"/>
                    <a:pt x="1392055" y="36482"/>
                  </a:cubicBezTo>
                  <a:lnTo>
                    <a:pt x="1392055" y="11185"/>
                  </a:lnTo>
                  <a:cubicBezTo>
                    <a:pt x="1392055" y="5003"/>
                    <a:pt x="1397056" y="0"/>
                    <a:pt x="1403231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7" name="îṣļiḋè">
              <a:extLst>
                <a:ext uri="{FF2B5EF4-FFF2-40B4-BE49-F238E27FC236}">
                  <a16:creationId xmlns:a16="http://schemas.microsoft.com/office/drawing/2014/main" xmlns="" id="{1845BD2A-2B4C-4296-B550-26A58F814D34}"/>
                </a:ext>
              </a:extLst>
            </p:cNvPr>
            <p:cNvSpPr txBox="1"/>
            <p:nvPr/>
          </p:nvSpPr>
          <p:spPr>
            <a:xfrm>
              <a:off x="670586" y="3585591"/>
              <a:ext cx="2834614" cy="55399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dk1">
                      <a:lumMod val="100000"/>
                    </a:schemeClr>
                  </a:solidFill>
                </a:rPr>
                <a:t>Copy paste fonts. Choose the only option to retain text……</a:t>
              </a:r>
            </a:p>
          </p:txBody>
        </p:sp>
        <p:sp>
          <p:nvSpPr>
            <p:cNvPr id="8" name="îṩlîḓè">
              <a:extLst>
                <a:ext uri="{FF2B5EF4-FFF2-40B4-BE49-F238E27FC236}">
                  <a16:creationId xmlns:a16="http://schemas.microsoft.com/office/drawing/2014/main" xmlns="" id="{E705DF87-D047-4162-8D19-400A318F437E}"/>
                </a:ext>
              </a:extLst>
            </p:cNvPr>
            <p:cNvSpPr/>
            <p:nvPr/>
          </p:nvSpPr>
          <p:spPr>
            <a:xfrm>
              <a:off x="669925" y="3137511"/>
              <a:ext cx="2834614" cy="433606"/>
            </a:xfrm>
            <a:prstGeom prst="rect">
              <a:avLst/>
            </a:prstGeom>
          </p:spPr>
          <p:txBody>
            <a:bodyPr wrap="square" lIns="91440" tIns="45720" rIns="91440" bIns="45720" anchor="b" anchorCtr="0">
              <a:normAutofit/>
            </a:bodyPr>
            <a:lstStyle/>
            <a:p>
              <a:pPr algn="r"/>
              <a:r>
                <a:rPr lang="en-US" altLang="zh-CN" b="1" dirty="0">
                  <a:solidFill>
                    <a:sysClr val="windowText" lastClr="000000"/>
                  </a:solidFill>
                </a:rPr>
                <a:t>Text here</a:t>
              </a:r>
              <a:endParaRPr lang="zh-CN" altLang="en-US" b="1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íṧḻîďè">
              <a:extLst>
                <a:ext uri="{FF2B5EF4-FFF2-40B4-BE49-F238E27FC236}">
                  <a16:creationId xmlns:a16="http://schemas.microsoft.com/office/drawing/2014/main" xmlns="" id="{DA816ABB-CF3F-4BD5-A65B-04EC76C8D26B}"/>
                </a:ext>
              </a:extLst>
            </p:cNvPr>
            <p:cNvSpPr/>
            <p:nvPr/>
          </p:nvSpPr>
          <p:spPr>
            <a:xfrm>
              <a:off x="3637889" y="3210941"/>
              <a:ext cx="749300" cy="7493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0" name="ïSļíḑe">
              <a:extLst>
                <a:ext uri="{FF2B5EF4-FFF2-40B4-BE49-F238E27FC236}">
                  <a16:creationId xmlns:a16="http://schemas.microsoft.com/office/drawing/2014/main" xmlns="" id="{949B6369-B86E-4626-9C9E-D49AA4A9AC60}"/>
                </a:ext>
              </a:extLst>
            </p:cNvPr>
            <p:cNvSpPr/>
            <p:nvPr/>
          </p:nvSpPr>
          <p:spPr bwMode="auto">
            <a:xfrm>
              <a:off x="3781999" y="3417882"/>
              <a:ext cx="461080" cy="335418"/>
            </a:xfrm>
            <a:custGeom>
              <a:avLst/>
              <a:gdLst>
                <a:gd name="T0" fmla="*/ 5633 w 5757"/>
                <a:gd name="T1" fmla="*/ 1244 h 4194"/>
                <a:gd name="T2" fmla="*/ 5210 w 5757"/>
                <a:gd name="T3" fmla="*/ 1244 h 4194"/>
                <a:gd name="T4" fmla="*/ 5124 w 5757"/>
                <a:gd name="T5" fmla="*/ 1278 h 4194"/>
                <a:gd name="T6" fmla="*/ 5034 w 5757"/>
                <a:gd name="T7" fmla="*/ 1365 h 4194"/>
                <a:gd name="T8" fmla="*/ 4370 w 5757"/>
                <a:gd name="T9" fmla="*/ 306 h 4194"/>
                <a:gd name="T10" fmla="*/ 3724 w 5757"/>
                <a:gd name="T11" fmla="*/ 0 h 4194"/>
                <a:gd name="T12" fmla="*/ 2033 w 5757"/>
                <a:gd name="T13" fmla="*/ 0 h 4194"/>
                <a:gd name="T14" fmla="*/ 1388 w 5757"/>
                <a:gd name="T15" fmla="*/ 306 h 4194"/>
                <a:gd name="T16" fmla="*/ 722 w 5757"/>
                <a:gd name="T17" fmla="*/ 1364 h 4194"/>
                <a:gd name="T18" fmla="*/ 633 w 5757"/>
                <a:gd name="T19" fmla="*/ 1278 h 4194"/>
                <a:gd name="T20" fmla="*/ 547 w 5757"/>
                <a:gd name="T21" fmla="*/ 1244 h 4194"/>
                <a:gd name="T22" fmla="*/ 125 w 5757"/>
                <a:gd name="T23" fmla="*/ 1244 h 4194"/>
                <a:gd name="T24" fmla="*/ 0 w 5757"/>
                <a:gd name="T25" fmla="*/ 1368 h 4194"/>
                <a:gd name="T26" fmla="*/ 0 w 5757"/>
                <a:gd name="T27" fmla="*/ 1657 h 4194"/>
                <a:gd name="T28" fmla="*/ 117 w 5757"/>
                <a:gd name="T29" fmla="*/ 1782 h 4194"/>
                <a:gd name="T30" fmla="*/ 551 w 5757"/>
                <a:gd name="T31" fmla="*/ 1809 h 4194"/>
                <a:gd name="T32" fmla="*/ 434 w 5757"/>
                <a:gd name="T33" fmla="*/ 2689 h 4194"/>
                <a:gd name="T34" fmla="*/ 625 w 5757"/>
                <a:gd name="T35" fmla="*/ 3416 h 4194"/>
                <a:gd name="T36" fmla="*/ 625 w 5757"/>
                <a:gd name="T37" fmla="*/ 4089 h 4194"/>
                <a:gd name="T38" fmla="*/ 730 w 5757"/>
                <a:gd name="T39" fmla="*/ 4194 h 4194"/>
                <a:gd name="T40" fmla="*/ 1210 w 5757"/>
                <a:gd name="T41" fmla="*/ 4194 h 4194"/>
                <a:gd name="T42" fmla="*/ 1315 w 5757"/>
                <a:gd name="T43" fmla="*/ 4089 h 4194"/>
                <a:gd name="T44" fmla="*/ 1315 w 5757"/>
                <a:gd name="T45" fmla="*/ 3671 h 4194"/>
                <a:gd name="T46" fmla="*/ 4443 w 5757"/>
                <a:gd name="T47" fmla="*/ 3671 h 4194"/>
                <a:gd name="T48" fmla="*/ 4443 w 5757"/>
                <a:gd name="T49" fmla="*/ 4089 h 4194"/>
                <a:gd name="T50" fmla="*/ 4547 w 5757"/>
                <a:gd name="T51" fmla="*/ 4194 h 4194"/>
                <a:gd name="T52" fmla="*/ 5027 w 5757"/>
                <a:gd name="T53" fmla="*/ 4194 h 4194"/>
                <a:gd name="T54" fmla="*/ 5132 w 5757"/>
                <a:gd name="T55" fmla="*/ 4089 h 4194"/>
                <a:gd name="T56" fmla="*/ 5132 w 5757"/>
                <a:gd name="T57" fmla="*/ 3416 h 4194"/>
                <a:gd name="T58" fmla="*/ 5323 w 5757"/>
                <a:gd name="T59" fmla="*/ 2689 h 4194"/>
                <a:gd name="T60" fmla="*/ 5206 w 5757"/>
                <a:gd name="T61" fmla="*/ 1809 h 4194"/>
                <a:gd name="T62" fmla="*/ 5640 w 5757"/>
                <a:gd name="T63" fmla="*/ 1782 h 4194"/>
                <a:gd name="T64" fmla="*/ 5757 w 5757"/>
                <a:gd name="T65" fmla="*/ 1657 h 4194"/>
                <a:gd name="T66" fmla="*/ 5757 w 5757"/>
                <a:gd name="T67" fmla="*/ 1368 h 4194"/>
                <a:gd name="T68" fmla="*/ 5633 w 5757"/>
                <a:gd name="T69" fmla="*/ 1244 h 4194"/>
                <a:gd name="T70" fmla="*/ 1744 w 5757"/>
                <a:gd name="T71" fmla="*/ 597 h 4194"/>
                <a:gd name="T72" fmla="*/ 2033 w 5757"/>
                <a:gd name="T73" fmla="*/ 460 h 4194"/>
                <a:gd name="T74" fmla="*/ 3724 w 5757"/>
                <a:gd name="T75" fmla="*/ 460 h 4194"/>
                <a:gd name="T76" fmla="*/ 4013 w 5757"/>
                <a:gd name="T77" fmla="*/ 597 h 4194"/>
                <a:gd name="T78" fmla="*/ 4507 w 5757"/>
                <a:gd name="T79" fmla="*/ 1330 h 4194"/>
                <a:gd name="T80" fmla="*/ 1247 w 5757"/>
                <a:gd name="T81" fmla="*/ 1331 h 4194"/>
                <a:gd name="T82" fmla="*/ 1744 w 5757"/>
                <a:gd name="T83" fmla="*/ 597 h 4194"/>
                <a:gd name="T84" fmla="*/ 1389 w 5757"/>
                <a:gd name="T85" fmla="*/ 3161 h 4194"/>
                <a:gd name="T86" fmla="*/ 956 w 5757"/>
                <a:gd name="T87" fmla="*/ 2893 h 4194"/>
                <a:gd name="T88" fmla="*/ 1265 w 5757"/>
                <a:gd name="T89" fmla="*/ 2550 h 4194"/>
                <a:gd name="T90" fmla="*/ 1822 w 5757"/>
                <a:gd name="T91" fmla="*/ 2893 h 4194"/>
                <a:gd name="T92" fmla="*/ 1389 w 5757"/>
                <a:gd name="T93" fmla="*/ 3161 h 4194"/>
                <a:gd name="T94" fmla="*/ 3332 w 5757"/>
                <a:gd name="T95" fmla="*/ 3121 h 4194"/>
                <a:gd name="T96" fmla="*/ 2425 w 5757"/>
                <a:gd name="T97" fmla="*/ 3121 h 4194"/>
                <a:gd name="T98" fmla="*/ 2177 w 5757"/>
                <a:gd name="T99" fmla="*/ 2873 h 4194"/>
                <a:gd name="T100" fmla="*/ 2246 w 5757"/>
                <a:gd name="T101" fmla="*/ 2803 h 4194"/>
                <a:gd name="T102" fmla="*/ 3511 w 5757"/>
                <a:gd name="T103" fmla="*/ 2803 h 4194"/>
                <a:gd name="T104" fmla="*/ 3581 w 5757"/>
                <a:gd name="T105" fmla="*/ 2873 h 4194"/>
                <a:gd name="T106" fmla="*/ 3332 w 5757"/>
                <a:gd name="T107" fmla="*/ 3121 h 4194"/>
                <a:gd name="T108" fmla="*/ 4368 w 5757"/>
                <a:gd name="T109" fmla="*/ 3161 h 4194"/>
                <a:gd name="T110" fmla="*/ 3936 w 5757"/>
                <a:gd name="T111" fmla="*/ 2893 h 4194"/>
                <a:gd name="T112" fmla="*/ 4492 w 5757"/>
                <a:gd name="T113" fmla="*/ 2550 h 4194"/>
                <a:gd name="T114" fmla="*/ 4801 w 5757"/>
                <a:gd name="T115" fmla="*/ 2893 h 4194"/>
                <a:gd name="T116" fmla="*/ 4368 w 5757"/>
                <a:gd name="T117" fmla="*/ 3161 h 4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757" h="4194">
                  <a:moveTo>
                    <a:pt x="5633" y="1244"/>
                  </a:moveTo>
                  <a:lnTo>
                    <a:pt x="5210" y="1244"/>
                  </a:lnTo>
                  <a:cubicBezTo>
                    <a:pt x="5178" y="1244"/>
                    <a:pt x="5147" y="1256"/>
                    <a:pt x="5124" y="1278"/>
                  </a:cubicBezTo>
                  <a:lnTo>
                    <a:pt x="5034" y="1365"/>
                  </a:lnTo>
                  <a:cubicBezTo>
                    <a:pt x="4882" y="1013"/>
                    <a:pt x="4664" y="666"/>
                    <a:pt x="4370" y="306"/>
                  </a:cubicBezTo>
                  <a:cubicBezTo>
                    <a:pt x="4210" y="111"/>
                    <a:pt x="3975" y="0"/>
                    <a:pt x="3724" y="0"/>
                  </a:cubicBezTo>
                  <a:lnTo>
                    <a:pt x="2033" y="0"/>
                  </a:lnTo>
                  <a:cubicBezTo>
                    <a:pt x="1782" y="0"/>
                    <a:pt x="1547" y="111"/>
                    <a:pt x="1388" y="306"/>
                  </a:cubicBezTo>
                  <a:cubicBezTo>
                    <a:pt x="1084" y="677"/>
                    <a:pt x="870" y="1016"/>
                    <a:pt x="722" y="1364"/>
                  </a:cubicBezTo>
                  <a:lnTo>
                    <a:pt x="633" y="1278"/>
                  </a:lnTo>
                  <a:cubicBezTo>
                    <a:pt x="610" y="1256"/>
                    <a:pt x="579" y="1244"/>
                    <a:pt x="547" y="1244"/>
                  </a:cubicBezTo>
                  <a:lnTo>
                    <a:pt x="125" y="1244"/>
                  </a:lnTo>
                  <a:cubicBezTo>
                    <a:pt x="56" y="1244"/>
                    <a:pt x="0" y="1300"/>
                    <a:pt x="0" y="1368"/>
                  </a:cubicBezTo>
                  <a:lnTo>
                    <a:pt x="0" y="1657"/>
                  </a:lnTo>
                  <a:cubicBezTo>
                    <a:pt x="0" y="1723"/>
                    <a:pt x="51" y="1777"/>
                    <a:pt x="117" y="1782"/>
                  </a:cubicBezTo>
                  <a:lnTo>
                    <a:pt x="551" y="1809"/>
                  </a:lnTo>
                  <a:cubicBezTo>
                    <a:pt x="485" y="2001"/>
                    <a:pt x="434" y="2286"/>
                    <a:pt x="434" y="2689"/>
                  </a:cubicBezTo>
                  <a:cubicBezTo>
                    <a:pt x="434" y="3038"/>
                    <a:pt x="504" y="3268"/>
                    <a:pt x="625" y="3416"/>
                  </a:cubicBezTo>
                  <a:lnTo>
                    <a:pt x="625" y="4089"/>
                  </a:lnTo>
                  <a:cubicBezTo>
                    <a:pt x="625" y="4147"/>
                    <a:pt x="672" y="4194"/>
                    <a:pt x="730" y="4194"/>
                  </a:cubicBezTo>
                  <a:lnTo>
                    <a:pt x="1210" y="4194"/>
                  </a:lnTo>
                  <a:cubicBezTo>
                    <a:pt x="1268" y="4194"/>
                    <a:pt x="1315" y="4147"/>
                    <a:pt x="1315" y="4089"/>
                  </a:cubicBezTo>
                  <a:lnTo>
                    <a:pt x="1315" y="3671"/>
                  </a:lnTo>
                  <a:lnTo>
                    <a:pt x="4443" y="3671"/>
                  </a:lnTo>
                  <a:lnTo>
                    <a:pt x="4443" y="4089"/>
                  </a:lnTo>
                  <a:cubicBezTo>
                    <a:pt x="4443" y="4147"/>
                    <a:pt x="4489" y="4194"/>
                    <a:pt x="4547" y="4194"/>
                  </a:cubicBezTo>
                  <a:lnTo>
                    <a:pt x="5027" y="4194"/>
                  </a:lnTo>
                  <a:cubicBezTo>
                    <a:pt x="5085" y="4194"/>
                    <a:pt x="5132" y="4147"/>
                    <a:pt x="5132" y="4089"/>
                  </a:cubicBezTo>
                  <a:lnTo>
                    <a:pt x="5132" y="3416"/>
                  </a:lnTo>
                  <a:cubicBezTo>
                    <a:pt x="5253" y="3268"/>
                    <a:pt x="5323" y="3038"/>
                    <a:pt x="5323" y="2689"/>
                  </a:cubicBezTo>
                  <a:cubicBezTo>
                    <a:pt x="5323" y="2286"/>
                    <a:pt x="5272" y="2001"/>
                    <a:pt x="5206" y="1809"/>
                  </a:cubicBezTo>
                  <a:lnTo>
                    <a:pt x="5640" y="1782"/>
                  </a:lnTo>
                  <a:cubicBezTo>
                    <a:pt x="5706" y="1777"/>
                    <a:pt x="5757" y="1723"/>
                    <a:pt x="5757" y="1657"/>
                  </a:cubicBezTo>
                  <a:lnTo>
                    <a:pt x="5757" y="1368"/>
                  </a:lnTo>
                  <a:cubicBezTo>
                    <a:pt x="5757" y="1300"/>
                    <a:pt x="5701" y="1244"/>
                    <a:pt x="5633" y="1244"/>
                  </a:cubicBezTo>
                  <a:close/>
                  <a:moveTo>
                    <a:pt x="1744" y="597"/>
                  </a:moveTo>
                  <a:cubicBezTo>
                    <a:pt x="1815" y="510"/>
                    <a:pt x="1921" y="460"/>
                    <a:pt x="2033" y="460"/>
                  </a:cubicBezTo>
                  <a:lnTo>
                    <a:pt x="3724" y="460"/>
                  </a:lnTo>
                  <a:cubicBezTo>
                    <a:pt x="3836" y="460"/>
                    <a:pt x="3942" y="510"/>
                    <a:pt x="4013" y="597"/>
                  </a:cubicBezTo>
                  <a:cubicBezTo>
                    <a:pt x="4219" y="849"/>
                    <a:pt x="4382" y="1090"/>
                    <a:pt x="4507" y="1330"/>
                  </a:cubicBezTo>
                  <a:lnTo>
                    <a:pt x="1247" y="1331"/>
                  </a:lnTo>
                  <a:cubicBezTo>
                    <a:pt x="1370" y="1096"/>
                    <a:pt x="1533" y="855"/>
                    <a:pt x="1744" y="597"/>
                  </a:cubicBezTo>
                  <a:close/>
                  <a:moveTo>
                    <a:pt x="1389" y="3161"/>
                  </a:moveTo>
                  <a:cubicBezTo>
                    <a:pt x="1150" y="3161"/>
                    <a:pt x="956" y="3082"/>
                    <a:pt x="956" y="2893"/>
                  </a:cubicBezTo>
                  <a:cubicBezTo>
                    <a:pt x="956" y="2704"/>
                    <a:pt x="1026" y="2550"/>
                    <a:pt x="1265" y="2550"/>
                  </a:cubicBezTo>
                  <a:cubicBezTo>
                    <a:pt x="1504" y="2550"/>
                    <a:pt x="1822" y="2704"/>
                    <a:pt x="1822" y="2893"/>
                  </a:cubicBezTo>
                  <a:cubicBezTo>
                    <a:pt x="1822" y="3082"/>
                    <a:pt x="1628" y="3161"/>
                    <a:pt x="1389" y="3161"/>
                  </a:cubicBezTo>
                  <a:close/>
                  <a:moveTo>
                    <a:pt x="3332" y="3121"/>
                  </a:moveTo>
                  <a:lnTo>
                    <a:pt x="2425" y="3121"/>
                  </a:lnTo>
                  <a:cubicBezTo>
                    <a:pt x="2288" y="3121"/>
                    <a:pt x="2177" y="3010"/>
                    <a:pt x="2177" y="2873"/>
                  </a:cubicBezTo>
                  <a:cubicBezTo>
                    <a:pt x="2177" y="2835"/>
                    <a:pt x="2208" y="2803"/>
                    <a:pt x="2246" y="2803"/>
                  </a:cubicBezTo>
                  <a:lnTo>
                    <a:pt x="3511" y="2803"/>
                  </a:lnTo>
                  <a:cubicBezTo>
                    <a:pt x="3549" y="2803"/>
                    <a:pt x="3581" y="2835"/>
                    <a:pt x="3581" y="2873"/>
                  </a:cubicBezTo>
                  <a:cubicBezTo>
                    <a:pt x="3581" y="3010"/>
                    <a:pt x="3469" y="3121"/>
                    <a:pt x="3332" y="3121"/>
                  </a:cubicBezTo>
                  <a:close/>
                  <a:moveTo>
                    <a:pt x="4368" y="3161"/>
                  </a:moveTo>
                  <a:cubicBezTo>
                    <a:pt x="4129" y="3161"/>
                    <a:pt x="3936" y="3082"/>
                    <a:pt x="3936" y="2893"/>
                  </a:cubicBezTo>
                  <a:cubicBezTo>
                    <a:pt x="3936" y="2704"/>
                    <a:pt x="4253" y="2550"/>
                    <a:pt x="4492" y="2550"/>
                  </a:cubicBezTo>
                  <a:cubicBezTo>
                    <a:pt x="4731" y="2550"/>
                    <a:pt x="4801" y="2704"/>
                    <a:pt x="4801" y="2893"/>
                  </a:cubicBezTo>
                  <a:cubicBezTo>
                    <a:pt x="4801" y="3082"/>
                    <a:pt x="4608" y="3161"/>
                    <a:pt x="4368" y="316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11" name="íşľiḋê">
              <a:extLst>
                <a:ext uri="{FF2B5EF4-FFF2-40B4-BE49-F238E27FC236}">
                  <a16:creationId xmlns:a16="http://schemas.microsoft.com/office/drawing/2014/main" xmlns="" id="{F97F58AA-C08C-41D7-BDF1-F4A095709673}"/>
                </a:ext>
              </a:extLst>
            </p:cNvPr>
            <p:cNvSpPr txBox="1"/>
            <p:nvPr/>
          </p:nvSpPr>
          <p:spPr>
            <a:xfrm>
              <a:off x="8684286" y="3585591"/>
              <a:ext cx="2834614" cy="55399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dk1">
                      <a:lumMod val="100000"/>
                    </a:schemeClr>
                  </a:solidFill>
                </a:rPr>
                <a:t>Copy paste fonts. Choose the only option to retain text……</a:t>
              </a:r>
            </a:p>
          </p:txBody>
        </p:sp>
        <p:sp>
          <p:nvSpPr>
            <p:cNvPr id="12" name="ïşļîḋê">
              <a:extLst>
                <a:ext uri="{FF2B5EF4-FFF2-40B4-BE49-F238E27FC236}">
                  <a16:creationId xmlns:a16="http://schemas.microsoft.com/office/drawing/2014/main" xmlns="" id="{CFC164EF-A520-4964-A540-C13E05BDCED3}"/>
                </a:ext>
              </a:extLst>
            </p:cNvPr>
            <p:cNvSpPr/>
            <p:nvPr/>
          </p:nvSpPr>
          <p:spPr>
            <a:xfrm>
              <a:off x="8683625" y="3137511"/>
              <a:ext cx="2834614" cy="433606"/>
            </a:xfrm>
            <a:prstGeom prst="rect">
              <a:avLst/>
            </a:prstGeom>
          </p:spPr>
          <p:txBody>
            <a:bodyPr wrap="square" lIns="91440" tIns="45720" rIns="91440" bIns="45720" anchor="b" anchorCtr="0">
              <a:normAutofit/>
            </a:bodyPr>
            <a:lstStyle/>
            <a:p>
              <a:r>
                <a:rPr lang="en-US" altLang="zh-CN" b="1" dirty="0">
                  <a:solidFill>
                    <a:sysClr val="windowText" lastClr="000000"/>
                  </a:solidFill>
                </a:rPr>
                <a:t>Text here</a:t>
              </a:r>
              <a:endParaRPr lang="zh-CN" altLang="en-US" b="1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ï$ļïḑé">
              <a:extLst>
                <a:ext uri="{FF2B5EF4-FFF2-40B4-BE49-F238E27FC236}">
                  <a16:creationId xmlns:a16="http://schemas.microsoft.com/office/drawing/2014/main" xmlns="" id="{3EFC7A8F-5935-4DDC-99D5-61731DD5B896}"/>
                </a:ext>
              </a:extLst>
            </p:cNvPr>
            <p:cNvSpPr/>
            <p:nvPr/>
          </p:nvSpPr>
          <p:spPr>
            <a:xfrm>
              <a:off x="7752689" y="3210941"/>
              <a:ext cx="749300" cy="7493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4" name="îṧḷïďe">
              <a:extLst>
                <a:ext uri="{FF2B5EF4-FFF2-40B4-BE49-F238E27FC236}">
                  <a16:creationId xmlns:a16="http://schemas.microsoft.com/office/drawing/2014/main" xmlns="" id="{DD354D60-FCF8-41CB-9F98-8173D1E90461}"/>
                </a:ext>
              </a:extLst>
            </p:cNvPr>
            <p:cNvSpPr/>
            <p:nvPr/>
          </p:nvSpPr>
          <p:spPr bwMode="auto">
            <a:xfrm>
              <a:off x="7935164" y="3462779"/>
              <a:ext cx="384350" cy="245626"/>
            </a:xfrm>
            <a:custGeom>
              <a:avLst/>
              <a:gdLst>
                <a:gd name="connsiteX0" fmla="*/ 500654 w 607639"/>
                <a:gd name="connsiteY0" fmla="*/ 301762 h 388322"/>
                <a:gd name="connsiteX1" fmla="*/ 475910 w 607639"/>
                <a:gd name="connsiteY1" fmla="*/ 326468 h 388322"/>
                <a:gd name="connsiteX2" fmla="*/ 500654 w 607639"/>
                <a:gd name="connsiteY2" fmla="*/ 351174 h 388322"/>
                <a:gd name="connsiteX3" fmla="*/ 525397 w 607639"/>
                <a:gd name="connsiteY3" fmla="*/ 326468 h 388322"/>
                <a:gd name="connsiteX4" fmla="*/ 500654 w 607639"/>
                <a:gd name="connsiteY4" fmla="*/ 301762 h 388322"/>
                <a:gd name="connsiteX5" fmla="*/ 114984 w 607639"/>
                <a:gd name="connsiteY5" fmla="*/ 301755 h 388322"/>
                <a:gd name="connsiteX6" fmla="*/ 90242 w 607639"/>
                <a:gd name="connsiteY6" fmla="*/ 326463 h 388322"/>
                <a:gd name="connsiteX7" fmla="*/ 114984 w 607639"/>
                <a:gd name="connsiteY7" fmla="*/ 351171 h 388322"/>
                <a:gd name="connsiteX8" fmla="*/ 139725 w 607639"/>
                <a:gd name="connsiteY8" fmla="*/ 326463 h 388322"/>
                <a:gd name="connsiteX9" fmla="*/ 114984 w 607639"/>
                <a:gd name="connsiteY9" fmla="*/ 301755 h 388322"/>
                <a:gd name="connsiteX10" fmla="*/ 0 w 607639"/>
                <a:gd name="connsiteY10" fmla="*/ 229408 h 388322"/>
                <a:gd name="connsiteX11" fmla="*/ 18600 w 607639"/>
                <a:gd name="connsiteY11" fmla="*/ 229408 h 388322"/>
                <a:gd name="connsiteX12" fmla="*/ 37201 w 607639"/>
                <a:gd name="connsiteY12" fmla="*/ 229408 h 388322"/>
                <a:gd name="connsiteX13" fmla="*/ 392386 w 607639"/>
                <a:gd name="connsiteY13" fmla="*/ 229408 h 388322"/>
                <a:gd name="connsiteX14" fmla="*/ 393543 w 607639"/>
                <a:gd name="connsiteY14" fmla="*/ 229408 h 388322"/>
                <a:gd name="connsiteX15" fmla="*/ 393543 w 607639"/>
                <a:gd name="connsiteY15" fmla="*/ 326463 h 388322"/>
                <a:gd name="connsiteX16" fmla="*/ 393543 w 607639"/>
                <a:gd name="connsiteY16" fmla="*/ 345038 h 388322"/>
                <a:gd name="connsiteX17" fmla="*/ 392386 w 607639"/>
                <a:gd name="connsiteY17" fmla="*/ 345038 h 388322"/>
                <a:gd name="connsiteX18" fmla="*/ 174077 w 607639"/>
                <a:gd name="connsiteY18" fmla="*/ 345038 h 388322"/>
                <a:gd name="connsiteX19" fmla="*/ 114984 w 607639"/>
                <a:gd name="connsiteY19" fmla="*/ 388322 h 388322"/>
                <a:gd name="connsiteX20" fmla="*/ 55890 w 607639"/>
                <a:gd name="connsiteY20" fmla="*/ 345038 h 388322"/>
                <a:gd name="connsiteX21" fmla="*/ 0 w 607639"/>
                <a:gd name="connsiteY21" fmla="*/ 345038 h 388322"/>
                <a:gd name="connsiteX22" fmla="*/ 430873 w 607639"/>
                <a:gd name="connsiteY22" fmla="*/ 102602 h 388322"/>
                <a:gd name="connsiteX23" fmla="*/ 488104 w 607639"/>
                <a:gd name="connsiteY23" fmla="*/ 102602 h 388322"/>
                <a:gd name="connsiteX24" fmla="*/ 542398 w 607639"/>
                <a:gd name="connsiteY24" fmla="*/ 156902 h 388322"/>
                <a:gd name="connsiteX25" fmla="*/ 542398 w 607639"/>
                <a:gd name="connsiteY25" fmla="*/ 201515 h 388322"/>
                <a:gd name="connsiteX26" fmla="*/ 563937 w 607639"/>
                <a:gd name="connsiteY26" fmla="*/ 201515 h 388322"/>
                <a:gd name="connsiteX27" fmla="*/ 607639 w 607639"/>
                <a:gd name="connsiteY27" fmla="*/ 245151 h 388322"/>
                <a:gd name="connsiteX28" fmla="*/ 607639 w 607639"/>
                <a:gd name="connsiteY28" fmla="*/ 345042 h 388322"/>
                <a:gd name="connsiteX29" fmla="*/ 559754 w 607639"/>
                <a:gd name="connsiteY29" fmla="*/ 345042 h 388322"/>
                <a:gd name="connsiteX30" fmla="*/ 500654 w 607639"/>
                <a:gd name="connsiteY30" fmla="*/ 388322 h 388322"/>
                <a:gd name="connsiteX31" fmla="*/ 441554 w 607639"/>
                <a:gd name="connsiteY31" fmla="*/ 345042 h 388322"/>
                <a:gd name="connsiteX32" fmla="*/ 430873 w 607639"/>
                <a:gd name="connsiteY32" fmla="*/ 345042 h 388322"/>
                <a:gd name="connsiteX33" fmla="*/ 430873 w 607639"/>
                <a:gd name="connsiteY33" fmla="*/ 326468 h 388322"/>
                <a:gd name="connsiteX34" fmla="*/ 430873 w 607639"/>
                <a:gd name="connsiteY34" fmla="*/ 307894 h 388322"/>
                <a:gd name="connsiteX35" fmla="*/ 430873 w 607639"/>
                <a:gd name="connsiteY35" fmla="*/ 139750 h 388322"/>
                <a:gd name="connsiteX36" fmla="*/ 430873 w 607639"/>
                <a:gd name="connsiteY36" fmla="*/ 121176 h 388322"/>
                <a:gd name="connsiteX37" fmla="*/ 0 w 607639"/>
                <a:gd name="connsiteY37" fmla="*/ 0 h 388322"/>
                <a:gd name="connsiteX38" fmla="*/ 393685 w 607639"/>
                <a:gd name="connsiteY38" fmla="*/ 0 h 388322"/>
                <a:gd name="connsiteX39" fmla="*/ 393685 w 607639"/>
                <a:gd name="connsiteY39" fmla="*/ 18572 h 388322"/>
                <a:gd name="connsiteX40" fmla="*/ 393685 w 607639"/>
                <a:gd name="connsiteY40" fmla="*/ 102632 h 388322"/>
                <a:gd name="connsiteX41" fmla="*/ 393685 w 607639"/>
                <a:gd name="connsiteY41" fmla="*/ 192291 h 388322"/>
                <a:gd name="connsiteX42" fmla="*/ 392439 w 607639"/>
                <a:gd name="connsiteY42" fmla="*/ 192291 h 388322"/>
                <a:gd name="connsiteX43" fmla="*/ 37206 w 607639"/>
                <a:gd name="connsiteY43" fmla="*/ 192291 h 388322"/>
                <a:gd name="connsiteX44" fmla="*/ 18603 w 607639"/>
                <a:gd name="connsiteY44" fmla="*/ 192291 h 388322"/>
                <a:gd name="connsiteX45" fmla="*/ 0 w 607639"/>
                <a:gd name="connsiteY45" fmla="*/ 192291 h 38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07639" h="388322">
                  <a:moveTo>
                    <a:pt x="500654" y="301762"/>
                  </a:moveTo>
                  <a:cubicBezTo>
                    <a:pt x="486947" y="301762"/>
                    <a:pt x="475910" y="312871"/>
                    <a:pt x="475910" y="326468"/>
                  </a:cubicBezTo>
                  <a:cubicBezTo>
                    <a:pt x="475910" y="340154"/>
                    <a:pt x="486947" y="351174"/>
                    <a:pt x="500654" y="351174"/>
                  </a:cubicBezTo>
                  <a:cubicBezTo>
                    <a:pt x="514272" y="351174"/>
                    <a:pt x="525397" y="340154"/>
                    <a:pt x="525397" y="326468"/>
                  </a:cubicBezTo>
                  <a:cubicBezTo>
                    <a:pt x="525397" y="312871"/>
                    <a:pt x="514272" y="301762"/>
                    <a:pt x="500654" y="301762"/>
                  </a:cubicBezTo>
                  <a:close/>
                  <a:moveTo>
                    <a:pt x="114984" y="301755"/>
                  </a:moveTo>
                  <a:cubicBezTo>
                    <a:pt x="101367" y="301755"/>
                    <a:pt x="90242" y="312865"/>
                    <a:pt x="90242" y="326463"/>
                  </a:cubicBezTo>
                  <a:cubicBezTo>
                    <a:pt x="90242" y="340150"/>
                    <a:pt x="101367" y="351171"/>
                    <a:pt x="114984" y="351171"/>
                  </a:cubicBezTo>
                  <a:cubicBezTo>
                    <a:pt x="128600" y="351171"/>
                    <a:pt x="139725" y="340150"/>
                    <a:pt x="139725" y="326463"/>
                  </a:cubicBezTo>
                  <a:cubicBezTo>
                    <a:pt x="139725" y="312865"/>
                    <a:pt x="128600" y="301755"/>
                    <a:pt x="114984" y="301755"/>
                  </a:cubicBezTo>
                  <a:close/>
                  <a:moveTo>
                    <a:pt x="0" y="229408"/>
                  </a:moveTo>
                  <a:lnTo>
                    <a:pt x="18600" y="229408"/>
                  </a:lnTo>
                  <a:lnTo>
                    <a:pt x="37201" y="229408"/>
                  </a:lnTo>
                  <a:lnTo>
                    <a:pt x="392386" y="229408"/>
                  </a:lnTo>
                  <a:lnTo>
                    <a:pt x="393543" y="229408"/>
                  </a:lnTo>
                  <a:lnTo>
                    <a:pt x="393543" y="326463"/>
                  </a:lnTo>
                  <a:lnTo>
                    <a:pt x="393543" y="345038"/>
                  </a:lnTo>
                  <a:lnTo>
                    <a:pt x="392386" y="345038"/>
                  </a:lnTo>
                  <a:lnTo>
                    <a:pt x="174077" y="345038"/>
                  </a:lnTo>
                  <a:cubicBezTo>
                    <a:pt x="166157" y="370102"/>
                    <a:pt x="142661" y="388322"/>
                    <a:pt x="114984" y="388322"/>
                  </a:cubicBezTo>
                  <a:cubicBezTo>
                    <a:pt x="87306" y="388322"/>
                    <a:pt x="63811" y="370102"/>
                    <a:pt x="55890" y="345038"/>
                  </a:cubicBezTo>
                  <a:lnTo>
                    <a:pt x="0" y="345038"/>
                  </a:lnTo>
                  <a:close/>
                  <a:moveTo>
                    <a:pt x="430873" y="102602"/>
                  </a:moveTo>
                  <a:lnTo>
                    <a:pt x="488104" y="102602"/>
                  </a:lnTo>
                  <a:cubicBezTo>
                    <a:pt x="518010" y="102602"/>
                    <a:pt x="542398" y="126953"/>
                    <a:pt x="542398" y="156902"/>
                  </a:cubicBezTo>
                  <a:lnTo>
                    <a:pt x="542398" y="201515"/>
                  </a:lnTo>
                  <a:lnTo>
                    <a:pt x="563937" y="201515"/>
                  </a:lnTo>
                  <a:cubicBezTo>
                    <a:pt x="588058" y="201515"/>
                    <a:pt x="607639" y="221067"/>
                    <a:pt x="607639" y="245151"/>
                  </a:cubicBezTo>
                  <a:lnTo>
                    <a:pt x="607639" y="345042"/>
                  </a:lnTo>
                  <a:lnTo>
                    <a:pt x="559754" y="345042"/>
                  </a:lnTo>
                  <a:cubicBezTo>
                    <a:pt x="551832" y="370103"/>
                    <a:pt x="528335" y="388322"/>
                    <a:pt x="500654" y="388322"/>
                  </a:cubicBezTo>
                  <a:cubicBezTo>
                    <a:pt x="472973" y="388322"/>
                    <a:pt x="449475" y="370103"/>
                    <a:pt x="441554" y="345042"/>
                  </a:cubicBezTo>
                  <a:lnTo>
                    <a:pt x="430873" y="345042"/>
                  </a:lnTo>
                  <a:lnTo>
                    <a:pt x="430873" y="326468"/>
                  </a:lnTo>
                  <a:lnTo>
                    <a:pt x="430873" y="307894"/>
                  </a:lnTo>
                  <a:lnTo>
                    <a:pt x="430873" y="139750"/>
                  </a:lnTo>
                  <a:lnTo>
                    <a:pt x="430873" y="121176"/>
                  </a:lnTo>
                  <a:close/>
                  <a:moveTo>
                    <a:pt x="0" y="0"/>
                  </a:moveTo>
                  <a:lnTo>
                    <a:pt x="393685" y="0"/>
                  </a:lnTo>
                  <a:lnTo>
                    <a:pt x="393685" y="18572"/>
                  </a:lnTo>
                  <a:lnTo>
                    <a:pt x="393685" y="102632"/>
                  </a:lnTo>
                  <a:lnTo>
                    <a:pt x="393685" y="192291"/>
                  </a:lnTo>
                  <a:lnTo>
                    <a:pt x="392439" y="192291"/>
                  </a:lnTo>
                  <a:lnTo>
                    <a:pt x="37206" y="192291"/>
                  </a:lnTo>
                  <a:lnTo>
                    <a:pt x="18603" y="192291"/>
                  </a:lnTo>
                  <a:lnTo>
                    <a:pt x="0" y="19229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416638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Supporting text here.</a:t>
            </a:r>
          </a:p>
          <a:p>
            <a:pPr lvl="0"/>
            <a:r>
              <a:rPr lang="en-US" altLang="zh-CN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04F69230-F3A6-4586-9371-A858F4763E9F}"/>
              </a:ext>
            </a:extLst>
          </p:cNvPr>
          <p:cNvSpPr txBox="1"/>
          <p:nvPr/>
        </p:nvSpPr>
        <p:spPr>
          <a:xfrm>
            <a:off x="1734177" y="2758582"/>
            <a:ext cx="1985304" cy="1726148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4356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68361A78-2F61-4C50-A850-414F725AAC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D207E2F2-6BC8-4425-906F-22E780B6C9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D741EC9B-8711-484C-ADF4-C18D7B1A1F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grpSp>
        <p:nvGrpSpPr>
          <p:cNvPr id="5" name="23478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0F91D978-55A7-48C6-8E50-641E216106BA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130300"/>
            <a:ext cx="10850563" cy="5013325"/>
            <a:chOff x="669925" y="1130300"/>
            <a:chExt cx="10850563" cy="5013325"/>
          </a:xfrm>
        </p:grpSpPr>
        <p:sp>
          <p:nvSpPr>
            <p:cNvPr id="6" name="îşḻiḋé">
              <a:extLst>
                <a:ext uri="{FF2B5EF4-FFF2-40B4-BE49-F238E27FC236}">
                  <a16:creationId xmlns:a16="http://schemas.microsoft.com/office/drawing/2014/main" xmlns="" id="{366E61B9-36F0-4212-AA84-823B9615CC41}"/>
                </a:ext>
              </a:extLst>
            </p:cNvPr>
            <p:cNvSpPr txBox="1"/>
            <p:nvPr/>
          </p:nvSpPr>
          <p:spPr>
            <a:xfrm>
              <a:off x="3951289" y="1130300"/>
              <a:ext cx="4289423" cy="8521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ctr">
                <a:buSzPct val="25000"/>
              </a:pPr>
              <a:r>
                <a:rPr lang="en-US" sz="2000" b="1" dirty="0"/>
                <a:t>Unified fonts</a:t>
              </a:r>
            </a:p>
            <a:p>
              <a:pPr algn="ctr">
                <a:buSzPct val="25000"/>
              </a:pPr>
              <a:r>
                <a:rPr lang="en-US" sz="2000" b="1" dirty="0"/>
                <a:t>Make reading more fluent.</a:t>
              </a:r>
            </a:p>
          </p:txBody>
        </p: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xmlns="" id="{560FB029-5C00-4A91-BEB3-B6BDDC528AFA}"/>
                </a:ext>
              </a:extLst>
            </p:cNvPr>
            <p:cNvCxnSpPr/>
            <p:nvPr/>
          </p:nvCxnSpPr>
          <p:spPr>
            <a:xfrm>
              <a:off x="5305425" y="2200275"/>
              <a:ext cx="15811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ïśḻíḋe">
              <a:extLst>
                <a:ext uri="{FF2B5EF4-FFF2-40B4-BE49-F238E27FC236}">
                  <a16:creationId xmlns:a16="http://schemas.microsoft.com/office/drawing/2014/main" xmlns="" id="{9A30D203-A903-4E84-8078-F69C35936650}"/>
                </a:ext>
              </a:extLst>
            </p:cNvPr>
            <p:cNvSpPr/>
            <p:nvPr/>
          </p:nvSpPr>
          <p:spPr>
            <a:xfrm>
              <a:off x="669925" y="2762250"/>
              <a:ext cx="10850563" cy="9429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9" name="ís1íḓê">
              <a:extLst>
                <a:ext uri="{FF2B5EF4-FFF2-40B4-BE49-F238E27FC236}">
                  <a16:creationId xmlns:a16="http://schemas.microsoft.com/office/drawing/2014/main" xmlns="" id="{B5E7188D-9603-42EF-ADEB-B07C62F489F1}"/>
                </a:ext>
              </a:extLst>
            </p:cNvPr>
            <p:cNvSpPr/>
            <p:nvPr/>
          </p:nvSpPr>
          <p:spPr bwMode="auto">
            <a:xfrm>
              <a:off x="1575854" y="2929287"/>
              <a:ext cx="609685" cy="608900"/>
            </a:xfrm>
            <a:custGeom>
              <a:avLst/>
              <a:gdLst>
                <a:gd name="connsiteX0" fmla="*/ 78107 w 605170"/>
                <a:gd name="connsiteY0" fmla="*/ 178439 h 604391"/>
                <a:gd name="connsiteX1" fmla="*/ 103181 w 605170"/>
                <a:gd name="connsiteY1" fmla="*/ 189809 h 604391"/>
                <a:gd name="connsiteX2" fmla="*/ 131457 w 605170"/>
                <a:gd name="connsiteY2" fmla="*/ 217950 h 604391"/>
                <a:gd name="connsiteX3" fmla="*/ 158975 w 605170"/>
                <a:gd name="connsiteY3" fmla="*/ 245332 h 604391"/>
                <a:gd name="connsiteX4" fmla="*/ 159070 w 605170"/>
                <a:gd name="connsiteY4" fmla="*/ 296497 h 604391"/>
                <a:gd name="connsiteX5" fmla="*/ 124531 w 605170"/>
                <a:gd name="connsiteY5" fmla="*/ 330891 h 604391"/>
                <a:gd name="connsiteX6" fmla="*/ 122728 w 605170"/>
                <a:gd name="connsiteY6" fmla="*/ 340082 h 604391"/>
                <a:gd name="connsiteX7" fmla="*/ 154041 w 605170"/>
                <a:gd name="connsiteY7" fmla="*/ 390110 h 604391"/>
                <a:gd name="connsiteX8" fmla="*/ 241433 w 605170"/>
                <a:gd name="connsiteY8" fmla="*/ 469605 h 604391"/>
                <a:gd name="connsiteX9" fmla="*/ 264301 w 605170"/>
                <a:gd name="connsiteY9" fmla="*/ 481638 h 604391"/>
                <a:gd name="connsiteX10" fmla="*/ 273979 w 605170"/>
                <a:gd name="connsiteY10" fmla="*/ 479838 h 604391"/>
                <a:gd name="connsiteX11" fmla="*/ 308898 w 605170"/>
                <a:gd name="connsiteY11" fmla="*/ 444875 h 604391"/>
                <a:gd name="connsiteX12" fmla="*/ 358809 w 605170"/>
                <a:gd name="connsiteY12" fmla="*/ 444875 h 604391"/>
                <a:gd name="connsiteX13" fmla="*/ 414888 w 605170"/>
                <a:gd name="connsiteY13" fmla="*/ 500967 h 604391"/>
                <a:gd name="connsiteX14" fmla="*/ 414604 w 605170"/>
                <a:gd name="connsiteY14" fmla="*/ 551753 h 604391"/>
                <a:gd name="connsiteX15" fmla="*/ 382721 w 605170"/>
                <a:gd name="connsiteY15" fmla="*/ 583778 h 604391"/>
                <a:gd name="connsiteX16" fmla="*/ 328825 w 605170"/>
                <a:gd name="connsiteY16" fmla="*/ 604244 h 604391"/>
                <a:gd name="connsiteX17" fmla="*/ 243046 w 605170"/>
                <a:gd name="connsiteY17" fmla="*/ 579420 h 604391"/>
                <a:gd name="connsiteX18" fmla="*/ 88378 w 605170"/>
                <a:gd name="connsiteY18" fmla="*/ 458519 h 604391"/>
                <a:gd name="connsiteX19" fmla="*/ 12847 w 605170"/>
                <a:gd name="connsiteY19" fmla="*/ 332881 h 604391"/>
                <a:gd name="connsiteX20" fmla="*/ 322 w 605170"/>
                <a:gd name="connsiteY20" fmla="*/ 262956 h 604391"/>
                <a:gd name="connsiteX21" fmla="*/ 18161 w 605170"/>
                <a:gd name="connsiteY21" fmla="*/ 224487 h 604391"/>
                <a:gd name="connsiteX22" fmla="*/ 53175 w 605170"/>
                <a:gd name="connsiteY22" fmla="*/ 189809 h 604391"/>
                <a:gd name="connsiteX23" fmla="*/ 78107 w 605170"/>
                <a:gd name="connsiteY23" fmla="*/ 178439 h 604391"/>
                <a:gd name="connsiteX24" fmla="*/ 413491 w 605170"/>
                <a:gd name="connsiteY24" fmla="*/ 57616 h 604391"/>
                <a:gd name="connsiteX25" fmla="*/ 279505 w 605170"/>
                <a:gd name="connsiteY25" fmla="*/ 191421 h 604391"/>
                <a:gd name="connsiteX26" fmla="*/ 302469 w 605170"/>
                <a:gd name="connsiteY26" fmla="*/ 214259 h 604391"/>
                <a:gd name="connsiteX27" fmla="*/ 325338 w 605170"/>
                <a:gd name="connsiteY27" fmla="*/ 191421 h 604391"/>
                <a:gd name="connsiteX28" fmla="*/ 413396 w 605170"/>
                <a:gd name="connsiteY28" fmla="*/ 103481 h 604391"/>
                <a:gd name="connsiteX29" fmla="*/ 436454 w 605170"/>
                <a:gd name="connsiteY29" fmla="*/ 80454 h 604391"/>
                <a:gd name="connsiteX30" fmla="*/ 413491 w 605170"/>
                <a:gd name="connsiteY30" fmla="*/ 57616 h 604391"/>
                <a:gd name="connsiteX31" fmla="*/ 413396 w 605170"/>
                <a:gd name="connsiteY31" fmla="*/ 0 h 604391"/>
                <a:gd name="connsiteX32" fmla="*/ 605170 w 605170"/>
                <a:gd name="connsiteY32" fmla="*/ 191326 h 604391"/>
                <a:gd name="connsiteX33" fmla="*/ 413491 w 605170"/>
                <a:gd name="connsiteY33" fmla="*/ 382747 h 604391"/>
                <a:gd name="connsiteX34" fmla="*/ 315184 w 605170"/>
                <a:gd name="connsiteY34" fmla="*/ 355645 h 604391"/>
                <a:gd name="connsiteX35" fmla="*/ 236520 w 605170"/>
                <a:gd name="connsiteY35" fmla="*/ 376303 h 604391"/>
                <a:gd name="connsiteX36" fmla="*/ 234337 w 605170"/>
                <a:gd name="connsiteY36" fmla="*/ 362373 h 604391"/>
                <a:gd name="connsiteX37" fmla="*/ 272199 w 605170"/>
                <a:gd name="connsiteY37" fmla="*/ 320772 h 604391"/>
                <a:gd name="connsiteX38" fmla="*/ 221717 w 605170"/>
                <a:gd name="connsiteY38" fmla="*/ 191421 h 604391"/>
                <a:gd name="connsiteX39" fmla="*/ 413396 w 605170"/>
                <a:gd name="connsiteY39" fmla="*/ 0 h 604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05170" h="604391">
                  <a:moveTo>
                    <a:pt x="78107" y="178439"/>
                  </a:moveTo>
                  <a:cubicBezTo>
                    <a:pt x="86765" y="178439"/>
                    <a:pt x="95448" y="182229"/>
                    <a:pt x="103181" y="189809"/>
                  </a:cubicBezTo>
                  <a:cubicBezTo>
                    <a:pt x="112764" y="199000"/>
                    <a:pt x="121969" y="208475"/>
                    <a:pt x="131457" y="217950"/>
                  </a:cubicBezTo>
                  <a:cubicBezTo>
                    <a:pt x="140567" y="227046"/>
                    <a:pt x="149866" y="236142"/>
                    <a:pt x="158975" y="245332"/>
                  </a:cubicBezTo>
                  <a:cubicBezTo>
                    <a:pt x="175011" y="261629"/>
                    <a:pt x="175011" y="280484"/>
                    <a:pt x="159070" y="296497"/>
                  </a:cubicBezTo>
                  <a:cubicBezTo>
                    <a:pt x="147683" y="308057"/>
                    <a:pt x="136202" y="319616"/>
                    <a:pt x="124531" y="330891"/>
                  </a:cubicBezTo>
                  <a:cubicBezTo>
                    <a:pt x="121494" y="333923"/>
                    <a:pt x="121209" y="336292"/>
                    <a:pt x="122728" y="340082"/>
                  </a:cubicBezTo>
                  <a:cubicBezTo>
                    <a:pt x="130319" y="358463"/>
                    <a:pt x="141515" y="374855"/>
                    <a:pt x="154041" y="390110"/>
                  </a:cubicBezTo>
                  <a:cubicBezTo>
                    <a:pt x="179186" y="420998"/>
                    <a:pt x="207558" y="448381"/>
                    <a:pt x="241433" y="469605"/>
                  </a:cubicBezTo>
                  <a:cubicBezTo>
                    <a:pt x="248739" y="474153"/>
                    <a:pt x="256710" y="477564"/>
                    <a:pt x="264301" y="481638"/>
                  </a:cubicBezTo>
                  <a:cubicBezTo>
                    <a:pt x="268096" y="483722"/>
                    <a:pt x="270753" y="482964"/>
                    <a:pt x="273979" y="479838"/>
                  </a:cubicBezTo>
                  <a:cubicBezTo>
                    <a:pt x="285461" y="467994"/>
                    <a:pt x="297227" y="456435"/>
                    <a:pt x="308898" y="444875"/>
                  </a:cubicBezTo>
                  <a:cubicBezTo>
                    <a:pt x="324175" y="429715"/>
                    <a:pt x="343438" y="429715"/>
                    <a:pt x="358809" y="444875"/>
                  </a:cubicBezTo>
                  <a:cubicBezTo>
                    <a:pt x="377597" y="463446"/>
                    <a:pt x="396290" y="482112"/>
                    <a:pt x="414888" y="500967"/>
                  </a:cubicBezTo>
                  <a:cubicBezTo>
                    <a:pt x="430450" y="516601"/>
                    <a:pt x="430355" y="535929"/>
                    <a:pt x="414604" y="551753"/>
                  </a:cubicBezTo>
                  <a:cubicBezTo>
                    <a:pt x="403976" y="562459"/>
                    <a:pt x="392779" y="572598"/>
                    <a:pt x="382721" y="583778"/>
                  </a:cubicBezTo>
                  <a:cubicBezTo>
                    <a:pt x="368203" y="600075"/>
                    <a:pt x="349890" y="605381"/>
                    <a:pt x="328825" y="604244"/>
                  </a:cubicBezTo>
                  <a:cubicBezTo>
                    <a:pt x="298366" y="602633"/>
                    <a:pt x="270184" y="592495"/>
                    <a:pt x="243046" y="579420"/>
                  </a:cubicBezTo>
                  <a:cubicBezTo>
                    <a:pt x="182887" y="550237"/>
                    <a:pt x="131362" y="509684"/>
                    <a:pt x="88378" y="458519"/>
                  </a:cubicBezTo>
                  <a:cubicBezTo>
                    <a:pt x="56496" y="420619"/>
                    <a:pt x="30117" y="379403"/>
                    <a:pt x="12847" y="332881"/>
                  </a:cubicBezTo>
                  <a:cubicBezTo>
                    <a:pt x="4497" y="310331"/>
                    <a:pt x="-1481" y="287306"/>
                    <a:pt x="322" y="262956"/>
                  </a:cubicBezTo>
                  <a:cubicBezTo>
                    <a:pt x="1461" y="247890"/>
                    <a:pt x="6964" y="235099"/>
                    <a:pt x="18161" y="224487"/>
                  </a:cubicBezTo>
                  <a:cubicBezTo>
                    <a:pt x="30022" y="213307"/>
                    <a:pt x="41408" y="201274"/>
                    <a:pt x="53175" y="189809"/>
                  </a:cubicBezTo>
                  <a:cubicBezTo>
                    <a:pt x="60814" y="182229"/>
                    <a:pt x="69448" y="178439"/>
                    <a:pt x="78107" y="178439"/>
                  </a:cubicBezTo>
                  <a:close/>
                  <a:moveTo>
                    <a:pt x="413491" y="57616"/>
                  </a:moveTo>
                  <a:cubicBezTo>
                    <a:pt x="339666" y="57616"/>
                    <a:pt x="279505" y="117601"/>
                    <a:pt x="279505" y="191421"/>
                  </a:cubicBezTo>
                  <a:cubicBezTo>
                    <a:pt x="279505" y="204024"/>
                    <a:pt x="289754" y="214259"/>
                    <a:pt x="302469" y="214259"/>
                  </a:cubicBezTo>
                  <a:cubicBezTo>
                    <a:pt x="315089" y="214259"/>
                    <a:pt x="325338" y="204024"/>
                    <a:pt x="325338" y="191421"/>
                  </a:cubicBezTo>
                  <a:cubicBezTo>
                    <a:pt x="325338" y="142902"/>
                    <a:pt x="364812" y="103481"/>
                    <a:pt x="413396" y="103481"/>
                  </a:cubicBezTo>
                  <a:cubicBezTo>
                    <a:pt x="426017" y="103481"/>
                    <a:pt x="436265" y="93247"/>
                    <a:pt x="436454" y="80454"/>
                  </a:cubicBezTo>
                  <a:cubicBezTo>
                    <a:pt x="436454" y="67850"/>
                    <a:pt x="426206" y="57616"/>
                    <a:pt x="413491" y="57616"/>
                  </a:cubicBezTo>
                  <a:close/>
                  <a:moveTo>
                    <a:pt x="413396" y="0"/>
                  </a:moveTo>
                  <a:cubicBezTo>
                    <a:pt x="519294" y="0"/>
                    <a:pt x="605075" y="85760"/>
                    <a:pt x="605170" y="191326"/>
                  </a:cubicBezTo>
                  <a:cubicBezTo>
                    <a:pt x="605170" y="297081"/>
                    <a:pt x="519389" y="382747"/>
                    <a:pt x="413491" y="382747"/>
                  </a:cubicBezTo>
                  <a:cubicBezTo>
                    <a:pt x="377622" y="382747"/>
                    <a:pt x="343936" y="372892"/>
                    <a:pt x="315184" y="355645"/>
                  </a:cubicBezTo>
                  <a:cubicBezTo>
                    <a:pt x="287097" y="376019"/>
                    <a:pt x="257396" y="379525"/>
                    <a:pt x="236520" y="376303"/>
                  </a:cubicBezTo>
                  <a:cubicBezTo>
                    <a:pt x="229403" y="375166"/>
                    <a:pt x="227885" y="365500"/>
                    <a:pt x="234337" y="362373"/>
                  </a:cubicBezTo>
                  <a:cubicBezTo>
                    <a:pt x="252841" y="353371"/>
                    <a:pt x="264892" y="335745"/>
                    <a:pt x="272199" y="320772"/>
                  </a:cubicBezTo>
                  <a:cubicBezTo>
                    <a:pt x="240790" y="286847"/>
                    <a:pt x="221717" y="241361"/>
                    <a:pt x="221717" y="191421"/>
                  </a:cubicBezTo>
                  <a:cubicBezTo>
                    <a:pt x="221717" y="85666"/>
                    <a:pt x="307498" y="0"/>
                    <a:pt x="41339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" name="ïṩḻíḍè">
              <a:extLst>
                <a:ext uri="{FF2B5EF4-FFF2-40B4-BE49-F238E27FC236}">
                  <a16:creationId xmlns:a16="http://schemas.microsoft.com/office/drawing/2014/main" xmlns="" id="{E6C0EEA4-4FB6-474E-806C-D6456C2A52F2}"/>
                </a:ext>
              </a:extLst>
            </p:cNvPr>
            <p:cNvSpPr/>
            <p:nvPr/>
          </p:nvSpPr>
          <p:spPr bwMode="auto">
            <a:xfrm>
              <a:off x="4416051" y="2951245"/>
              <a:ext cx="609685" cy="564984"/>
            </a:xfrm>
            <a:custGeom>
              <a:avLst/>
              <a:gdLst>
                <a:gd name="connsiteX0" fmla="*/ 460509 w 602487"/>
                <a:gd name="connsiteY0" fmla="*/ 352333 h 558314"/>
                <a:gd name="connsiteX1" fmla="*/ 524794 w 602487"/>
                <a:gd name="connsiteY1" fmla="*/ 416513 h 558314"/>
                <a:gd name="connsiteX2" fmla="*/ 460509 w 602487"/>
                <a:gd name="connsiteY2" fmla="*/ 480693 h 558314"/>
                <a:gd name="connsiteX3" fmla="*/ 396224 w 602487"/>
                <a:gd name="connsiteY3" fmla="*/ 416513 h 558314"/>
                <a:gd name="connsiteX4" fmla="*/ 460509 w 602487"/>
                <a:gd name="connsiteY4" fmla="*/ 352333 h 558314"/>
                <a:gd name="connsiteX5" fmla="*/ 469031 w 602487"/>
                <a:gd name="connsiteY5" fmla="*/ 300551 h 558314"/>
                <a:gd name="connsiteX6" fmla="*/ 463869 w 602487"/>
                <a:gd name="connsiteY6" fmla="*/ 322719 h 558314"/>
                <a:gd name="connsiteX7" fmla="*/ 426697 w 602487"/>
                <a:gd name="connsiteY7" fmla="*/ 328905 h 558314"/>
                <a:gd name="connsiteX8" fmla="*/ 414565 w 602487"/>
                <a:gd name="connsiteY8" fmla="*/ 309573 h 558314"/>
                <a:gd name="connsiteX9" fmla="*/ 384363 w 602487"/>
                <a:gd name="connsiteY9" fmla="*/ 328390 h 558314"/>
                <a:gd name="connsiteX10" fmla="*/ 396495 w 602487"/>
                <a:gd name="connsiteY10" fmla="*/ 347722 h 558314"/>
                <a:gd name="connsiteX11" fmla="*/ 374554 w 602487"/>
                <a:gd name="connsiteY11" fmla="*/ 378396 h 558314"/>
                <a:gd name="connsiteX12" fmla="*/ 352354 w 602487"/>
                <a:gd name="connsiteY12" fmla="*/ 373240 h 558314"/>
                <a:gd name="connsiteX13" fmla="*/ 344352 w 602487"/>
                <a:gd name="connsiteY13" fmla="*/ 408038 h 558314"/>
                <a:gd name="connsiteX14" fmla="*/ 366552 w 602487"/>
                <a:gd name="connsiteY14" fmla="*/ 413194 h 558314"/>
                <a:gd name="connsiteX15" fmla="*/ 372747 w 602487"/>
                <a:gd name="connsiteY15" fmla="*/ 450311 h 558314"/>
                <a:gd name="connsiteX16" fmla="*/ 353387 w 602487"/>
                <a:gd name="connsiteY16" fmla="*/ 462426 h 558314"/>
                <a:gd name="connsiteX17" fmla="*/ 372489 w 602487"/>
                <a:gd name="connsiteY17" fmla="*/ 492585 h 558314"/>
                <a:gd name="connsiteX18" fmla="*/ 391591 w 602487"/>
                <a:gd name="connsiteY18" fmla="*/ 480470 h 558314"/>
                <a:gd name="connsiteX19" fmla="*/ 422309 w 602487"/>
                <a:gd name="connsiteY19" fmla="*/ 502379 h 558314"/>
                <a:gd name="connsiteX20" fmla="*/ 417404 w 602487"/>
                <a:gd name="connsiteY20" fmla="*/ 524547 h 558314"/>
                <a:gd name="connsiteX21" fmla="*/ 451994 w 602487"/>
                <a:gd name="connsiteY21" fmla="*/ 532538 h 558314"/>
                <a:gd name="connsiteX22" fmla="*/ 457157 w 602487"/>
                <a:gd name="connsiteY22" fmla="*/ 510370 h 558314"/>
                <a:gd name="connsiteX23" fmla="*/ 494328 w 602487"/>
                <a:gd name="connsiteY23" fmla="*/ 504184 h 558314"/>
                <a:gd name="connsiteX24" fmla="*/ 506461 w 602487"/>
                <a:gd name="connsiteY24" fmla="*/ 523516 h 558314"/>
                <a:gd name="connsiteX25" fmla="*/ 536663 w 602487"/>
                <a:gd name="connsiteY25" fmla="*/ 504699 h 558314"/>
                <a:gd name="connsiteX26" fmla="*/ 524530 w 602487"/>
                <a:gd name="connsiteY26" fmla="*/ 485367 h 558314"/>
                <a:gd name="connsiteX27" fmla="*/ 546472 w 602487"/>
                <a:gd name="connsiteY27" fmla="*/ 454693 h 558314"/>
                <a:gd name="connsiteX28" fmla="*/ 568671 w 602487"/>
                <a:gd name="connsiteY28" fmla="*/ 459849 h 558314"/>
                <a:gd name="connsiteX29" fmla="*/ 576674 w 602487"/>
                <a:gd name="connsiteY29" fmla="*/ 425051 h 558314"/>
                <a:gd name="connsiteX30" fmla="*/ 554474 w 602487"/>
                <a:gd name="connsiteY30" fmla="*/ 419895 h 558314"/>
                <a:gd name="connsiteX31" fmla="*/ 548279 w 602487"/>
                <a:gd name="connsiteY31" fmla="*/ 382778 h 558314"/>
                <a:gd name="connsiteX32" fmla="*/ 567639 w 602487"/>
                <a:gd name="connsiteY32" fmla="*/ 370663 h 558314"/>
                <a:gd name="connsiteX33" fmla="*/ 548795 w 602487"/>
                <a:gd name="connsiteY33" fmla="*/ 340505 h 558314"/>
                <a:gd name="connsiteX34" fmla="*/ 529435 w 602487"/>
                <a:gd name="connsiteY34" fmla="*/ 352619 h 558314"/>
                <a:gd name="connsiteX35" fmla="*/ 498717 w 602487"/>
                <a:gd name="connsiteY35" fmla="*/ 330710 h 558314"/>
                <a:gd name="connsiteX36" fmla="*/ 503879 w 602487"/>
                <a:gd name="connsiteY36" fmla="*/ 308542 h 558314"/>
                <a:gd name="connsiteX37" fmla="*/ 257102 w 602487"/>
                <a:gd name="connsiteY37" fmla="*/ 0 h 558314"/>
                <a:gd name="connsiteX38" fmla="*/ 399077 w 602487"/>
                <a:gd name="connsiteY38" fmla="*/ 141769 h 558314"/>
                <a:gd name="connsiteX39" fmla="*/ 320604 w 602487"/>
                <a:gd name="connsiteY39" fmla="*/ 290241 h 558314"/>
                <a:gd name="connsiteX40" fmla="*/ 373779 w 602487"/>
                <a:gd name="connsiteY40" fmla="*/ 309831 h 558314"/>
                <a:gd name="connsiteX41" fmla="*/ 421534 w 602487"/>
                <a:gd name="connsiteY41" fmla="*/ 280188 h 558314"/>
                <a:gd name="connsiteX42" fmla="*/ 436248 w 602487"/>
                <a:gd name="connsiteY42" fmla="*/ 303644 h 558314"/>
                <a:gd name="connsiteX43" fmla="*/ 446573 w 602487"/>
                <a:gd name="connsiteY43" fmla="*/ 302098 h 558314"/>
                <a:gd name="connsiteX44" fmla="*/ 452769 w 602487"/>
                <a:gd name="connsiteY44" fmla="*/ 274775 h 558314"/>
                <a:gd name="connsiteX45" fmla="*/ 529693 w 602487"/>
                <a:gd name="connsiteY45" fmla="*/ 292561 h 558314"/>
                <a:gd name="connsiteX46" fmla="*/ 523240 w 602487"/>
                <a:gd name="connsiteY46" fmla="*/ 319626 h 558314"/>
                <a:gd name="connsiteX47" fmla="*/ 531758 w 602487"/>
                <a:gd name="connsiteY47" fmla="*/ 325812 h 558314"/>
                <a:gd name="connsiteX48" fmla="*/ 555506 w 602487"/>
                <a:gd name="connsiteY48" fmla="*/ 310862 h 558314"/>
                <a:gd name="connsiteX49" fmla="*/ 597324 w 602487"/>
                <a:gd name="connsiteY49" fmla="*/ 377622 h 558314"/>
                <a:gd name="connsiteX50" fmla="*/ 573576 w 602487"/>
                <a:gd name="connsiteY50" fmla="*/ 392315 h 558314"/>
                <a:gd name="connsiteX51" fmla="*/ 575125 w 602487"/>
                <a:gd name="connsiteY51" fmla="*/ 402625 h 558314"/>
                <a:gd name="connsiteX52" fmla="*/ 602487 w 602487"/>
                <a:gd name="connsiteY52" fmla="*/ 409069 h 558314"/>
                <a:gd name="connsiteX53" fmla="*/ 584676 w 602487"/>
                <a:gd name="connsiteY53" fmla="*/ 485367 h 558314"/>
                <a:gd name="connsiteX54" fmla="*/ 557572 w 602487"/>
                <a:gd name="connsiteY54" fmla="*/ 479181 h 558314"/>
                <a:gd name="connsiteX55" fmla="*/ 551376 w 602487"/>
                <a:gd name="connsiteY55" fmla="*/ 487687 h 558314"/>
                <a:gd name="connsiteX56" fmla="*/ 566348 w 602487"/>
                <a:gd name="connsiteY56" fmla="*/ 511401 h 558314"/>
                <a:gd name="connsiteX57" fmla="*/ 499491 w 602487"/>
                <a:gd name="connsiteY57" fmla="*/ 552901 h 558314"/>
                <a:gd name="connsiteX58" fmla="*/ 484777 w 602487"/>
                <a:gd name="connsiteY58" fmla="*/ 529445 h 558314"/>
                <a:gd name="connsiteX59" fmla="*/ 474452 w 602487"/>
                <a:gd name="connsiteY59" fmla="*/ 530991 h 558314"/>
                <a:gd name="connsiteX60" fmla="*/ 467999 w 602487"/>
                <a:gd name="connsiteY60" fmla="*/ 558314 h 558314"/>
                <a:gd name="connsiteX61" fmla="*/ 393398 w 602487"/>
                <a:gd name="connsiteY61" fmla="*/ 541044 h 558314"/>
                <a:gd name="connsiteX62" fmla="*/ 257102 w 602487"/>
                <a:gd name="connsiteY62" fmla="*/ 549550 h 558314"/>
                <a:gd name="connsiteX63" fmla="*/ 329122 w 602487"/>
                <a:gd name="connsiteY63" fmla="*/ 477634 h 558314"/>
                <a:gd name="connsiteX64" fmla="*/ 268460 w 602487"/>
                <a:gd name="connsiteY64" fmla="*/ 331225 h 558314"/>
                <a:gd name="connsiteX65" fmla="*/ 269235 w 602487"/>
                <a:gd name="connsiteY65" fmla="*/ 331225 h 558314"/>
                <a:gd name="connsiteX66" fmla="*/ 292725 w 602487"/>
                <a:gd name="connsiteY66" fmla="*/ 304418 h 558314"/>
                <a:gd name="connsiteX67" fmla="*/ 257102 w 602487"/>
                <a:gd name="connsiteY67" fmla="*/ 310862 h 558314"/>
                <a:gd name="connsiteX68" fmla="*/ 221480 w 602487"/>
                <a:gd name="connsiteY68" fmla="*/ 304418 h 558314"/>
                <a:gd name="connsiteX69" fmla="*/ 245228 w 602487"/>
                <a:gd name="connsiteY69" fmla="*/ 331225 h 558314"/>
                <a:gd name="connsiteX70" fmla="*/ 245744 w 602487"/>
                <a:gd name="connsiteY70" fmla="*/ 331225 h 558314"/>
                <a:gd name="connsiteX71" fmla="*/ 185083 w 602487"/>
                <a:gd name="connsiteY71" fmla="*/ 477634 h 558314"/>
                <a:gd name="connsiteX72" fmla="*/ 257102 w 602487"/>
                <a:gd name="connsiteY72" fmla="*/ 549550 h 558314"/>
                <a:gd name="connsiteX73" fmla="*/ 0 w 602487"/>
                <a:gd name="connsiteY73" fmla="*/ 486398 h 558314"/>
                <a:gd name="connsiteX74" fmla="*/ 193859 w 602487"/>
                <a:gd name="connsiteY74" fmla="*/ 290241 h 558314"/>
                <a:gd name="connsiteX75" fmla="*/ 115128 w 602487"/>
                <a:gd name="connsiteY75" fmla="*/ 141769 h 558314"/>
                <a:gd name="connsiteX76" fmla="*/ 257102 w 602487"/>
                <a:gd name="connsiteY76" fmla="*/ 0 h 558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602487" h="558314">
                  <a:moveTo>
                    <a:pt x="460509" y="352333"/>
                  </a:moveTo>
                  <a:cubicBezTo>
                    <a:pt x="496013" y="352333"/>
                    <a:pt x="524794" y="381067"/>
                    <a:pt x="524794" y="416513"/>
                  </a:cubicBezTo>
                  <a:cubicBezTo>
                    <a:pt x="524794" y="451959"/>
                    <a:pt x="496013" y="480693"/>
                    <a:pt x="460509" y="480693"/>
                  </a:cubicBezTo>
                  <a:cubicBezTo>
                    <a:pt x="425005" y="480693"/>
                    <a:pt x="396224" y="451959"/>
                    <a:pt x="396224" y="416513"/>
                  </a:cubicBezTo>
                  <a:cubicBezTo>
                    <a:pt x="396224" y="381067"/>
                    <a:pt x="425005" y="352333"/>
                    <a:pt x="460509" y="352333"/>
                  </a:cubicBezTo>
                  <a:close/>
                  <a:moveTo>
                    <a:pt x="469031" y="300551"/>
                  </a:moveTo>
                  <a:lnTo>
                    <a:pt x="463869" y="322719"/>
                  </a:lnTo>
                  <a:cubicBezTo>
                    <a:pt x="451478" y="322203"/>
                    <a:pt x="438829" y="324265"/>
                    <a:pt x="426697" y="328905"/>
                  </a:cubicBezTo>
                  <a:lnTo>
                    <a:pt x="414565" y="309573"/>
                  </a:lnTo>
                  <a:lnTo>
                    <a:pt x="384363" y="328390"/>
                  </a:lnTo>
                  <a:lnTo>
                    <a:pt x="396495" y="347722"/>
                  </a:lnTo>
                  <a:cubicBezTo>
                    <a:pt x="386944" y="356486"/>
                    <a:pt x="379458" y="367054"/>
                    <a:pt x="374554" y="378396"/>
                  </a:cubicBezTo>
                  <a:lnTo>
                    <a:pt x="352354" y="373240"/>
                  </a:lnTo>
                  <a:lnTo>
                    <a:pt x="344352" y="408038"/>
                  </a:lnTo>
                  <a:lnTo>
                    <a:pt x="366552" y="413194"/>
                  </a:lnTo>
                  <a:cubicBezTo>
                    <a:pt x="366035" y="425566"/>
                    <a:pt x="368100" y="438197"/>
                    <a:pt x="372747" y="450311"/>
                  </a:cubicBezTo>
                  <a:lnTo>
                    <a:pt x="353387" y="462426"/>
                  </a:lnTo>
                  <a:lnTo>
                    <a:pt x="372489" y="492585"/>
                  </a:lnTo>
                  <a:lnTo>
                    <a:pt x="391591" y="480470"/>
                  </a:lnTo>
                  <a:cubicBezTo>
                    <a:pt x="400625" y="490007"/>
                    <a:pt x="410951" y="497482"/>
                    <a:pt x="422309" y="502379"/>
                  </a:cubicBezTo>
                  <a:lnTo>
                    <a:pt x="417404" y="524547"/>
                  </a:lnTo>
                  <a:lnTo>
                    <a:pt x="451994" y="532538"/>
                  </a:lnTo>
                  <a:lnTo>
                    <a:pt x="457157" y="510370"/>
                  </a:lnTo>
                  <a:cubicBezTo>
                    <a:pt x="469548" y="510886"/>
                    <a:pt x="482196" y="508824"/>
                    <a:pt x="494328" y="504184"/>
                  </a:cubicBezTo>
                  <a:lnTo>
                    <a:pt x="506461" y="523516"/>
                  </a:lnTo>
                  <a:lnTo>
                    <a:pt x="536663" y="504699"/>
                  </a:lnTo>
                  <a:lnTo>
                    <a:pt x="524530" y="485367"/>
                  </a:lnTo>
                  <a:cubicBezTo>
                    <a:pt x="534081" y="476603"/>
                    <a:pt x="541567" y="466035"/>
                    <a:pt x="546472" y="454693"/>
                  </a:cubicBezTo>
                  <a:lnTo>
                    <a:pt x="568671" y="459849"/>
                  </a:lnTo>
                  <a:lnTo>
                    <a:pt x="576674" y="425051"/>
                  </a:lnTo>
                  <a:lnTo>
                    <a:pt x="554474" y="419895"/>
                  </a:lnTo>
                  <a:cubicBezTo>
                    <a:pt x="554990" y="407523"/>
                    <a:pt x="552925" y="394892"/>
                    <a:pt x="548279" y="382778"/>
                  </a:cubicBezTo>
                  <a:lnTo>
                    <a:pt x="567639" y="370663"/>
                  </a:lnTo>
                  <a:lnTo>
                    <a:pt x="548795" y="340505"/>
                  </a:lnTo>
                  <a:lnTo>
                    <a:pt x="529435" y="352619"/>
                  </a:lnTo>
                  <a:cubicBezTo>
                    <a:pt x="520658" y="343082"/>
                    <a:pt x="510075" y="335607"/>
                    <a:pt x="498717" y="330710"/>
                  </a:cubicBezTo>
                  <a:lnTo>
                    <a:pt x="503879" y="308542"/>
                  </a:lnTo>
                  <a:close/>
                  <a:moveTo>
                    <a:pt x="257102" y="0"/>
                  </a:moveTo>
                  <a:cubicBezTo>
                    <a:pt x="335575" y="0"/>
                    <a:pt x="399077" y="63410"/>
                    <a:pt x="399077" y="141769"/>
                  </a:cubicBezTo>
                  <a:cubicBezTo>
                    <a:pt x="399077" y="197446"/>
                    <a:pt x="367068" y="259052"/>
                    <a:pt x="320604" y="290241"/>
                  </a:cubicBezTo>
                  <a:cubicBezTo>
                    <a:pt x="339189" y="294881"/>
                    <a:pt x="357001" y="301840"/>
                    <a:pt x="373779" y="309831"/>
                  </a:cubicBezTo>
                  <a:lnTo>
                    <a:pt x="421534" y="280188"/>
                  </a:lnTo>
                  <a:lnTo>
                    <a:pt x="436248" y="303644"/>
                  </a:lnTo>
                  <a:cubicBezTo>
                    <a:pt x="439862" y="303129"/>
                    <a:pt x="443218" y="302356"/>
                    <a:pt x="446573" y="302098"/>
                  </a:cubicBezTo>
                  <a:lnTo>
                    <a:pt x="452769" y="274775"/>
                  </a:lnTo>
                  <a:lnTo>
                    <a:pt x="529693" y="292561"/>
                  </a:lnTo>
                  <a:lnTo>
                    <a:pt x="523240" y="319626"/>
                  </a:lnTo>
                  <a:cubicBezTo>
                    <a:pt x="526337" y="321430"/>
                    <a:pt x="529177" y="323492"/>
                    <a:pt x="531758" y="325812"/>
                  </a:cubicBezTo>
                  <a:lnTo>
                    <a:pt x="555506" y="310862"/>
                  </a:lnTo>
                  <a:lnTo>
                    <a:pt x="597324" y="377622"/>
                  </a:lnTo>
                  <a:lnTo>
                    <a:pt x="573576" y="392315"/>
                  </a:lnTo>
                  <a:cubicBezTo>
                    <a:pt x="574350" y="395666"/>
                    <a:pt x="574867" y="399274"/>
                    <a:pt x="575125" y="402625"/>
                  </a:cubicBezTo>
                  <a:lnTo>
                    <a:pt x="602487" y="409069"/>
                  </a:lnTo>
                  <a:lnTo>
                    <a:pt x="584676" y="485367"/>
                  </a:lnTo>
                  <a:lnTo>
                    <a:pt x="557572" y="479181"/>
                  </a:lnTo>
                  <a:cubicBezTo>
                    <a:pt x="555765" y="482016"/>
                    <a:pt x="553700" y="485109"/>
                    <a:pt x="551376" y="487687"/>
                  </a:cubicBezTo>
                  <a:lnTo>
                    <a:pt x="566348" y="511401"/>
                  </a:lnTo>
                  <a:lnTo>
                    <a:pt x="499491" y="552901"/>
                  </a:lnTo>
                  <a:lnTo>
                    <a:pt x="484777" y="529445"/>
                  </a:lnTo>
                  <a:cubicBezTo>
                    <a:pt x="481422" y="530218"/>
                    <a:pt x="477808" y="530733"/>
                    <a:pt x="474452" y="530991"/>
                  </a:cubicBezTo>
                  <a:lnTo>
                    <a:pt x="467999" y="558314"/>
                  </a:lnTo>
                  <a:lnTo>
                    <a:pt x="393398" y="541044"/>
                  </a:lnTo>
                  <a:cubicBezTo>
                    <a:pt x="352354" y="546715"/>
                    <a:pt x="304857" y="549550"/>
                    <a:pt x="257102" y="549550"/>
                  </a:cubicBezTo>
                  <a:lnTo>
                    <a:pt x="329122" y="477634"/>
                  </a:lnTo>
                  <a:lnTo>
                    <a:pt x="268460" y="331225"/>
                  </a:lnTo>
                  <a:lnTo>
                    <a:pt x="269235" y="331225"/>
                  </a:lnTo>
                  <a:lnTo>
                    <a:pt x="292725" y="304418"/>
                  </a:lnTo>
                  <a:cubicBezTo>
                    <a:pt x="281367" y="308542"/>
                    <a:pt x="269493" y="310862"/>
                    <a:pt x="257102" y="310862"/>
                  </a:cubicBezTo>
                  <a:cubicBezTo>
                    <a:pt x="244970" y="310862"/>
                    <a:pt x="232838" y="308542"/>
                    <a:pt x="221480" y="304418"/>
                  </a:cubicBezTo>
                  <a:lnTo>
                    <a:pt x="245228" y="331225"/>
                  </a:lnTo>
                  <a:lnTo>
                    <a:pt x="245744" y="331225"/>
                  </a:lnTo>
                  <a:lnTo>
                    <a:pt x="185083" y="477634"/>
                  </a:lnTo>
                  <a:lnTo>
                    <a:pt x="257102" y="549550"/>
                  </a:lnTo>
                  <a:cubicBezTo>
                    <a:pt x="128551" y="549550"/>
                    <a:pt x="0" y="528671"/>
                    <a:pt x="0" y="486398"/>
                  </a:cubicBezTo>
                  <a:cubicBezTo>
                    <a:pt x="0" y="414740"/>
                    <a:pt x="82345" y="318337"/>
                    <a:pt x="193859" y="290241"/>
                  </a:cubicBezTo>
                  <a:cubicBezTo>
                    <a:pt x="147137" y="259052"/>
                    <a:pt x="115128" y="197446"/>
                    <a:pt x="115128" y="141769"/>
                  </a:cubicBezTo>
                  <a:cubicBezTo>
                    <a:pt x="115128" y="63410"/>
                    <a:pt x="178629" y="0"/>
                    <a:pt x="257102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/>
            </a:p>
          </p:txBody>
        </p:sp>
        <p:sp>
          <p:nvSpPr>
            <p:cNvPr id="11" name="íšľíḓé">
              <a:extLst>
                <a:ext uri="{FF2B5EF4-FFF2-40B4-BE49-F238E27FC236}">
                  <a16:creationId xmlns:a16="http://schemas.microsoft.com/office/drawing/2014/main" xmlns="" id="{638F27D5-41D4-4D99-A1C3-99FD6253CC3F}"/>
                </a:ext>
              </a:extLst>
            </p:cNvPr>
            <p:cNvSpPr/>
            <p:nvPr/>
          </p:nvSpPr>
          <p:spPr bwMode="auto">
            <a:xfrm>
              <a:off x="7256248" y="2928895"/>
              <a:ext cx="519699" cy="609685"/>
            </a:xfrm>
            <a:custGeom>
              <a:avLst/>
              <a:gdLst>
                <a:gd name="T0" fmla="*/ 4448 w 5811"/>
                <a:gd name="T1" fmla="*/ 4374 h 6827"/>
                <a:gd name="T2" fmla="*/ 4640 w 5811"/>
                <a:gd name="T3" fmla="*/ 4074 h 6827"/>
                <a:gd name="T4" fmla="*/ 5160 w 5811"/>
                <a:gd name="T5" fmla="*/ 2255 h 6827"/>
                <a:gd name="T6" fmla="*/ 2905 w 5811"/>
                <a:gd name="T7" fmla="*/ 0 h 6827"/>
                <a:gd name="T8" fmla="*/ 650 w 5811"/>
                <a:gd name="T9" fmla="*/ 2255 h 6827"/>
                <a:gd name="T10" fmla="*/ 1363 w 5811"/>
                <a:gd name="T11" fmla="*/ 4373 h 6827"/>
                <a:gd name="T12" fmla="*/ 0 w 5811"/>
                <a:gd name="T13" fmla="*/ 5506 h 6827"/>
                <a:gd name="T14" fmla="*/ 939 w 5811"/>
                <a:gd name="T15" fmla="*/ 6498 h 6827"/>
                <a:gd name="T16" fmla="*/ 2905 w 5811"/>
                <a:gd name="T17" fmla="*/ 6827 h 6827"/>
                <a:gd name="T18" fmla="*/ 4871 w 5811"/>
                <a:gd name="T19" fmla="*/ 6498 h 6827"/>
                <a:gd name="T20" fmla="*/ 5811 w 5811"/>
                <a:gd name="T21" fmla="*/ 5506 h 6827"/>
                <a:gd name="T22" fmla="*/ 4448 w 5811"/>
                <a:gd name="T23" fmla="*/ 4374 h 6827"/>
                <a:gd name="T24" fmla="*/ 2905 w 5811"/>
                <a:gd name="T25" fmla="*/ 1551 h 6827"/>
                <a:gd name="T26" fmla="*/ 3610 w 5811"/>
                <a:gd name="T27" fmla="*/ 2255 h 6827"/>
                <a:gd name="T28" fmla="*/ 2905 w 5811"/>
                <a:gd name="T29" fmla="*/ 2960 h 6827"/>
                <a:gd name="T30" fmla="*/ 2201 w 5811"/>
                <a:gd name="T31" fmla="*/ 2255 h 6827"/>
                <a:gd name="T32" fmla="*/ 2905 w 5811"/>
                <a:gd name="T33" fmla="*/ 1551 h 6827"/>
                <a:gd name="T34" fmla="*/ 4675 w 5811"/>
                <a:gd name="T35" fmla="*/ 6008 h 6827"/>
                <a:gd name="T36" fmla="*/ 2905 w 5811"/>
                <a:gd name="T37" fmla="*/ 6298 h 6827"/>
                <a:gd name="T38" fmla="*/ 1136 w 5811"/>
                <a:gd name="T39" fmla="*/ 6008 h 6827"/>
                <a:gd name="T40" fmla="*/ 528 w 5811"/>
                <a:gd name="T41" fmla="*/ 5506 h 6827"/>
                <a:gd name="T42" fmla="*/ 1719 w 5811"/>
                <a:gd name="T43" fmla="*/ 4831 h 6827"/>
                <a:gd name="T44" fmla="*/ 2761 w 5811"/>
                <a:gd name="T45" fmla="*/ 5768 h 6827"/>
                <a:gd name="T46" fmla="*/ 2905 w 5811"/>
                <a:gd name="T47" fmla="*/ 5812 h 6827"/>
                <a:gd name="T48" fmla="*/ 3050 w 5811"/>
                <a:gd name="T49" fmla="*/ 5768 h 6827"/>
                <a:gd name="T50" fmla="*/ 3666 w 5811"/>
                <a:gd name="T51" fmla="*/ 5270 h 6827"/>
                <a:gd name="T52" fmla="*/ 4092 w 5811"/>
                <a:gd name="T53" fmla="*/ 4831 h 6827"/>
                <a:gd name="T54" fmla="*/ 5283 w 5811"/>
                <a:gd name="T55" fmla="*/ 5506 h 6827"/>
                <a:gd name="T56" fmla="*/ 4675 w 5811"/>
                <a:gd name="T57" fmla="*/ 6008 h 6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811" h="6827">
                  <a:moveTo>
                    <a:pt x="4448" y="4374"/>
                  </a:moveTo>
                  <a:cubicBezTo>
                    <a:pt x="4517" y="4275"/>
                    <a:pt x="4581" y="4175"/>
                    <a:pt x="4640" y="4074"/>
                  </a:cubicBezTo>
                  <a:cubicBezTo>
                    <a:pt x="4985" y="3483"/>
                    <a:pt x="5160" y="2871"/>
                    <a:pt x="5160" y="2255"/>
                  </a:cubicBezTo>
                  <a:cubicBezTo>
                    <a:pt x="5160" y="1012"/>
                    <a:pt x="4149" y="0"/>
                    <a:pt x="2905" y="0"/>
                  </a:cubicBezTo>
                  <a:cubicBezTo>
                    <a:pt x="1662" y="0"/>
                    <a:pt x="650" y="1012"/>
                    <a:pt x="650" y="2255"/>
                  </a:cubicBezTo>
                  <a:cubicBezTo>
                    <a:pt x="650" y="2973"/>
                    <a:pt x="895" y="3696"/>
                    <a:pt x="1363" y="4373"/>
                  </a:cubicBezTo>
                  <a:cubicBezTo>
                    <a:pt x="501" y="4604"/>
                    <a:pt x="0" y="5014"/>
                    <a:pt x="0" y="5506"/>
                  </a:cubicBezTo>
                  <a:cubicBezTo>
                    <a:pt x="0" y="5903"/>
                    <a:pt x="333" y="6256"/>
                    <a:pt x="939" y="6498"/>
                  </a:cubicBezTo>
                  <a:cubicBezTo>
                    <a:pt x="1469" y="6710"/>
                    <a:pt x="2167" y="6827"/>
                    <a:pt x="2905" y="6827"/>
                  </a:cubicBezTo>
                  <a:cubicBezTo>
                    <a:pt x="3644" y="6827"/>
                    <a:pt x="4342" y="6710"/>
                    <a:pt x="4871" y="6498"/>
                  </a:cubicBezTo>
                  <a:cubicBezTo>
                    <a:pt x="5477" y="6256"/>
                    <a:pt x="5811" y="5903"/>
                    <a:pt x="5811" y="5506"/>
                  </a:cubicBezTo>
                  <a:cubicBezTo>
                    <a:pt x="5811" y="5014"/>
                    <a:pt x="5310" y="4604"/>
                    <a:pt x="4448" y="4374"/>
                  </a:cubicBezTo>
                  <a:close/>
                  <a:moveTo>
                    <a:pt x="2905" y="1551"/>
                  </a:moveTo>
                  <a:cubicBezTo>
                    <a:pt x="3294" y="1551"/>
                    <a:pt x="3610" y="1866"/>
                    <a:pt x="3610" y="2255"/>
                  </a:cubicBezTo>
                  <a:cubicBezTo>
                    <a:pt x="3610" y="2644"/>
                    <a:pt x="3294" y="2960"/>
                    <a:pt x="2905" y="2960"/>
                  </a:cubicBezTo>
                  <a:cubicBezTo>
                    <a:pt x="2516" y="2960"/>
                    <a:pt x="2201" y="2644"/>
                    <a:pt x="2201" y="2255"/>
                  </a:cubicBezTo>
                  <a:cubicBezTo>
                    <a:pt x="2201" y="1866"/>
                    <a:pt x="2516" y="1551"/>
                    <a:pt x="2905" y="1551"/>
                  </a:cubicBezTo>
                  <a:close/>
                  <a:moveTo>
                    <a:pt x="4675" y="6008"/>
                  </a:moveTo>
                  <a:cubicBezTo>
                    <a:pt x="4207" y="6195"/>
                    <a:pt x="3578" y="6298"/>
                    <a:pt x="2905" y="6298"/>
                  </a:cubicBezTo>
                  <a:cubicBezTo>
                    <a:pt x="2233" y="6298"/>
                    <a:pt x="1604" y="6195"/>
                    <a:pt x="1136" y="6008"/>
                  </a:cubicBezTo>
                  <a:cubicBezTo>
                    <a:pt x="766" y="5860"/>
                    <a:pt x="528" y="5663"/>
                    <a:pt x="528" y="5506"/>
                  </a:cubicBezTo>
                  <a:cubicBezTo>
                    <a:pt x="528" y="5295"/>
                    <a:pt x="944" y="4996"/>
                    <a:pt x="1719" y="4831"/>
                  </a:cubicBezTo>
                  <a:cubicBezTo>
                    <a:pt x="2232" y="5420"/>
                    <a:pt x="2739" y="5754"/>
                    <a:pt x="2761" y="5768"/>
                  </a:cubicBezTo>
                  <a:cubicBezTo>
                    <a:pt x="2805" y="5797"/>
                    <a:pt x="2855" y="5812"/>
                    <a:pt x="2905" y="5812"/>
                  </a:cubicBezTo>
                  <a:cubicBezTo>
                    <a:pt x="2956" y="5812"/>
                    <a:pt x="3006" y="5797"/>
                    <a:pt x="3050" y="5768"/>
                  </a:cubicBezTo>
                  <a:cubicBezTo>
                    <a:pt x="3061" y="5761"/>
                    <a:pt x="3327" y="5586"/>
                    <a:pt x="3666" y="5270"/>
                  </a:cubicBezTo>
                  <a:cubicBezTo>
                    <a:pt x="3819" y="5128"/>
                    <a:pt x="3961" y="4982"/>
                    <a:pt x="4092" y="4831"/>
                  </a:cubicBezTo>
                  <a:cubicBezTo>
                    <a:pt x="4866" y="4997"/>
                    <a:pt x="5283" y="5295"/>
                    <a:pt x="5283" y="5506"/>
                  </a:cubicBezTo>
                  <a:cubicBezTo>
                    <a:pt x="5283" y="5663"/>
                    <a:pt x="5044" y="5860"/>
                    <a:pt x="4675" y="600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/>
            </a:p>
          </p:txBody>
        </p:sp>
        <p:sp>
          <p:nvSpPr>
            <p:cNvPr id="12" name="íşľíḋè">
              <a:extLst>
                <a:ext uri="{FF2B5EF4-FFF2-40B4-BE49-F238E27FC236}">
                  <a16:creationId xmlns:a16="http://schemas.microsoft.com/office/drawing/2014/main" xmlns="" id="{72FB69FB-41C1-45E4-883B-E72B5BEF8DFA}"/>
                </a:ext>
              </a:extLst>
            </p:cNvPr>
            <p:cNvSpPr/>
            <p:nvPr/>
          </p:nvSpPr>
          <p:spPr bwMode="auto">
            <a:xfrm>
              <a:off x="10006460" y="2964989"/>
              <a:ext cx="609685" cy="537497"/>
            </a:xfrm>
            <a:custGeom>
              <a:avLst/>
              <a:gdLst>
                <a:gd name="T0" fmla="*/ 472622 w 604011"/>
                <a:gd name="T1" fmla="*/ 472622 w 604011"/>
                <a:gd name="T2" fmla="*/ 472622 w 604011"/>
                <a:gd name="T3" fmla="*/ 472622 w 604011"/>
                <a:gd name="T4" fmla="*/ 472622 w 604011"/>
                <a:gd name="T5" fmla="*/ 472622 w 604011"/>
                <a:gd name="T6" fmla="*/ 472622 w 604011"/>
                <a:gd name="T7" fmla="*/ 472622 w 604011"/>
                <a:gd name="T8" fmla="*/ 472622 w 604011"/>
                <a:gd name="T9" fmla="*/ 472622 w 604011"/>
                <a:gd name="T10" fmla="*/ 472622 w 604011"/>
                <a:gd name="T11" fmla="*/ 472622 w 604011"/>
                <a:gd name="T12" fmla="*/ 472622 w 604011"/>
                <a:gd name="T13" fmla="*/ 472622 w 604011"/>
                <a:gd name="T14" fmla="*/ 472622 w 604011"/>
                <a:gd name="T15" fmla="*/ 472622 w 604011"/>
                <a:gd name="T16" fmla="*/ 472622 w 604011"/>
                <a:gd name="T17" fmla="*/ 472622 w 604011"/>
                <a:gd name="T18" fmla="*/ 472622 w 604011"/>
                <a:gd name="T19" fmla="*/ 472622 w 604011"/>
                <a:gd name="T20" fmla="*/ 472622 w 604011"/>
                <a:gd name="T21" fmla="*/ 472622 w 604011"/>
                <a:gd name="T22" fmla="*/ 472622 w 604011"/>
                <a:gd name="T23" fmla="*/ 472622 w 604011"/>
                <a:gd name="T24" fmla="*/ 472622 w 604011"/>
                <a:gd name="T25" fmla="*/ 472622 w 604011"/>
                <a:gd name="T26" fmla="*/ 472622 w 604011"/>
                <a:gd name="T27" fmla="*/ 472622 w 604011"/>
                <a:gd name="T28" fmla="*/ 472622 w 604011"/>
                <a:gd name="T29" fmla="*/ 472622 w 604011"/>
                <a:gd name="T30" fmla="*/ 472622 w 604011"/>
                <a:gd name="T31" fmla="*/ 472622 w 604011"/>
                <a:gd name="T32" fmla="*/ 472622 w 604011"/>
                <a:gd name="T33" fmla="*/ 472622 w 604011"/>
                <a:gd name="T34" fmla="*/ 472622 w 604011"/>
                <a:gd name="T35" fmla="*/ 472622 w 604011"/>
                <a:gd name="T36" fmla="*/ 472622 w 604011"/>
                <a:gd name="T37" fmla="*/ 472622 w 604011"/>
                <a:gd name="T38" fmla="*/ 472622 w 604011"/>
                <a:gd name="T39" fmla="*/ 472622 w 604011"/>
                <a:gd name="T40" fmla="*/ 472622 w 604011"/>
                <a:gd name="T41" fmla="*/ 472622 w 604011"/>
                <a:gd name="T42" fmla="*/ 472622 w 604011"/>
                <a:gd name="T43" fmla="*/ 472622 w 604011"/>
                <a:gd name="T44" fmla="*/ 472622 w 604011"/>
                <a:gd name="T45" fmla="*/ 472622 w 604011"/>
                <a:gd name="T46" fmla="*/ 472622 w 604011"/>
                <a:gd name="T47" fmla="*/ 472622 w 604011"/>
                <a:gd name="T48" fmla="*/ 472622 w 604011"/>
                <a:gd name="T49" fmla="*/ 472622 w 604011"/>
                <a:gd name="T50" fmla="*/ 472622 w 604011"/>
                <a:gd name="T51" fmla="*/ 472622 w 604011"/>
                <a:gd name="T52" fmla="*/ 472622 w 604011"/>
                <a:gd name="T53" fmla="*/ 472622 w 604011"/>
                <a:gd name="T54" fmla="*/ 472622 w 604011"/>
                <a:gd name="T55" fmla="*/ 472622 w 604011"/>
                <a:gd name="T56" fmla="*/ 472622 w 604011"/>
                <a:gd name="T57" fmla="*/ 472622 w 604011"/>
                <a:gd name="T58" fmla="*/ 472622 w 604011"/>
                <a:gd name="T59" fmla="*/ 472622 w 604011"/>
                <a:gd name="T60" fmla="*/ 472622 w 604011"/>
                <a:gd name="T61" fmla="*/ 472622 w 604011"/>
                <a:gd name="T62" fmla="*/ 472622 w 604011"/>
                <a:gd name="T63" fmla="*/ 472622 w 604011"/>
                <a:gd name="T64" fmla="*/ 472622 w 604011"/>
                <a:gd name="T65" fmla="*/ 472622 w 604011"/>
                <a:gd name="T66" fmla="*/ 472622 w 604011"/>
                <a:gd name="T67" fmla="*/ 472622 w 604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622" h="2315">
                  <a:moveTo>
                    <a:pt x="751" y="330"/>
                  </a:moveTo>
                  <a:cubicBezTo>
                    <a:pt x="751" y="293"/>
                    <a:pt x="781" y="263"/>
                    <a:pt x="818" y="263"/>
                  </a:cubicBezTo>
                  <a:lnTo>
                    <a:pt x="1754" y="263"/>
                  </a:lnTo>
                  <a:cubicBezTo>
                    <a:pt x="1791" y="263"/>
                    <a:pt x="1821" y="293"/>
                    <a:pt x="1821" y="330"/>
                  </a:cubicBezTo>
                  <a:cubicBezTo>
                    <a:pt x="1821" y="367"/>
                    <a:pt x="1791" y="397"/>
                    <a:pt x="1754" y="397"/>
                  </a:cubicBezTo>
                  <a:lnTo>
                    <a:pt x="818" y="397"/>
                  </a:lnTo>
                  <a:cubicBezTo>
                    <a:pt x="781" y="397"/>
                    <a:pt x="751" y="367"/>
                    <a:pt x="751" y="330"/>
                  </a:cubicBezTo>
                  <a:close/>
                  <a:moveTo>
                    <a:pt x="2622" y="837"/>
                  </a:moveTo>
                  <a:lnTo>
                    <a:pt x="2622" y="2035"/>
                  </a:lnTo>
                  <a:cubicBezTo>
                    <a:pt x="2622" y="2189"/>
                    <a:pt x="2497" y="2315"/>
                    <a:pt x="2343" y="2315"/>
                  </a:cubicBezTo>
                  <a:lnTo>
                    <a:pt x="279" y="2315"/>
                  </a:lnTo>
                  <a:cubicBezTo>
                    <a:pt x="125" y="2315"/>
                    <a:pt x="0" y="2189"/>
                    <a:pt x="0" y="2035"/>
                  </a:cubicBezTo>
                  <a:lnTo>
                    <a:pt x="0" y="837"/>
                  </a:lnTo>
                  <a:cubicBezTo>
                    <a:pt x="0" y="683"/>
                    <a:pt x="125" y="558"/>
                    <a:pt x="279" y="558"/>
                  </a:cubicBezTo>
                  <a:lnTo>
                    <a:pt x="486" y="558"/>
                  </a:lnTo>
                  <a:lnTo>
                    <a:pt x="486" y="183"/>
                  </a:lnTo>
                  <a:cubicBezTo>
                    <a:pt x="486" y="82"/>
                    <a:pt x="569" y="0"/>
                    <a:pt x="670" y="0"/>
                  </a:cubicBezTo>
                  <a:lnTo>
                    <a:pt x="1927" y="0"/>
                  </a:lnTo>
                  <a:cubicBezTo>
                    <a:pt x="2028" y="0"/>
                    <a:pt x="2111" y="82"/>
                    <a:pt x="2111" y="183"/>
                  </a:cubicBezTo>
                  <a:lnTo>
                    <a:pt x="2111" y="558"/>
                  </a:lnTo>
                  <a:lnTo>
                    <a:pt x="2343" y="558"/>
                  </a:lnTo>
                  <a:cubicBezTo>
                    <a:pt x="2497" y="558"/>
                    <a:pt x="2622" y="683"/>
                    <a:pt x="2622" y="837"/>
                  </a:cubicBezTo>
                  <a:close/>
                  <a:moveTo>
                    <a:pt x="2420" y="1997"/>
                  </a:moveTo>
                  <a:lnTo>
                    <a:pt x="1583" y="1452"/>
                  </a:lnTo>
                  <a:lnTo>
                    <a:pt x="2422" y="861"/>
                  </a:lnTo>
                  <a:cubicBezTo>
                    <a:pt x="2452" y="839"/>
                    <a:pt x="2459" y="798"/>
                    <a:pt x="2438" y="768"/>
                  </a:cubicBezTo>
                  <a:cubicBezTo>
                    <a:pt x="2417" y="738"/>
                    <a:pt x="2375" y="730"/>
                    <a:pt x="2345" y="752"/>
                  </a:cubicBezTo>
                  <a:lnTo>
                    <a:pt x="1978" y="1011"/>
                  </a:lnTo>
                  <a:lnTo>
                    <a:pt x="1978" y="778"/>
                  </a:lnTo>
                  <a:lnTo>
                    <a:pt x="1978" y="764"/>
                  </a:lnTo>
                  <a:lnTo>
                    <a:pt x="1978" y="183"/>
                  </a:lnTo>
                  <a:cubicBezTo>
                    <a:pt x="1978" y="156"/>
                    <a:pt x="1955" y="133"/>
                    <a:pt x="1927" y="133"/>
                  </a:cubicBezTo>
                  <a:lnTo>
                    <a:pt x="670" y="133"/>
                  </a:lnTo>
                  <a:cubicBezTo>
                    <a:pt x="642" y="133"/>
                    <a:pt x="620" y="156"/>
                    <a:pt x="620" y="183"/>
                  </a:cubicBezTo>
                  <a:lnTo>
                    <a:pt x="620" y="755"/>
                  </a:lnTo>
                  <a:lnTo>
                    <a:pt x="620" y="755"/>
                  </a:lnTo>
                  <a:lnTo>
                    <a:pt x="620" y="995"/>
                  </a:lnTo>
                  <a:lnTo>
                    <a:pt x="279" y="756"/>
                  </a:lnTo>
                  <a:cubicBezTo>
                    <a:pt x="249" y="735"/>
                    <a:pt x="208" y="742"/>
                    <a:pt x="186" y="773"/>
                  </a:cubicBezTo>
                  <a:cubicBezTo>
                    <a:pt x="165" y="803"/>
                    <a:pt x="173" y="844"/>
                    <a:pt x="203" y="865"/>
                  </a:cubicBezTo>
                  <a:lnTo>
                    <a:pt x="1046" y="1458"/>
                  </a:lnTo>
                  <a:lnTo>
                    <a:pt x="205" y="2005"/>
                  </a:lnTo>
                  <a:cubicBezTo>
                    <a:pt x="174" y="2025"/>
                    <a:pt x="165" y="2066"/>
                    <a:pt x="185" y="2097"/>
                  </a:cubicBezTo>
                  <a:cubicBezTo>
                    <a:pt x="198" y="2117"/>
                    <a:pt x="219" y="2127"/>
                    <a:pt x="241" y="2127"/>
                  </a:cubicBezTo>
                  <a:cubicBezTo>
                    <a:pt x="254" y="2127"/>
                    <a:pt x="266" y="2124"/>
                    <a:pt x="277" y="2117"/>
                  </a:cubicBezTo>
                  <a:lnTo>
                    <a:pt x="1161" y="1542"/>
                  </a:lnTo>
                  <a:cubicBezTo>
                    <a:pt x="1162" y="1541"/>
                    <a:pt x="1162" y="1540"/>
                    <a:pt x="1163" y="1540"/>
                  </a:cubicBezTo>
                  <a:lnTo>
                    <a:pt x="1201" y="1566"/>
                  </a:lnTo>
                  <a:cubicBezTo>
                    <a:pt x="1234" y="1589"/>
                    <a:pt x="1272" y="1601"/>
                    <a:pt x="1311" y="1601"/>
                  </a:cubicBezTo>
                  <a:cubicBezTo>
                    <a:pt x="1350" y="1601"/>
                    <a:pt x="1389" y="1589"/>
                    <a:pt x="1422" y="1566"/>
                  </a:cubicBezTo>
                  <a:lnTo>
                    <a:pt x="1466" y="1535"/>
                  </a:lnTo>
                  <a:lnTo>
                    <a:pt x="2347" y="2108"/>
                  </a:lnTo>
                  <a:cubicBezTo>
                    <a:pt x="2359" y="2116"/>
                    <a:pt x="2371" y="2119"/>
                    <a:pt x="2384" y="2119"/>
                  </a:cubicBezTo>
                  <a:cubicBezTo>
                    <a:pt x="2405" y="2119"/>
                    <a:pt x="2427" y="2109"/>
                    <a:pt x="2440" y="2089"/>
                  </a:cubicBezTo>
                  <a:cubicBezTo>
                    <a:pt x="2460" y="2058"/>
                    <a:pt x="2451" y="2017"/>
                    <a:pt x="2420" y="1997"/>
                  </a:cubicBezTo>
                  <a:close/>
                  <a:moveTo>
                    <a:pt x="818" y="695"/>
                  </a:moveTo>
                  <a:lnTo>
                    <a:pt x="1754" y="695"/>
                  </a:lnTo>
                  <a:cubicBezTo>
                    <a:pt x="1791" y="695"/>
                    <a:pt x="1821" y="665"/>
                    <a:pt x="1821" y="628"/>
                  </a:cubicBezTo>
                  <a:cubicBezTo>
                    <a:pt x="1821" y="591"/>
                    <a:pt x="1791" y="561"/>
                    <a:pt x="1754" y="561"/>
                  </a:cubicBezTo>
                  <a:lnTo>
                    <a:pt x="818" y="561"/>
                  </a:lnTo>
                  <a:cubicBezTo>
                    <a:pt x="781" y="561"/>
                    <a:pt x="751" y="591"/>
                    <a:pt x="751" y="628"/>
                  </a:cubicBezTo>
                  <a:cubicBezTo>
                    <a:pt x="751" y="665"/>
                    <a:pt x="781" y="695"/>
                    <a:pt x="818" y="695"/>
                  </a:cubicBezTo>
                  <a:close/>
                  <a:moveTo>
                    <a:pt x="818" y="993"/>
                  </a:moveTo>
                  <a:lnTo>
                    <a:pt x="1754" y="993"/>
                  </a:lnTo>
                  <a:cubicBezTo>
                    <a:pt x="1791" y="993"/>
                    <a:pt x="1821" y="963"/>
                    <a:pt x="1821" y="926"/>
                  </a:cubicBezTo>
                  <a:cubicBezTo>
                    <a:pt x="1821" y="889"/>
                    <a:pt x="1791" y="859"/>
                    <a:pt x="1754" y="859"/>
                  </a:cubicBezTo>
                  <a:lnTo>
                    <a:pt x="818" y="859"/>
                  </a:lnTo>
                  <a:cubicBezTo>
                    <a:pt x="781" y="859"/>
                    <a:pt x="751" y="889"/>
                    <a:pt x="751" y="926"/>
                  </a:cubicBezTo>
                  <a:cubicBezTo>
                    <a:pt x="751" y="963"/>
                    <a:pt x="781" y="993"/>
                    <a:pt x="818" y="993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îṥḷiḓè">
              <a:extLst>
                <a:ext uri="{FF2B5EF4-FFF2-40B4-BE49-F238E27FC236}">
                  <a16:creationId xmlns:a16="http://schemas.microsoft.com/office/drawing/2014/main" xmlns="" id="{FDC279DD-924D-457D-BF76-B5198F0A39B9}"/>
                </a:ext>
              </a:extLst>
            </p:cNvPr>
            <p:cNvSpPr/>
            <p:nvPr/>
          </p:nvSpPr>
          <p:spPr bwMode="auto">
            <a:xfrm>
              <a:off x="673100" y="4407392"/>
              <a:ext cx="2415193" cy="904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4" name="ïs1îḍé">
              <a:extLst>
                <a:ext uri="{FF2B5EF4-FFF2-40B4-BE49-F238E27FC236}">
                  <a16:creationId xmlns:a16="http://schemas.microsoft.com/office/drawing/2014/main" xmlns="" id="{BC69BE64-8214-4D8A-AA87-E5CFEC275ABA}"/>
                </a:ext>
              </a:extLst>
            </p:cNvPr>
            <p:cNvSpPr txBox="1"/>
            <p:nvPr/>
          </p:nvSpPr>
          <p:spPr bwMode="auto">
            <a:xfrm>
              <a:off x="673100" y="3965586"/>
              <a:ext cx="2415193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  <p:sp>
          <p:nvSpPr>
            <p:cNvPr id="15" name="iṧḷîḋe">
              <a:extLst>
                <a:ext uri="{FF2B5EF4-FFF2-40B4-BE49-F238E27FC236}">
                  <a16:creationId xmlns:a16="http://schemas.microsoft.com/office/drawing/2014/main" xmlns="" id="{062585D3-6317-4908-B23A-1953C674A45F}"/>
                </a:ext>
              </a:extLst>
            </p:cNvPr>
            <p:cNvSpPr/>
            <p:nvPr/>
          </p:nvSpPr>
          <p:spPr bwMode="auto">
            <a:xfrm>
              <a:off x="3483302" y="4407392"/>
              <a:ext cx="2415193" cy="904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6" name="ïsľíḓè">
              <a:extLst>
                <a:ext uri="{FF2B5EF4-FFF2-40B4-BE49-F238E27FC236}">
                  <a16:creationId xmlns:a16="http://schemas.microsoft.com/office/drawing/2014/main" xmlns="" id="{EB9EAFE5-D05A-489F-8AB5-73422039C5B9}"/>
                </a:ext>
              </a:extLst>
            </p:cNvPr>
            <p:cNvSpPr txBox="1"/>
            <p:nvPr/>
          </p:nvSpPr>
          <p:spPr bwMode="auto">
            <a:xfrm>
              <a:off x="3483302" y="3965586"/>
              <a:ext cx="2415193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  <p:sp>
          <p:nvSpPr>
            <p:cNvPr id="17" name="iṣļidè">
              <a:extLst>
                <a:ext uri="{FF2B5EF4-FFF2-40B4-BE49-F238E27FC236}">
                  <a16:creationId xmlns:a16="http://schemas.microsoft.com/office/drawing/2014/main" xmlns="" id="{E1ED8931-A6B2-4490-BCBC-5E8A97632464}"/>
                </a:ext>
              </a:extLst>
            </p:cNvPr>
            <p:cNvSpPr/>
            <p:nvPr/>
          </p:nvSpPr>
          <p:spPr bwMode="auto">
            <a:xfrm>
              <a:off x="6293504" y="4407392"/>
              <a:ext cx="2415193" cy="904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8" name="îsḷîḓè">
              <a:extLst>
                <a:ext uri="{FF2B5EF4-FFF2-40B4-BE49-F238E27FC236}">
                  <a16:creationId xmlns:a16="http://schemas.microsoft.com/office/drawing/2014/main" xmlns="" id="{BD3A1B5F-CAD5-4E0E-9ED3-878B82045867}"/>
                </a:ext>
              </a:extLst>
            </p:cNvPr>
            <p:cNvSpPr txBox="1"/>
            <p:nvPr/>
          </p:nvSpPr>
          <p:spPr bwMode="auto">
            <a:xfrm>
              <a:off x="6293504" y="3965586"/>
              <a:ext cx="2415193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  <p:sp>
          <p:nvSpPr>
            <p:cNvPr id="19" name="ïṧḷîḍè">
              <a:extLst>
                <a:ext uri="{FF2B5EF4-FFF2-40B4-BE49-F238E27FC236}">
                  <a16:creationId xmlns:a16="http://schemas.microsoft.com/office/drawing/2014/main" xmlns="" id="{DCA19426-8991-4323-8115-889D338485DC}"/>
                </a:ext>
              </a:extLst>
            </p:cNvPr>
            <p:cNvSpPr/>
            <p:nvPr/>
          </p:nvSpPr>
          <p:spPr bwMode="auto">
            <a:xfrm>
              <a:off x="9103706" y="4407392"/>
              <a:ext cx="2415193" cy="904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20" name="iŝľïdê">
              <a:extLst>
                <a:ext uri="{FF2B5EF4-FFF2-40B4-BE49-F238E27FC236}">
                  <a16:creationId xmlns:a16="http://schemas.microsoft.com/office/drawing/2014/main" xmlns="" id="{960614D0-4DE7-41E2-BFE6-1068BE8A8E46}"/>
                </a:ext>
              </a:extLst>
            </p:cNvPr>
            <p:cNvSpPr txBox="1"/>
            <p:nvPr/>
          </p:nvSpPr>
          <p:spPr bwMode="auto">
            <a:xfrm>
              <a:off x="9103706" y="3965586"/>
              <a:ext cx="2415193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  <p:sp>
          <p:nvSpPr>
            <p:cNvPr id="21" name="ïŝḷíḍe">
              <a:extLst>
                <a:ext uri="{FF2B5EF4-FFF2-40B4-BE49-F238E27FC236}">
                  <a16:creationId xmlns:a16="http://schemas.microsoft.com/office/drawing/2014/main" xmlns="" id="{7A3D1778-E9C5-44B4-8B1A-8BAD87ED5B10}"/>
                </a:ext>
              </a:extLst>
            </p:cNvPr>
            <p:cNvSpPr/>
            <p:nvPr/>
          </p:nvSpPr>
          <p:spPr bwMode="auto">
            <a:xfrm>
              <a:off x="673100" y="5239235"/>
              <a:ext cx="2415193" cy="904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22" name="ïSḷíďe">
              <a:extLst>
                <a:ext uri="{FF2B5EF4-FFF2-40B4-BE49-F238E27FC236}">
                  <a16:creationId xmlns:a16="http://schemas.microsoft.com/office/drawing/2014/main" xmlns="" id="{D35CF912-E103-4B71-A119-6F9EA38F41F9}"/>
                </a:ext>
              </a:extLst>
            </p:cNvPr>
            <p:cNvSpPr/>
            <p:nvPr/>
          </p:nvSpPr>
          <p:spPr bwMode="auto">
            <a:xfrm>
              <a:off x="6293504" y="5239235"/>
              <a:ext cx="2415193" cy="904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26439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D095D709-AE61-43EF-8014-A0B91CF740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207D1C05-F1E5-476E-872F-233E3C84A8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FC0CB4AC-8958-45D0-B2DE-5ECB770D2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grpSp>
        <p:nvGrpSpPr>
          <p:cNvPr id="5" name="20892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F32D1503-CC62-4C45-B3DE-A16E0F54D5A5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2138743"/>
            <a:ext cx="10858500" cy="3082292"/>
            <a:chOff x="660400" y="2138743"/>
            <a:chExt cx="10858500" cy="3082292"/>
          </a:xfrm>
        </p:grpSpPr>
        <p:sp>
          <p:nvSpPr>
            <p:cNvPr id="6" name="íṣḷîďé">
              <a:extLst>
                <a:ext uri="{FF2B5EF4-FFF2-40B4-BE49-F238E27FC236}">
                  <a16:creationId xmlns:a16="http://schemas.microsoft.com/office/drawing/2014/main" xmlns="" id="{7EC6CC1A-CA94-4990-B4DB-9585A950FDAC}"/>
                </a:ext>
              </a:extLst>
            </p:cNvPr>
            <p:cNvSpPr/>
            <p:nvPr/>
          </p:nvSpPr>
          <p:spPr>
            <a:xfrm>
              <a:off x="4994836" y="2546444"/>
              <a:ext cx="2189629" cy="109542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7" name="îśľïďè">
              <a:extLst>
                <a:ext uri="{FF2B5EF4-FFF2-40B4-BE49-F238E27FC236}">
                  <a16:creationId xmlns:a16="http://schemas.microsoft.com/office/drawing/2014/main" xmlns="" id="{98B36E28-88F5-4576-B11E-186779A14AC7}"/>
                </a:ext>
              </a:extLst>
            </p:cNvPr>
            <p:cNvSpPr/>
            <p:nvPr/>
          </p:nvSpPr>
          <p:spPr>
            <a:xfrm rot="10800000">
              <a:off x="4994836" y="3724227"/>
              <a:ext cx="2189629" cy="1095423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8" name="îṥḻíḓè">
              <a:extLst>
                <a:ext uri="{FF2B5EF4-FFF2-40B4-BE49-F238E27FC236}">
                  <a16:creationId xmlns:a16="http://schemas.microsoft.com/office/drawing/2014/main" xmlns="" id="{FA992FDE-7E90-4F8D-8DEA-5ED11F3DDEB3}"/>
                </a:ext>
              </a:extLst>
            </p:cNvPr>
            <p:cNvSpPr/>
            <p:nvPr/>
          </p:nvSpPr>
          <p:spPr>
            <a:xfrm rot="10800000">
              <a:off x="3784105" y="2546444"/>
              <a:ext cx="2189629" cy="1095423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" name="ïṣļïḓè">
              <a:extLst>
                <a:ext uri="{FF2B5EF4-FFF2-40B4-BE49-F238E27FC236}">
                  <a16:creationId xmlns:a16="http://schemas.microsoft.com/office/drawing/2014/main" xmlns="" id="{00FD2541-DB9B-4BC9-912B-56EED7B67182}"/>
                </a:ext>
              </a:extLst>
            </p:cNvPr>
            <p:cNvSpPr/>
            <p:nvPr/>
          </p:nvSpPr>
          <p:spPr>
            <a:xfrm>
              <a:off x="6205566" y="3724227"/>
              <a:ext cx="2189629" cy="1095423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0" name="ïŝliḓé">
              <a:extLst>
                <a:ext uri="{FF2B5EF4-FFF2-40B4-BE49-F238E27FC236}">
                  <a16:creationId xmlns:a16="http://schemas.microsoft.com/office/drawing/2014/main" xmlns="" id="{8B3C3C7B-4392-45FD-8D5E-FBCAC84A52D2}"/>
                </a:ext>
              </a:extLst>
            </p:cNvPr>
            <p:cNvSpPr/>
            <p:nvPr/>
          </p:nvSpPr>
          <p:spPr bwMode="auto">
            <a:xfrm>
              <a:off x="7130555" y="4215566"/>
              <a:ext cx="339653" cy="339017"/>
            </a:xfrm>
            <a:custGeom>
              <a:avLst/>
              <a:gdLst>
                <a:gd name="connsiteX0" fmla="*/ 290910 w 605702"/>
                <a:gd name="connsiteY0" fmla="*/ 156336 h 604568"/>
                <a:gd name="connsiteX1" fmla="*/ 335849 w 605702"/>
                <a:gd name="connsiteY1" fmla="*/ 164992 h 604568"/>
                <a:gd name="connsiteX2" fmla="*/ 288310 w 605702"/>
                <a:gd name="connsiteY2" fmla="*/ 212456 h 604568"/>
                <a:gd name="connsiteX3" fmla="*/ 203632 w 605702"/>
                <a:gd name="connsiteY3" fmla="*/ 244717 h 604568"/>
                <a:gd name="connsiteX4" fmla="*/ 203632 w 605702"/>
                <a:gd name="connsiteY4" fmla="*/ 401388 h 604568"/>
                <a:gd name="connsiteX5" fmla="*/ 360547 w 605702"/>
                <a:gd name="connsiteY5" fmla="*/ 401388 h 604568"/>
                <a:gd name="connsiteX6" fmla="*/ 392859 w 605702"/>
                <a:gd name="connsiteY6" fmla="*/ 316749 h 604568"/>
                <a:gd name="connsiteX7" fmla="*/ 440397 w 605702"/>
                <a:gd name="connsiteY7" fmla="*/ 269284 h 604568"/>
                <a:gd name="connsiteX8" fmla="*/ 400287 w 605702"/>
                <a:gd name="connsiteY8" fmla="*/ 441065 h 604568"/>
                <a:gd name="connsiteX9" fmla="*/ 163892 w 605702"/>
                <a:gd name="connsiteY9" fmla="*/ 441065 h 604568"/>
                <a:gd name="connsiteX10" fmla="*/ 163892 w 605702"/>
                <a:gd name="connsiteY10" fmla="*/ 205040 h 604568"/>
                <a:gd name="connsiteX11" fmla="*/ 290910 w 605702"/>
                <a:gd name="connsiteY11" fmla="*/ 156336 h 604568"/>
                <a:gd name="connsiteX12" fmla="*/ 246542 w 605702"/>
                <a:gd name="connsiteY12" fmla="*/ 43775 h 604568"/>
                <a:gd name="connsiteX13" fmla="*/ 422196 w 605702"/>
                <a:gd name="connsiteY13" fmla="*/ 78723 h 604568"/>
                <a:gd name="connsiteX14" fmla="*/ 376794 w 605702"/>
                <a:gd name="connsiteY14" fmla="*/ 124054 h 604568"/>
                <a:gd name="connsiteX15" fmla="*/ 126109 w 605702"/>
                <a:gd name="connsiteY15" fmla="*/ 167345 h 604568"/>
                <a:gd name="connsiteX16" fmla="*/ 126109 w 605702"/>
                <a:gd name="connsiteY16" fmla="*/ 478820 h 604568"/>
                <a:gd name="connsiteX17" fmla="*/ 438073 w 605702"/>
                <a:gd name="connsiteY17" fmla="*/ 478820 h 604568"/>
                <a:gd name="connsiteX18" fmla="*/ 481432 w 605702"/>
                <a:gd name="connsiteY18" fmla="*/ 228527 h 604568"/>
                <a:gd name="connsiteX19" fmla="*/ 526741 w 605702"/>
                <a:gd name="connsiteY19" fmla="*/ 183011 h 604568"/>
                <a:gd name="connsiteX20" fmla="*/ 481432 w 605702"/>
                <a:gd name="connsiteY20" fmla="*/ 522111 h 604568"/>
                <a:gd name="connsiteX21" fmla="*/ 82657 w 605702"/>
                <a:gd name="connsiteY21" fmla="*/ 522111 h 604568"/>
                <a:gd name="connsiteX22" fmla="*/ 82657 w 605702"/>
                <a:gd name="connsiteY22" fmla="*/ 123961 h 604568"/>
                <a:gd name="connsiteX23" fmla="*/ 246542 w 605702"/>
                <a:gd name="connsiteY23" fmla="*/ 43775 h 604568"/>
                <a:gd name="connsiteX24" fmla="*/ 536061 w 605702"/>
                <a:gd name="connsiteY24" fmla="*/ 0 h 604568"/>
                <a:gd name="connsiteX25" fmla="*/ 544232 w 605702"/>
                <a:gd name="connsiteY25" fmla="*/ 61368 h 604568"/>
                <a:gd name="connsiteX26" fmla="*/ 605702 w 605702"/>
                <a:gd name="connsiteY26" fmla="*/ 69526 h 604568"/>
                <a:gd name="connsiteX27" fmla="*/ 524361 w 605702"/>
                <a:gd name="connsiteY27" fmla="*/ 150732 h 604568"/>
                <a:gd name="connsiteX28" fmla="*/ 498361 w 605702"/>
                <a:gd name="connsiteY28" fmla="*/ 147302 h 604568"/>
                <a:gd name="connsiteX29" fmla="*/ 337721 w 605702"/>
                <a:gd name="connsiteY29" fmla="*/ 307767 h 604568"/>
                <a:gd name="connsiteX30" fmla="*/ 339764 w 605702"/>
                <a:gd name="connsiteY30" fmla="*/ 323063 h 604568"/>
                <a:gd name="connsiteX31" fmla="*/ 282101 w 605702"/>
                <a:gd name="connsiteY31" fmla="*/ 380630 h 604568"/>
                <a:gd name="connsiteX32" fmla="*/ 224437 w 605702"/>
                <a:gd name="connsiteY32" fmla="*/ 323063 h 604568"/>
                <a:gd name="connsiteX33" fmla="*/ 282101 w 605702"/>
                <a:gd name="connsiteY33" fmla="*/ 265495 h 604568"/>
                <a:gd name="connsiteX34" fmla="*/ 297422 w 605702"/>
                <a:gd name="connsiteY34" fmla="*/ 267535 h 604568"/>
                <a:gd name="connsiteX35" fmla="*/ 458155 w 605702"/>
                <a:gd name="connsiteY35" fmla="*/ 107162 h 604568"/>
                <a:gd name="connsiteX36" fmla="*/ 454719 w 605702"/>
                <a:gd name="connsiteY36" fmla="*/ 81206 h 60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5702" h="604568">
                  <a:moveTo>
                    <a:pt x="290910" y="156336"/>
                  </a:moveTo>
                  <a:cubicBezTo>
                    <a:pt x="306137" y="157147"/>
                    <a:pt x="321272" y="160032"/>
                    <a:pt x="335849" y="164992"/>
                  </a:cubicBezTo>
                  <a:lnTo>
                    <a:pt x="288310" y="212456"/>
                  </a:lnTo>
                  <a:cubicBezTo>
                    <a:pt x="257856" y="210695"/>
                    <a:pt x="226844" y="221449"/>
                    <a:pt x="203632" y="244717"/>
                  </a:cubicBezTo>
                  <a:cubicBezTo>
                    <a:pt x="160271" y="287918"/>
                    <a:pt x="160271" y="358187"/>
                    <a:pt x="203632" y="401388"/>
                  </a:cubicBezTo>
                  <a:cubicBezTo>
                    <a:pt x="246900" y="444680"/>
                    <a:pt x="317279" y="444680"/>
                    <a:pt x="360547" y="401388"/>
                  </a:cubicBezTo>
                  <a:cubicBezTo>
                    <a:pt x="383852" y="378211"/>
                    <a:pt x="394623" y="347156"/>
                    <a:pt x="392859" y="316749"/>
                  </a:cubicBezTo>
                  <a:lnTo>
                    <a:pt x="440397" y="269284"/>
                  </a:lnTo>
                  <a:cubicBezTo>
                    <a:pt x="460267" y="327595"/>
                    <a:pt x="446897" y="394620"/>
                    <a:pt x="400287" y="441065"/>
                  </a:cubicBezTo>
                  <a:cubicBezTo>
                    <a:pt x="335106" y="506236"/>
                    <a:pt x="229073" y="506236"/>
                    <a:pt x="163892" y="441065"/>
                  </a:cubicBezTo>
                  <a:cubicBezTo>
                    <a:pt x="98619" y="375987"/>
                    <a:pt x="98619" y="270118"/>
                    <a:pt x="163892" y="205040"/>
                  </a:cubicBezTo>
                  <a:cubicBezTo>
                    <a:pt x="198711" y="170137"/>
                    <a:pt x="245228" y="153902"/>
                    <a:pt x="290910" y="156336"/>
                  </a:cubicBezTo>
                  <a:close/>
                  <a:moveTo>
                    <a:pt x="246542" y="43775"/>
                  </a:moveTo>
                  <a:cubicBezTo>
                    <a:pt x="306463" y="36243"/>
                    <a:pt x="368345" y="47900"/>
                    <a:pt x="422196" y="78723"/>
                  </a:cubicBezTo>
                  <a:lnTo>
                    <a:pt x="376794" y="124054"/>
                  </a:lnTo>
                  <a:cubicBezTo>
                    <a:pt x="294811" y="85305"/>
                    <a:pt x="193980" y="99581"/>
                    <a:pt x="126109" y="167345"/>
                  </a:cubicBezTo>
                  <a:cubicBezTo>
                    <a:pt x="39948" y="253371"/>
                    <a:pt x="39948" y="392793"/>
                    <a:pt x="126109" y="478820"/>
                  </a:cubicBezTo>
                  <a:cubicBezTo>
                    <a:pt x="212271" y="564846"/>
                    <a:pt x="351912" y="564846"/>
                    <a:pt x="438073" y="478820"/>
                  </a:cubicBezTo>
                  <a:cubicBezTo>
                    <a:pt x="505944" y="411055"/>
                    <a:pt x="520428" y="310382"/>
                    <a:pt x="481432" y="228527"/>
                  </a:cubicBezTo>
                  <a:lnTo>
                    <a:pt x="526741" y="183011"/>
                  </a:lnTo>
                  <a:cubicBezTo>
                    <a:pt x="588484" y="290544"/>
                    <a:pt x="573350" y="430244"/>
                    <a:pt x="481432" y="522111"/>
                  </a:cubicBezTo>
                  <a:cubicBezTo>
                    <a:pt x="371316" y="632054"/>
                    <a:pt x="192866" y="632054"/>
                    <a:pt x="82657" y="522111"/>
                  </a:cubicBezTo>
                  <a:cubicBezTo>
                    <a:pt x="-27552" y="412168"/>
                    <a:pt x="-27552" y="233997"/>
                    <a:pt x="82657" y="123961"/>
                  </a:cubicBezTo>
                  <a:cubicBezTo>
                    <a:pt x="128662" y="78028"/>
                    <a:pt x="186622" y="51307"/>
                    <a:pt x="246542" y="43775"/>
                  </a:cubicBezTo>
                  <a:close/>
                  <a:moveTo>
                    <a:pt x="536061" y="0"/>
                  </a:moveTo>
                  <a:lnTo>
                    <a:pt x="544232" y="61368"/>
                  </a:lnTo>
                  <a:lnTo>
                    <a:pt x="605702" y="69526"/>
                  </a:lnTo>
                  <a:lnTo>
                    <a:pt x="524361" y="150732"/>
                  </a:lnTo>
                  <a:lnTo>
                    <a:pt x="498361" y="147302"/>
                  </a:lnTo>
                  <a:lnTo>
                    <a:pt x="337721" y="307767"/>
                  </a:lnTo>
                  <a:cubicBezTo>
                    <a:pt x="339021" y="312588"/>
                    <a:pt x="339764" y="317779"/>
                    <a:pt x="339764" y="323063"/>
                  </a:cubicBezTo>
                  <a:cubicBezTo>
                    <a:pt x="339764" y="354859"/>
                    <a:pt x="313950" y="380630"/>
                    <a:pt x="282101" y="380630"/>
                  </a:cubicBezTo>
                  <a:cubicBezTo>
                    <a:pt x="250251" y="380630"/>
                    <a:pt x="224437" y="354859"/>
                    <a:pt x="224437" y="323063"/>
                  </a:cubicBezTo>
                  <a:cubicBezTo>
                    <a:pt x="224437" y="291266"/>
                    <a:pt x="250251" y="265495"/>
                    <a:pt x="282101" y="265495"/>
                  </a:cubicBezTo>
                  <a:cubicBezTo>
                    <a:pt x="287393" y="265495"/>
                    <a:pt x="292500" y="266237"/>
                    <a:pt x="297422" y="267535"/>
                  </a:cubicBezTo>
                  <a:lnTo>
                    <a:pt x="458155" y="107162"/>
                  </a:lnTo>
                  <a:lnTo>
                    <a:pt x="454719" y="8120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 fontScale="70000" lnSpcReduction="20000"/>
            </a:bodyPr>
            <a:lstStyle/>
            <a:p>
              <a:pPr algn="ctr"/>
              <a:endParaRPr lang="zh-CN" altLang="en-US" sz="2800">
                <a:solidFill>
                  <a:schemeClr val="bg1"/>
                </a:solidFill>
              </a:endParaRPr>
            </a:p>
          </p:txBody>
        </p:sp>
        <p:sp>
          <p:nvSpPr>
            <p:cNvPr id="11" name="îṥ1ïdê">
              <a:extLst>
                <a:ext uri="{FF2B5EF4-FFF2-40B4-BE49-F238E27FC236}">
                  <a16:creationId xmlns:a16="http://schemas.microsoft.com/office/drawing/2014/main" xmlns="" id="{724F03F4-BADD-4E49-A991-9F5122E720BD}"/>
                </a:ext>
              </a:extLst>
            </p:cNvPr>
            <p:cNvSpPr/>
            <p:nvPr/>
          </p:nvSpPr>
          <p:spPr bwMode="auto">
            <a:xfrm>
              <a:off x="5919823" y="3006530"/>
              <a:ext cx="339653" cy="326651"/>
            </a:xfrm>
            <a:custGeom>
              <a:avLst/>
              <a:gdLst>
                <a:gd name="connsiteX0" fmla="*/ 61288 w 609549"/>
                <a:gd name="connsiteY0" fmla="*/ 383285 h 586216"/>
                <a:gd name="connsiteX1" fmla="*/ 71162 w 609549"/>
                <a:gd name="connsiteY1" fmla="*/ 387101 h 586216"/>
                <a:gd name="connsiteX2" fmla="*/ 120018 w 609549"/>
                <a:gd name="connsiteY2" fmla="*/ 435892 h 586216"/>
                <a:gd name="connsiteX3" fmla="*/ 120018 w 609549"/>
                <a:gd name="connsiteY3" fmla="*/ 454200 h 586216"/>
                <a:gd name="connsiteX4" fmla="*/ 56639 w 609549"/>
                <a:gd name="connsiteY4" fmla="*/ 517543 h 586216"/>
                <a:gd name="connsiteX5" fmla="*/ 35592 w 609549"/>
                <a:gd name="connsiteY5" fmla="*/ 513644 h 586216"/>
                <a:gd name="connsiteX6" fmla="*/ 51877 w 609549"/>
                <a:gd name="connsiteY6" fmla="*/ 388099 h 586216"/>
                <a:gd name="connsiteX7" fmla="*/ 61288 w 609549"/>
                <a:gd name="connsiteY7" fmla="*/ 383285 h 586216"/>
                <a:gd name="connsiteX8" fmla="*/ 235245 w 609549"/>
                <a:gd name="connsiteY8" fmla="*/ 302810 h 586216"/>
                <a:gd name="connsiteX9" fmla="*/ 306042 w 609549"/>
                <a:gd name="connsiteY9" fmla="*/ 373466 h 586216"/>
                <a:gd name="connsiteX10" fmla="*/ 258717 w 609549"/>
                <a:gd name="connsiteY10" fmla="*/ 420680 h 586216"/>
                <a:gd name="connsiteX11" fmla="*/ 230246 w 609549"/>
                <a:gd name="connsiteY11" fmla="*/ 550152 h 586216"/>
                <a:gd name="connsiteX12" fmla="*/ 92223 w 609549"/>
                <a:gd name="connsiteY12" fmla="*/ 575305 h 586216"/>
                <a:gd name="connsiteX13" fmla="*/ 88748 w 609549"/>
                <a:gd name="connsiteY13" fmla="*/ 556143 h 586216"/>
                <a:gd name="connsiteX14" fmla="*/ 165115 w 609549"/>
                <a:gd name="connsiteY14" fmla="*/ 479877 h 586216"/>
                <a:gd name="connsiteX15" fmla="*/ 165115 w 609549"/>
                <a:gd name="connsiteY15" fmla="*/ 446308 h 586216"/>
                <a:gd name="connsiteX16" fmla="*/ 88700 w 609549"/>
                <a:gd name="connsiteY16" fmla="*/ 369995 h 586216"/>
                <a:gd name="connsiteX17" fmla="*/ 92128 w 609549"/>
                <a:gd name="connsiteY17" fmla="*/ 350976 h 586216"/>
                <a:gd name="connsiteX18" fmla="*/ 189111 w 609549"/>
                <a:gd name="connsiteY18" fmla="*/ 348884 h 586216"/>
                <a:gd name="connsiteX19" fmla="*/ 257958 w 609549"/>
                <a:gd name="connsiteY19" fmla="*/ 161679 h 586216"/>
                <a:gd name="connsiteX20" fmla="*/ 317251 w 609549"/>
                <a:gd name="connsiteY20" fmla="*/ 220879 h 586216"/>
                <a:gd name="connsiteX21" fmla="*/ 388070 w 609549"/>
                <a:gd name="connsiteY21" fmla="*/ 291586 h 586216"/>
                <a:gd name="connsiteX22" fmla="*/ 604906 w 609549"/>
                <a:gd name="connsiteY22" fmla="*/ 508130 h 586216"/>
                <a:gd name="connsiteX23" fmla="*/ 604906 w 609549"/>
                <a:gd name="connsiteY23" fmla="*/ 530526 h 586216"/>
                <a:gd name="connsiteX24" fmla="*/ 556567 w 609549"/>
                <a:gd name="connsiteY24" fmla="*/ 578789 h 586216"/>
                <a:gd name="connsiteX25" fmla="*/ 545327 w 609549"/>
                <a:gd name="connsiteY25" fmla="*/ 583449 h 586216"/>
                <a:gd name="connsiteX26" fmla="*/ 534135 w 609549"/>
                <a:gd name="connsiteY26" fmla="*/ 578789 h 586216"/>
                <a:gd name="connsiteX27" fmla="*/ 317251 w 609549"/>
                <a:gd name="connsiteY27" fmla="*/ 362293 h 586216"/>
                <a:gd name="connsiteX28" fmla="*/ 246481 w 609549"/>
                <a:gd name="connsiteY28" fmla="*/ 291586 h 586216"/>
                <a:gd name="connsiteX29" fmla="*/ 187140 w 609549"/>
                <a:gd name="connsiteY29" fmla="*/ 232339 h 586216"/>
                <a:gd name="connsiteX30" fmla="*/ 58606 w 609549"/>
                <a:gd name="connsiteY30" fmla="*/ 160814 h 586216"/>
                <a:gd name="connsiteX31" fmla="*/ 126401 w 609549"/>
                <a:gd name="connsiteY31" fmla="*/ 228498 h 586216"/>
                <a:gd name="connsiteX32" fmla="*/ 111975 w 609549"/>
                <a:gd name="connsiteY32" fmla="*/ 242899 h 586216"/>
                <a:gd name="connsiteX33" fmla="*/ 119307 w 609549"/>
                <a:gd name="connsiteY33" fmla="*/ 250219 h 586216"/>
                <a:gd name="connsiteX34" fmla="*/ 119307 w 609549"/>
                <a:gd name="connsiteY34" fmla="*/ 277692 h 586216"/>
                <a:gd name="connsiteX35" fmla="*/ 115641 w 609549"/>
                <a:gd name="connsiteY35" fmla="*/ 281352 h 586216"/>
                <a:gd name="connsiteX36" fmla="*/ 88123 w 609549"/>
                <a:gd name="connsiteY36" fmla="*/ 281352 h 586216"/>
                <a:gd name="connsiteX37" fmla="*/ 5712 w 609549"/>
                <a:gd name="connsiteY37" fmla="*/ 199029 h 586216"/>
                <a:gd name="connsiteX38" fmla="*/ 5712 w 609549"/>
                <a:gd name="connsiteY38" fmla="*/ 171604 h 586216"/>
                <a:gd name="connsiteX39" fmla="*/ 9378 w 609549"/>
                <a:gd name="connsiteY39" fmla="*/ 167944 h 586216"/>
                <a:gd name="connsiteX40" fmla="*/ 36849 w 609549"/>
                <a:gd name="connsiteY40" fmla="*/ 167944 h 586216"/>
                <a:gd name="connsiteX41" fmla="*/ 44180 w 609549"/>
                <a:gd name="connsiteY41" fmla="*/ 175264 h 586216"/>
                <a:gd name="connsiteX42" fmla="*/ 585775 w 609549"/>
                <a:gd name="connsiteY42" fmla="*/ 66370 h 586216"/>
                <a:gd name="connsiteX43" fmla="*/ 595263 w 609549"/>
                <a:gd name="connsiteY43" fmla="*/ 73839 h 586216"/>
                <a:gd name="connsiteX44" fmla="*/ 578978 w 609549"/>
                <a:gd name="connsiteY44" fmla="*/ 199341 h 586216"/>
                <a:gd name="connsiteX45" fmla="*/ 559693 w 609549"/>
                <a:gd name="connsiteY45" fmla="*/ 200387 h 586216"/>
                <a:gd name="connsiteX46" fmla="*/ 510789 w 609549"/>
                <a:gd name="connsiteY46" fmla="*/ 151612 h 586216"/>
                <a:gd name="connsiteX47" fmla="*/ 510789 w 609549"/>
                <a:gd name="connsiteY47" fmla="*/ 133262 h 586216"/>
                <a:gd name="connsiteX48" fmla="*/ 574216 w 609549"/>
                <a:gd name="connsiteY48" fmla="*/ 69988 h 586216"/>
                <a:gd name="connsiteX49" fmla="*/ 585775 w 609549"/>
                <a:gd name="connsiteY49" fmla="*/ 66370 h 586216"/>
                <a:gd name="connsiteX50" fmla="*/ 158702 w 609549"/>
                <a:gd name="connsiteY50" fmla="*/ 26758 h 586216"/>
                <a:gd name="connsiteX51" fmla="*/ 172463 w 609549"/>
                <a:gd name="connsiteY51" fmla="*/ 32464 h 586216"/>
                <a:gd name="connsiteX52" fmla="*/ 179701 w 609549"/>
                <a:gd name="connsiteY52" fmla="*/ 39691 h 586216"/>
                <a:gd name="connsiteX53" fmla="*/ 246935 w 609549"/>
                <a:gd name="connsiteY53" fmla="*/ 106831 h 586216"/>
                <a:gd name="connsiteX54" fmla="*/ 254886 w 609549"/>
                <a:gd name="connsiteY54" fmla="*/ 114819 h 586216"/>
                <a:gd name="connsiteX55" fmla="*/ 257600 w 609549"/>
                <a:gd name="connsiteY55" fmla="*/ 138879 h 586216"/>
                <a:gd name="connsiteX56" fmla="*/ 254886 w 609549"/>
                <a:gd name="connsiteY56" fmla="*/ 142255 h 586216"/>
                <a:gd name="connsiteX57" fmla="*/ 252315 w 609549"/>
                <a:gd name="connsiteY57" fmla="*/ 144823 h 586216"/>
                <a:gd name="connsiteX58" fmla="*/ 246696 w 609549"/>
                <a:gd name="connsiteY58" fmla="*/ 150434 h 586216"/>
                <a:gd name="connsiteX59" fmla="*/ 175892 w 609549"/>
                <a:gd name="connsiteY59" fmla="*/ 221140 h 586216"/>
                <a:gd name="connsiteX60" fmla="*/ 172463 w 609549"/>
                <a:gd name="connsiteY60" fmla="*/ 224611 h 586216"/>
                <a:gd name="connsiteX61" fmla="*/ 170130 w 609549"/>
                <a:gd name="connsiteY61" fmla="*/ 226560 h 586216"/>
                <a:gd name="connsiteX62" fmla="*/ 162274 w 609549"/>
                <a:gd name="connsiteY62" fmla="*/ 229936 h 586216"/>
                <a:gd name="connsiteX63" fmla="*/ 158702 w 609549"/>
                <a:gd name="connsiteY63" fmla="*/ 230269 h 586216"/>
                <a:gd name="connsiteX64" fmla="*/ 144942 w 609549"/>
                <a:gd name="connsiteY64" fmla="*/ 224611 h 586216"/>
                <a:gd name="connsiteX65" fmla="*/ 137609 w 609549"/>
                <a:gd name="connsiteY65" fmla="*/ 217288 h 586216"/>
                <a:gd name="connsiteX66" fmla="*/ 69804 w 609549"/>
                <a:gd name="connsiteY66" fmla="*/ 149578 h 586216"/>
                <a:gd name="connsiteX67" fmla="*/ 62519 w 609549"/>
                <a:gd name="connsiteY67" fmla="*/ 142255 h 586216"/>
                <a:gd name="connsiteX68" fmla="*/ 62519 w 609549"/>
                <a:gd name="connsiteY68" fmla="*/ 114819 h 586216"/>
                <a:gd name="connsiteX69" fmla="*/ 144942 w 609549"/>
                <a:gd name="connsiteY69" fmla="*/ 32464 h 586216"/>
                <a:gd name="connsiteX70" fmla="*/ 158702 w 609549"/>
                <a:gd name="connsiteY70" fmla="*/ 26758 h 586216"/>
                <a:gd name="connsiteX71" fmla="*/ 254809 w 609549"/>
                <a:gd name="connsiteY71" fmla="*/ 6542 h 586216"/>
                <a:gd name="connsiteX72" fmla="*/ 321015 w 609549"/>
                <a:gd name="connsiteY72" fmla="*/ 29913 h 586216"/>
                <a:gd name="connsiteX73" fmla="*/ 260017 w 609549"/>
                <a:gd name="connsiteY73" fmla="*/ 97465 h 586216"/>
                <a:gd name="connsiteX74" fmla="*/ 193067 w 609549"/>
                <a:gd name="connsiteY74" fmla="*/ 30626 h 586216"/>
                <a:gd name="connsiteX75" fmla="*/ 254809 w 609549"/>
                <a:gd name="connsiteY75" fmla="*/ 6542 h 586216"/>
                <a:gd name="connsiteX76" fmla="*/ 503105 w 609549"/>
                <a:gd name="connsiteY76" fmla="*/ 953 h 586216"/>
                <a:gd name="connsiteX77" fmla="*/ 538560 w 609549"/>
                <a:gd name="connsiteY77" fmla="*/ 10911 h 586216"/>
                <a:gd name="connsiteX78" fmla="*/ 542083 w 609549"/>
                <a:gd name="connsiteY78" fmla="*/ 30073 h 586216"/>
                <a:gd name="connsiteX79" fmla="*/ 465709 w 609549"/>
                <a:gd name="connsiteY79" fmla="*/ 106341 h 586216"/>
                <a:gd name="connsiteX80" fmla="*/ 465709 w 609549"/>
                <a:gd name="connsiteY80" fmla="*/ 139911 h 586216"/>
                <a:gd name="connsiteX81" fmla="*/ 542131 w 609549"/>
                <a:gd name="connsiteY81" fmla="*/ 216227 h 586216"/>
                <a:gd name="connsiteX82" fmla="*/ 538655 w 609549"/>
                <a:gd name="connsiteY82" fmla="*/ 235246 h 586216"/>
                <a:gd name="connsiteX83" fmla="*/ 442187 w 609549"/>
                <a:gd name="connsiteY83" fmla="*/ 237528 h 586216"/>
                <a:gd name="connsiteX84" fmla="*/ 399238 w 609549"/>
                <a:gd name="connsiteY84" fmla="*/ 280370 h 586216"/>
                <a:gd name="connsiteX85" fmla="*/ 328482 w 609549"/>
                <a:gd name="connsiteY85" fmla="*/ 209712 h 586216"/>
                <a:gd name="connsiteX86" fmla="*/ 372240 w 609549"/>
                <a:gd name="connsiteY86" fmla="*/ 166015 h 586216"/>
                <a:gd name="connsiteX87" fmla="*/ 400571 w 609549"/>
                <a:gd name="connsiteY87" fmla="*/ 36064 h 586216"/>
                <a:gd name="connsiteX88" fmla="*/ 503105 w 609549"/>
                <a:gd name="connsiteY88" fmla="*/ 953 h 58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609549" h="586216">
                  <a:moveTo>
                    <a:pt x="61288" y="383285"/>
                  </a:moveTo>
                  <a:cubicBezTo>
                    <a:pt x="64829" y="383106"/>
                    <a:pt x="68448" y="384367"/>
                    <a:pt x="71162" y="387101"/>
                  </a:cubicBezTo>
                  <a:lnTo>
                    <a:pt x="120018" y="435892"/>
                  </a:lnTo>
                  <a:cubicBezTo>
                    <a:pt x="125113" y="440933"/>
                    <a:pt x="125113" y="449160"/>
                    <a:pt x="120018" y="454200"/>
                  </a:cubicBezTo>
                  <a:lnTo>
                    <a:pt x="56639" y="517543"/>
                  </a:lnTo>
                  <a:cubicBezTo>
                    <a:pt x="50211" y="523963"/>
                    <a:pt x="39211" y="522013"/>
                    <a:pt x="35592" y="513644"/>
                  </a:cubicBezTo>
                  <a:cubicBezTo>
                    <a:pt x="17783" y="472794"/>
                    <a:pt x="23211" y="424288"/>
                    <a:pt x="51877" y="388099"/>
                  </a:cubicBezTo>
                  <a:cubicBezTo>
                    <a:pt x="54282" y="385079"/>
                    <a:pt x="57746" y="383463"/>
                    <a:pt x="61288" y="383285"/>
                  </a:cubicBezTo>
                  <a:close/>
                  <a:moveTo>
                    <a:pt x="235245" y="302810"/>
                  </a:moveTo>
                  <a:lnTo>
                    <a:pt x="306042" y="373466"/>
                  </a:lnTo>
                  <a:lnTo>
                    <a:pt x="258717" y="420680"/>
                  </a:lnTo>
                  <a:cubicBezTo>
                    <a:pt x="274667" y="464329"/>
                    <a:pt x="265192" y="515300"/>
                    <a:pt x="230246" y="550152"/>
                  </a:cubicBezTo>
                  <a:cubicBezTo>
                    <a:pt x="192919" y="587430"/>
                    <a:pt x="137644" y="595798"/>
                    <a:pt x="92223" y="575305"/>
                  </a:cubicBezTo>
                  <a:cubicBezTo>
                    <a:pt x="84701" y="571882"/>
                    <a:pt x="82892" y="561992"/>
                    <a:pt x="88748" y="556143"/>
                  </a:cubicBezTo>
                  <a:lnTo>
                    <a:pt x="165115" y="479877"/>
                  </a:lnTo>
                  <a:cubicBezTo>
                    <a:pt x="174399" y="470605"/>
                    <a:pt x="174399" y="455580"/>
                    <a:pt x="165115" y="446308"/>
                  </a:cubicBezTo>
                  <a:lnTo>
                    <a:pt x="88700" y="369995"/>
                  </a:lnTo>
                  <a:cubicBezTo>
                    <a:pt x="82844" y="364194"/>
                    <a:pt x="84653" y="354399"/>
                    <a:pt x="92128" y="350976"/>
                  </a:cubicBezTo>
                  <a:cubicBezTo>
                    <a:pt x="122789" y="337092"/>
                    <a:pt x="157973" y="336379"/>
                    <a:pt x="189111" y="348884"/>
                  </a:cubicBezTo>
                  <a:close/>
                  <a:moveTo>
                    <a:pt x="257958" y="161679"/>
                  </a:moveTo>
                  <a:lnTo>
                    <a:pt x="317251" y="220879"/>
                  </a:lnTo>
                  <a:lnTo>
                    <a:pt x="388070" y="291586"/>
                  </a:lnTo>
                  <a:lnTo>
                    <a:pt x="604906" y="508130"/>
                  </a:lnTo>
                  <a:cubicBezTo>
                    <a:pt x="611097" y="514311"/>
                    <a:pt x="611097" y="524344"/>
                    <a:pt x="604906" y="530526"/>
                  </a:cubicBezTo>
                  <a:lnTo>
                    <a:pt x="556567" y="578789"/>
                  </a:lnTo>
                  <a:cubicBezTo>
                    <a:pt x="553471" y="581880"/>
                    <a:pt x="549423" y="583449"/>
                    <a:pt x="545327" y="583449"/>
                  </a:cubicBezTo>
                  <a:cubicBezTo>
                    <a:pt x="541279" y="583449"/>
                    <a:pt x="537231" y="581880"/>
                    <a:pt x="534135" y="578789"/>
                  </a:cubicBezTo>
                  <a:lnTo>
                    <a:pt x="317251" y="362293"/>
                  </a:lnTo>
                  <a:lnTo>
                    <a:pt x="246481" y="291586"/>
                  </a:lnTo>
                  <a:lnTo>
                    <a:pt x="187140" y="232339"/>
                  </a:lnTo>
                  <a:close/>
                  <a:moveTo>
                    <a:pt x="58606" y="160814"/>
                  </a:moveTo>
                  <a:lnTo>
                    <a:pt x="126401" y="228498"/>
                  </a:lnTo>
                  <a:lnTo>
                    <a:pt x="111975" y="242899"/>
                  </a:lnTo>
                  <a:lnTo>
                    <a:pt x="119307" y="250219"/>
                  </a:lnTo>
                  <a:cubicBezTo>
                    <a:pt x="126877" y="257824"/>
                    <a:pt x="126877" y="270087"/>
                    <a:pt x="119307" y="277692"/>
                  </a:cubicBezTo>
                  <a:lnTo>
                    <a:pt x="115641" y="281352"/>
                  </a:lnTo>
                  <a:cubicBezTo>
                    <a:pt x="108024" y="288909"/>
                    <a:pt x="95741" y="288909"/>
                    <a:pt x="88123" y="281352"/>
                  </a:cubicBezTo>
                  <a:lnTo>
                    <a:pt x="5712" y="199029"/>
                  </a:lnTo>
                  <a:cubicBezTo>
                    <a:pt x="-1905" y="191424"/>
                    <a:pt x="-1905" y="179161"/>
                    <a:pt x="5712" y="171604"/>
                  </a:cubicBezTo>
                  <a:lnTo>
                    <a:pt x="9378" y="167944"/>
                  </a:lnTo>
                  <a:cubicBezTo>
                    <a:pt x="16948" y="160339"/>
                    <a:pt x="29231" y="160339"/>
                    <a:pt x="36849" y="167944"/>
                  </a:cubicBezTo>
                  <a:lnTo>
                    <a:pt x="44180" y="175264"/>
                  </a:lnTo>
                  <a:close/>
                  <a:moveTo>
                    <a:pt x="585775" y="66370"/>
                  </a:moveTo>
                  <a:cubicBezTo>
                    <a:pt x="589775" y="67101"/>
                    <a:pt x="593430" y="69680"/>
                    <a:pt x="595263" y="73839"/>
                  </a:cubicBezTo>
                  <a:cubicBezTo>
                    <a:pt x="613072" y="114675"/>
                    <a:pt x="607644" y="163212"/>
                    <a:pt x="578978" y="199341"/>
                  </a:cubicBezTo>
                  <a:cubicBezTo>
                    <a:pt x="574168" y="205379"/>
                    <a:pt x="565121" y="205854"/>
                    <a:pt x="559693" y="200387"/>
                  </a:cubicBezTo>
                  <a:lnTo>
                    <a:pt x="510789" y="151612"/>
                  </a:lnTo>
                  <a:cubicBezTo>
                    <a:pt x="505742" y="146526"/>
                    <a:pt x="505742" y="138349"/>
                    <a:pt x="510789" y="133262"/>
                  </a:cubicBezTo>
                  <a:lnTo>
                    <a:pt x="574216" y="69988"/>
                  </a:lnTo>
                  <a:cubicBezTo>
                    <a:pt x="577430" y="66756"/>
                    <a:pt x="581775" y="65639"/>
                    <a:pt x="585775" y="66370"/>
                  </a:cubicBezTo>
                  <a:close/>
                  <a:moveTo>
                    <a:pt x="158702" y="26758"/>
                  </a:moveTo>
                  <a:cubicBezTo>
                    <a:pt x="163655" y="26758"/>
                    <a:pt x="168654" y="28660"/>
                    <a:pt x="172463" y="32464"/>
                  </a:cubicBezTo>
                  <a:lnTo>
                    <a:pt x="179701" y="39691"/>
                  </a:lnTo>
                  <a:lnTo>
                    <a:pt x="246935" y="106831"/>
                  </a:lnTo>
                  <a:lnTo>
                    <a:pt x="254886" y="114819"/>
                  </a:lnTo>
                  <a:cubicBezTo>
                    <a:pt x="261457" y="121334"/>
                    <a:pt x="262362" y="131414"/>
                    <a:pt x="257600" y="138879"/>
                  </a:cubicBezTo>
                  <a:cubicBezTo>
                    <a:pt x="256839" y="140068"/>
                    <a:pt x="255934" y="141209"/>
                    <a:pt x="254886" y="142255"/>
                  </a:cubicBezTo>
                  <a:lnTo>
                    <a:pt x="252315" y="144823"/>
                  </a:lnTo>
                  <a:lnTo>
                    <a:pt x="246696" y="150434"/>
                  </a:lnTo>
                  <a:lnTo>
                    <a:pt x="175892" y="221140"/>
                  </a:lnTo>
                  <a:lnTo>
                    <a:pt x="172463" y="224611"/>
                  </a:lnTo>
                  <a:cubicBezTo>
                    <a:pt x="171702" y="225324"/>
                    <a:pt x="170940" y="225990"/>
                    <a:pt x="170130" y="226560"/>
                  </a:cubicBezTo>
                  <a:cubicBezTo>
                    <a:pt x="167749" y="228319"/>
                    <a:pt x="165083" y="229413"/>
                    <a:pt x="162274" y="229936"/>
                  </a:cubicBezTo>
                  <a:cubicBezTo>
                    <a:pt x="161083" y="230174"/>
                    <a:pt x="159893" y="230269"/>
                    <a:pt x="158702" y="230269"/>
                  </a:cubicBezTo>
                  <a:cubicBezTo>
                    <a:pt x="153703" y="230269"/>
                    <a:pt x="148751" y="228367"/>
                    <a:pt x="144942" y="224611"/>
                  </a:cubicBezTo>
                  <a:lnTo>
                    <a:pt x="137609" y="217288"/>
                  </a:lnTo>
                  <a:lnTo>
                    <a:pt x="69804" y="149578"/>
                  </a:lnTo>
                  <a:lnTo>
                    <a:pt x="62519" y="142255"/>
                  </a:lnTo>
                  <a:cubicBezTo>
                    <a:pt x="54900" y="134647"/>
                    <a:pt x="54900" y="122380"/>
                    <a:pt x="62519" y="114819"/>
                  </a:cubicBezTo>
                  <a:lnTo>
                    <a:pt x="144942" y="32464"/>
                  </a:lnTo>
                  <a:cubicBezTo>
                    <a:pt x="148751" y="28660"/>
                    <a:pt x="153750" y="26758"/>
                    <a:pt x="158702" y="26758"/>
                  </a:cubicBezTo>
                  <a:close/>
                  <a:moveTo>
                    <a:pt x="254809" y="6542"/>
                  </a:moveTo>
                  <a:cubicBezTo>
                    <a:pt x="277279" y="4029"/>
                    <a:pt x="300492" y="9424"/>
                    <a:pt x="321015" y="29913"/>
                  </a:cubicBezTo>
                  <a:cubicBezTo>
                    <a:pt x="380347" y="89193"/>
                    <a:pt x="337205" y="46124"/>
                    <a:pt x="260017" y="97465"/>
                  </a:cubicBezTo>
                  <a:lnTo>
                    <a:pt x="193067" y="30626"/>
                  </a:lnTo>
                  <a:cubicBezTo>
                    <a:pt x="210614" y="19479"/>
                    <a:pt x="232340" y="9056"/>
                    <a:pt x="254809" y="6542"/>
                  </a:cubicBezTo>
                  <a:close/>
                  <a:moveTo>
                    <a:pt x="503105" y="953"/>
                  </a:moveTo>
                  <a:cubicBezTo>
                    <a:pt x="515252" y="2468"/>
                    <a:pt x="527216" y="5788"/>
                    <a:pt x="538560" y="10911"/>
                  </a:cubicBezTo>
                  <a:cubicBezTo>
                    <a:pt x="546131" y="14334"/>
                    <a:pt x="547940" y="24224"/>
                    <a:pt x="542083" y="30073"/>
                  </a:cubicBezTo>
                  <a:lnTo>
                    <a:pt x="465709" y="106341"/>
                  </a:lnTo>
                  <a:cubicBezTo>
                    <a:pt x="456424" y="115613"/>
                    <a:pt x="456424" y="130639"/>
                    <a:pt x="465709" y="139911"/>
                  </a:cubicBezTo>
                  <a:lnTo>
                    <a:pt x="542131" y="216227"/>
                  </a:lnTo>
                  <a:cubicBezTo>
                    <a:pt x="547940" y="222028"/>
                    <a:pt x="546178" y="231823"/>
                    <a:pt x="538655" y="235246"/>
                  </a:cubicBezTo>
                  <a:cubicBezTo>
                    <a:pt x="508181" y="249035"/>
                    <a:pt x="473184" y="249844"/>
                    <a:pt x="442187" y="237528"/>
                  </a:cubicBezTo>
                  <a:lnTo>
                    <a:pt x="399238" y="280370"/>
                  </a:lnTo>
                  <a:lnTo>
                    <a:pt x="328482" y="209712"/>
                  </a:lnTo>
                  <a:lnTo>
                    <a:pt x="372240" y="166015"/>
                  </a:lnTo>
                  <a:cubicBezTo>
                    <a:pt x="356051" y="122270"/>
                    <a:pt x="365527" y="71060"/>
                    <a:pt x="400571" y="36064"/>
                  </a:cubicBezTo>
                  <a:cubicBezTo>
                    <a:pt x="428569" y="8106"/>
                    <a:pt x="466664" y="-3592"/>
                    <a:pt x="503105" y="95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12" name="íṥḷïḑe">
              <a:extLst>
                <a:ext uri="{FF2B5EF4-FFF2-40B4-BE49-F238E27FC236}">
                  <a16:creationId xmlns:a16="http://schemas.microsoft.com/office/drawing/2014/main" xmlns="" id="{15A54DC7-1CA4-46B9-8CD6-5A3B8A564D54}"/>
                </a:ext>
              </a:extLst>
            </p:cNvPr>
            <p:cNvSpPr/>
            <p:nvPr/>
          </p:nvSpPr>
          <p:spPr bwMode="auto">
            <a:xfrm>
              <a:off x="4688725" y="2844825"/>
              <a:ext cx="380390" cy="307891"/>
            </a:xfrm>
            <a:custGeom>
              <a:avLst/>
              <a:gdLst>
                <a:gd name="connsiteX0" fmla="*/ 355420 w 607568"/>
                <a:gd name="connsiteY0" fmla="*/ 250307 h 491771"/>
                <a:gd name="connsiteX1" fmla="*/ 352312 w 607568"/>
                <a:gd name="connsiteY1" fmla="*/ 251812 h 491771"/>
                <a:gd name="connsiteX2" fmla="*/ 321042 w 607568"/>
                <a:gd name="connsiteY2" fmla="*/ 289814 h 491771"/>
                <a:gd name="connsiteX3" fmla="*/ 321513 w 607568"/>
                <a:gd name="connsiteY3" fmla="*/ 295364 h 491771"/>
                <a:gd name="connsiteX4" fmla="*/ 369736 w 607568"/>
                <a:gd name="connsiteY4" fmla="*/ 338257 h 491771"/>
                <a:gd name="connsiteX5" fmla="*/ 371997 w 607568"/>
                <a:gd name="connsiteY5" fmla="*/ 339104 h 491771"/>
                <a:gd name="connsiteX6" fmla="*/ 373127 w 607568"/>
                <a:gd name="connsiteY6" fmla="*/ 338916 h 491771"/>
                <a:gd name="connsiteX7" fmla="*/ 375293 w 607568"/>
                <a:gd name="connsiteY7" fmla="*/ 336282 h 491771"/>
                <a:gd name="connsiteX8" fmla="*/ 383676 w 607568"/>
                <a:gd name="connsiteY8" fmla="*/ 279467 h 491771"/>
                <a:gd name="connsiteX9" fmla="*/ 376424 w 607568"/>
                <a:gd name="connsiteY9" fmla="*/ 263287 h 491771"/>
                <a:gd name="connsiteX10" fmla="*/ 357681 w 607568"/>
                <a:gd name="connsiteY10" fmla="*/ 250965 h 491771"/>
                <a:gd name="connsiteX11" fmla="*/ 355420 w 607568"/>
                <a:gd name="connsiteY11" fmla="*/ 250307 h 491771"/>
                <a:gd name="connsiteX12" fmla="*/ 258879 w 607568"/>
                <a:gd name="connsiteY12" fmla="*/ 250307 h 491771"/>
                <a:gd name="connsiteX13" fmla="*/ 256712 w 607568"/>
                <a:gd name="connsiteY13" fmla="*/ 250965 h 491771"/>
                <a:gd name="connsiteX14" fmla="*/ 237969 w 607568"/>
                <a:gd name="connsiteY14" fmla="*/ 263287 h 491771"/>
                <a:gd name="connsiteX15" fmla="*/ 230717 w 607568"/>
                <a:gd name="connsiteY15" fmla="*/ 279467 h 491771"/>
                <a:gd name="connsiteX16" fmla="*/ 239100 w 607568"/>
                <a:gd name="connsiteY16" fmla="*/ 336282 h 491771"/>
                <a:gd name="connsiteX17" fmla="*/ 241266 w 607568"/>
                <a:gd name="connsiteY17" fmla="*/ 338916 h 491771"/>
                <a:gd name="connsiteX18" fmla="*/ 242396 w 607568"/>
                <a:gd name="connsiteY18" fmla="*/ 339104 h 491771"/>
                <a:gd name="connsiteX19" fmla="*/ 244657 w 607568"/>
                <a:gd name="connsiteY19" fmla="*/ 338257 h 491771"/>
                <a:gd name="connsiteX20" fmla="*/ 292880 w 607568"/>
                <a:gd name="connsiteY20" fmla="*/ 295364 h 491771"/>
                <a:gd name="connsiteX21" fmla="*/ 293351 w 607568"/>
                <a:gd name="connsiteY21" fmla="*/ 289814 h 491771"/>
                <a:gd name="connsiteX22" fmla="*/ 261987 w 607568"/>
                <a:gd name="connsiteY22" fmla="*/ 251812 h 491771"/>
                <a:gd name="connsiteX23" fmla="*/ 258879 w 607568"/>
                <a:gd name="connsiteY23" fmla="*/ 250307 h 491771"/>
                <a:gd name="connsiteX24" fmla="*/ 500465 w 607568"/>
                <a:gd name="connsiteY24" fmla="*/ 66049 h 491771"/>
                <a:gd name="connsiteX25" fmla="*/ 565743 w 607568"/>
                <a:gd name="connsiteY25" fmla="*/ 130673 h 491771"/>
                <a:gd name="connsiteX26" fmla="*/ 566120 w 607568"/>
                <a:gd name="connsiteY26" fmla="*/ 130673 h 491771"/>
                <a:gd name="connsiteX27" fmla="*/ 580250 w 607568"/>
                <a:gd name="connsiteY27" fmla="*/ 160962 h 491771"/>
                <a:gd name="connsiteX28" fmla="*/ 560939 w 607568"/>
                <a:gd name="connsiteY28" fmla="*/ 182503 h 491771"/>
                <a:gd name="connsiteX29" fmla="*/ 531927 w 607568"/>
                <a:gd name="connsiteY29" fmla="*/ 223799 h 491771"/>
                <a:gd name="connsiteX30" fmla="*/ 528253 w 607568"/>
                <a:gd name="connsiteY30" fmla="*/ 234240 h 491771"/>
                <a:gd name="connsiteX31" fmla="*/ 530797 w 607568"/>
                <a:gd name="connsiteY31" fmla="*/ 246281 h 491771"/>
                <a:gd name="connsiteX32" fmla="*/ 545868 w 607568"/>
                <a:gd name="connsiteY32" fmla="*/ 261143 h 491771"/>
                <a:gd name="connsiteX33" fmla="*/ 558961 w 607568"/>
                <a:gd name="connsiteY33" fmla="*/ 263777 h 491771"/>
                <a:gd name="connsiteX34" fmla="*/ 597299 w 607568"/>
                <a:gd name="connsiteY34" fmla="*/ 301968 h 491771"/>
                <a:gd name="connsiteX35" fmla="*/ 607002 w 607568"/>
                <a:gd name="connsiteY35" fmla="*/ 350788 h 491771"/>
                <a:gd name="connsiteX36" fmla="*/ 601256 w 607568"/>
                <a:gd name="connsiteY36" fmla="*/ 373835 h 491771"/>
                <a:gd name="connsiteX37" fmla="*/ 579685 w 607568"/>
                <a:gd name="connsiteY37" fmla="*/ 384088 h 491771"/>
                <a:gd name="connsiteX38" fmla="*/ 490386 w 607568"/>
                <a:gd name="connsiteY38" fmla="*/ 384088 h 491771"/>
                <a:gd name="connsiteX39" fmla="*/ 467685 w 607568"/>
                <a:gd name="connsiteY39" fmla="*/ 310058 h 491771"/>
                <a:gd name="connsiteX40" fmla="*/ 431702 w 607568"/>
                <a:gd name="connsiteY40" fmla="*/ 267445 h 491771"/>
                <a:gd name="connsiteX41" fmla="*/ 441969 w 607568"/>
                <a:gd name="connsiteY41" fmla="*/ 263777 h 491771"/>
                <a:gd name="connsiteX42" fmla="*/ 455157 w 607568"/>
                <a:gd name="connsiteY42" fmla="*/ 261237 h 491771"/>
                <a:gd name="connsiteX43" fmla="*/ 470228 w 607568"/>
                <a:gd name="connsiteY43" fmla="*/ 246281 h 491771"/>
                <a:gd name="connsiteX44" fmla="*/ 472677 w 607568"/>
                <a:gd name="connsiteY44" fmla="*/ 234240 h 491771"/>
                <a:gd name="connsiteX45" fmla="*/ 469098 w 607568"/>
                <a:gd name="connsiteY45" fmla="*/ 223893 h 491771"/>
                <a:gd name="connsiteX46" fmla="*/ 439991 w 607568"/>
                <a:gd name="connsiteY46" fmla="*/ 182503 h 491771"/>
                <a:gd name="connsiteX47" fmla="*/ 426144 w 607568"/>
                <a:gd name="connsiteY47" fmla="*/ 172720 h 491771"/>
                <a:gd name="connsiteX48" fmla="*/ 441404 w 607568"/>
                <a:gd name="connsiteY48" fmla="*/ 143278 h 491771"/>
                <a:gd name="connsiteX49" fmla="*/ 439708 w 607568"/>
                <a:gd name="connsiteY49" fmla="*/ 107438 h 491771"/>
                <a:gd name="connsiteX50" fmla="*/ 500465 w 607568"/>
                <a:gd name="connsiteY50" fmla="*/ 66049 h 491771"/>
                <a:gd name="connsiteX51" fmla="*/ 107100 w 607568"/>
                <a:gd name="connsiteY51" fmla="*/ 66049 h 491771"/>
                <a:gd name="connsiteX52" fmla="*/ 171341 w 607568"/>
                <a:gd name="connsiteY52" fmla="*/ 123618 h 491771"/>
                <a:gd name="connsiteX53" fmla="*/ 172849 w 607568"/>
                <a:gd name="connsiteY53" fmla="*/ 143278 h 491771"/>
                <a:gd name="connsiteX54" fmla="*/ 184246 w 607568"/>
                <a:gd name="connsiteY54" fmla="*/ 168205 h 491771"/>
                <a:gd name="connsiteX55" fmla="*/ 167574 w 607568"/>
                <a:gd name="connsiteY55" fmla="*/ 182503 h 491771"/>
                <a:gd name="connsiteX56" fmla="*/ 138468 w 607568"/>
                <a:gd name="connsiteY56" fmla="*/ 223799 h 491771"/>
                <a:gd name="connsiteX57" fmla="*/ 134794 w 607568"/>
                <a:gd name="connsiteY57" fmla="*/ 234240 h 491771"/>
                <a:gd name="connsiteX58" fmla="*/ 137337 w 607568"/>
                <a:gd name="connsiteY58" fmla="*/ 246281 h 491771"/>
                <a:gd name="connsiteX59" fmla="*/ 152408 w 607568"/>
                <a:gd name="connsiteY59" fmla="*/ 261143 h 491771"/>
                <a:gd name="connsiteX60" fmla="*/ 165596 w 607568"/>
                <a:gd name="connsiteY60" fmla="*/ 263777 h 491771"/>
                <a:gd name="connsiteX61" fmla="*/ 179442 w 607568"/>
                <a:gd name="connsiteY61" fmla="*/ 268856 h 491771"/>
                <a:gd name="connsiteX62" fmla="*/ 146662 w 607568"/>
                <a:gd name="connsiteY62" fmla="*/ 310058 h 491771"/>
                <a:gd name="connsiteX63" fmla="*/ 123867 w 607568"/>
                <a:gd name="connsiteY63" fmla="*/ 384088 h 491771"/>
                <a:gd name="connsiteX64" fmla="*/ 27883 w 607568"/>
                <a:gd name="connsiteY64" fmla="*/ 384088 h 491771"/>
                <a:gd name="connsiteX65" fmla="*/ 6312 w 607568"/>
                <a:gd name="connsiteY65" fmla="*/ 373835 h 491771"/>
                <a:gd name="connsiteX66" fmla="*/ 566 w 607568"/>
                <a:gd name="connsiteY66" fmla="*/ 350788 h 491771"/>
                <a:gd name="connsiteX67" fmla="*/ 10268 w 607568"/>
                <a:gd name="connsiteY67" fmla="*/ 301968 h 491771"/>
                <a:gd name="connsiteX68" fmla="*/ 48606 w 607568"/>
                <a:gd name="connsiteY68" fmla="*/ 263777 h 491771"/>
                <a:gd name="connsiteX69" fmla="*/ 61699 w 607568"/>
                <a:gd name="connsiteY69" fmla="*/ 261237 h 491771"/>
                <a:gd name="connsiteX70" fmla="*/ 76770 w 607568"/>
                <a:gd name="connsiteY70" fmla="*/ 246281 h 491771"/>
                <a:gd name="connsiteX71" fmla="*/ 79313 w 607568"/>
                <a:gd name="connsiteY71" fmla="*/ 234240 h 491771"/>
                <a:gd name="connsiteX72" fmla="*/ 75639 w 607568"/>
                <a:gd name="connsiteY72" fmla="*/ 223893 h 491771"/>
                <a:gd name="connsiteX73" fmla="*/ 46628 w 607568"/>
                <a:gd name="connsiteY73" fmla="*/ 182503 h 491771"/>
                <a:gd name="connsiteX74" fmla="*/ 27318 w 607568"/>
                <a:gd name="connsiteY74" fmla="*/ 160962 h 491771"/>
                <a:gd name="connsiteX75" fmla="*/ 41447 w 607568"/>
                <a:gd name="connsiteY75" fmla="*/ 130673 h 491771"/>
                <a:gd name="connsiteX76" fmla="*/ 41824 w 607568"/>
                <a:gd name="connsiteY76" fmla="*/ 130673 h 491771"/>
                <a:gd name="connsiteX77" fmla="*/ 107100 w 607568"/>
                <a:gd name="connsiteY77" fmla="*/ 66049 h 491771"/>
                <a:gd name="connsiteX78" fmla="*/ 298626 w 607568"/>
                <a:gd name="connsiteY78" fmla="*/ 0 h 491771"/>
                <a:gd name="connsiteX79" fmla="*/ 315956 w 607568"/>
                <a:gd name="connsiteY79" fmla="*/ 0 h 491771"/>
                <a:gd name="connsiteX80" fmla="*/ 401854 w 607568"/>
                <a:gd name="connsiteY80" fmla="*/ 85787 h 491771"/>
                <a:gd name="connsiteX81" fmla="*/ 401854 w 607568"/>
                <a:gd name="connsiteY81" fmla="*/ 95476 h 491771"/>
                <a:gd name="connsiteX82" fmla="*/ 421633 w 607568"/>
                <a:gd name="connsiteY82" fmla="*/ 138840 h 491771"/>
                <a:gd name="connsiteX83" fmla="*/ 417960 w 607568"/>
                <a:gd name="connsiteY83" fmla="*/ 149281 h 491771"/>
                <a:gd name="connsiteX84" fmla="*/ 417112 w 607568"/>
                <a:gd name="connsiteY84" fmla="*/ 151068 h 491771"/>
                <a:gd name="connsiteX85" fmla="*/ 411273 w 607568"/>
                <a:gd name="connsiteY85" fmla="*/ 159534 h 491771"/>
                <a:gd name="connsiteX86" fmla="*/ 410896 w 607568"/>
                <a:gd name="connsiteY86" fmla="*/ 159910 h 491771"/>
                <a:gd name="connsiteX87" fmla="*/ 394037 w 607568"/>
                <a:gd name="connsiteY87" fmla="*/ 169787 h 491771"/>
                <a:gd name="connsiteX88" fmla="*/ 384900 w 607568"/>
                <a:gd name="connsiteY88" fmla="*/ 189541 h 491771"/>
                <a:gd name="connsiteX89" fmla="*/ 384712 w 607568"/>
                <a:gd name="connsiteY89" fmla="*/ 189823 h 491771"/>
                <a:gd name="connsiteX90" fmla="*/ 373316 w 607568"/>
                <a:gd name="connsiteY90" fmla="*/ 207131 h 491771"/>
                <a:gd name="connsiteX91" fmla="*/ 372750 w 607568"/>
                <a:gd name="connsiteY91" fmla="*/ 207789 h 491771"/>
                <a:gd name="connsiteX92" fmla="*/ 359847 w 607568"/>
                <a:gd name="connsiteY92" fmla="*/ 222275 h 491771"/>
                <a:gd name="connsiteX93" fmla="*/ 359188 w 607568"/>
                <a:gd name="connsiteY93" fmla="*/ 222934 h 491771"/>
                <a:gd name="connsiteX94" fmla="*/ 345154 w 607568"/>
                <a:gd name="connsiteY94" fmla="*/ 234598 h 491771"/>
                <a:gd name="connsiteX95" fmla="*/ 345625 w 607568"/>
                <a:gd name="connsiteY95" fmla="*/ 236855 h 491771"/>
                <a:gd name="connsiteX96" fmla="*/ 348639 w 607568"/>
                <a:gd name="connsiteY96" fmla="*/ 235538 h 491771"/>
                <a:gd name="connsiteX97" fmla="*/ 355514 w 607568"/>
                <a:gd name="connsiteY97" fmla="*/ 234033 h 491771"/>
                <a:gd name="connsiteX98" fmla="*/ 366628 w 607568"/>
                <a:gd name="connsiteY98" fmla="*/ 237326 h 491771"/>
                <a:gd name="connsiteX99" fmla="*/ 385371 w 607568"/>
                <a:gd name="connsiteY99" fmla="*/ 249648 h 491771"/>
                <a:gd name="connsiteX100" fmla="*/ 399876 w 607568"/>
                <a:gd name="connsiteY100" fmla="*/ 279373 h 491771"/>
                <a:gd name="connsiteX101" fmla="*/ 430016 w 607568"/>
                <a:gd name="connsiteY101" fmla="*/ 289814 h 491771"/>
                <a:gd name="connsiteX102" fmla="*/ 448382 w 607568"/>
                <a:gd name="connsiteY102" fmla="*/ 316058 h 491771"/>
                <a:gd name="connsiteX103" fmla="*/ 481630 w 607568"/>
                <a:gd name="connsiteY103" fmla="*/ 424515 h 491771"/>
                <a:gd name="connsiteX104" fmla="*/ 483891 w 607568"/>
                <a:gd name="connsiteY104" fmla="*/ 436461 h 491771"/>
                <a:gd name="connsiteX105" fmla="*/ 473718 w 607568"/>
                <a:gd name="connsiteY105" fmla="*/ 470700 h 491771"/>
                <a:gd name="connsiteX106" fmla="*/ 443956 w 607568"/>
                <a:gd name="connsiteY106" fmla="*/ 490360 h 491771"/>
                <a:gd name="connsiteX107" fmla="*/ 431805 w 607568"/>
                <a:gd name="connsiteY107" fmla="*/ 491771 h 491771"/>
                <a:gd name="connsiteX108" fmla="*/ 325375 w 607568"/>
                <a:gd name="connsiteY108" fmla="*/ 491771 h 491771"/>
                <a:gd name="connsiteX109" fmla="*/ 337430 w 607568"/>
                <a:gd name="connsiteY109" fmla="*/ 415296 h 491771"/>
                <a:gd name="connsiteX110" fmla="*/ 334605 w 607568"/>
                <a:gd name="connsiteY110" fmla="*/ 389052 h 491771"/>
                <a:gd name="connsiteX111" fmla="*/ 323962 w 607568"/>
                <a:gd name="connsiteY111" fmla="*/ 360927 h 491771"/>
                <a:gd name="connsiteX112" fmla="*/ 337430 w 607568"/>
                <a:gd name="connsiteY112" fmla="*/ 347476 h 491771"/>
                <a:gd name="connsiteX113" fmla="*/ 307196 w 607568"/>
                <a:gd name="connsiteY113" fmla="*/ 317281 h 491771"/>
                <a:gd name="connsiteX114" fmla="*/ 276868 w 607568"/>
                <a:gd name="connsiteY114" fmla="*/ 347476 h 491771"/>
                <a:gd name="connsiteX115" fmla="*/ 290337 w 607568"/>
                <a:gd name="connsiteY115" fmla="*/ 360927 h 491771"/>
                <a:gd name="connsiteX116" fmla="*/ 279694 w 607568"/>
                <a:gd name="connsiteY116" fmla="*/ 389052 h 491771"/>
                <a:gd name="connsiteX117" fmla="*/ 276963 w 607568"/>
                <a:gd name="connsiteY117" fmla="*/ 415296 h 491771"/>
                <a:gd name="connsiteX118" fmla="*/ 288736 w 607568"/>
                <a:gd name="connsiteY118" fmla="*/ 491771 h 491771"/>
                <a:gd name="connsiteX119" fmla="*/ 182493 w 607568"/>
                <a:gd name="connsiteY119" fmla="*/ 491771 h 491771"/>
                <a:gd name="connsiteX120" fmla="*/ 170437 w 607568"/>
                <a:gd name="connsiteY120" fmla="*/ 490360 h 491771"/>
                <a:gd name="connsiteX121" fmla="*/ 140675 w 607568"/>
                <a:gd name="connsiteY121" fmla="*/ 470700 h 491771"/>
                <a:gd name="connsiteX122" fmla="*/ 132669 w 607568"/>
                <a:gd name="connsiteY122" fmla="*/ 424515 h 491771"/>
                <a:gd name="connsiteX123" fmla="*/ 166011 w 607568"/>
                <a:gd name="connsiteY123" fmla="*/ 316058 h 491771"/>
                <a:gd name="connsiteX124" fmla="*/ 184377 w 607568"/>
                <a:gd name="connsiteY124" fmla="*/ 289814 h 491771"/>
                <a:gd name="connsiteX125" fmla="*/ 214517 w 607568"/>
                <a:gd name="connsiteY125" fmla="*/ 279373 h 491771"/>
                <a:gd name="connsiteX126" fmla="*/ 214517 w 607568"/>
                <a:gd name="connsiteY126" fmla="*/ 279279 h 491771"/>
                <a:gd name="connsiteX127" fmla="*/ 229022 w 607568"/>
                <a:gd name="connsiteY127" fmla="*/ 249648 h 491771"/>
                <a:gd name="connsiteX128" fmla="*/ 247765 w 607568"/>
                <a:gd name="connsiteY128" fmla="*/ 237326 h 491771"/>
                <a:gd name="connsiteX129" fmla="*/ 258879 w 607568"/>
                <a:gd name="connsiteY129" fmla="*/ 234033 h 491771"/>
                <a:gd name="connsiteX130" fmla="*/ 265754 w 607568"/>
                <a:gd name="connsiteY130" fmla="*/ 235538 h 491771"/>
                <a:gd name="connsiteX131" fmla="*/ 268768 w 607568"/>
                <a:gd name="connsiteY131" fmla="*/ 236855 h 491771"/>
                <a:gd name="connsiteX132" fmla="*/ 269239 w 607568"/>
                <a:gd name="connsiteY132" fmla="*/ 234598 h 491771"/>
                <a:gd name="connsiteX133" fmla="*/ 255205 w 607568"/>
                <a:gd name="connsiteY133" fmla="*/ 222934 h 491771"/>
                <a:gd name="connsiteX134" fmla="*/ 254546 w 607568"/>
                <a:gd name="connsiteY134" fmla="*/ 222275 h 491771"/>
                <a:gd name="connsiteX135" fmla="*/ 241548 w 607568"/>
                <a:gd name="connsiteY135" fmla="*/ 207789 h 491771"/>
                <a:gd name="connsiteX136" fmla="*/ 241077 w 607568"/>
                <a:gd name="connsiteY136" fmla="*/ 207225 h 491771"/>
                <a:gd name="connsiteX137" fmla="*/ 229681 w 607568"/>
                <a:gd name="connsiteY137" fmla="*/ 189823 h 491771"/>
                <a:gd name="connsiteX138" fmla="*/ 229493 w 607568"/>
                <a:gd name="connsiteY138" fmla="*/ 189635 h 491771"/>
                <a:gd name="connsiteX139" fmla="*/ 220356 w 607568"/>
                <a:gd name="connsiteY139" fmla="*/ 169787 h 491771"/>
                <a:gd name="connsiteX140" fmla="*/ 203497 w 607568"/>
                <a:gd name="connsiteY140" fmla="*/ 159910 h 491771"/>
                <a:gd name="connsiteX141" fmla="*/ 203120 w 607568"/>
                <a:gd name="connsiteY141" fmla="*/ 159534 h 491771"/>
                <a:gd name="connsiteX142" fmla="*/ 197281 w 607568"/>
                <a:gd name="connsiteY142" fmla="*/ 151068 h 491771"/>
                <a:gd name="connsiteX143" fmla="*/ 196433 w 607568"/>
                <a:gd name="connsiteY143" fmla="*/ 149281 h 491771"/>
                <a:gd name="connsiteX144" fmla="*/ 192666 w 607568"/>
                <a:gd name="connsiteY144" fmla="*/ 138840 h 491771"/>
                <a:gd name="connsiteX145" fmla="*/ 212727 w 607568"/>
                <a:gd name="connsiteY145" fmla="*/ 95476 h 491771"/>
                <a:gd name="connsiteX146" fmla="*/ 212727 w 607568"/>
                <a:gd name="connsiteY146" fmla="*/ 85787 h 491771"/>
                <a:gd name="connsiteX147" fmla="*/ 298626 w 607568"/>
                <a:gd name="connsiteY147" fmla="*/ 0 h 49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607568" h="491771">
                  <a:moveTo>
                    <a:pt x="355420" y="250307"/>
                  </a:moveTo>
                  <a:cubicBezTo>
                    <a:pt x="354290" y="250307"/>
                    <a:pt x="353160" y="250871"/>
                    <a:pt x="352312" y="251812"/>
                  </a:cubicBezTo>
                  <a:lnTo>
                    <a:pt x="321042" y="289814"/>
                  </a:lnTo>
                  <a:cubicBezTo>
                    <a:pt x="319723" y="291507"/>
                    <a:pt x="319912" y="293953"/>
                    <a:pt x="321513" y="295364"/>
                  </a:cubicBezTo>
                  <a:lnTo>
                    <a:pt x="369736" y="338257"/>
                  </a:lnTo>
                  <a:cubicBezTo>
                    <a:pt x="370396" y="338822"/>
                    <a:pt x="371149" y="339104"/>
                    <a:pt x="371997" y="339104"/>
                  </a:cubicBezTo>
                  <a:cubicBezTo>
                    <a:pt x="372374" y="339104"/>
                    <a:pt x="372750" y="339010"/>
                    <a:pt x="373127" y="338916"/>
                  </a:cubicBezTo>
                  <a:cubicBezTo>
                    <a:pt x="374257" y="338539"/>
                    <a:pt x="375105" y="337505"/>
                    <a:pt x="375293" y="336282"/>
                  </a:cubicBezTo>
                  <a:lnTo>
                    <a:pt x="383676" y="279467"/>
                  </a:lnTo>
                  <a:cubicBezTo>
                    <a:pt x="384618" y="273164"/>
                    <a:pt x="381792" y="266768"/>
                    <a:pt x="376424" y="263287"/>
                  </a:cubicBezTo>
                  <a:lnTo>
                    <a:pt x="357681" y="250965"/>
                  </a:lnTo>
                  <a:cubicBezTo>
                    <a:pt x="357021" y="250495"/>
                    <a:pt x="356174" y="250307"/>
                    <a:pt x="355420" y="250307"/>
                  </a:cubicBezTo>
                  <a:close/>
                  <a:moveTo>
                    <a:pt x="258879" y="250307"/>
                  </a:moveTo>
                  <a:cubicBezTo>
                    <a:pt x="258125" y="250307"/>
                    <a:pt x="257372" y="250495"/>
                    <a:pt x="256712" y="250965"/>
                  </a:cubicBezTo>
                  <a:lnTo>
                    <a:pt x="237969" y="263287"/>
                  </a:lnTo>
                  <a:cubicBezTo>
                    <a:pt x="232601" y="266768"/>
                    <a:pt x="229775" y="273164"/>
                    <a:pt x="230717" y="279467"/>
                  </a:cubicBezTo>
                  <a:lnTo>
                    <a:pt x="239100" y="336282"/>
                  </a:lnTo>
                  <a:cubicBezTo>
                    <a:pt x="239288" y="337505"/>
                    <a:pt x="240136" y="338539"/>
                    <a:pt x="241266" y="338916"/>
                  </a:cubicBezTo>
                  <a:cubicBezTo>
                    <a:pt x="241643" y="339010"/>
                    <a:pt x="242019" y="339104"/>
                    <a:pt x="242396" y="339104"/>
                  </a:cubicBezTo>
                  <a:cubicBezTo>
                    <a:pt x="243244" y="339104"/>
                    <a:pt x="243997" y="338822"/>
                    <a:pt x="244657" y="338257"/>
                  </a:cubicBezTo>
                  <a:lnTo>
                    <a:pt x="292880" y="295364"/>
                  </a:lnTo>
                  <a:cubicBezTo>
                    <a:pt x="294481" y="293953"/>
                    <a:pt x="294670" y="291507"/>
                    <a:pt x="293351" y="289814"/>
                  </a:cubicBezTo>
                  <a:lnTo>
                    <a:pt x="261987" y="251812"/>
                  </a:lnTo>
                  <a:cubicBezTo>
                    <a:pt x="261233" y="250871"/>
                    <a:pt x="260103" y="250307"/>
                    <a:pt x="258879" y="250307"/>
                  </a:cubicBezTo>
                  <a:close/>
                  <a:moveTo>
                    <a:pt x="500465" y="66049"/>
                  </a:moveTo>
                  <a:cubicBezTo>
                    <a:pt x="548129" y="66049"/>
                    <a:pt x="562447" y="93516"/>
                    <a:pt x="565743" y="130673"/>
                  </a:cubicBezTo>
                  <a:cubicBezTo>
                    <a:pt x="565932" y="130673"/>
                    <a:pt x="566026" y="130673"/>
                    <a:pt x="566120" y="130673"/>
                  </a:cubicBezTo>
                  <a:cubicBezTo>
                    <a:pt x="577141" y="133118"/>
                    <a:pt x="583358" y="146664"/>
                    <a:pt x="580250" y="160962"/>
                  </a:cubicBezTo>
                  <a:cubicBezTo>
                    <a:pt x="577706" y="172532"/>
                    <a:pt x="569700" y="180904"/>
                    <a:pt x="560939" y="182503"/>
                  </a:cubicBezTo>
                  <a:cubicBezTo>
                    <a:pt x="554628" y="199529"/>
                    <a:pt x="543796" y="214016"/>
                    <a:pt x="531927" y="223799"/>
                  </a:cubicBezTo>
                  <a:cubicBezTo>
                    <a:pt x="528913" y="226338"/>
                    <a:pt x="527500" y="230383"/>
                    <a:pt x="528253" y="234240"/>
                  </a:cubicBezTo>
                  <a:lnTo>
                    <a:pt x="530797" y="246281"/>
                  </a:lnTo>
                  <a:cubicBezTo>
                    <a:pt x="532304" y="253806"/>
                    <a:pt x="538238" y="259732"/>
                    <a:pt x="545868" y="261143"/>
                  </a:cubicBezTo>
                  <a:lnTo>
                    <a:pt x="558961" y="263777"/>
                  </a:lnTo>
                  <a:cubicBezTo>
                    <a:pt x="578366" y="267634"/>
                    <a:pt x="593437" y="282684"/>
                    <a:pt x="597299" y="301968"/>
                  </a:cubicBezTo>
                  <a:lnTo>
                    <a:pt x="607002" y="350788"/>
                  </a:lnTo>
                  <a:cubicBezTo>
                    <a:pt x="608697" y="358972"/>
                    <a:pt x="606531" y="367438"/>
                    <a:pt x="601256" y="373835"/>
                  </a:cubicBezTo>
                  <a:cubicBezTo>
                    <a:pt x="595981" y="380325"/>
                    <a:pt x="588068" y="384088"/>
                    <a:pt x="579685" y="384088"/>
                  </a:cubicBezTo>
                  <a:lnTo>
                    <a:pt x="490386" y="384088"/>
                  </a:lnTo>
                  <a:lnTo>
                    <a:pt x="467685" y="310058"/>
                  </a:lnTo>
                  <a:cubicBezTo>
                    <a:pt x="461845" y="291150"/>
                    <a:pt x="448563" y="276194"/>
                    <a:pt x="431702" y="267445"/>
                  </a:cubicBezTo>
                  <a:cubicBezTo>
                    <a:pt x="434999" y="265940"/>
                    <a:pt x="438295" y="264529"/>
                    <a:pt x="441969" y="263777"/>
                  </a:cubicBezTo>
                  <a:lnTo>
                    <a:pt x="455157" y="261237"/>
                  </a:lnTo>
                  <a:cubicBezTo>
                    <a:pt x="462692" y="259732"/>
                    <a:pt x="468627" y="253806"/>
                    <a:pt x="470228" y="246281"/>
                  </a:cubicBezTo>
                  <a:lnTo>
                    <a:pt x="472677" y="234240"/>
                  </a:lnTo>
                  <a:cubicBezTo>
                    <a:pt x="473525" y="230383"/>
                    <a:pt x="472112" y="226338"/>
                    <a:pt x="469098" y="223893"/>
                  </a:cubicBezTo>
                  <a:cubicBezTo>
                    <a:pt x="457229" y="214016"/>
                    <a:pt x="446302" y="199529"/>
                    <a:pt x="439991" y="182503"/>
                  </a:cubicBezTo>
                  <a:cubicBezTo>
                    <a:pt x="434716" y="181563"/>
                    <a:pt x="429818" y="177894"/>
                    <a:pt x="426144" y="172720"/>
                  </a:cubicBezTo>
                  <a:cubicBezTo>
                    <a:pt x="433303" y="164725"/>
                    <a:pt x="438861" y="154754"/>
                    <a:pt x="441404" y="143278"/>
                  </a:cubicBezTo>
                  <a:cubicBezTo>
                    <a:pt x="444324" y="130485"/>
                    <a:pt x="443476" y="118068"/>
                    <a:pt x="439708" y="107438"/>
                  </a:cubicBezTo>
                  <a:cubicBezTo>
                    <a:pt x="447244" y="82699"/>
                    <a:pt x="464200" y="66049"/>
                    <a:pt x="500465" y="66049"/>
                  </a:cubicBezTo>
                  <a:close/>
                  <a:moveTo>
                    <a:pt x="107100" y="66049"/>
                  </a:moveTo>
                  <a:cubicBezTo>
                    <a:pt x="151561" y="66049"/>
                    <a:pt x="166820" y="90130"/>
                    <a:pt x="171341" y="123618"/>
                  </a:cubicBezTo>
                  <a:cubicBezTo>
                    <a:pt x="170965" y="129920"/>
                    <a:pt x="171436" y="136505"/>
                    <a:pt x="172849" y="143278"/>
                  </a:cubicBezTo>
                  <a:cubicBezTo>
                    <a:pt x="174921" y="152590"/>
                    <a:pt x="178971" y="161056"/>
                    <a:pt x="184246" y="168205"/>
                  </a:cubicBezTo>
                  <a:cubicBezTo>
                    <a:pt x="180573" y="175919"/>
                    <a:pt x="174356" y="181281"/>
                    <a:pt x="167574" y="182503"/>
                  </a:cubicBezTo>
                  <a:cubicBezTo>
                    <a:pt x="161263" y="199529"/>
                    <a:pt x="150336" y="214016"/>
                    <a:pt x="138468" y="223799"/>
                  </a:cubicBezTo>
                  <a:cubicBezTo>
                    <a:pt x="135453" y="226338"/>
                    <a:pt x="134040" y="230383"/>
                    <a:pt x="134794" y="234240"/>
                  </a:cubicBezTo>
                  <a:lnTo>
                    <a:pt x="137337" y="246281"/>
                  </a:lnTo>
                  <a:cubicBezTo>
                    <a:pt x="138939" y="253806"/>
                    <a:pt x="144873" y="259732"/>
                    <a:pt x="152408" y="261143"/>
                  </a:cubicBezTo>
                  <a:lnTo>
                    <a:pt x="165596" y="263777"/>
                  </a:lnTo>
                  <a:cubicBezTo>
                    <a:pt x="170494" y="264812"/>
                    <a:pt x="175203" y="266505"/>
                    <a:pt x="179442" y="268856"/>
                  </a:cubicBezTo>
                  <a:cubicBezTo>
                    <a:pt x="164088" y="277793"/>
                    <a:pt x="152126" y="292279"/>
                    <a:pt x="146662" y="310058"/>
                  </a:cubicBezTo>
                  <a:lnTo>
                    <a:pt x="123867" y="384088"/>
                  </a:lnTo>
                  <a:lnTo>
                    <a:pt x="27883" y="384088"/>
                  </a:lnTo>
                  <a:cubicBezTo>
                    <a:pt x="19499" y="384088"/>
                    <a:pt x="11587" y="380325"/>
                    <a:pt x="6312" y="373835"/>
                  </a:cubicBezTo>
                  <a:cubicBezTo>
                    <a:pt x="1037" y="367438"/>
                    <a:pt x="-1129" y="358972"/>
                    <a:pt x="566" y="350788"/>
                  </a:cubicBezTo>
                  <a:lnTo>
                    <a:pt x="10268" y="301968"/>
                  </a:lnTo>
                  <a:cubicBezTo>
                    <a:pt x="14130" y="282684"/>
                    <a:pt x="29202" y="267634"/>
                    <a:pt x="48606" y="263777"/>
                  </a:cubicBezTo>
                  <a:lnTo>
                    <a:pt x="61699" y="261237"/>
                  </a:lnTo>
                  <a:cubicBezTo>
                    <a:pt x="69328" y="259732"/>
                    <a:pt x="75263" y="253806"/>
                    <a:pt x="76770" y="246281"/>
                  </a:cubicBezTo>
                  <a:lnTo>
                    <a:pt x="79313" y="234240"/>
                  </a:lnTo>
                  <a:cubicBezTo>
                    <a:pt x="80067" y="230383"/>
                    <a:pt x="78654" y="226338"/>
                    <a:pt x="75639" y="223893"/>
                  </a:cubicBezTo>
                  <a:cubicBezTo>
                    <a:pt x="63771" y="214016"/>
                    <a:pt x="52939" y="199623"/>
                    <a:pt x="46628" y="182503"/>
                  </a:cubicBezTo>
                  <a:cubicBezTo>
                    <a:pt x="37867" y="180904"/>
                    <a:pt x="29861" y="172532"/>
                    <a:pt x="27318" y="160962"/>
                  </a:cubicBezTo>
                  <a:cubicBezTo>
                    <a:pt x="24115" y="146664"/>
                    <a:pt x="30426" y="133118"/>
                    <a:pt x="41447" y="130673"/>
                  </a:cubicBezTo>
                  <a:cubicBezTo>
                    <a:pt x="41541" y="130673"/>
                    <a:pt x="41729" y="130673"/>
                    <a:pt x="41824" y="130673"/>
                  </a:cubicBezTo>
                  <a:cubicBezTo>
                    <a:pt x="45403" y="93516"/>
                    <a:pt x="60192" y="66049"/>
                    <a:pt x="107100" y="66049"/>
                  </a:cubicBezTo>
                  <a:close/>
                  <a:moveTo>
                    <a:pt x="298626" y="0"/>
                  </a:moveTo>
                  <a:lnTo>
                    <a:pt x="315956" y="0"/>
                  </a:lnTo>
                  <a:cubicBezTo>
                    <a:pt x="363426" y="0"/>
                    <a:pt x="401854" y="38378"/>
                    <a:pt x="401854" y="85787"/>
                  </a:cubicBezTo>
                  <a:lnTo>
                    <a:pt x="401854" y="95476"/>
                  </a:lnTo>
                  <a:cubicBezTo>
                    <a:pt x="417301" y="99238"/>
                    <a:pt x="426154" y="118522"/>
                    <a:pt x="421633" y="138840"/>
                  </a:cubicBezTo>
                  <a:cubicBezTo>
                    <a:pt x="420880" y="142602"/>
                    <a:pt x="419467" y="146083"/>
                    <a:pt x="417960" y="149281"/>
                  </a:cubicBezTo>
                  <a:cubicBezTo>
                    <a:pt x="417677" y="149939"/>
                    <a:pt x="417395" y="150504"/>
                    <a:pt x="417112" y="151068"/>
                  </a:cubicBezTo>
                  <a:cubicBezTo>
                    <a:pt x="415417" y="154172"/>
                    <a:pt x="413533" y="157088"/>
                    <a:pt x="411273" y="159534"/>
                  </a:cubicBezTo>
                  <a:cubicBezTo>
                    <a:pt x="411179" y="159628"/>
                    <a:pt x="410990" y="159816"/>
                    <a:pt x="410896" y="159910"/>
                  </a:cubicBezTo>
                  <a:cubicBezTo>
                    <a:pt x="406092" y="165084"/>
                    <a:pt x="400159" y="168658"/>
                    <a:pt x="394037" y="169787"/>
                  </a:cubicBezTo>
                  <a:cubicBezTo>
                    <a:pt x="391494" y="176654"/>
                    <a:pt x="388385" y="183332"/>
                    <a:pt x="384900" y="189541"/>
                  </a:cubicBezTo>
                  <a:cubicBezTo>
                    <a:pt x="384806" y="189635"/>
                    <a:pt x="384806" y="189729"/>
                    <a:pt x="384712" y="189823"/>
                  </a:cubicBezTo>
                  <a:cubicBezTo>
                    <a:pt x="381227" y="196031"/>
                    <a:pt x="377460" y="201769"/>
                    <a:pt x="373316" y="207131"/>
                  </a:cubicBezTo>
                  <a:cubicBezTo>
                    <a:pt x="373127" y="207413"/>
                    <a:pt x="372939" y="207601"/>
                    <a:pt x="372750" y="207789"/>
                  </a:cubicBezTo>
                  <a:cubicBezTo>
                    <a:pt x="368700" y="213057"/>
                    <a:pt x="364368" y="217948"/>
                    <a:pt x="359847" y="222275"/>
                  </a:cubicBezTo>
                  <a:cubicBezTo>
                    <a:pt x="359658" y="222463"/>
                    <a:pt x="359376" y="222651"/>
                    <a:pt x="359188" y="222934"/>
                  </a:cubicBezTo>
                  <a:cubicBezTo>
                    <a:pt x="354667" y="227261"/>
                    <a:pt x="349957" y="231211"/>
                    <a:pt x="345154" y="234598"/>
                  </a:cubicBezTo>
                  <a:lnTo>
                    <a:pt x="345625" y="236855"/>
                  </a:lnTo>
                  <a:cubicBezTo>
                    <a:pt x="346567" y="236385"/>
                    <a:pt x="347603" y="235915"/>
                    <a:pt x="348639" y="235538"/>
                  </a:cubicBezTo>
                  <a:cubicBezTo>
                    <a:pt x="350899" y="234786"/>
                    <a:pt x="353065" y="234033"/>
                    <a:pt x="355514" y="234033"/>
                  </a:cubicBezTo>
                  <a:cubicBezTo>
                    <a:pt x="359470" y="234033"/>
                    <a:pt x="363238" y="235162"/>
                    <a:pt x="366628" y="237326"/>
                  </a:cubicBezTo>
                  <a:cubicBezTo>
                    <a:pt x="366628" y="237326"/>
                    <a:pt x="380756" y="246450"/>
                    <a:pt x="385371" y="249648"/>
                  </a:cubicBezTo>
                  <a:cubicBezTo>
                    <a:pt x="401854" y="261030"/>
                    <a:pt x="399876" y="279373"/>
                    <a:pt x="399876" y="279373"/>
                  </a:cubicBezTo>
                  <a:cubicBezTo>
                    <a:pt x="410990" y="279655"/>
                    <a:pt x="421822" y="283041"/>
                    <a:pt x="430016" y="289814"/>
                  </a:cubicBezTo>
                  <a:cubicBezTo>
                    <a:pt x="445180" y="302324"/>
                    <a:pt x="447535" y="313330"/>
                    <a:pt x="448382" y="316058"/>
                  </a:cubicBezTo>
                  <a:lnTo>
                    <a:pt x="481630" y="424515"/>
                  </a:lnTo>
                  <a:cubicBezTo>
                    <a:pt x="482855" y="428371"/>
                    <a:pt x="483608" y="432416"/>
                    <a:pt x="483891" y="436461"/>
                  </a:cubicBezTo>
                  <a:cubicBezTo>
                    <a:pt x="484644" y="448595"/>
                    <a:pt x="481159" y="460730"/>
                    <a:pt x="473718" y="470700"/>
                  </a:cubicBezTo>
                  <a:cubicBezTo>
                    <a:pt x="466372" y="480671"/>
                    <a:pt x="455823" y="487538"/>
                    <a:pt x="443956" y="490360"/>
                  </a:cubicBezTo>
                  <a:cubicBezTo>
                    <a:pt x="440000" y="491301"/>
                    <a:pt x="435950" y="491771"/>
                    <a:pt x="431805" y="491771"/>
                  </a:cubicBezTo>
                  <a:lnTo>
                    <a:pt x="325375" y="491771"/>
                  </a:lnTo>
                  <a:lnTo>
                    <a:pt x="337430" y="415296"/>
                  </a:lnTo>
                  <a:cubicBezTo>
                    <a:pt x="338749" y="406454"/>
                    <a:pt x="337807" y="397424"/>
                    <a:pt x="334605" y="389052"/>
                  </a:cubicBezTo>
                  <a:lnTo>
                    <a:pt x="323962" y="360927"/>
                  </a:lnTo>
                  <a:lnTo>
                    <a:pt x="337430" y="347476"/>
                  </a:lnTo>
                  <a:lnTo>
                    <a:pt x="307196" y="317281"/>
                  </a:lnTo>
                  <a:lnTo>
                    <a:pt x="276868" y="347476"/>
                  </a:lnTo>
                  <a:lnTo>
                    <a:pt x="290337" y="360927"/>
                  </a:lnTo>
                  <a:lnTo>
                    <a:pt x="279694" y="389052"/>
                  </a:lnTo>
                  <a:cubicBezTo>
                    <a:pt x="276586" y="397424"/>
                    <a:pt x="275644" y="406454"/>
                    <a:pt x="276963" y="415296"/>
                  </a:cubicBezTo>
                  <a:lnTo>
                    <a:pt x="288736" y="491771"/>
                  </a:lnTo>
                  <a:lnTo>
                    <a:pt x="182493" y="491771"/>
                  </a:lnTo>
                  <a:cubicBezTo>
                    <a:pt x="178443" y="491771"/>
                    <a:pt x="174299" y="491301"/>
                    <a:pt x="170437" y="490360"/>
                  </a:cubicBezTo>
                  <a:cubicBezTo>
                    <a:pt x="158570" y="487538"/>
                    <a:pt x="148021" y="480671"/>
                    <a:pt x="140675" y="470700"/>
                  </a:cubicBezTo>
                  <a:cubicBezTo>
                    <a:pt x="130785" y="457343"/>
                    <a:pt x="127865" y="440223"/>
                    <a:pt x="132669" y="424515"/>
                  </a:cubicBezTo>
                  <a:lnTo>
                    <a:pt x="166011" y="316058"/>
                  </a:lnTo>
                  <a:cubicBezTo>
                    <a:pt x="166858" y="313330"/>
                    <a:pt x="170908" y="300631"/>
                    <a:pt x="184377" y="289814"/>
                  </a:cubicBezTo>
                  <a:cubicBezTo>
                    <a:pt x="192666" y="283229"/>
                    <a:pt x="203403" y="279655"/>
                    <a:pt x="214517" y="279373"/>
                  </a:cubicBezTo>
                  <a:lnTo>
                    <a:pt x="214517" y="279279"/>
                  </a:lnTo>
                  <a:cubicBezTo>
                    <a:pt x="214140" y="273447"/>
                    <a:pt x="211880" y="260654"/>
                    <a:pt x="229022" y="249648"/>
                  </a:cubicBezTo>
                  <a:cubicBezTo>
                    <a:pt x="233731" y="246638"/>
                    <a:pt x="247765" y="237326"/>
                    <a:pt x="247765" y="237326"/>
                  </a:cubicBezTo>
                  <a:cubicBezTo>
                    <a:pt x="251061" y="235162"/>
                    <a:pt x="254923" y="234033"/>
                    <a:pt x="258879" y="234033"/>
                  </a:cubicBezTo>
                  <a:cubicBezTo>
                    <a:pt x="261328" y="234033"/>
                    <a:pt x="263494" y="234786"/>
                    <a:pt x="265754" y="235538"/>
                  </a:cubicBezTo>
                  <a:cubicBezTo>
                    <a:pt x="266790" y="236009"/>
                    <a:pt x="267826" y="236385"/>
                    <a:pt x="268768" y="236855"/>
                  </a:cubicBezTo>
                  <a:lnTo>
                    <a:pt x="269239" y="234598"/>
                  </a:lnTo>
                  <a:cubicBezTo>
                    <a:pt x="264436" y="231211"/>
                    <a:pt x="259726" y="227261"/>
                    <a:pt x="255205" y="222934"/>
                  </a:cubicBezTo>
                  <a:cubicBezTo>
                    <a:pt x="254923" y="222651"/>
                    <a:pt x="254735" y="222463"/>
                    <a:pt x="254546" y="222275"/>
                  </a:cubicBezTo>
                  <a:cubicBezTo>
                    <a:pt x="250025" y="217948"/>
                    <a:pt x="245693" y="213057"/>
                    <a:pt x="241548" y="207789"/>
                  </a:cubicBezTo>
                  <a:cubicBezTo>
                    <a:pt x="241454" y="207601"/>
                    <a:pt x="241266" y="207413"/>
                    <a:pt x="241077" y="207225"/>
                  </a:cubicBezTo>
                  <a:cubicBezTo>
                    <a:pt x="236933" y="201769"/>
                    <a:pt x="233072" y="196031"/>
                    <a:pt x="229681" y="189823"/>
                  </a:cubicBezTo>
                  <a:cubicBezTo>
                    <a:pt x="229587" y="189729"/>
                    <a:pt x="229587" y="189635"/>
                    <a:pt x="229493" y="189635"/>
                  </a:cubicBezTo>
                  <a:cubicBezTo>
                    <a:pt x="226008" y="183332"/>
                    <a:pt x="222899" y="176654"/>
                    <a:pt x="220356" y="169787"/>
                  </a:cubicBezTo>
                  <a:cubicBezTo>
                    <a:pt x="214140" y="168658"/>
                    <a:pt x="208301" y="165084"/>
                    <a:pt x="203497" y="159910"/>
                  </a:cubicBezTo>
                  <a:cubicBezTo>
                    <a:pt x="203309" y="159722"/>
                    <a:pt x="203214" y="159628"/>
                    <a:pt x="203120" y="159534"/>
                  </a:cubicBezTo>
                  <a:cubicBezTo>
                    <a:pt x="200860" y="157088"/>
                    <a:pt x="198976" y="154172"/>
                    <a:pt x="197281" y="151068"/>
                  </a:cubicBezTo>
                  <a:cubicBezTo>
                    <a:pt x="196998" y="150504"/>
                    <a:pt x="196716" y="149939"/>
                    <a:pt x="196433" y="149281"/>
                  </a:cubicBezTo>
                  <a:cubicBezTo>
                    <a:pt x="194832" y="146083"/>
                    <a:pt x="193513" y="142602"/>
                    <a:pt x="192666" y="138840"/>
                  </a:cubicBezTo>
                  <a:cubicBezTo>
                    <a:pt x="188145" y="118428"/>
                    <a:pt x="197092" y="99050"/>
                    <a:pt x="212727" y="95476"/>
                  </a:cubicBezTo>
                  <a:lnTo>
                    <a:pt x="212727" y="85787"/>
                  </a:lnTo>
                  <a:cubicBezTo>
                    <a:pt x="212727" y="38378"/>
                    <a:pt x="251155" y="0"/>
                    <a:pt x="298626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pPr algn="ctr"/>
              <a:endParaRPr lang="id-ID" sz="2800">
                <a:solidFill>
                  <a:schemeClr val="bg1"/>
                </a:solidFill>
              </a:endParaRPr>
            </a:p>
          </p:txBody>
        </p:sp>
        <p:sp>
          <p:nvSpPr>
            <p:cNvPr id="13" name="íṡḻïḋe">
              <a:extLst>
                <a:ext uri="{FF2B5EF4-FFF2-40B4-BE49-F238E27FC236}">
                  <a16:creationId xmlns:a16="http://schemas.microsoft.com/office/drawing/2014/main" xmlns="" id="{F25674C9-F906-4346-BE9B-C5B6C79A83AB}"/>
                </a:ext>
              </a:extLst>
            </p:cNvPr>
            <p:cNvSpPr/>
            <p:nvPr/>
          </p:nvSpPr>
          <p:spPr bwMode="auto">
            <a:xfrm>
              <a:off x="5906604" y="4035297"/>
              <a:ext cx="366093" cy="319582"/>
            </a:xfrm>
            <a:custGeom>
              <a:avLst/>
              <a:gdLst>
                <a:gd name="connsiteX0" fmla="*/ 424975 w 608697"/>
                <a:gd name="connsiteY0" fmla="*/ 168488 h 531358"/>
                <a:gd name="connsiteX1" fmla="*/ 387604 w 608697"/>
                <a:gd name="connsiteY1" fmla="*/ 205806 h 531358"/>
                <a:gd name="connsiteX2" fmla="*/ 424975 w 608697"/>
                <a:gd name="connsiteY2" fmla="*/ 243124 h 531358"/>
                <a:gd name="connsiteX3" fmla="*/ 462346 w 608697"/>
                <a:gd name="connsiteY3" fmla="*/ 205806 h 531358"/>
                <a:gd name="connsiteX4" fmla="*/ 424975 w 608697"/>
                <a:gd name="connsiteY4" fmla="*/ 168488 h 531358"/>
                <a:gd name="connsiteX5" fmla="*/ 287947 w 608697"/>
                <a:gd name="connsiteY5" fmla="*/ 168488 h 531358"/>
                <a:gd name="connsiteX6" fmla="*/ 250576 w 608697"/>
                <a:gd name="connsiteY6" fmla="*/ 205806 h 531358"/>
                <a:gd name="connsiteX7" fmla="*/ 287947 w 608697"/>
                <a:gd name="connsiteY7" fmla="*/ 243124 h 531358"/>
                <a:gd name="connsiteX8" fmla="*/ 325318 w 608697"/>
                <a:gd name="connsiteY8" fmla="*/ 205806 h 531358"/>
                <a:gd name="connsiteX9" fmla="*/ 287947 w 608697"/>
                <a:gd name="connsiteY9" fmla="*/ 168488 h 531358"/>
                <a:gd name="connsiteX10" fmla="*/ 102356 w 608697"/>
                <a:gd name="connsiteY10" fmla="*/ 121231 h 531358"/>
                <a:gd name="connsiteX11" fmla="*/ 98850 w 608697"/>
                <a:gd name="connsiteY11" fmla="*/ 127711 h 531358"/>
                <a:gd name="connsiteX12" fmla="*/ 76842 w 608697"/>
                <a:gd name="connsiteY12" fmla="*/ 217990 h 531358"/>
                <a:gd name="connsiteX13" fmla="*/ 98850 w 608697"/>
                <a:gd name="connsiteY13" fmla="*/ 308194 h 531358"/>
                <a:gd name="connsiteX14" fmla="*/ 157488 w 608697"/>
                <a:gd name="connsiteY14" fmla="*/ 380223 h 531358"/>
                <a:gd name="connsiteX15" fmla="*/ 344668 w 608697"/>
                <a:gd name="connsiteY15" fmla="*/ 444729 h 531358"/>
                <a:gd name="connsiteX16" fmla="*/ 370257 w 608697"/>
                <a:gd name="connsiteY16" fmla="*/ 443687 h 531358"/>
                <a:gd name="connsiteX17" fmla="*/ 236717 w 608697"/>
                <a:gd name="connsiteY17" fmla="*/ 477876 h 531358"/>
                <a:gd name="connsiteX18" fmla="*/ 198072 w 608697"/>
                <a:gd name="connsiteY18" fmla="*/ 475344 h 531358"/>
                <a:gd name="connsiteX19" fmla="*/ 82437 w 608697"/>
                <a:gd name="connsiteY19" fmla="*/ 531284 h 531358"/>
                <a:gd name="connsiteX20" fmla="*/ 81542 w 608697"/>
                <a:gd name="connsiteY20" fmla="*/ 531358 h 531358"/>
                <a:gd name="connsiteX21" fmla="*/ 75051 w 608697"/>
                <a:gd name="connsiteY21" fmla="*/ 527857 h 531358"/>
                <a:gd name="connsiteX22" fmla="*/ 74753 w 608697"/>
                <a:gd name="connsiteY22" fmla="*/ 519738 h 531358"/>
                <a:gd name="connsiteX23" fmla="*/ 88778 w 608697"/>
                <a:gd name="connsiteY23" fmla="*/ 435046 h 531358"/>
                <a:gd name="connsiteX24" fmla="*/ 0 w 608697"/>
                <a:gd name="connsiteY24" fmla="*/ 282198 h 531358"/>
                <a:gd name="connsiteX25" fmla="*/ 102356 w 608697"/>
                <a:gd name="connsiteY25" fmla="*/ 121231 h 531358"/>
                <a:gd name="connsiteX26" fmla="*/ 356424 w 608697"/>
                <a:gd name="connsiteY26" fmla="*/ 0 h 531358"/>
                <a:gd name="connsiteX27" fmla="*/ 608697 w 608697"/>
                <a:gd name="connsiteY27" fmla="*/ 211244 h 531358"/>
                <a:gd name="connsiteX28" fmla="*/ 518290 w 608697"/>
                <a:gd name="connsiteY28" fmla="*/ 373401 h 531358"/>
                <a:gd name="connsiteX29" fmla="*/ 531941 w 608697"/>
                <a:gd name="connsiteY29" fmla="*/ 441109 h 531358"/>
                <a:gd name="connsiteX30" fmla="*/ 531120 w 608697"/>
                <a:gd name="connsiteY30" fmla="*/ 465391 h 531358"/>
                <a:gd name="connsiteX31" fmla="*/ 511577 w 608697"/>
                <a:gd name="connsiteY31" fmla="*/ 475894 h 531358"/>
                <a:gd name="connsiteX32" fmla="*/ 509041 w 608697"/>
                <a:gd name="connsiteY32" fmla="*/ 475745 h 531358"/>
                <a:gd name="connsiteX33" fmla="*/ 391408 w 608697"/>
                <a:gd name="connsiteY33" fmla="*/ 420476 h 531358"/>
                <a:gd name="connsiteX34" fmla="*/ 356424 w 608697"/>
                <a:gd name="connsiteY34" fmla="*/ 422487 h 531358"/>
                <a:gd name="connsiteX35" fmla="*/ 104225 w 608697"/>
                <a:gd name="connsiteY35" fmla="*/ 211244 h 531358"/>
                <a:gd name="connsiteX36" fmla="*/ 356424 w 608697"/>
                <a:gd name="connsiteY36" fmla="*/ 0 h 531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8697" h="531358">
                  <a:moveTo>
                    <a:pt x="424975" y="168488"/>
                  </a:moveTo>
                  <a:cubicBezTo>
                    <a:pt x="404312" y="168488"/>
                    <a:pt x="387604" y="185248"/>
                    <a:pt x="387604" y="205806"/>
                  </a:cubicBezTo>
                  <a:cubicBezTo>
                    <a:pt x="387604" y="226439"/>
                    <a:pt x="404312" y="243124"/>
                    <a:pt x="424975" y="243124"/>
                  </a:cubicBezTo>
                  <a:cubicBezTo>
                    <a:pt x="445562" y="243124"/>
                    <a:pt x="462346" y="226439"/>
                    <a:pt x="462346" y="205806"/>
                  </a:cubicBezTo>
                  <a:cubicBezTo>
                    <a:pt x="462346" y="185248"/>
                    <a:pt x="445637" y="168488"/>
                    <a:pt x="424975" y="168488"/>
                  </a:cubicBezTo>
                  <a:close/>
                  <a:moveTo>
                    <a:pt x="287947" y="168488"/>
                  </a:moveTo>
                  <a:cubicBezTo>
                    <a:pt x="267285" y="168488"/>
                    <a:pt x="250576" y="185248"/>
                    <a:pt x="250576" y="205806"/>
                  </a:cubicBezTo>
                  <a:cubicBezTo>
                    <a:pt x="250576" y="226439"/>
                    <a:pt x="267285" y="243124"/>
                    <a:pt x="287947" y="243124"/>
                  </a:cubicBezTo>
                  <a:cubicBezTo>
                    <a:pt x="308610" y="243124"/>
                    <a:pt x="325318" y="226439"/>
                    <a:pt x="325318" y="205806"/>
                  </a:cubicBezTo>
                  <a:cubicBezTo>
                    <a:pt x="325318" y="185248"/>
                    <a:pt x="308610" y="168488"/>
                    <a:pt x="287947" y="168488"/>
                  </a:cubicBezTo>
                  <a:close/>
                  <a:moveTo>
                    <a:pt x="102356" y="121231"/>
                  </a:moveTo>
                  <a:cubicBezTo>
                    <a:pt x="101162" y="123317"/>
                    <a:pt x="99969" y="125477"/>
                    <a:pt x="98850" y="127711"/>
                  </a:cubicBezTo>
                  <a:cubicBezTo>
                    <a:pt x="84227" y="156240"/>
                    <a:pt x="76842" y="186631"/>
                    <a:pt x="76842" y="217990"/>
                  </a:cubicBezTo>
                  <a:cubicBezTo>
                    <a:pt x="76842" y="249275"/>
                    <a:pt x="84227" y="279666"/>
                    <a:pt x="98850" y="308194"/>
                  </a:cubicBezTo>
                  <a:cubicBezTo>
                    <a:pt x="112726" y="335308"/>
                    <a:pt x="132496" y="359516"/>
                    <a:pt x="157488" y="380223"/>
                  </a:cubicBezTo>
                  <a:cubicBezTo>
                    <a:pt x="207845" y="421787"/>
                    <a:pt x="274317" y="444729"/>
                    <a:pt x="344668" y="444729"/>
                  </a:cubicBezTo>
                  <a:cubicBezTo>
                    <a:pt x="353173" y="444729"/>
                    <a:pt x="361752" y="444357"/>
                    <a:pt x="370257" y="443687"/>
                  </a:cubicBezTo>
                  <a:cubicBezTo>
                    <a:pt x="332209" y="465288"/>
                    <a:pt x="286254" y="477876"/>
                    <a:pt x="236717" y="477876"/>
                  </a:cubicBezTo>
                  <a:cubicBezTo>
                    <a:pt x="223736" y="477876"/>
                    <a:pt x="210755" y="477057"/>
                    <a:pt x="198072" y="475344"/>
                  </a:cubicBezTo>
                  <a:cubicBezTo>
                    <a:pt x="160397" y="499478"/>
                    <a:pt x="110637" y="528155"/>
                    <a:pt x="82437" y="531284"/>
                  </a:cubicBezTo>
                  <a:cubicBezTo>
                    <a:pt x="82138" y="531358"/>
                    <a:pt x="81840" y="531358"/>
                    <a:pt x="81542" y="531358"/>
                  </a:cubicBezTo>
                  <a:cubicBezTo>
                    <a:pt x="78930" y="531358"/>
                    <a:pt x="76469" y="530017"/>
                    <a:pt x="75051" y="527857"/>
                  </a:cubicBezTo>
                  <a:cubicBezTo>
                    <a:pt x="73410" y="525399"/>
                    <a:pt x="73335" y="522271"/>
                    <a:pt x="74753" y="519738"/>
                  </a:cubicBezTo>
                  <a:cubicBezTo>
                    <a:pt x="75051" y="519291"/>
                    <a:pt x="99223" y="476014"/>
                    <a:pt x="88778" y="435046"/>
                  </a:cubicBezTo>
                  <a:cubicBezTo>
                    <a:pt x="32303" y="397653"/>
                    <a:pt x="0" y="342160"/>
                    <a:pt x="0" y="282198"/>
                  </a:cubicBezTo>
                  <a:cubicBezTo>
                    <a:pt x="0" y="215532"/>
                    <a:pt x="40584" y="156538"/>
                    <a:pt x="102356" y="121231"/>
                  </a:cubicBezTo>
                  <a:close/>
                  <a:moveTo>
                    <a:pt x="356424" y="0"/>
                  </a:moveTo>
                  <a:cubicBezTo>
                    <a:pt x="495540" y="0"/>
                    <a:pt x="608697" y="94747"/>
                    <a:pt x="608697" y="211244"/>
                  </a:cubicBezTo>
                  <a:cubicBezTo>
                    <a:pt x="608697" y="274408"/>
                    <a:pt x="575802" y="333178"/>
                    <a:pt x="518290" y="373401"/>
                  </a:cubicBezTo>
                  <a:cubicBezTo>
                    <a:pt x="512845" y="406324"/>
                    <a:pt x="531717" y="440811"/>
                    <a:pt x="531941" y="441109"/>
                  </a:cubicBezTo>
                  <a:cubicBezTo>
                    <a:pt x="536267" y="448781"/>
                    <a:pt x="535969" y="458092"/>
                    <a:pt x="531120" y="465391"/>
                  </a:cubicBezTo>
                  <a:cubicBezTo>
                    <a:pt x="526794" y="472021"/>
                    <a:pt x="519484" y="475894"/>
                    <a:pt x="511577" y="475894"/>
                  </a:cubicBezTo>
                  <a:cubicBezTo>
                    <a:pt x="510756" y="475894"/>
                    <a:pt x="509936" y="475894"/>
                    <a:pt x="509041" y="475745"/>
                  </a:cubicBezTo>
                  <a:cubicBezTo>
                    <a:pt x="484574" y="473064"/>
                    <a:pt x="444966" y="454442"/>
                    <a:pt x="391408" y="420476"/>
                  </a:cubicBezTo>
                  <a:cubicBezTo>
                    <a:pt x="379920" y="421817"/>
                    <a:pt x="368135" y="422487"/>
                    <a:pt x="356424" y="422487"/>
                  </a:cubicBezTo>
                  <a:cubicBezTo>
                    <a:pt x="217382" y="422487"/>
                    <a:pt x="104225" y="327741"/>
                    <a:pt x="104225" y="211244"/>
                  </a:cubicBezTo>
                  <a:cubicBezTo>
                    <a:pt x="104225" y="94747"/>
                    <a:pt x="217382" y="0"/>
                    <a:pt x="356424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pPr algn="ctr"/>
              <a:endParaRPr lang="zh-CN" altLang="en-US" sz="2800">
                <a:solidFill>
                  <a:schemeClr val="bg1"/>
                </a:solidFill>
              </a:endParaRPr>
            </a:p>
          </p:txBody>
        </p:sp>
        <p:grpSp>
          <p:nvGrpSpPr>
            <p:cNvPr id="14" name="îṣ1îḓé">
              <a:extLst>
                <a:ext uri="{FF2B5EF4-FFF2-40B4-BE49-F238E27FC236}">
                  <a16:creationId xmlns:a16="http://schemas.microsoft.com/office/drawing/2014/main" xmlns="" id="{CA4C55FA-4BBA-44F8-9B2D-006219475BFF}"/>
                </a:ext>
              </a:extLst>
            </p:cNvPr>
            <p:cNvGrpSpPr/>
            <p:nvPr/>
          </p:nvGrpSpPr>
          <p:grpSpPr>
            <a:xfrm>
              <a:off x="7398589" y="2138743"/>
              <a:ext cx="3147464" cy="1503124"/>
              <a:chOff x="683274" y="1863885"/>
              <a:chExt cx="3432726" cy="1503124"/>
            </a:xfrm>
          </p:grpSpPr>
          <p:sp>
            <p:nvSpPr>
              <p:cNvPr id="26" name="íṡḻíḍe">
                <a:extLst>
                  <a:ext uri="{FF2B5EF4-FFF2-40B4-BE49-F238E27FC236}">
                    <a16:creationId xmlns:a16="http://schemas.microsoft.com/office/drawing/2014/main" xmlns="" id="{FBE11F76-8D2B-4F06-B72D-DF956EFE8D8A}"/>
                  </a:ext>
                </a:extLst>
              </p:cNvPr>
              <p:cNvSpPr txBox="1"/>
              <p:nvPr/>
            </p:nvSpPr>
            <p:spPr bwMode="auto">
              <a:xfrm>
                <a:off x="683274" y="1863885"/>
                <a:ext cx="3432726" cy="44180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>
                    <a:solidFill>
                      <a:schemeClr val="bg1"/>
                    </a:solidFill>
                  </a:rPr>
                  <a:t>Text here</a:t>
                </a:r>
              </a:p>
            </p:txBody>
          </p:sp>
          <p:sp>
            <p:nvSpPr>
              <p:cNvPr id="27" name="iṡḷíḓe">
                <a:extLst>
                  <a:ext uri="{FF2B5EF4-FFF2-40B4-BE49-F238E27FC236}">
                    <a16:creationId xmlns:a16="http://schemas.microsoft.com/office/drawing/2014/main" xmlns="" id="{BA2F923C-FC87-409E-B061-F0933FEEBAF2}"/>
                  </a:ext>
                </a:extLst>
              </p:cNvPr>
              <p:cNvSpPr/>
              <p:nvPr/>
            </p:nvSpPr>
            <p:spPr bwMode="auto">
              <a:xfrm>
                <a:off x="683274" y="2305691"/>
                <a:ext cx="3432726" cy="10613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5" name="îṩľïḑè">
              <a:extLst>
                <a:ext uri="{FF2B5EF4-FFF2-40B4-BE49-F238E27FC236}">
                  <a16:creationId xmlns:a16="http://schemas.microsoft.com/office/drawing/2014/main" xmlns="" id="{CA4C55FA-4BBA-44F8-9B2D-006219475BFF}"/>
                </a:ext>
              </a:extLst>
            </p:cNvPr>
            <p:cNvGrpSpPr/>
            <p:nvPr/>
          </p:nvGrpSpPr>
          <p:grpSpPr>
            <a:xfrm>
              <a:off x="8371436" y="3717911"/>
              <a:ext cx="3147464" cy="1503124"/>
              <a:chOff x="683274" y="1863885"/>
              <a:chExt cx="3432726" cy="1503124"/>
            </a:xfrm>
          </p:grpSpPr>
          <p:sp>
            <p:nvSpPr>
              <p:cNvPr id="24" name="îṥľïḋè">
                <a:extLst>
                  <a:ext uri="{FF2B5EF4-FFF2-40B4-BE49-F238E27FC236}">
                    <a16:creationId xmlns:a16="http://schemas.microsoft.com/office/drawing/2014/main" xmlns="" id="{FBE11F76-8D2B-4F06-B72D-DF956EFE8D8A}"/>
                  </a:ext>
                </a:extLst>
              </p:cNvPr>
              <p:cNvSpPr txBox="1"/>
              <p:nvPr/>
            </p:nvSpPr>
            <p:spPr bwMode="auto">
              <a:xfrm>
                <a:off x="683274" y="1863885"/>
                <a:ext cx="3432726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  <p:sp>
            <p:nvSpPr>
              <p:cNvPr id="25" name="iṧļide">
                <a:extLst>
                  <a:ext uri="{FF2B5EF4-FFF2-40B4-BE49-F238E27FC236}">
                    <a16:creationId xmlns:a16="http://schemas.microsoft.com/office/drawing/2014/main" xmlns="" id="{BA2F923C-FC87-409E-B061-F0933FEEBAF2}"/>
                  </a:ext>
                </a:extLst>
              </p:cNvPr>
              <p:cNvSpPr/>
              <p:nvPr/>
            </p:nvSpPr>
            <p:spPr bwMode="auto">
              <a:xfrm>
                <a:off x="683274" y="2305691"/>
                <a:ext cx="3432726" cy="10613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6" name="iṣḷíďê">
              <a:extLst>
                <a:ext uri="{FF2B5EF4-FFF2-40B4-BE49-F238E27FC236}">
                  <a16:creationId xmlns:a16="http://schemas.microsoft.com/office/drawing/2014/main" xmlns="" id="{CA4C55FA-4BBA-44F8-9B2D-006219475BFF}"/>
                </a:ext>
              </a:extLst>
            </p:cNvPr>
            <p:cNvGrpSpPr/>
            <p:nvPr/>
          </p:nvGrpSpPr>
          <p:grpSpPr>
            <a:xfrm>
              <a:off x="660400" y="2214787"/>
              <a:ext cx="3147464" cy="1503124"/>
              <a:chOff x="683274" y="1863885"/>
              <a:chExt cx="3432726" cy="1503124"/>
            </a:xfrm>
          </p:grpSpPr>
          <p:sp>
            <p:nvSpPr>
              <p:cNvPr id="22" name="î$1íḑè">
                <a:extLst>
                  <a:ext uri="{FF2B5EF4-FFF2-40B4-BE49-F238E27FC236}">
                    <a16:creationId xmlns:a16="http://schemas.microsoft.com/office/drawing/2014/main" xmlns="" id="{FBE11F76-8D2B-4F06-B72D-DF956EFE8D8A}"/>
                  </a:ext>
                </a:extLst>
              </p:cNvPr>
              <p:cNvSpPr txBox="1"/>
              <p:nvPr/>
            </p:nvSpPr>
            <p:spPr bwMode="auto">
              <a:xfrm>
                <a:off x="683274" y="1863885"/>
                <a:ext cx="3432726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  <p:sp>
            <p:nvSpPr>
              <p:cNvPr id="23" name="íšľiḑè">
                <a:extLst>
                  <a:ext uri="{FF2B5EF4-FFF2-40B4-BE49-F238E27FC236}">
                    <a16:creationId xmlns:a16="http://schemas.microsoft.com/office/drawing/2014/main" xmlns="" id="{BA2F923C-FC87-409E-B061-F0933FEEBAF2}"/>
                  </a:ext>
                </a:extLst>
              </p:cNvPr>
              <p:cNvSpPr/>
              <p:nvPr/>
            </p:nvSpPr>
            <p:spPr bwMode="auto">
              <a:xfrm>
                <a:off x="683274" y="2305691"/>
                <a:ext cx="3432726" cy="10613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7" name="îṡḻide">
              <a:extLst>
                <a:ext uri="{FF2B5EF4-FFF2-40B4-BE49-F238E27FC236}">
                  <a16:creationId xmlns:a16="http://schemas.microsoft.com/office/drawing/2014/main" xmlns="" id="{CA4C55FA-4BBA-44F8-9B2D-006219475BFF}"/>
                </a:ext>
              </a:extLst>
            </p:cNvPr>
            <p:cNvGrpSpPr/>
            <p:nvPr/>
          </p:nvGrpSpPr>
          <p:grpSpPr>
            <a:xfrm>
              <a:off x="1591802" y="3717911"/>
              <a:ext cx="3147464" cy="1503124"/>
              <a:chOff x="683274" y="1863885"/>
              <a:chExt cx="3432726" cy="1503124"/>
            </a:xfrm>
          </p:grpSpPr>
          <p:sp>
            <p:nvSpPr>
              <p:cNvPr id="20" name="îś1ïḓé">
                <a:extLst>
                  <a:ext uri="{FF2B5EF4-FFF2-40B4-BE49-F238E27FC236}">
                    <a16:creationId xmlns:a16="http://schemas.microsoft.com/office/drawing/2014/main" xmlns="" id="{FBE11F76-8D2B-4F06-B72D-DF956EFE8D8A}"/>
                  </a:ext>
                </a:extLst>
              </p:cNvPr>
              <p:cNvSpPr txBox="1"/>
              <p:nvPr/>
            </p:nvSpPr>
            <p:spPr bwMode="auto">
              <a:xfrm>
                <a:off x="683274" y="1863885"/>
                <a:ext cx="3432726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  <p:sp>
            <p:nvSpPr>
              <p:cNvPr id="21" name="ïşḷîḋe">
                <a:extLst>
                  <a:ext uri="{FF2B5EF4-FFF2-40B4-BE49-F238E27FC236}">
                    <a16:creationId xmlns:a16="http://schemas.microsoft.com/office/drawing/2014/main" xmlns="" id="{BA2F923C-FC87-409E-B061-F0933FEEBAF2}"/>
                  </a:ext>
                </a:extLst>
              </p:cNvPr>
              <p:cNvSpPr/>
              <p:nvPr/>
            </p:nvSpPr>
            <p:spPr bwMode="auto">
              <a:xfrm>
                <a:off x="683274" y="2305691"/>
                <a:ext cx="3432726" cy="10613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</p:grp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xmlns="" id="{73EDE62E-663A-4AFB-AEB8-351731437227}"/>
                </a:ext>
              </a:extLst>
            </p:cNvPr>
            <p:cNvCxnSpPr/>
            <p:nvPr/>
          </p:nvCxnSpPr>
          <p:spPr>
            <a:xfrm>
              <a:off x="660400" y="3641868"/>
              <a:ext cx="4218519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>
              <a:extLst>
                <a:ext uri="{FF2B5EF4-FFF2-40B4-BE49-F238E27FC236}">
                  <a16:creationId xmlns:a16="http://schemas.microsoft.com/office/drawing/2014/main" xmlns="" id="{46BDBE3A-AA54-48BF-B15D-F8B85D16DC30}"/>
                </a:ext>
              </a:extLst>
            </p:cNvPr>
            <p:cNvCxnSpPr/>
            <p:nvPr/>
          </p:nvCxnSpPr>
          <p:spPr>
            <a:xfrm>
              <a:off x="7300380" y="3724227"/>
              <a:ext cx="4218519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76235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20635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467DAE68-C843-4CC9-8EFD-24584EAEE2C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655798"/>
            <a:ext cx="12192000" cy="6202203"/>
            <a:chOff x="0" y="655798"/>
            <a:chExt cx="12192000" cy="6202203"/>
          </a:xfrm>
        </p:grpSpPr>
        <p:sp>
          <p:nvSpPr>
            <p:cNvPr id="6" name="i$ḻïde">
              <a:extLst>
                <a:ext uri="{FF2B5EF4-FFF2-40B4-BE49-F238E27FC236}">
                  <a16:creationId xmlns:a16="http://schemas.microsoft.com/office/drawing/2014/main" xmlns="" id="{312FA4C9-65F3-4012-9F65-236AB1E47791}"/>
                </a:ext>
              </a:extLst>
            </p:cNvPr>
            <p:cNvSpPr/>
            <p:nvPr/>
          </p:nvSpPr>
          <p:spPr>
            <a:xfrm>
              <a:off x="0" y="3428115"/>
              <a:ext cx="12192000" cy="3429886"/>
            </a:xfrm>
            <a:prstGeom prst="rect">
              <a:avLst/>
            </a:prstGeom>
            <a:solidFill>
              <a:schemeClr val="bg1">
                <a:lumMod val="8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grpSp>
          <p:nvGrpSpPr>
            <p:cNvPr id="7" name="íSlîḋè">
              <a:extLst>
                <a:ext uri="{FF2B5EF4-FFF2-40B4-BE49-F238E27FC236}">
                  <a16:creationId xmlns:a16="http://schemas.microsoft.com/office/drawing/2014/main" xmlns="" id="{17A759CD-022B-460D-8520-20CA65E3E581}"/>
                </a:ext>
              </a:extLst>
            </p:cNvPr>
            <p:cNvGrpSpPr/>
            <p:nvPr/>
          </p:nvGrpSpPr>
          <p:grpSpPr>
            <a:xfrm>
              <a:off x="2240085" y="655798"/>
              <a:ext cx="2583118" cy="1272648"/>
              <a:chOff x="5851479" y="741782"/>
              <a:chExt cx="2877059" cy="1417467"/>
            </a:xfrm>
          </p:grpSpPr>
          <p:sp>
            <p:nvSpPr>
              <p:cNvPr id="42" name="ísḻïďê">
                <a:extLst>
                  <a:ext uri="{FF2B5EF4-FFF2-40B4-BE49-F238E27FC236}">
                    <a16:creationId xmlns:a16="http://schemas.microsoft.com/office/drawing/2014/main" xmlns="" id="{C672625F-A493-4BBA-95E6-0D7AFCEE2440}"/>
                  </a:ext>
                </a:extLst>
              </p:cNvPr>
              <p:cNvSpPr/>
              <p:nvPr/>
            </p:nvSpPr>
            <p:spPr bwMode="auto">
              <a:xfrm>
                <a:off x="6766902" y="1383435"/>
                <a:ext cx="1595259" cy="775814"/>
              </a:xfrm>
              <a:custGeom>
                <a:avLst/>
                <a:gdLst>
                  <a:gd name="connsiteX0" fmla="*/ 1132965 w 1595259"/>
                  <a:gd name="connsiteY0" fmla="*/ 657 h 775814"/>
                  <a:gd name="connsiteX1" fmla="*/ 1595259 w 1595259"/>
                  <a:gd name="connsiteY1" fmla="*/ 106343 h 775814"/>
                  <a:gd name="connsiteX2" fmla="*/ 898676 w 1595259"/>
                  <a:gd name="connsiteY2" fmla="*/ 56107 h 775814"/>
                  <a:gd name="connsiteX3" fmla="*/ 75634 w 1595259"/>
                  <a:gd name="connsiteY3" fmla="*/ 738331 h 775814"/>
                  <a:gd name="connsiteX4" fmla="*/ 63872 w 1595259"/>
                  <a:gd name="connsiteY4" fmla="*/ 775814 h 775814"/>
                  <a:gd name="connsiteX5" fmla="*/ 0 w 1595259"/>
                  <a:gd name="connsiteY5" fmla="*/ 775814 h 775814"/>
                  <a:gd name="connsiteX6" fmla="*/ 7510 w 1595259"/>
                  <a:gd name="connsiteY6" fmla="*/ 744930 h 775814"/>
                  <a:gd name="connsiteX7" fmla="*/ 834044 w 1595259"/>
                  <a:gd name="connsiteY7" fmla="*/ 27401 h 775814"/>
                  <a:gd name="connsiteX8" fmla="*/ 1132965 w 1595259"/>
                  <a:gd name="connsiteY8" fmla="*/ 657 h 775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95259" h="775814">
                    <a:moveTo>
                      <a:pt x="1132965" y="657"/>
                    </a:moveTo>
                    <a:cubicBezTo>
                      <a:pt x="1297349" y="5983"/>
                      <a:pt x="1456122" y="43548"/>
                      <a:pt x="1595259" y="106343"/>
                    </a:cubicBezTo>
                    <a:cubicBezTo>
                      <a:pt x="1387002" y="27401"/>
                      <a:pt x="1142839" y="5871"/>
                      <a:pt x="898676" y="56107"/>
                    </a:cubicBezTo>
                    <a:cubicBezTo>
                      <a:pt x="500115" y="142226"/>
                      <a:pt x="194462" y="414039"/>
                      <a:pt x="75634" y="738331"/>
                    </a:cubicBezTo>
                    <a:lnTo>
                      <a:pt x="63872" y="775814"/>
                    </a:lnTo>
                    <a:lnTo>
                      <a:pt x="0" y="775814"/>
                    </a:lnTo>
                    <a:lnTo>
                      <a:pt x="7510" y="744930"/>
                    </a:lnTo>
                    <a:cubicBezTo>
                      <a:pt x="107613" y="403499"/>
                      <a:pt x="413939" y="120696"/>
                      <a:pt x="834044" y="27401"/>
                    </a:cubicBezTo>
                    <a:cubicBezTo>
                      <a:pt x="933684" y="5871"/>
                      <a:pt x="1034334" y="-2539"/>
                      <a:pt x="1132965" y="657"/>
                    </a:cubicBezTo>
                    <a:close/>
                  </a:path>
                </a:pathLst>
              </a:custGeom>
              <a:solidFill>
                <a:srgbClr val="595959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43" name="íš1ïḑe">
                <a:extLst>
                  <a:ext uri="{FF2B5EF4-FFF2-40B4-BE49-F238E27FC236}">
                    <a16:creationId xmlns:a16="http://schemas.microsoft.com/office/drawing/2014/main" xmlns="" id="{9774CD0C-8EF1-4D40-98DC-C7B6512E7F27}"/>
                  </a:ext>
                </a:extLst>
              </p:cNvPr>
              <p:cNvSpPr/>
              <p:nvPr/>
            </p:nvSpPr>
            <p:spPr bwMode="auto">
              <a:xfrm>
                <a:off x="6960230" y="741782"/>
                <a:ext cx="1768308" cy="1329260"/>
              </a:xfrm>
              <a:custGeom>
                <a:avLst/>
                <a:gdLst>
                  <a:gd name="T0" fmla="*/ 9 w 246"/>
                  <a:gd name="T1" fmla="*/ 121 h 185"/>
                  <a:gd name="T2" fmla="*/ 73 w 246"/>
                  <a:gd name="T3" fmla="*/ 31 h 185"/>
                  <a:gd name="T4" fmla="*/ 69 w 246"/>
                  <a:gd name="T5" fmla="*/ 42 h 185"/>
                  <a:gd name="T6" fmla="*/ 192 w 246"/>
                  <a:gd name="T7" fmla="*/ 58 h 185"/>
                  <a:gd name="T8" fmla="*/ 246 w 246"/>
                  <a:gd name="T9" fmla="*/ 133 h 185"/>
                  <a:gd name="T10" fmla="*/ 203 w 246"/>
                  <a:gd name="T11" fmla="*/ 150 h 185"/>
                  <a:gd name="T12" fmla="*/ 105 w 246"/>
                  <a:gd name="T13" fmla="*/ 168 h 185"/>
                  <a:gd name="T14" fmla="*/ 59 w 246"/>
                  <a:gd name="T15" fmla="*/ 147 h 185"/>
                  <a:gd name="T16" fmla="*/ 71 w 246"/>
                  <a:gd name="T17" fmla="*/ 164 h 185"/>
                  <a:gd name="T18" fmla="*/ 0 w 246"/>
                  <a:gd name="T19" fmla="*/ 145 h 185"/>
                  <a:gd name="T20" fmla="*/ 165 w 246"/>
                  <a:gd name="T21" fmla="*/ 83 h 185"/>
                  <a:gd name="T22" fmla="*/ 9 w 246"/>
                  <a:gd name="T23" fmla="*/ 121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6" h="185">
                    <a:moveTo>
                      <a:pt x="9" y="121"/>
                    </a:moveTo>
                    <a:cubicBezTo>
                      <a:pt x="9" y="121"/>
                      <a:pt x="14" y="59"/>
                      <a:pt x="73" y="31"/>
                    </a:cubicBezTo>
                    <a:cubicBezTo>
                      <a:pt x="69" y="42"/>
                      <a:pt x="69" y="42"/>
                      <a:pt x="69" y="42"/>
                    </a:cubicBezTo>
                    <a:cubicBezTo>
                      <a:pt x="69" y="42"/>
                      <a:pt x="124" y="0"/>
                      <a:pt x="192" y="58"/>
                    </a:cubicBezTo>
                    <a:cubicBezTo>
                      <a:pt x="241" y="99"/>
                      <a:pt x="246" y="133"/>
                      <a:pt x="246" y="133"/>
                    </a:cubicBezTo>
                    <a:cubicBezTo>
                      <a:pt x="246" y="133"/>
                      <a:pt x="230" y="116"/>
                      <a:pt x="203" y="150"/>
                    </a:cubicBezTo>
                    <a:cubicBezTo>
                      <a:pt x="187" y="169"/>
                      <a:pt x="142" y="185"/>
                      <a:pt x="105" y="168"/>
                    </a:cubicBezTo>
                    <a:cubicBezTo>
                      <a:pt x="68" y="151"/>
                      <a:pt x="59" y="147"/>
                      <a:pt x="59" y="147"/>
                    </a:cubicBezTo>
                    <a:cubicBezTo>
                      <a:pt x="71" y="164"/>
                      <a:pt x="71" y="164"/>
                      <a:pt x="71" y="164"/>
                    </a:cubicBezTo>
                    <a:cubicBezTo>
                      <a:pt x="71" y="164"/>
                      <a:pt x="17" y="124"/>
                      <a:pt x="0" y="145"/>
                    </a:cubicBezTo>
                    <a:cubicBezTo>
                      <a:pt x="0" y="145"/>
                      <a:pt x="79" y="49"/>
                      <a:pt x="165" y="83"/>
                    </a:cubicBezTo>
                    <a:cubicBezTo>
                      <a:pt x="165" y="83"/>
                      <a:pt x="91" y="41"/>
                      <a:pt x="9" y="121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44" name="iṧḷïḓe">
                <a:extLst>
                  <a:ext uri="{FF2B5EF4-FFF2-40B4-BE49-F238E27FC236}">
                    <a16:creationId xmlns:a16="http://schemas.microsoft.com/office/drawing/2014/main" xmlns="" id="{24B4A1A0-5C45-4DF5-A641-096DEC1B1810}"/>
                  </a:ext>
                </a:extLst>
              </p:cNvPr>
              <p:cNvSpPr/>
              <p:nvPr/>
            </p:nvSpPr>
            <p:spPr bwMode="auto">
              <a:xfrm>
                <a:off x="5851479" y="1195506"/>
                <a:ext cx="1087553" cy="902787"/>
              </a:xfrm>
              <a:custGeom>
                <a:avLst/>
                <a:gdLst>
                  <a:gd name="T0" fmla="*/ 167 w 196"/>
                  <a:gd name="T1" fmla="*/ 142 h 163"/>
                  <a:gd name="T2" fmla="*/ 170 w 196"/>
                  <a:gd name="T3" fmla="*/ 48 h 163"/>
                  <a:gd name="T4" fmla="*/ 167 w 196"/>
                  <a:gd name="T5" fmla="*/ 57 h 163"/>
                  <a:gd name="T6" fmla="*/ 75 w 196"/>
                  <a:gd name="T7" fmla="*/ 3 h 163"/>
                  <a:gd name="T8" fmla="*/ 0 w 196"/>
                  <a:gd name="T9" fmla="*/ 26 h 163"/>
                  <a:gd name="T10" fmla="*/ 20 w 196"/>
                  <a:gd name="T11" fmla="*/ 60 h 163"/>
                  <a:gd name="T12" fmla="*/ 77 w 196"/>
                  <a:gd name="T13" fmla="*/ 124 h 163"/>
                  <a:gd name="T14" fmla="*/ 119 w 196"/>
                  <a:gd name="T15" fmla="*/ 134 h 163"/>
                  <a:gd name="T16" fmla="*/ 102 w 196"/>
                  <a:gd name="T17" fmla="*/ 139 h 163"/>
                  <a:gd name="T18" fmla="*/ 161 w 196"/>
                  <a:gd name="T19" fmla="*/ 163 h 163"/>
                  <a:gd name="T20" fmla="*/ 81 w 196"/>
                  <a:gd name="T21" fmla="*/ 35 h 163"/>
                  <a:gd name="T22" fmla="*/ 167 w 196"/>
                  <a:gd name="T23" fmla="*/ 142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6" h="163">
                    <a:moveTo>
                      <a:pt x="167" y="142"/>
                    </a:moveTo>
                    <a:cubicBezTo>
                      <a:pt x="167" y="142"/>
                      <a:pt x="196" y="98"/>
                      <a:pt x="170" y="48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7" y="57"/>
                      <a:pt x="152" y="0"/>
                      <a:pt x="75" y="3"/>
                    </a:cubicBezTo>
                    <a:cubicBezTo>
                      <a:pt x="21" y="6"/>
                      <a:pt x="0" y="26"/>
                      <a:pt x="0" y="26"/>
                    </a:cubicBezTo>
                    <a:cubicBezTo>
                      <a:pt x="0" y="26"/>
                      <a:pt x="19" y="23"/>
                      <a:pt x="20" y="60"/>
                    </a:cubicBezTo>
                    <a:cubicBezTo>
                      <a:pt x="21" y="81"/>
                      <a:pt x="43" y="116"/>
                      <a:pt x="77" y="124"/>
                    </a:cubicBezTo>
                    <a:cubicBezTo>
                      <a:pt x="111" y="131"/>
                      <a:pt x="119" y="134"/>
                      <a:pt x="119" y="134"/>
                    </a:cubicBezTo>
                    <a:cubicBezTo>
                      <a:pt x="102" y="139"/>
                      <a:pt x="102" y="139"/>
                      <a:pt x="102" y="139"/>
                    </a:cubicBezTo>
                    <a:cubicBezTo>
                      <a:pt x="102" y="139"/>
                      <a:pt x="159" y="140"/>
                      <a:pt x="161" y="163"/>
                    </a:cubicBezTo>
                    <a:cubicBezTo>
                      <a:pt x="161" y="163"/>
                      <a:pt x="157" y="56"/>
                      <a:pt x="81" y="35"/>
                    </a:cubicBezTo>
                    <a:cubicBezTo>
                      <a:pt x="81" y="35"/>
                      <a:pt x="153" y="45"/>
                      <a:pt x="167" y="142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sp>
          <p:nvSpPr>
            <p:cNvPr id="8" name="ïṣ1ïďê">
              <a:extLst>
                <a:ext uri="{FF2B5EF4-FFF2-40B4-BE49-F238E27FC236}">
                  <a16:creationId xmlns:a16="http://schemas.microsoft.com/office/drawing/2014/main" xmlns="" id="{CFF1CB4E-AF16-47A0-96B9-9BDBD1F4D8CB}"/>
                </a:ext>
              </a:extLst>
            </p:cNvPr>
            <p:cNvSpPr/>
            <p:nvPr/>
          </p:nvSpPr>
          <p:spPr>
            <a:xfrm>
              <a:off x="2139760" y="1944008"/>
              <a:ext cx="1912879" cy="1912879"/>
            </a:xfrm>
            <a:prstGeom prst="ellipse">
              <a:avLst/>
            </a:prstGeom>
            <a:solidFill>
              <a:schemeClr val="bg1"/>
            </a:solidFill>
            <a:ln w="1270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9" name="iṥľiḍé">
              <a:extLst>
                <a:ext uri="{FF2B5EF4-FFF2-40B4-BE49-F238E27FC236}">
                  <a16:creationId xmlns:a16="http://schemas.microsoft.com/office/drawing/2014/main" xmlns="" id="{712A85B5-509C-41CB-BEA6-2D4C75450E94}"/>
                </a:ext>
              </a:extLst>
            </p:cNvPr>
            <p:cNvSpPr/>
            <p:nvPr/>
          </p:nvSpPr>
          <p:spPr>
            <a:xfrm>
              <a:off x="2298374" y="1944008"/>
              <a:ext cx="1216720" cy="1641956"/>
            </a:xfrm>
            <a:custGeom>
              <a:avLst/>
              <a:gdLst>
                <a:gd name="connsiteX0" fmla="*/ 887090 w 1355175"/>
                <a:gd name="connsiteY0" fmla="*/ 0 h 1828800"/>
                <a:gd name="connsiteX1" fmla="*/ 996164 w 1355175"/>
                <a:gd name="connsiteY1" fmla="*/ 5508 h 1828800"/>
                <a:gd name="connsiteX2" fmla="*/ 1047944 w 1355175"/>
                <a:gd name="connsiteY2" fmla="*/ 13411 h 1828800"/>
                <a:gd name="connsiteX3" fmla="*/ 1111570 w 1355175"/>
                <a:gd name="connsiteY3" fmla="*/ 83416 h 1828800"/>
                <a:gd name="connsiteX4" fmla="*/ 1355175 w 1355175"/>
                <a:gd name="connsiteY4" fmla="*/ 762000 h 1828800"/>
                <a:gd name="connsiteX5" fmla="*/ 288375 w 1355175"/>
                <a:gd name="connsiteY5" fmla="*/ 1828800 h 1828800"/>
                <a:gd name="connsiteX6" fmla="*/ 179301 w 1355175"/>
                <a:gd name="connsiteY6" fmla="*/ 1823292 h 1828800"/>
                <a:gd name="connsiteX7" fmla="*/ 176223 w 1355175"/>
                <a:gd name="connsiteY7" fmla="*/ 1822822 h 1828800"/>
                <a:gd name="connsiteX8" fmla="*/ 254590 w 1355175"/>
                <a:gd name="connsiteY8" fmla="*/ 1814922 h 1828800"/>
                <a:gd name="connsiteX9" fmla="*/ 800005 w 1355175"/>
                <a:gd name="connsiteY9" fmla="*/ 1145721 h 1828800"/>
                <a:gd name="connsiteX10" fmla="*/ 116926 w 1355175"/>
                <a:gd name="connsiteY10" fmla="*/ 462642 h 1828800"/>
                <a:gd name="connsiteX11" fmla="*/ 0 w 1355175"/>
                <a:gd name="connsiteY11" fmla="*/ 474429 h 1828800"/>
                <a:gd name="connsiteX12" fmla="*/ 2483 w 1355175"/>
                <a:gd name="connsiteY12" fmla="*/ 470342 h 1828800"/>
                <a:gd name="connsiteX13" fmla="*/ 887090 w 1355175"/>
                <a:gd name="connsiteY13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55175" h="1828800">
                  <a:moveTo>
                    <a:pt x="887090" y="0"/>
                  </a:moveTo>
                  <a:cubicBezTo>
                    <a:pt x="923914" y="0"/>
                    <a:pt x="960302" y="1866"/>
                    <a:pt x="996164" y="5508"/>
                  </a:cubicBezTo>
                  <a:lnTo>
                    <a:pt x="1047944" y="13411"/>
                  </a:lnTo>
                  <a:lnTo>
                    <a:pt x="1111570" y="83416"/>
                  </a:lnTo>
                  <a:cubicBezTo>
                    <a:pt x="1263755" y="267822"/>
                    <a:pt x="1355175" y="504235"/>
                    <a:pt x="1355175" y="762000"/>
                  </a:cubicBezTo>
                  <a:cubicBezTo>
                    <a:pt x="1355175" y="1351177"/>
                    <a:pt x="877552" y="1828800"/>
                    <a:pt x="288375" y="1828800"/>
                  </a:cubicBezTo>
                  <a:cubicBezTo>
                    <a:pt x="251552" y="1828800"/>
                    <a:pt x="215164" y="1826934"/>
                    <a:pt x="179301" y="1823292"/>
                  </a:cubicBezTo>
                  <a:lnTo>
                    <a:pt x="176223" y="1822822"/>
                  </a:lnTo>
                  <a:lnTo>
                    <a:pt x="254590" y="1814922"/>
                  </a:lnTo>
                  <a:cubicBezTo>
                    <a:pt x="565858" y="1751228"/>
                    <a:pt x="800005" y="1475818"/>
                    <a:pt x="800005" y="1145721"/>
                  </a:cubicBezTo>
                  <a:cubicBezTo>
                    <a:pt x="800005" y="768467"/>
                    <a:pt x="494180" y="462642"/>
                    <a:pt x="116926" y="462642"/>
                  </a:cubicBezTo>
                  <a:lnTo>
                    <a:pt x="0" y="474429"/>
                  </a:lnTo>
                  <a:lnTo>
                    <a:pt x="2483" y="470342"/>
                  </a:lnTo>
                  <a:cubicBezTo>
                    <a:pt x="194195" y="186571"/>
                    <a:pt x="518855" y="0"/>
                    <a:pt x="887090" y="0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0" name="îŝľíḍè">
              <a:extLst>
                <a:ext uri="{FF2B5EF4-FFF2-40B4-BE49-F238E27FC236}">
                  <a16:creationId xmlns:a16="http://schemas.microsoft.com/office/drawing/2014/main" xmlns="" id="{4B9804EE-2B6C-4C5B-BC4F-ADAA6321825A}"/>
                </a:ext>
              </a:extLst>
            </p:cNvPr>
            <p:cNvSpPr/>
            <p:nvPr/>
          </p:nvSpPr>
          <p:spPr>
            <a:xfrm>
              <a:off x="2422951" y="1956049"/>
              <a:ext cx="1629688" cy="1903575"/>
            </a:xfrm>
            <a:custGeom>
              <a:avLst/>
              <a:gdLst>
                <a:gd name="connsiteX0" fmla="*/ 909189 w 1815135"/>
                <a:gd name="connsiteY0" fmla="*/ 0 h 2120189"/>
                <a:gd name="connsiteX1" fmla="*/ 963332 w 1815135"/>
                <a:gd name="connsiteY1" fmla="*/ 8263 h 2120189"/>
                <a:gd name="connsiteX2" fmla="*/ 1815135 w 1815135"/>
                <a:gd name="connsiteY2" fmla="*/ 1053389 h 2120189"/>
                <a:gd name="connsiteX3" fmla="*/ 748335 w 1815135"/>
                <a:gd name="connsiteY3" fmla="*/ 2120189 h 2120189"/>
                <a:gd name="connsiteX4" fmla="*/ 69751 w 1815135"/>
                <a:gd name="connsiteY4" fmla="*/ 1876584 h 2120189"/>
                <a:gd name="connsiteX5" fmla="*/ 0 w 1815135"/>
                <a:gd name="connsiteY5" fmla="*/ 1813189 h 2120189"/>
                <a:gd name="connsiteX6" fmla="*/ 37468 w 1815135"/>
                <a:gd name="connsiteY6" fmla="*/ 1809411 h 2120189"/>
                <a:gd name="connsiteX7" fmla="*/ 40546 w 1815135"/>
                <a:gd name="connsiteY7" fmla="*/ 1809881 h 2120189"/>
                <a:gd name="connsiteX8" fmla="*/ 149620 w 1815135"/>
                <a:gd name="connsiteY8" fmla="*/ 1815389 h 2120189"/>
                <a:gd name="connsiteX9" fmla="*/ 1216420 w 1815135"/>
                <a:gd name="connsiteY9" fmla="*/ 748589 h 2120189"/>
                <a:gd name="connsiteX10" fmla="*/ 972815 w 1815135"/>
                <a:gd name="connsiteY10" fmla="*/ 70005 h 2120189"/>
                <a:gd name="connsiteX11" fmla="*/ 909189 w 1815135"/>
                <a:gd name="connsiteY11" fmla="*/ 0 h 2120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15135" h="2120189">
                  <a:moveTo>
                    <a:pt x="909189" y="0"/>
                  </a:moveTo>
                  <a:lnTo>
                    <a:pt x="963332" y="8263"/>
                  </a:lnTo>
                  <a:cubicBezTo>
                    <a:pt x="1449455" y="107738"/>
                    <a:pt x="1815135" y="537859"/>
                    <a:pt x="1815135" y="1053389"/>
                  </a:cubicBezTo>
                  <a:cubicBezTo>
                    <a:pt x="1815135" y="1642566"/>
                    <a:pt x="1337512" y="2120189"/>
                    <a:pt x="748335" y="2120189"/>
                  </a:cubicBezTo>
                  <a:cubicBezTo>
                    <a:pt x="490570" y="2120189"/>
                    <a:pt x="254157" y="2028769"/>
                    <a:pt x="69751" y="1876584"/>
                  </a:cubicBezTo>
                  <a:lnTo>
                    <a:pt x="0" y="1813189"/>
                  </a:lnTo>
                  <a:lnTo>
                    <a:pt x="37468" y="1809411"/>
                  </a:lnTo>
                  <a:lnTo>
                    <a:pt x="40546" y="1809881"/>
                  </a:lnTo>
                  <a:cubicBezTo>
                    <a:pt x="76409" y="1813523"/>
                    <a:pt x="112797" y="1815389"/>
                    <a:pt x="149620" y="1815389"/>
                  </a:cubicBezTo>
                  <a:cubicBezTo>
                    <a:pt x="738797" y="1815389"/>
                    <a:pt x="1216420" y="1337766"/>
                    <a:pt x="1216420" y="748589"/>
                  </a:cubicBezTo>
                  <a:cubicBezTo>
                    <a:pt x="1216420" y="490824"/>
                    <a:pt x="1125000" y="254411"/>
                    <a:pt x="972815" y="70005"/>
                  </a:cubicBezTo>
                  <a:lnTo>
                    <a:pt x="909189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1" name="í$ḷïde">
              <a:extLst>
                <a:ext uri="{FF2B5EF4-FFF2-40B4-BE49-F238E27FC236}">
                  <a16:creationId xmlns:a16="http://schemas.microsoft.com/office/drawing/2014/main" xmlns="" id="{604D0060-F8AC-454A-8973-F49CA29C225B}"/>
                </a:ext>
              </a:extLst>
            </p:cNvPr>
            <p:cNvSpPr/>
            <p:nvPr/>
          </p:nvSpPr>
          <p:spPr>
            <a:xfrm>
              <a:off x="2137024" y="2359383"/>
              <a:ext cx="879620" cy="1221214"/>
            </a:xfrm>
            <a:custGeom>
              <a:avLst/>
              <a:gdLst>
                <a:gd name="connsiteX0" fmla="*/ 296636 w 979715"/>
                <a:gd name="connsiteY0" fmla="*/ 0 h 1360180"/>
                <a:gd name="connsiteX1" fmla="*/ 979715 w 979715"/>
                <a:gd name="connsiteY1" fmla="*/ 683079 h 1360180"/>
                <a:gd name="connsiteX2" fmla="*/ 434300 w 979715"/>
                <a:gd name="connsiteY2" fmla="*/ 1352280 h 1360180"/>
                <a:gd name="connsiteX3" fmla="*/ 355933 w 979715"/>
                <a:gd name="connsiteY3" fmla="*/ 1360180 h 1360180"/>
                <a:gd name="connsiteX4" fmla="*/ 307232 w 979715"/>
                <a:gd name="connsiteY4" fmla="*/ 1352748 h 1360180"/>
                <a:gd name="connsiteX5" fmla="*/ 243605 w 979715"/>
                <a:gd name="connsiteY5" fmla="*/ 1282742 h 1360180"/>
                <a:gd name="connsiteX6" fmla="*/ 0 w 979715"/>
                <a:gd name="connsiteY6" fmla="*/ 604158 h 1360180"/>
                <a:gd name="connsiteX7" fmla="*/ 128757 w 979715"/>
                <a:gd name="connsiteY7" fmla="*/ 95658 h 1360180"/>
                <a:gd name="connsiteX8" fmla="*/ 179710 w 979715"/>
                <a:gd name="connsiteY8" fmla="*/ 11787 h 1360180"/>
                <a:gd name="connsiteX9" fmla="*/ 296636 w 979715"/>
                <a:gd name="connsiteY9" fmla="*/ 0 h 1360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9715" h="1360180">
                  <a:moveTo>
                    <a:pt x="296636" y="0"/>
                  </a:moveTo>
                  <a:cubicBezTo>
                    <a:pt x="673890" y="0"/>
                    <a:pt x="979715" y="305825"/>
                    <a:pt x="979715" y="683079"/>
                  </a:cubicBezTo>
                  <a:cubicBezTo>
                    <a:pt x="979715" y="1013176"/>
                    <a:pt x="745568" y="1288586"/>
                    <a:pt x="434300" y="1352280"/>
                  </a:cubicBezTo>
                  <a:lnTo>
                    <a:pt x="355933" y="1360180"/>
                  </a:lnTo>
                  <a:lnTo>
                    <a:pt x="307232" y="1352748"/>
                  </a:lnTo>
                  <a:lnTo>
                    <a:pt x="243605" y="1282742"/>
                  </a:lnTo>
                  <a:cubicBezTo>
                    <a:pt x="91420" y="1098336"/>
                    <a:pt x="0" y="861923"/>
                    <a:pt x="0" y="604158"/>
                  </a:cubicBezTo>
                  <a:cubicBezTo>
                    <a:pt x="0" y="420040"/>
                    <a:pt x="46643" y="246816"/>
                    <a:pt x="128757" y="95658"/>
                  </a:cubicBezTo>
                  <a:lnTo>
                    <a:pt x="179710" y="11787"/>
                  </a:lnTo>
                  <a:lnTo>
                    <a:pt x="296636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2" name="ïšḷïďè">
              <a:extLst>
                <a:ext uri="{FF2B5EF4-FFF2-40B4-BE49-F238E27FC236}">
                  <a16:creationId xmlns:a16="http://schemas.microsoft.com/office/drawing/2014/main" xmlns="" id="{3BDEF0BE-9749-4265-A737-17BA683EE7BC}"/>
                </a:ext>
              </a:extLst>
            </p:cNvPr>
            <p:cNvSpPr txBox="1"/>
            <p:nvPr/>
          </p:nvSpPr>
          <p:spPr>
            <a:xfrm>
              <a:off x="3191485" y="3146510"/>
              <a:ext cx="793498" cy="31381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>
                <a:defRPr lang="zh-CN" altLang="en-US" sz="1050" b="0" i="0" u="none" strike="noStrike" kern="1200" baseline="0">
                  <a:solidFill>
                    <a:schemeClr val="tx1">
                      <a:lumMod val="60000"/>
                      <a:lumOff val="40000"/>
                    </a:schemeClr>
                  </a:solidFill>
                  <a:latin typeface="Impact" panose="020B0806030902050204" pitchFamily="34" charset="0"/>
                </a:defRPr>
              </a:pPr>
              <a:r>
                <a:rPr lang="en-US" sz="1100" b="1" dirty="0">
                  <a:solidFill>
                    <a:schemeClr val="accent1"/>
                  </a:solidFill>
                </a:rPr>
                <a:t>... ￥ | 50 %</a:t>
              </a:r>
            </a:p>
          </p:txBody>
        </p: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xmlns="" id="{2A60BF88-B800-4A12-9683-D06351863AD7}"/>
                </a:ext>
              </a:extLst>
            </p:cNvPr>
            <p:cNvCxnSpPr/>
            <p:nvPr/>
          </p:nvCxnSpPr>
          <p:spPr>
            <a:xfrm>
              <a:off x="4033542" y="2317259"/>
              <a:ext cx="1188720" cy="0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  <a:prstDash val="sysDot"/>
              <a:headEnd type="none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íṡļîdè">
              <a:extLst>
                <a:ext uri="{FF2B5EF4-FFF2-40B4-BE49-F238E27FC236}">
                  <a16:creationId xmlns:a16="http://schemas.microsoft.com/office/drawing/2014/main" xmlns="" id="{00D39D59-6E85-42CA-9105-01987ABDEC09}"/>
                </a:ext>
              </a:extLst>
            </p:cNvPr>
            <p:cNvSpPr txBox="1"/>
            <p:nvPr/>
          </p:nvSpPr>
          <p:spPr>
            <a:xfrm>
              <a:off x="5252725" y="1603139"/>
              <a:ext cx="4799515" cy="7141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/>
            <a:p>
              <a:pPr>
                <a:buSzPct val="25000"/>
              </a:pPr>
              <a:r>
                <a:rPr lang="en-US" sz="2000" b="1" dirty="0"/>
                <a:t>Unified fonts make</a:t>
              </a:r>
            </a:p>
            <a:p>
              <a:pPr>
                <a:buSzPct val="25000"/>
              </a:pPr>
              <a:r>
                <a:rPr lang="en-US" sz="2000" b="1" dirty="0"/>
                <a:t>reading more fluent.</a:t>
              </a:r>
            </a:p>
          </p:txBody>
        </p:sp>
        <p:sp>
          <p:nvSpPr>
            <p:cNvPr id="15" name="ïṥliďè">
              <a:extLst>
                <a:ext uri="{FF2B5EF4-FFF2-40B4-BE49-F238E27FC236}">
                  <a16:creationId xmlns:a16="http://schemas.microsoft.com/office/drawing/2014/main" xmlns="" id="{C450A5AB-0CF0-499D-8E5D-50859E0D4C93}"/>
                </a:ext>
              </a:extLst>
            </p:cNvPr>
            <p:cNvSpPr txBox="1"/>
            <p:nvPr/>
          </p:nvSpPr>
          <p:spPr>
            <a:xfrm>
              <a:off x="5252724" y="2317258"/>
              <a:ext cx="4799516" cy="8128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 lnSpcReduction="10000"/>
            </a:bodyPr>
            <a:lstStyle/>
            <a:p>
              <a:pPr>
                <a:lnSpc>
                  <a:spcPct val="150000"/>
                </a:lnSpc>
                <a:buSzPct val="25000"/>
              </a:pPr>
              <a:r>
                <a:rPr lang="en-US" altLang="zh-CN" sz="1100" dirty="0"/>
                <a:t>Theme color makes PPT more convenient to change.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altLang="zh-CN" sz="1100" dirty="0"/>
                <a:t>Adjust the spacing to adapt to Chinese typesetting, use the reference line in PPT.</a:t>
              </a:r>
            </a:p>
          </p:txBody>
        </p:sp>
        <p:grpSp>
          <p:nvGrpSpPr>
            <p:cNvPr id="16" name="ïŝḻíḋe">
              <a:extLst>
                <a:ext uri="{FF2B5EF4-FFF2-40B4-BE49-F238E27FC236}">
                  <a16:creationId xmlns:a16="http://schemas.microsoft.com/office/drawing/2014/main" xmlns="" id="{85F6F1CA-EFDF-4955-88B5-2E265AA89D37}"/>
                </a:ext>
              </a:extLst>
            </p:cNvPr>
            <p:cNvGrpSpPr/>
            <p:nvPr/>
          </p:nvGrpSpPr>
          <p:grpSpPr>
            <a:xfrm>
              <a:off x="673101" y="4001895"/>
              <a:ext cx="2232024" cy="1999757"/>
              <a:chOff x="673101" y="2751879"/>
              <a:chExt cx="2232024" cy="1999757"/>
            </a:xfrm>
          </p:grpSpPr>
          <p:sp>
            <p:nvSpPr>
              <p:cNvPr id="37" name="ísļîḋê">
                <a:extLst>
                  <a:ext uri="{FF2B5EF4-FFF2-40B4-BE49-F238E27FC236}">
                    <a16:creationId xmlns:a16="http://schemas.microsoft.com/office/drawing/2014/main" xmlns="" id="{2C783E3A-D439-4023-8F1B-9E4D0E78360E}"/>
                  </a:ext>
                </a:extLst>
              </p:cNvPr>
              <p:cNvSpPr/>
              <p:nvPr/>
            </p:nvSpPr>
            <p:spPr>
              <a:xfrm>
                <a:off x="1392764" y="2751879"/>
                <a:ext cx="792698" cy="792698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38" name="ïšľiḑé">
                <a:extLst>
                  <a:ext uri="{FF2B5EF4-FFF2-40B4-BE49-F238E27FC236}">
                    <a16:creationId xmlns:a16="http://schemas.microsoft.com/office/drawing/2014/main" xmlns="" id="{A710D90D-F845-4170-B585-C1665720D710}"/>
                  </a:ext>
                </a:extLst>
              </p:cNvPr>
              <p:cNvSpPr/>
              <p:nvPr/>
            </p:nvSpPr>
            <p:spPr bwMode="auto">
              <a:xfrm>
                <a:off x="1590113" y="2972447"/>
                <a:ext cx="398001" cy="351564"/>
              </a:xfrm>
              <a:custGeom>
                <a:avLst/>
                <a:gdLst>
                  <a:gd name="T0" fmla="*/ 573 w 573"/>
                  <a:gd name="T1" fmla="*/ 254 h 507"/>
                  <a:gd name="T2" fmla="*/ 433 w 573"/>
                  <a:gd name="T3" fmla="*/ 480 h 507"/>
                  <a:gd name="T4" fmla="*/ 538 w 573"/>
                  <a:gd name="T5" fmla="*/ 254 h 507"/>
                  <a:gd name="T6" fmla="*/ 433 w 573"/>
                  <a:gd name="T7" fmla="*/ 27 h 507"/>
                  <a:gd name="T8" fmla="*/ 573 w 573"/>
                  <a:gd name="T9" fmla="*/ 254 h 507"/>
                  <a:gd name="T10" fmla="*/ 507 w 573"/>
                  <a:gd name="T11" fmla="*/ 254 h 507"/>
                  <a:gd name="T12" fmla="*/ 253 w 573"/>
                  <a:gd name="T13" fmla="*/ 0 h 507"/>
                  <a:gd name="T14" fmla="*/ 0 w 573"/>
                  <a:gd name="T15" fmla="*/ 254 h 507"/>
                  <a:gd name="T16" fmla="*/ 253 w 573"/>
                  <a:gd name="T17" fmla="*/ 507 h 507"/>
                  <a:gd name="T18" fmla="*/ 507 w 573"/>
                  <a:gd name="T19" fmla="*/ 254 h 507"/>
                  <a:gd name="T20" fmla="*/ 440 w 573"/>
                  <a:gd name="T21" fmla="*/ 254 h 507"/>
                  <a:gd name="T22" fmla="*/ 253 w 573"/>
                  <a:gd name="T23" fmla="*/ 440 h 507"/>
                  <a:gd name="T24" fmla="*/ 67 w 573"/>
                  <a:gd name="T25" fmla="*/ 254 h 507"/>
                  <a:gd name="T26" fmla="*/ 253 w 573"/>
                  <a:gd name="T27" fmla="*/ 67 h 507"/>
                  <a:gd name="T28" fmla="*/ 440 w 573"/>
                  <a:gd name="T29" fmla="*/ 254 h 507"/>
                  <a:gd name="T30" fmla="*/ 370 w 573"/>
                  <a:gd name="T31" fmla="*/ 290 h 507"/>
                  <a:gd name="T32" fmla="*/ 321 w 573"/>
                  <a:gd name="T33" fmla="*/ 290 h 507"/>
                  <a:gd name="T34" fmla="*/ 321 w 573"/>
                  <a:gd name="T35" fmla="*/ 302 h 507"/>
                  <a:gd name="T36" fmla="*/ 311 w 573"/>
                  <a:gd name="T37" fmla="*/ 335 h 507"/>
                  <a:gd name="T38" fmla="*/ 264 w 573"/>
                  <a:gd name="T39" fmla="*/ 342 h 507"/>
                  <a:gd name="T40" fmla="*/ 215 w 573"/>
                  <a:gd name="T41" fmla="*/ 329 h 507"/>
                  <a:gd name="T42" fmla="*/ 208 w 573"/>
                  <a:gd name="T43" fmla="*/ 301 h 507"/>
                  <a:gd name="T44" fmla="*/ 282 w 573"/>
                  <a:gd name="T45" fmla="*/ 301 h 507"/>
                  <a:gd name="T46" fmla="*/ 287 w 573"/>
                  <a:gd name="T47" fmla="*/ 270 h 507"/>
                  <a:gd name="T48" fmla="*/ 207 w 573"/>
                  <a:gd name="T49" fmla="*/ 270 h 507"/>
                  <a:gd name="T50" fmla="*/ 206 w 573"/>
                  <a:gd name="T51" fmla="*/ 242 h 507"/>
                  <a:gd name="T52" fmla="*/ 206 w 573"/>
                  <a:gd name="T53" fmla="*/ 238 h 507"/>
                  <a:gd name="T54" fmla="*/ 291 w 573"/>
                  <a:gd name="T55" fmla="*/ 238 h 507"/>
                  <a:gd name="T56" fmla="*/ 296 w 573"/>
                  <a:gd name="T57" fmla="*/ 207 h 507"/>
                  <a:gd name="T58" fmla="*/ 208 w 573"/>
                  <a:gd name="T59" fmla="*/ 207 h 507"/>
                  <a:gd name="T60" fmla="*/ 216 w 573"/>
                  <a:gd name="T61" fmla="*/ 176 h 507"/>
                  <a:gd name="T62" fmla="*/ 266 w 573"/>
                  <a:gd name="T63" fmla="*/ 165 h 507"/>
                  <a:gd name="T64" fmla="*/ 306 w 573"/>
                  <a:gd name="T65" fmla="*/ 170 h 507"/>
                  <a:gd name="T66" fmla="*/ 319 w 573"/>
                  <a:gd name="T67" fmla="*/ 204 h 507"/>
                  <a:gd name="T68" fmla="*/ 319 w 573"/>
                  <a:gd name="T69" fmla="*/ 211 h 507"/>
                  <a:gd name="T70" fmla="*/ 367 w 573"/>
                  <a:gd name="T71" fmla="*/ 211 h 507"/>
                  <a:gd name="T72" fmla="*/ 367 w 573"/>
                  <a:gd name="T73" fmla="*/ 205 h 507"/>
                  <a:gd name="T74" fmla="*/ 349 w 573"/>
                  <a:gd name="T75" fmla="*/ 140 h 507"/>
                  <a:gd name="T76" fmla="*/ 276 w 573"/>
                  <a:gd name="T77" fmla="*/ 124 h 507"/>
                  <a:gd name="T78" fmla="*/ 181 w 573"/>
                  <a:gd name="T79" fmla="*/ 143 h 507"/>
                  <a:gd name="T80" fmla="*/ 158 w 573"/>
                  <a:gd name="T81" fmla="*/ 207 h 507"/>
                  <a:gd name="T82" fmla="*/ 142 w 573"/>
                  <a:gd name="T83" fmla="*/ 207 h 507"/>
                  <a:gd name="T84" fmla="*/ 137 w 573"/>
                  <a:gd name="T85" fmla="*/ 238 h 507"/>
                  <a:gd name="T86" fmla="*/ 157 w 573"/>
                  <a:gd name="T87" fmla="*/ 238 h 507"/>
                  <a:gd name="T88" fmla="*/ 158 w 573"/>
                  <a:gd name="T89" fmla="*/ 269 h 507"/>
                  <a:gd name="T90" fmla="*/ 142 w 573"/>
                  <a:gd name="T91" fmla="*/ 269 h 507"/>
                  <a:gd name="T92" fmla="*/ 137 w 573"/>
                  <a:gd name="T93" fmla="*/ 301 h 507"/>
                  <a:gd name="T94" fmla="*/ 160 w 573"/>
                  <a:gd name="T95" fmla="*/ 301 h 507"/>
                  <a:gd name="T96" fmla="*/ 175 w 573"/>
                  <a:gd name="T97" fmla="*/ 359 h 507"/>
                  <a:gd name="T98" fmla="*/ 264 w 573"/>
                  <a:gd name="T99" fmla="*/ 384 h 507"/>
                  <a:gd name="T100" fmla="*/ 344 w 573"/>
                  <a:gd name="T101" fmla="*/ 371 h 507"/>
                  <a:gd name="T102" fmla="*/ 370 w 573"/>
                  <a:gd name="T103" fmla="*/ 299 h 507"/>
                  <a:gd name="T104" fmla="*/ 370 w 573"/>
                  <a:gd name="T105" fmla="*/ 290 h 507"/>
                  <a:gd name="T106" fmla="*/ 370 w 573"/>
                  <a:gd name="T107" fmla="*/ 290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73" h="507">
                    <a:moveTo>
                      <a:pt x="573" y="254"/>
                    </a:moveTo>
                    <a:cubicBezTo>
                      <a:pt x="573" y="353"/>
                      <a:pt x="516" y="439"/>
                      <a:pt x="433" y="480"/>
                    </a:cubicBezTo>
                    <a:cubicBezTo>
                      <a:pt x="496" y="429"/>
                      <a:pt x="538" y="347"/>
                      <a:pt x="538" y="254"/>
                    </a:cubicBezTo>
                    <a:cubicBezTo>
                      <a:pt x="538" y="161"/>
                      <a:pt x="496" y="78"/>
                      <a:pt x="433" y="27"/>
                    </a:cubicBezTo>
                    <a:cubicBezTo>
                      <a:pt x="516" y="69"/>
                      <a:pt x="573" y="155"/>
                      <a:pt x="573" y="254"/>
                    </a:cubicBezTo>
                    <a:close/>
                    <a:moveTo>
                      <a:pt x="507" y="254"/>
                    </a:moveTo>
                    <a:cubicBezTo>
                      <a:pt x="507" y="114"/>
                      <a:pt x="393" y="0"/>
                      <a:pt x="253" y="0"/>
                    </a:cubicBezTo>
                    <a:cubicBezTo>
                      <a:pt x="114" y="0"/>
                      <a:pt x="0" y="114"/>
                      <a:pt x="0" y="254"/>
                    </a:cubicBezTo>
                    <a:cubicBezTo>
                      <a:pt x="0" y="393"/>
                      <a:pt x="114" y="507"/>
                      <a:pt x="253" y="507"/>
                    </a:cubicBezTo>
                    <a:cubicBezTo>
                      <a:pt x="393" y="507"/>
                      <a:pt x="507" y="393"/>
                      <a:pt x="507" y="254"/>
                    </a:cubicBezTo>
                    <a:close/>
                    <a:moveTo>
                      <a:pt x="440" y="254"/>
                    </a:moveTo>
                    <a:cubicBezTo>
                      <a:pt x="440" y="357"/>
                      <a:pt x="356" y="440"/>
                      <a:pt x="253" y="440"/>
                    </a:cubicBezTo>
                    <a:cubicBezTo>
                      <a:pt x="150" y="440"/>
                      <a:pt x="67" y="357"/>
                      <a:pt x="67" y="254"/>
                    </a:cubicBezTo>
                    <a:cubicBezTo>
                      <a:pt x="67" y="151"/>
                      <a:pt x="150" y="67"/>
                      <a:pt x="253" y="67"/>
                    </a:cubicBezTo>
                    <a:cubicBezTo>
                      <a:pt x="356" y="67"/>
                      <a:pt x="440" y="151"/>
                      <a:pt x="440" y="254"/>
                    </a:cubicBezTo>
                    <a:close/>
                    <a:moveTo>
                      <a:pt x="370" y="290"/>
                    </a:moveTo>
                    <a:lnTo>
                      <a:pt x="321" y="290"/>
                    </a:lnTo>
                    <a:lnTo>
                      <a:pt x="321" y="302"/>
                    </a:lnTo>
                    <a:cubicBezTo>
                      <a:pt x="322" y="318"/>
                      <a:pt x="318" y="329"/>
                      <a:pt x="311" y="335"/>
                    </a:cubicBezTo>
                    <a:cubicBezTo>
                      <a:pt x="303" y="340"/>
                      <a:pt x="288" y="342"/>
                      <a:pt x="264" y="342"/>
                    </a:cubicBezTo>
                    <a:cubicBezTo>
                      <a:pt x="236" y="342"/>
                      <a:pt x="220" y="338"/>
                      <a:pt x="215" y="329"/>
                    </a:cubicBezTo>
                    <a:cubicBezTo>
                      <a:pt x="212" y="324"/>
                      <a:pt x="210" y="315"/>
                      <a:pt x="208" y="301"/>
                    </a:cubicBezTo>
                    <a:lnTo>
                      <a:pt x="282" y="301"/>
                    </a:lnTo>
                    <a:lnTo>
                      <a:pt x="287" y="270"/>
                    </a:lnTo>
                    <a:lnTo>
                      <a:pt x="207" y="270"/>
                    </a:lnTo>
                    <a:cubicBezTo>
                      <a:pt x="207" y="260"/>
                      <a:pt x="206" y="251"/>
                      <a:pt x="206" y="242"/>
                    </a:cubicBezTo>
                    <a:lnTo>
                      <a:pt x="206" y="238"/>
                    </a:lnTo>
                    <a:lnTo>
                      <a:pt x="291" y="238"/>
                    </a:lnTo>
                    <a:lnTo>
                      <a:pt x="296" y="207"/>
                    </a:lnTo>
                    <a:lnTo>
                      <a:pt x="208" y="207"/>
                    </a:lnTo>
                    <a:cubicBezTo>
                      <a:pt x="209" y="191"/>
                      <a:pt x="212" y="181"/>
                      <a:pt x="216" y="176"/>
                    </a:cubicBezTo>
                    <a:cubicBezTo>
                      <a:pt x="222" y="169"/>
                      <a:pt x="239" y="165"/>
                      <a:pt x="266" y="165"/>
                    </a:cubicBezTo>
                    <a:cubicBezTo>
                      <a:pt x="286" y="165"/>
                      <a:pt x="300" y="167"/>
                      <a:pt x="306" y="170"/>
                    </a:cubicBezTo>
                    <a:cubicBezTo>
                      <a:pt x="314" y="175"/>
                      <a:pt x="319" y="186"/>
                      <a:pt x="319" y="204"/>
                    </a:cubicBezTo>
                    <a:lnTo>
                      <a:pt x="319" y="211"/>
                    </a:lnTo>
                    <a:lnTo>
                      <a:pt x="367" y="211"/>
                    </a:lnTo>
                    <a:lnTo>
                      <a:pt x="367" y="205"/>
                    </a:lnTo>
                    <a:cubicBezTo>
                      <a:pt x="366" y="172"/>
                      <a:pt x="360" y="150"/>
                      <a:pt x="349" y="140"/>
                    </a:cubicBezTo>
                    <a:cubicBezTo>
                      <a:pt x="337" y="129"/>
                      <a:pt x="312" y="124"/>
                      <a:pt x="276" y="124"/>
                    </a:cubicBezTo>
                    <a:cubicBezTo>
                      <a:pt x="228" y="124"/>
                      <a:pt x="196" y="130"/>
                      <a:pt x="181" y="143"/>
                    </a:cubicBezTo>
                    <a:cubicBezTo>
                      <a:pt x="168" y="154"/>
                      <a:pt x="160" y="175"/>
                      <a:pt x="158" y="207"/>
                    </a:cubicBezTo>
                    <a:lnTo>
                      <a:pt x="142" y="207"/>
                    </a:lnTo>
                    <a:lnTo>
                      <a:pt x="137" y="238"/>
                    </a:lnTo>
                    <a:lnTo>
                      <a:pt x="157" y="238"/>
                    </a:lnTo>
                    <a:cubicBezTo>
                      <a:pt x="157" y="250"/>
                      <a:pt x="157" y="260"/>
                      <a:pt x="158" y="269"/>
                    </a:cubicBezTo>
                    <a:lnTo>
                      <a:pt x="142" y="269"/>
                    </a:lnTo>
                    <a:lnTo>
                      <a:pt x="137" y="301"/>
                    </a:lnTo>
                    <a:lnTo>
                      <a:pt x="160" y="301"/>
                    </a:lnTo>
                    <a:cubicBezTo>
                      <a:pt x="163" y="330"/>
                      <a:pt x="168" y="349"/>
                      <a:pt x="175" y="359"/>
                    </a:cubicBezTo>
                    <a:cubicBezTo>
                      <a:pt x="186" y="375"/>
                      <a:pt x="216" y="384"/>
                      <a:pt x="264" y="384"/>
                    </a:cubicBezTo>
                    <a:cubicBezTo>
                      <a:pt x="305" y="384"/>
                      <a:pt x="332" y="380"/>
                      <a:pt x="344" y="371"/>
                    </a:cubicBezTo>
                    <a:cubicBezTo>
                      <a:pt x="361" y="361"/>
                      <a:pt x="370" y="336"/>
                      <a:pt x="370" y="299"/>
                    </a:cubicBezTo>
                    <a:lnTo>
                      <a:pt x="370" y="290"/>
                    </a:lnTo>
                    <a:lnTo>
                      <a:pt x="370" y="29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grpSp>
            <p:nvGrpSpPr>
              <p:cNvPr id="39" name="iṡḻíďé">
                <a:extLst>
                  <a:ext uri="{FF2B5EF4-FFF2-40B4-BE49-F238E27FC236}">
                    <a16:creationId xmlns:a16="http://schemas.microsoft.com/office/drawing/2014/main" xmlns="" id="{E4D2324D-18B5-4F56-ACDE-F00238A52F2C}"/>
                  </a:ext>
                </a:extLst>
              </p:cNvPr>
              <p:cNvGrpSpPr/>
              <p:nvPr/>
            </p:nvGrpSpPr>
            <p:grpSpPr>
              <a:xfrm>
                <a:off x="673101" y="3668688"/>
                <a:ext cx="2232024" cy="1082948"/>
                <a:chOff x="673101" y="3668688"/>
                <a:chExt cx="2232024" cy="1082948"/>
              </a:xfrm>
            </p:grpSpPr>
            <p:sp>
              <p:nvSpPr>
                <p:cNvPr id="40" name="íşľiďê">
                  <a:extLst>
                    <a:ext uri="{FF2B5EF4-FFF2-40B4-BE49-F238E27FC236}">
                      <a16:creationId xmlns:a16="http://schemas.microsoft.com/office/drawing/2014/main" xmlns="" id="{A71171AF-3B98-4281-834E-0DCD9ADF867E}"/>
                    </a:ext>
                  </a:extLst>
                </p:cNvPr>
                <p:cNvSpPr txBox="1"/>
                <p:nvPr/>
              </p:nvSpPr>
              <p:spPr>
                <a:xfrm>
                  <a:off x="673101" y="4061200"/>
                  <a:ext cx="2232024" cy="69043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/>
                <a:p>
                  <a:pPr algn="ctr">
                    <a:lnSpc>
                      <a:spcPct val="150000"/>
                    </a:lnSpc>
                    <a:buSzPct val="25000"/>
                  </a:pPr>
                  <a:r>
                    <a:rPr lang="en-US" sz="1100" dirty="0"/>
                    <a:t>Copy paste fonts. Choose the only option to retain text.…</a:t>
                  </a:r>
                  <a:r>
                    <a:rPr lang="de-DE" sz="1100" dirty="0"/>
                    <a:t>..</a:t>
                  </a:r>
                </a:p>
              </p:txBody>
            </p:sp>
            <p:sp>
              <p:nvSpPr>
                <p:cNvPr id="41" name="iśļiḓe">
                  <a:extLst>
                    <a:ext uri="{FF2B5EF4-FFF2-40B4-BE49-F238E27FC236}">
                      <a16:creationId xmlns:a16="http://schemas.microsoft.com/office/drawing/2014/main" xmlns="" id="{D167A4F4-DA3A-4FA1-98CE-6684FCC3CFFE}"/>
                    </a:ext>
                  </a:extLst>
                </p:cNvPr>
                <p:cNvSpPr txBox="1"/>
                <p:nvPr/>
              </p:nvSpPr>
              <p:spPr>
                <a:xfrm>
                  <a:off x="673101" y="3668688"/>
                  <a:ext cx="2232024" cy="39251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 anchorCtr="0">
                  <a:normAutofit/>
                </a:bodyPr>
                <a:lstStyle/>
                <a:p>
                  <a:pPr algn="ctr">
                    <a:buSzPct val="25000"/>
                  </a:pPr>
                  <a:r>
                    <a:rPr lang="de-DE" b="1" dirty="0"/>
                    <a:t>Text here</a:t>
                  </a:r>
                </a:p>
              </p:txBody>
            </p:sp>
          </p:grpSp>
        </p:grpSp>
        <p:grpSp>
          <p:nvGrpSpPr>
            <p:cNvPr id="17" name="îSḷidé">
              <a:extLst>
                <a:ext uri="{FF2B5EF4-FFF2-40B4-BE49-F238E27FC236}">
                  <a16:creationId xmlns:a16="http://schemas.microsoft.com/office/drawing/2014/main" xmlns="" id="{08EED802-E59F-4DC1-B4EB-F4041C3B3426}"/>
                </a:ext>
              </a:extLst>
            </p:cNvPr>
            <p:cNvGrpSpPr/>
            <p:nvPr/>
          </p:nvGrpSpPr>
          <p:grpSpPr>
            <a:xfrm>
              <a:off x="3544359" y="4001895"/>
              <a:ext cx="2232024" cy="1999757"/>
              <a:chOff x="673101" y="2751879"/>
              <a:chExt cx="2232024" cy="1999757"/>
            </a:xfrm>
          </p:grpSpPr>
          <p:sp>
            <p:nvSpPr>
              <p:cNvPr id="32" name="išļïḋê">
                <a:extLst>
                  <a:ext uri="{FF2B5EF4-FFF2-40B4-BE49-F238E27FC236}">
                    <a16:creationId xmlns:a16="http://schemas.microsoft.com/office/drawing/2014/main" xmlns="" id="{F6260264-6F22-417A-B959-8D504896A836}"/>
                  </a:ext>
                </a:extLst>
              </p:cNvPr>
              <p:cNvSpPr/>
              <p:nvPr/>
            </p:nvSpPr>
            <p:spPr>
              <a:xfrm>
                <a:off x="1392764" y="2751879"/>
                <a:ext cx="792698" cy="792698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33" name="i$ľîḍê">
                <a:extLst>
                  <a:ext uri="{FF2B5EF4-FFF2-40B4-BE49-F238E27FC236}">
                    <a16:creationId xmlns:a16="http://schemas.microsoft.com/office/drawing/2014/main" xmlns="" id="{E1C819D8-BFF9-4E19-8CF0-0A1F4C27F01F}"/>
                  </a:ext>
                </a:extLst>
              </p:cNvPr>
              <p:cNvSpPr/>
              <p:nvPr/>
            </p:nvSpPr>
            <p:spPr bwMode="auto">
              <a:xfrm>
                <a:off x="1590113" y="2956785"/>
                <a:ext cx="398001" cy="382886"/>
              </a:xfrm>
              <a:custGeom>
                <a:avLst/>
                <a:gdLst>
                  <a:gd name="connsiteX0" fmla="*/ 195114 w 608814"/>
                  <a:gd name="connsiteY0" fmla="*/ 351627 h 585693"/>
                  <a:gd name="connsiteX1" fmla="*/ 258290 w 608814"/>
                  <a:gd name="connsiteY1" fmla="*/ 351627 h 585693"/>
                  <a:gd name="connsiteX2" fmla="*/ 282731 w 608814"/>
                  <a:gd name="connsiteY2" fmla="*/ 376018 h 585693"/>
                  <a:gd name="connsiteX3" fmla="*/ 282731 w 608814"/>
                  <a:gd name="connsiteY3" fmla="*/ 561210 h 585693"/>
                  <a:gd name="connsiteX4" fmla="*/ 258290 w 608814"/>
                  <a:gd name="connsiteY4" fmla="*/ 585693 h 585693"/>
                  <a:gd name="connsiteX5" fmla="*/ 195114 w 608814"/>
                  <a:gd name="connsiteY5" fmla="*/ 585693 h 585693"/>
                  <a:gd name="connsiteX6" fmla="*/ 170673 w 608814"/>
                  <a:gd name="connsiteY6" fmla="*/ 561210 h 585693"/>
                  <a:gd name="connsiteX7" fmla="*/ 170673 w 608814"/>
                  <a:gd name="connsiteY7" fmla="*/ 376018 h 585693"/>
                  <a:gd name="connsiteX8" fmla="*/ 195114 w 608814"/>
                  <a:gd name="connsiteY8" fmla="*/ 351627 h 585693"/>
                  <a:gd name="connsiteX9" fmla="*/ 358100 w 608814"/>
                  <a:gd name="connsiteY9" fmla="*/ 249872 h 585693"/>
                  <a:gd name="connsiteX10" fmla="*/ 421316 w 608814"/>
                  <a:gd name="connsiteY10" fmla="*/ 249872 h 585693"/>
                  <a:gd name="connsiteX11" fmla="*/ 445737 w 608814"/>
                  <a:gd name="connsiteY11" fmla="*/ 274267 h 585693"/>
                  <a:gd name="connsiteX12" fmla="*/ 445737 w 608814"/>
                  <a:gd name="connsiteY12" fmla="*/ 561206 h 585693"/>
                  <a:gd name="connsiteX13" fmla="*/ 421316 w 608814"/>
                  <a:gd name="connsiteY13" fmla="*/ 585693 h 585693"/>
                  <a:gd name="connsiteX14" fmla="*/ 358100 w 608814"/>
                  <a:gd name="connsiteY14" fmla="*/ 585693 h 585693"/>
                  <a:gd name="connsiteX15" fmla="*/ 333679 w 608814"/>
                  <a:gd name="connsiteY15" fmla="*/ 561206 h 585693"/>
                  <a:gd name="connsiteX16" fmla="*/ 333679 w 608814"/>
                  <a:gd name="connsiteY16" fmla="*/ 274267 h 585693"/>
                  <a:gd name="connsiteX17" fmla="*/ 358100 w 608814"/>
                  <a:gd name="connsiteY17" fmla="*/ 249872 h 585693"/>
                  <a:gd name="connsiteX18" fmla="*/ 140260 w 608814"/>
                  <a:gd name="connsiteY18" fmla="*/ 224680 h 585693"/>
                  <a:gd name="connsiteX19" fmla="*/ 191844 w 608814"/>
                  <a:gd name="connsiteY19" fmla="*/ 276122 h 585693"/>
                  <a:gd name="connsiteX20" fmla="*/ 140260 w 608814"/>
                  <a:gd name="connsiteY20" fmla="*/ 327564 h 585693"/>
                  <a:gd name="connsiteX21" fmla="*/ 88676 w 608814"/>
                  <a:gd name="connsiteY21" fmla="*/ 276122 h 585693"/>
                  <a:gd name="connsiteX22" fmla="*/ 140260 w 608814"/>
                  <a:gd name="connsiteY22" fmla="*/ 224680 h 585693"/>
                  <a:gd name="connsiteX23" fmla="*/ 521177 w 608814"/>
                  <a:gd name="connsiteY23" fmla="*/ 148117 h 585693"/>
                  <a:gd name="connsiteX24" fmla="*/ 584301 w 608814"/>
                  <a:gd name="connsiteY24" fmla="*/ 148117 h 585693"/>
                  <a:gd name="connsiteX25" fmla="*/ 608814 w 608814"/>
                  <a:gd name="connsiteY25" fmla="*/ 172601 h 585693"/>
                  <a:gd name="connsiteX26" fmla="*/ 608814 w 608814"/>
                  <a:gd name="connsiteY26" fmla="*/ 561209 h 585693"/>
                  <a:gd name="connsiteX27" fmla="*/ 584301 w 608814"/>
                  <a:gd name="connsiteY27" fmla="*/ 585693 h 585693"/>
                  <a:gd name="connsiteX28" fmla="*/ 521177 w 608814"/>
                  <a:gd name="connsiteY28" fmla="*/ 585693 h 585693"/>
                  <a:gd name="connsiteX29" fmla="*/ 496756 w 608814"/>
                  <a:gd name="connsiteY29" fmla="*/ 561209 h 585693"/>
                  <a:gd name="connsiteX30" fmla="*/ 496756 w 608814"/>
                  <a:gd name="connsiteY30" fmla="*/ 172601 h 585693"/>
                  <a:gd name="connsiteX31" fmla="*/ 521177 w 608814"/>
                  <a:gd name="connsiteY31" fmla="*/ 148117 h 585693"/>
                  <a:gd name="connsiteX32" fmla="*/ 116229 w 608814"/>
                  <a:gd name="connsiteY32" fmla="*/ 131322 h 585693"/>
                  <a:gd name="connsiteX33" fmla="*/ 164246 w 608814"/>
                  <a:gd name="connsiteY33" fmla="*/ 131322 h 585693"/>
                  <a:gd name="connsiteX34" fmla="*/ 184061 w 608814"/>
                  <a:gd name="connsiteY34" fmla="*/ 151113 h 585693"/>
                  <a:gd name="connsiteX35" fmla="*/ 184061 w 608814"/>
                  <a:gd name="connsiteY35" fmla="*/ 171457 h 585693"/>
                  <a:gd name="connsiteX36" fmla="*/ 208669 w 608814"/>
                  <a:gd name="connsiteY36" fmla="*/ 186094 h 585693"/>
                  <a:gd name="connsiteX37" fmla="*/ 226641 w 608814"/>
                  <a:gd name="connsiteY37" fmla="*/ 175692 h 585693"/>
                  <a:gd name="connsiteX38" fmla="*/ 253737 w 608814"/>
                  <a:gd name="connsiteY38" fmla="*/ 182964 h 585693"/>
                  <a:gd name="connsiteX39" fmla="*/ 277792 w 608814"/>
                  <a:gd name="connsiteY39" fmla="*/ 224572 h 585693"/>
                  <a:gd name="connsiteX40" fmla="*/ 279727 w 608814"/>
                  <a:gd name="connsiteY40" fmla="*/ 239577 h 585693"/>
                  <a:gd name="connsiteX41" fmla="*/ 270511 w 608814"/>
                  <a:gd name="connsiteY41" fmla="*/ 251544 h 585693"/>
                  <a:gd name="connsiteX42" fmla="*/ 252355 w 608814"/>
                  <a:gd name="connsiteY42" fmla="*/ 262038 h 585693"/>
                  <a:gd name="connsiteX43" fmla="*/ 253829 w 608814"/>
                  <a:gd name="connsiteY43" fmla="*/ 276122 h 585693"/>
                  <a:gd name="connsiteX44" fmla="*/ 252355 w 608814"/>
                  <a:gd name="connsiteY44" fmla="*/ 290206 h 585693"/>
                  <a:gd name="connsiteX45" fmla="*/ 270511 w 608814"/>
                  <a:gd name="connsiteY45" fmla="*/ 300700 h 585693"/>
                  <a:gd name="connsiteX46" fmla="*/ 278714 w 608814"/>
                  <a:gd name="connsiteY46" fmla="*/ 325094 h 585693"/>
                  <a:gd name="connsiteX47" fmla="*/ 258253 w 608814"/>
                  <a:gd name="connsiteY47" fmla="*/ 321136 h 585693"/>
                  <a:gd name="connsiteX48" fmla="*/ 195858 w 608814"/>
                  <a:gd name="connsiteY48" fmla="*/ 321136 h 585693"/>
                  <a:gd name="connsiteX49" fmla="*/ 212171 w 608814"/>
                  <a:gd name="connsiteY49" fmla="*/ 276122 h 585693"/>
                  <a:gd name="connsiteX50" fmla="*/ 140191 w 608814"/>
                  <a:gd name="connsiteY50" fmla="*/ 204320 h 585693"/>
                  <a:gd name="connsiteX51" fmla="*/ 68304 w 608814"/>
                  <a:gd name="connsiteY51" fmla="*/ 276122 h 585693"/>
                  <a:gd name="connsiteX52" fmla="*/ 140191 w 608814"/>
                  <a:gd name="connsiteY52" fmla="*/ 348016 h 585693"/>
                  <a:gd name="connsiteX53" fmla="*/ 148486 w 608814"/>
                  <a:gd name="connsiteY53" fmla="*/ 347095 h 585693"/>
                  <a:gd name="connsiteX54" fmla="*/ 140099 w 608814"/>
                  <a:gd name="connsiteY54" fmla="*/ 376000 h 585693"/>
                  <a:gd name="connsiteX55" fmla="*/ 140099 w 608814"/>
                  <a:gd name="connsiteY55" fmla="*/ 420922 h 585693"/>
                  <a:gd name="connsiteX56" fmla="*/ 116229 w 608814"/>
                  <a:gd name="connsiteY56" fmla="*/ 420922 h 585693"/>
                  <a:gd name="connsiteX57" fmla="*/ 96413 w 608814"/>
                  <a:gd name="connsiteY57" fmla="*/ 401131 h 585693"/>
                  <a:gd name="connsiteX58" fmla="*/ 96413 w 608814"/>
                  <a:gd name="connsiteY58" fmla="*/ 380787 h 585693"/>
                  <a:gd name="connsiteX59" fmla="*/ 71806 w 608814"/>
                  <a:gd name="connsiteY59" fmla="*/ 366150 h 585693"/>
                  <a:gd name="connsiteX60" fmla="*/ 53742 w 608814"/>
                  <a:gd name="connsiteY60" fmla="*/ 376552 h 585693"/>
                  <a:gd name="connsiteX61" fmla="*/ 38719 w 608814"/>
                  <a:gd name="connsiteY61" fmla="*/ 378577 h 585693"/>
                  <a:gd name="connsiteX62" fmla="*/ 26738 w 608814"/>
                  <a:gd name="connsiteY62" fmla="*/ 369372 h 585693"/>
                  <a:gd name="connsiteX63" fmla="*/ 2683 w 608814"/>
                  <a:gd name="connsiteY63" fmla="*/ 327764 h 585693"/>
                  <a:gd name="connsiteX64" fmla="*/ 9872 w 608814"/>
                  <a:gd name="connsiteY64" fmla="*/ 300700 h 585693"/>
                  <a:gd name="connsiteX65" fmla="*/ 28120 w 608814"/>
                  <a:gd name="connsiteY65" fmla="*/ 290206 h 585693"/>
                  <a:gd name="connsiteX66" fmla="*/ 26645 w 608814"/>
                  <a:gd name="connsiteY66" fmla="*/ 276122 h 585693"/>
                  <a:gd name="connsiteX67" fmla="*/ 28120 w 608814"/>
                  <a:gd name="connsiteY67" fmla="*/ 262038 h 585693"/>
                  <a:gd name="connsiteX68" fmla="*/ 9872 w 608814"/>
                  <a:gd name="connsiteY68" fmla="*/ 251544 h 585693"/>
                  <a:gd name="connsiteX69" fmla="*/ 2683 w 608814"/>
                  <a:gd name="connsiteY69" fmla="*/ 224572 h 585693"/>
                  <a:gd name="connsiteX70" fmla="*/ 26738 w 608814"/>
                  <a:gd name="connsiteY70" fmla="*/ 182964 h 585693"/>
                  <a:gd name="connsiteX71" fmla="*/ 38719 w 608814"/>
                  <a:gd name="connsiteY71" fmla="*/ 173759 h 585693"/>
                  <a:gd name="connsiteX72" fmla="*/ 53742 w 608814"/>
                  <a:gd name="connsiteY72" fmla="*/ 175692 h 585693"/>
                  <a:gd name="connsiteX73" fmla="*/ 71806 w 608814"/>
                  <a:gd name="connsiteY73" fmla="*/ 186094 h 585693"/>
                  <a:gd name="connsiteX74" fmla="*/ 96413 w 608814"/>
                  <a:gd name="connsiteY74" fmla="*/ 171457 h 585693"/>
                  <a:gd name="connsiteX75" fmla="*/ 96413 w 608814"/>
                  <a:gd name="connsiteY75" fmla="*/ 151113 h 585693"/>
                  <a:gd name="connsiteX76" fmla="*/ 116229 w 608814"/>
                  <a:gd name="connsiteY76" fmla="*/ 131322 h 585693"/>
                  <a:gd name="connsiteX77" fmla="*/ 445756 w 608814"/>
                  <a:gd name="connsiteY77" fmla="*/ 83476 h 585693"/>
                  <a:gd name="connsiteX78" fmla="*/ 414140 w 608814"/>
                  <a:gd name="connsiteY78" fmla="*/ 115044 h 585693"/>
                  <a:gd name="connsiteX79" fmla="*/ 445756 w 608814"/>
                  <a:gd name="connsiteY79" fmla="*/ 146520 h 585693"/>
                  <a:gd name="connsiteX80" fmla="*/ 477371 w 608814"/>
                  <a:gd name="connsiteY80" fmla="*/ 115044 h 585693"/>
                  <a:gd name="connsiteX81" fmla="*/ 445756 w 608814"/>
                  <a:gd name="connsiteY81" fmla="*/ 83476 h 585693"/>
                  <a:gd name="connsiteX82" fmla="*/ 426676 w 608814"/>
                  <a:gd name="connsiteY82" fmla="*/ 0 h 585693"/>
                  <a:gd name="connsiteX83" fmla="*/ 464835 w 608814"/>
                  <a:gd name="connsiteY83" fmla="*/ 0 h 585693"/>
                  <a:gd name="connsiteX84" fmla="*/ 480597 w 608814"/>
                  <a:gd name="connsiteY84" fmla="*/ 15738 h 585693"/>
                  <a:gd name="connsiteX85" fmla="*/ 480597 w 608814"/>
                  <a:gd name="connsiteY85" fmla="*/ 31936 h 585693"/>
                  <a:gd name="connsiteX86" fmla="*/ 500138 w 608814"/>
                  <a:gd name="connsiteY86" fmla="*/ 43533 h 585693"/>
                  <a:gd name="connsiteX87" fmla="*/ 514425 w 608814"/>
                  <a:gd name="connsiteY87" fmla="*/ 35249 h 585693"/>
                  <a:gd name="connsiteX88" fmla="*/ 535901 w 608814"/>
                  <a:gd name="connsiteY88" fmla="*/ 40956 h 585693"/>
                  <a:gd name="connsiteX89" fmla="*/ 554981 w 608814"/>
                  <a:gd name="connsiteY89" fmla="*/ 73996 h 585693"/>
                  <a:gd name="connsiteX90" fmla="*/ 556640 w 608814"/>
                  <a:gd name="connsiteY90" fmla="*/ 85961 h 585693"/>
                  <a:gd name="connsiteX91" fmla="*/ 549266 w 608814"/>
                  <a:gd name="connsiteY91" fmla="*/ 95440 h 585693"/>
                  <a:gd name="connsiteX92" fmla="*/ 534887 w 608814"/>
                  <a:gd name="connsiteY92" fmla="*/ 103815 h 585693"/>
                  <a:gd name="connsiteX93" fmla="*/ 535993 w 608814"/>
                  <a:gd name="connsiteY93" fmla="*/ 115044 h 585693"/>
                  <a:gd name="connsiteX94" fmla="*/ 535717 w 608814"/>
                  <a:gd name="connsiteY94" fmla="*/ 117621 h 585693"/>
                  <a:gd name="connsiteX95" fmla="*/ 521153 w 608814"/>
                  <a:gd name="connsiteY95" fmla="*/ 117621 h 585693"/>
                  <a:gd name="connsiteX96" fmla="*/ 466126 w 608814"/>
                  <a:gd name="connsiteY96" fmla="*/ 172565 h 585693"/>
                  <a:gd name="connsiteX97" fmla="*/ 466126 w 608814"/>
                  <a:gd name="connsiteY97" fmla="*/ 229719 h 585693"/>
                  <a:gd name="connsiteX98" fmla="*/ 466126 w 608814"/>
                  <a:gd name="connsiteY98" fmla="*/ 242604 h 585693"/>
                  <a:gd name="connsiteX99" fmla="*/ 453590 w 608814"/>
                  <a:gd name="connsiteY99" fmla="*/ 229995 h 585693"/>
                  <a:gd name="connsiteX100" fmla="*/ 421330 w 608814"/>
                  <a:gd name="connsiteY100" fmla="*/ 219319 h 585693"/>
                  <a:gd name="connsiteX101" fmla="*/ 411928 w 608814"/>
                  <a:gd name="connsiteY101" fmla="*/ 219319 h 585693"/>
                  <a:gd name="connsiteX102" fmla="*/ 410914 w 608814"/>
                  <a:gd name="connsiteY102" fmla="*/ 214257 h 585693"/>
                  <a:gd name="connsiteX103" fmla="*/ 410914 w 608814"/>
                  <a:gd name="connsiteY103" fmla="*/ 198059 h 585693"/>
                  <a:gd name="connsiteX104" fmla="*/ 391373 w 608814"/>
                  <a:gd name="connsiteY104" fmla="*/ 186463 h 585693"/>
                  <a:gd name="connsiteX105" fmla="*/ 377086 w 608814"/>
                  <a:gd name="connsiteY105" fmla="*/ 194746 h 585693"/>
                  <a:gd name="connsiteX106" fmla="*/ 365104 w 608814"/>
                  <a:gd name="connsiteY106" fmla="*/ 196310 h 585693"/>
                  <a:gd name="connsiteX107" fmla="*/ 355610 w 608814"/>
                  <a:gd name="connsiteY107" fmla="*/ 189040 h 585693"/>
                  <a:gd name="connsiteX108" fmla="*/ 336530 w 608814"/>
                  <a:gd name="connsiteY108" fmla="*/ 155999 h 585693"/>
                  <a:gd name="connsiteX109" fmla="*/ 342245 w 608814"/>
                  <a:gd name="connsiteY109" fmla="*/ 134463 h 585693"/>
                  <a:gd name="connsiteX110" fmla="*/ 356716 w 608814"/>
                  <a:gd name="connsiteY110" fmla="*/ 126180 h 585693"/>
                  <a:gd name="connsiteX111" fmla="*/ 355518 w 608814"/>
                  <a:gd name="connsiteY111" fmla="*/ 115044 h 585693"/>
                  <a:gd name="connsiteX112" fmla="*/ 356716 w 608814"/>
                  <a:gd name="connsiteY112" fmla="*/ 103815 h 585693"/>
                  <a:gd name="connsiteX113" fmla="*/ 342245 w 608814"/>
                  <a:gd name="connsiteY113" fmla="*/ 95440 h 585693"/>
                  <a:gd name="connsiteX114" fmla="*/ 336530 w 608814"/>
                  <a:gd name="connsiteY114" fmla="*/ 73996 h 585693"/>
                  <a:gd name="connsiteX115" fmla="*/ 355610 w 608814"/>
                  <a:gd name="connsiteY115" fmla="*/ 40956 h 585693"/>
                  <a:gd name="connsiteX116" fmla="*/ 365104 w 608814"/>
                  <a:gd name="connsiteY116" fmla="*/ 33685 h 585693"/>
                  <a:gd name="connsiteX117" fmla="*/ 377086 w 608814"/>
                  <a:gd name="connsiteY117" fmla="*/ 35249 h 585693"/>
                  <a:gd name="connsiteX118" fmla="*/ 391373 w 608814"/>
                  <a:gd name="connsiteY118" fmla="*/ 43533 h 585693"/>
                  <a:gd name="connsiteX119" fmla="*/ 410914 w 608814"/>
                  <a:gd name="connsiteY119" fmla="*/ 31936 h 585693"/>
                  <a:gd name="connsiteX120" fmla="*/ 410914 w 608814"/>
                  <a:gd name="connsiteY120" fmla="*/ 15738 h 585693"/>
                  <a:gd name="connsiteX121" fmla="*/ 426676 w 608814"/>
                  <a:gd name="connsiteY121" fmla="*/ 0 h 58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608814" h="585693">
                    <a:moveTo>
                      <a:pt x="195114" y="351627"/>
                    </a:moveTo>
                    <a:lnTo>
                      <a:pt x="258290" y="351627"/>
                    </a:lnTo>
                    <a:cubicBezTo>
                      <a:pt x="271848" y="351627"/>
                      <a:pt x="282731" y="362580"/>
                      <a:pt x="282731" y="376018"/>
                    </a:cubicBezTo>
                    <a:lnTo>
                      <a:pt x="282731" y="561210"/>
                    </a:lnTo>
                    <a:cubicBezTo>
                      <a:pt x="282731" y="574740"/>
                      <a:pt x="271848" y="585693"/>
                      <a:pt x="258290" y="585693"/>
                    </a:cubicBezTo>
                    <a:lnTo>
                      <a:pt x="195114" y="585693"/>
                    </a:lnTo>
                    <a:cubicBezTo>
                      <a:pt x="181556" y="585693"/>
                      <a:pt x="170673" y="574740"/>
                      <a:pt x="170673" y="561210"/>
                    </a:cubicBezTo>
                    <a:lnTo>
                      <a:pt x="170673" y="376018"/>
                    </a:lnTo>
                    <a:cubicBezTo>
                      <a:pt x="170673" y="362580"/>
                      <a:pt x="181556" y="351627"/>
                      <a:pt x="195114" y="351627"/>
                    </a:cubicBezTo>
                    <a:close/>
                    <a:moveTo>
                      <a:pt x="358100" y="249872"/>
                    </a:moveTo>
                    <a:lnTo>
                      <a:pt x="421316" y="249872"/>
                    </a:lnTo>
                    <a:cubicBezTo>
                      <a:pt x="434771" y="249872"/>
                      <a:pt x="445737" y="260735"/>
                      <a:pt x="445737" y="274267"/>
                    </a:cubicBezTo>
                    <a:lnTo>
                      <a:pt x="445737" y="561206"/>
                    </a:lnTo>
                    <a:cubicBezTo>
                      <a:pt x="445737" y="574738"/>
                      <a:pt x="434771" y="585693"/>
                      <a:pt x="421316" y="585693"/>
                    </a:cubicBezTo>
                    <a:lnTo>
                      <a:pt x="358100" y="585693"/>
                    </a:lnTo>
                    <a:cubicBezTo>
                      <a:pt x="344645" y="585693"/>
                      <a:pt x="333679" y="574738"/>
                      <a:pt x="333679" y="561206"/>
                    </a:cubicBezTo>
                    <a:lnTo>
                      <a:pt x="333679" y="274267"/>
                    </a:lnTo>
                    <a:cubicBezTo>
                      <a:pt x="333679" y="260735"/>
                      <a:pt x="344645" y="249872"/>
                      <a:pt x="358100" y="249872"/>
                    </a:cubicBezTo>
                    <a:close/>
                    <a:moveTo>
                      <a:pt x="140260" y="224680"/>
                    </a:moveTo>
                    <a:cubicBezTo>
                      <a:pt x="168749" y="224680"/>
                      <a:pt x="191844" y="247711"/>
                      <a:pt x="191844" y="276122"/>
                    </a:cubicBezTo>
                    <a:cubicBezTo>
                      <a:pt x="191844" y="304533"/>
                      <a:pt x="168749" y="327564"/>
                      <a:pt x="140260" y="327564"/>
                    </a:cubicBezTo>
                    <a:cubicBezTo>
                      <a:pt x="111771" y="327564"/>
                      <a:pt x="88676" y="304533"/>
                      <a:pt x="88676" y="276122"/>
                    </a:cubicBezTo>
                    <a:cubicBezTo>
                      <a:pt x="88676" y="247711"/>
                      <a:pt x="111771" y="224680"/>
                      <a:pt x="140260" y="224680"/>
                    </a:cubicBezTo>
                    <a:close/>
                    <a:moveTo>
                      <a:pt x="521177" y="148117"/>
                    </a:moveTo>
                    <a:lnTo>
                      <a:pt x="584301" y="148117"/>
                    </a:lnTo>
                    <a:cubicBezTo>
                      <a:pt x="597848" y="148117"/>
                      <a:pt x="608814" y="159070"/>
                      <a:pt x="608814" y="172601"/>
                    </a:cubicBezTo>
                    <a:lnTo>
                      <a:pt x="608814" y="561209"/>
                    </a:lnTo>
                    <a:cubicBezTo>
                      <a:pt x="608814" y="574740"/>
                      <a:pt x="597848" y="585693"/>
                      <a:pt x="584301" y="585693"/>
                    </a:cubicBezTo>
                    <a:lnTo>
                      <a:pt x="521177" y="585693"/>
                    </a:lnTo>
                    <a:cubicBezTo>
                      <a:pt x="507722" y="585693"/>
                      <a:pt x="496756" y="574740"/>
                      <a:pt x="496756" y="561209"/>
                    </a:cubicBezTo>
                    <a:lnTo>
                      <a:pt x="496756" y="172601"/>
                    </a:lnTo>
                    <a:cubicBezTo>
                      <a:pt x="496756" y="159070"/>
                      <a:pt x="507722" y="148117"/>
                      <a:pt x="521177" y="148117"/>
                    </a:cubicBezTo>
                    <a:close/>
                    <a:moveTo>
                      <a:pt x="116229" y="131322"/>
                    </a:moveTo>
                    <a:lnTo>
                      <a:pt x="164246" y="131322"/>
                    </a:lnTo>
                    <a:cubicBezTo>
                      <a:pt x="175214" y="131322"/>
                      <a:pt x="184061" y="140159"/>
                      <a:pt x="184061" y="151113"/>
                    </a:cubicBezTo>
                    <a:lnTo>
                      <a:pt x="184061" y="171457"/>
                    </a:lnTo>
                    <a:cubicBezTo>
                      <a:pt x="193001" y="175231"/>
                      <a:pt x="201019" y="180386"/>
                      <a:pt x="208669" y="186094"/>
                    </a:cubicBezTo>
                    <a:lnTo>
                      <a:pt x="226641" y="175692"/>
                    </a:lnTo>
                    <a:cubicBezTo>
                      <a:pt x="236134" y="170261"/>
                      <a:pt x="248300" y="173482"/>
                      <a:pt x="253737" y="182964"/>
                    </a:cubicBezTo>
                    <a:lnTo>
                      <a:pt x="277792" y="224572"/>
                    </a:lnTo>
                    <a:cubicBezTo>
                      <a:pt x="280465" y="229083"/>
                      <a:pt x="281110" y="234514"/>
                      <a:pt x="279727" y="239577"/>
                    </a:cubicBezTo>
                    <a:cubicBezTo>
                      <a:pt x="278437" y="244640"/>
                      <a:pt x="275119" y="248966"/>
                      <a:pt x="270511" y="251544"/>
                    </a:cubicBezTo>
                    <a:lnTo>
                      <a:pt x="252355" y="262038"/>
                    </a:lnTo>
                    <a:cubicBezTo>
                      <a:pt x="253000" y="266733"/>
                      <a:pt x="253829" y="271335"/>
                      <a:pt x="253829" y="276122"/>
                    </a:cubicBezTo>
                    <a:cubicBezTo>
                      <a:pt x="253829" y="281001"/>
                      <a:pt x="253000" y="285604"/>
                      <a:pt x="252355" y="290206"/>
                    </a:cubicBezTo>
                    <a:lnTo>
                      <a:pt x="270511" y="300700"/>
                    </a:lnTo>
                    <a:cubicBezTo>
                      <a:pt x="279174" y="305671"/>
                      <a:pt x="282308" y="316165"/>
                      <a:pt x="278714" y="325094"/>
                    </a:cubicBezTo>
                    <a:cubicBezTo>
                      <a:pt x="272354" y="322609"/>
                      <a:pt x="265442" y="321136"/>
                      <a:pt x="258253" y="321136"/>
                    </a:cubicBezTo>
                    <a:lnTo>
                      <a:pt x="195858" y="321136"/>
                    </a:lnTo>
                    <a:cubicBezTo>
                      <a:pt x="205904" y="308709"/>
                      <a:pt x="212171" y="293244"/>
                      <a:pt x="212171" y="276122"/>
                    </a:cubicBezTo>
                    <a:cubicBezTo>
                      <a:pt x="212171" y="236539"/>
                      <a:pt x="179914" y="204320"/>
                      <a:pt x="140191" y="204320"/>
                    </a:cubicBezTo>
                    <a:cubicBezTo>
                      <a:pt x="100561" y="204320"/>
                      <a:pt x="68304" y="236539"/>
                      <a:pt x="68304" y="276122"/>
                    </a:cubicBezTo>
                    <a:cubicBezTo>
                      <a:pt x="68304" y="315797"/>
                      <a:pt x="100561" y="348016"/>
                      <a:pt x="140191" y="348016"/>
                    </a:cubicBezTo>
                    <a:cubicBezTo>
                      <a:pt x="143048" y="348016"/>
                      <a:pt x="145721" y="347463"/>
                      <a:pt x="148486" y="347095"/>
                    </a:cubicBezTo>
                    <a:cubicBezTo>
                      <a:pt x="143233" y="355564"/>
                      <a:pt x="140099" y="365414"/>
                      <a:pt x="140099" y="376000"/>
                    </a:cubicBezTo>
                    <a:lnTo>
                      <a:pt x="140099" y="420922"/>
                    </a:lnTo>
                    <a:lnTo>
                      <a:pt x="116229" y="420922"/>
                    </a:lnTo>
                    <a:cubicBezTo>
                      <a:pt x="105261" y="420922"/>
                      <a:pt x="96413" y="412085"/>
                      <a:pt x="96413" y="401131"/>
                    </a:cubicBezTo>
                    <a:lnTo>
                      <a:pt x="96413" y="380787"/>
                    </a:lnTo>
                    <a:cubicBezTo>
                      <a:pt x="87474" y="377013"/>
                      <a:pt x="79455" y="371950"/>
                      <a:pt x="71806" y="366150"/>
                    </a:cubicBezTo>
                    <a:lnTo>
                      <a:pt x="53742" y="376552"/>
                    </a:lnTo>
                    <a:cubicBezTo>
                      <a:pt x="49226" y="379222"/>
                      <a:pt x="43788" y="379866"/>
                      <a:pt x="38719" y="378577"/>
                    </a:cubicBezTo>
                    <a:cubicBezTo>
                      <a:pt x="33650" y="377197"/>
                      <a:pt x="29318" y="373883"/>
                      <a:pt x="26738" y="369372"/>
                    </a:cubicBezTo>
                    <a:lnTo>
                      <a:pt x="2683" y="327764"/>
                    </a:lnTo>
                    <a:cubicBezTo>
                      <a:pt x="-2847" y="318282"/>
                      <a:pt x="471" y="306131"/>
                      <a:pt x="9872" y="300700"/>
                    </a:cubicBezTo>
                    <a:lnTo>
                      <a:pt x="28120" y="290206"/>
                    </a:lnTo>
                    <a:cubicBezTo>
                      <a:pt x="27475" y="285604"/>
                      <a:pt x="26645" y="281001"/>
                      <a:pt x="26645" y="276122"/>
                    </a:cubicBezTo>
                    <a:cubicBezTo>
                      <a:pt x="26645" y="271335"/>
                      <a:pt x="27475" y="266733"/>
                      <a:pt x="28120" y="262038"/>
                    </a:cubicBezTo>
                    <a:lnTo>
                      <a:pt x="9872" y="251544"/>
                    </a:lnTo>
                    <a:cubicBezTo>
                      <a:pt x="471" y="246113"/>
                      <a:pt x="-2847" y="233962"/>
                      <a:pt x="2683" y="224572"/>
                    </a:cubicBezTo>
                    <a:lnTo>
                      <a:pt x="26738" y="182964"/>
                    </a:lnTo>
                    <a:cubicBezTo>
                      <a:pt x="29318" y="178361"/>
                      <a:pt x="33650" y="175139"/>
                      <a:pt x="38719" y="173759"/>
                    </a:cubicBezTo>
                    <a:cubicBezTo>
                      <a:pt x="43788" y="172378"/>
                      <a:pt x="49226" y="173114"/>
                      <a:pt x="53742" y="175692"/>
                    </a:cubicBezTo>
                    <a:lnTo>
                      <a:pt x="71806" y="186094"/>
                    </a:lnTo>
                    <a:cubicBezTo>
                      <a:pt x="79455" y="180386"/>
                      <a:pt x="87474" y="175231"/>
                      <a:pt x="96413" y="171457"/>
                    </a:cubicBezTo>
                    <a:lnTo>
                      <a:pt x="96413" y="151113"/>
                    </a:lnTo>
                    <a:cubicBezTo>
                      <a:pt x="96413" y="140159"/>
                      <a:pt x="105261" y="131322"/>
                      <a:pt x="116229" y="131322"/>
                    </a:cubicBezTo>
                    <a:close/>
                    <a:moveTo>
                      <a:pt x="445756" y="83476"/>
                    </a:moveTo>
                    <a:cubicBezTo>
                      <a:pt x="428335" y="83476"/>
                      <a:pt x="414140" y="97557"/>
                      <a:pt x="414140" y="115044"/>
                    </a:cubicBezTo>
                    <a:cubicBezTo>
                      <a:pt x="414140" y="132438"/>
                      <a:pt x="428335" y="146520"/>
                      <a:pt x="445756" y="146520"/>
                    </a:cubicBezTo>
                    <a:cubicBezTo>
                      <a:pt x="463176" y="146520"/>
                      <a:pt x="477371" y="132438"/>
                      <a:pt x="477371" y="115044"/>
                    </a:cubicBezTo>
                    <a:cubicBezTo>
                      <a:pt x="477371" y="97557"/>
                      <a:pt x="463176" y="83476"/>
                      <a:pt x="445756" y="83476"/>
                    </a:cubicBezTo>
                    <a:close/>
                    <a:moveTo>
                      <a:pt x="426676" y="0"/>
                    </a:moveTo>
                    <a:lnTo>
                      <a:pt x="464835" y="0"/>
                    </a:lnTo>
                    <a:cubicBezTo>
                      <a:pt x="473500" y="0"/>
                      <a:pt x="480597" y="7087"/>
                      <a:pt x="480597" y="15738"/>
                    </a:cubicBezTo>
                    <a:lnTo>
                      <a:pt x="480597" y="31936"/>
                    </a:lnTo>
                    <a:cubicBezTo>
                      <a:pt x="487694" y="34881"/>
                      <a:pt x="494054" y="38931"/>
                      <a:pt x="500138" y="43533"/>
                    </a:cubicBezTo>
                    <a:lnTo>
                      <a:pt x="514425" y="35249"/>
                    </a:lnTo>
                    <a:cubicBezTo>
                      <a:pt x="521983" y="30924"/>
                      <a:pt x="531569" y="33501"/>
                      <a:pt x="535901" y="40956"/>
                    </a:cubicBezTo>
                    <a:lnTo>
                      <a:pt x="554981" y="73996"/>
                    </a:lnTo>
                    <a:cubicBezTo>
                      <a:pt x="557101" y="77585"/>
                      <a:pt x="557654" y="81911"/>
                      <a:pt x="556640" y="85961"/>
                    </a:cubicBezTo>
                    <a:cubicBezTo>
                      <a:pt x="555534" y="89918"/>
                      <a:pt x="552861" y="93415"/>
                      <a:pt x="549266" y="95440"/>
                    </a:cubicBezTo>
                    <a:lnTo>
                      <a:pt x="534887" y="103815"/>
                    </a:lnTo>
                    <a:cubicBezTo>
                      <a:pt x="535348" y="107497"/>
                      <a:pt x="535993" y="111178"/>
                      <a:pt x="535993" y="115044"/>
                    </a:cubicBezTo>
                    <a:cubicBezTo>
                      <a:pt x="535993" y="115872"/>
                      <a:pt x="535809" y="116700"/>
                      <a:pt x="535717" y="117621"/>
                    </a:cubicBezTo>
                    <a:lnTo>
                      <a:pt x="521153" y="117621"/>
                    </a:lnTo>
                    <a:cubicBezTo>
                      <a:pt x="490828" y="117621"/>
                      <a:pt x="466126" y="142286"/>
                      <a:pt x="466126" y="172565"/>
                    </a:cubicBezTo>
                    <a:lnTo>
                      <a:pt x="466126" y="229719"/>
                    </a:lnTo>
                    <a:lnTo>
                      <a:pt x="466126" y="242604"/>
                    </a:lnTo>
                    <a:cubicBezTo>
                      <a:pt x="462715" y="237726"/>
                      <a:pt x="458383" y="233493"/>
                      <a:pt x="453590" y="229995"/>
                    </a:cubicBezTo>
                    <a:cubicBezTo>
                      <a:pt x="444465" y="223369"/>
                      <a:pt x="433404" y="219319"/>
                      <a:pt x="421330" y="219319"/>
                    </a:cubicBezTo>
                    <a:lnTo>
                      <a:pt x="411928" y="219319"/>
                    </a:lnTo>
                    <a:cubicBezTo>
                      <a:pt x="411375" y="217755"/>
                      <a:pt x="410914" y="216098"/>
                      <a:pt x="410914" y="214257"/>
                    </a:cubicBezTo>
                    <a:lnTo>
                      <a:pt x="410914" y="198059"/>
                    </a:lnTo>
                    <a:cubicBezTo>
                      <a:pt x="403817" y="195114"/>
                      <a:pt x="397457" y="191064"/>
                      <a:pt x="391373" y="186463"/>
                    </a:cubicBezTo>
                    <a:lnTo>
                      <a:pt x="377086" y="194746"/>
                    </a:lnTo>
                    <a:cubicBezTo>
                      <a:pt x="373492" y="196863"/>
                      <a:pt x="369160" y="197415"/>
                      <a:pt x="365104" y="196310"/>
                    </a:cubicBezTo>
                    <a:cubicBezTo>
                      <a:pt x="361140" y="195206"/>
                      <a:pt x="357638" y="192629"/>
                      <a:pt x="355610" y="189040"/>
                    </a:cubicBezTo>
                    <a:lnTo>
                      <a:pt x="336530" y="155999"/>
                    </a:lnTo>
                    <a:cubicBezTo>
                      <a:pt x="332198" y="148452"/>
                      <a:pt x="334687" y="138881"/>
                      <a:pt x="342245" y="134463"/>
                    </a:cubicBezTo>
                    <a:lnTo>
                      <a:pt x="356716" y="126180"/>
                    </a:lnTo>
                    <a:cubicBezTo>
                      <a:pt x="356163" y="122498"/>
                      <a:pt x="355518" y="118817"/>
                      <a:pt x="355518" y="115044"/>
                    </a:cubicBezTo>
                    <a:cubicBezTo>
                      <a:pt x="355518" y="111178"/>
                      <a:pt x="356163" y="107497"/>
                      <a:pt x="356716" y="103815"/>
                    </a:cubicBezTo>
                    <a:lnTo>
                      <a:pt x="342245" y="95440"/>
                    </a:lnTo>
                    <a:cubicBezTo>
                      <a:pt x="334687" y="91115"/>
                      <a:pt x="332198" y="81543"/>
                      <a:pt x="336530" y="73996"/>
                    </a:cubicBezTo>
                    <a:lnTo>
                      <a:pt x="355610" y="40956"/>
                    </a:lnTo>
                    <a:cubicBezTo>
                      <a:pt x="357638" y="37366"/>
                      <a:pt x="361140" y="34789"/>
                      <a:pt x="365104" y="33685"/>
                    </a:cubicBezTo>
                    <a:cubicBezTo>
                      <a:pt x="369160" y="32580"/>
                      <a:pt x="373492" y="33133"/>
                      <a:pt x="377086" y="35249"/>
                    </a:cubicBezTo>
                    <a:lnTo>
                      <a:pt x="391373" y="43533"/>
                    </a:lnTo>
                    <a:cubicBezTo>
                      <a:pt x="397457" y="38931"/>
                      <a:pt x="403817" y="34881"/>
                      <a:pt x="410914" y="31936"/>
                    </a:cubicBezTo>
                    <a:lnTo>
                      <a:pt x="410914" y="15738"/>
                    </a:lnTo>
                    <a:cubicBezTo>
                      <a:pt x="410914" y="7087"/>
                      <a:pt x="418011" y="0"/>
                      <a:pt x="42667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grpSp>
            <p:nvGrpSpPr>
              <p:cNvPr id="34" name="îŝlidé">
                <a:extLst>
                  <a:ext uri="{FF2B5EF4-FFF2-40B4-BE49-F238E27FC236}">
                    <a16:creationId xmlns:a16="http://schemas.microsoft.com/office/drawing/2014/main" xmlns="" id="{824C64B1-ADC3-4082-AAE7-F56640F51097}"/>
                  </a:ext>
                </a:extLst>
              </p:cNvPr>
              <p:cNvGrpSpPr/>
              <p:nvPr/>
            </p:nvGrpSpPr>
            <p:grpSpPr>
              <a:xfrm>
                <a:off x="673101" y="3668688"/>
                <a:ext cx="2232024" cy="1082948"/>
                <a:chOff x="673101" y="3668688"/>
                <a:chExt cx="2232024" cy="1082948"/>
              </a:xfrm>
            </p:grpSpPr>
            <p:sp>
              <p:nvSpPr>
                <p:cNvPr id="35" name="îṡļïde">
                  <a:extLst>
                    <a:ext uri="{FF2B5EF4-FFF2-40B4-BE49-F238E27FC236}">
                      <a16:creationId xmlns:a16="http://schemas.microsoft.com/office/drawing/2014/main" xmlns="" id="{5D3CE752-769B-4809-BCBE-9E762BA7AF24}"/>
                    </a:ext>
                  </a:extLst>
                </p:cNvPr>
                <p:cNvSpPr txBox="1"/>
                <p:nvPr/>
              </p:nvSpPr>
              <p:spPr>
                <a:xfrm>
                  <a:off x="673101" y="4061200"/>
                  <a:ext cx="2232024" cy="69043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buSzPct val="25000"/>
                  </a:pPr>
                  <a:r>
                    <a:rPr lang="en-US" sz="1100" dirty="0"/>
                    <a:t>Copy paste fonts. Choose the only option to retain text.…</a:t>
                  </a:r>
                  <a:r>
                    <a:rPr lang="de-DE" sz="1100" dirty="0"/>
                    <a:t>..</a:t>
                  </a:r>
                </a:p>
              </p:txBody>
            </p:sp>
            <p:sp>
              <p:nvSpPr>
                <p:cNvPr id="36" name="ïsḷïḍe">
                  <a:extLst>
                    <a:ext uri="{FF2B5EF4-FFF2-40B4-BE49-F238E27FC236}">
                      <a16:creationId xmlns:a16="http://schemas.microsoft.com/office/drawing/2014/main" xmlns="" id="{21900FFF-2F9C-4E4A-AC0F-F7D9290259F2}"/>
                    </a:ext>
                  </a:extLst>
                </p:cNvPr>
                <p:cNvSpPr txBox="1"/>
                <p:nvPr/>
              </p:nvSpPr>
              <p:spPr>
                <a:xfrm>
                  <a:off x="673101" y="3668688"/>
                  <a:ext cx="2232024" cy="39251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buSzPct val="25000"/>
                  </a:pPr>
                  <a:r>
                    <a:rPr lang="de-DE" b="1" dirty="0"/>
                    <a:t>Text here</a:t>
                  </a:r>
                </a:p>
              </p:txBody>
            </p:sp>
          </p:grpSp>
        </p:grpSp>
        <p:grpSp>
          <p:nvGrpSpPr>
            <p:cNvPr id="18" name="ïsḻíḑê">
              <a:extLst>
                <a:ext uri="{FF2B5EF4-FFF2-40B4-BE49-F238E27FC236}">
                  <a16:creationId xmlns:a16="http://schemas.microsoft.com/office/drawing/2014/main" xmlns="" id="{E208B66B-0F0E-4F01-B3E7-26D787A07BB8}"/>
                </a:ext>
              </a:extLst>
            </p:cNvPr>
            <p:cNvGrpSpPr/>
            <p:nvPr/>
          </p:nvGrpSpPr>
          <p:grpSpPr>
            <a:xfrm>
              <a:off x="6415617" y="4001895"/>
              <a:ext cx="2232024" cy="1999757"/>
              <a:chOff x="673101" y="2751879"/>
              <a:chExt cx="2232024" cy="1999757"/>
            </a:xfrm>
          </p:grpSpPr>
          <p:sp>
            <p:nvSpPr>
              <p:cNvPr id="27" name="ïşļídé">
                <a:extLst>
                  <a:ext uri="{FF2B5EF4-FFF2-40B4-BE49-F238E27FC236}">
                    <a16:creationId xmlns:a16="http://schemas.microsoft.com/office/drawing/2014/main" xmlns="" id="{22E15A30-2611-4707-A2C3-10C1AF32B0D2}"/>
                  </a:ext>
                </a:extLst>
              </p:cNvPr>
              <p:cNvSpPr/>
              <p:nvPr/>
            </p:nvSpPr>
            <p:spPr>
              <a:xfrm>
                <a:off x="1392764" y="2751879"/>
                <a:ext cx="792698" cy="792698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28" name="îṡľíḍè">
                <a:extLst>
                  <a:ext uri="{FF2B5EF4-FFF2-40B4-BE49-F238E27FC236}">
                    <a16:creationId xmlns:a16="http://schemas.microsoft.com/office/drawing/2014/main" xmlns="" id="{9C2C58B9-E1DE-4FFE-A8E9-37EAD7024C4B}"/>
                  </a:ext>
                </a:extLst>
              </p:cNvPr>
              <p:cNvSpPr/>
              <p:nvPr/>
            </p:nvSpPr>
            <p:spPr bwMode="auto">
              <a:xfrm>
                <a:off x="1590113" y="2997064"/>
                <a:ext cx="398001" cy="302329"/>
              </a:xfrm>
              <a:custGeom>
                <a:avLst/>
                <a:gdLst>
                  <a:gd name="T0" fmla="*/ 2664 w 2711"/>
                  <a:gd name="T1" fmla="*/ 1581 h 2062"/>
                  <a:gd name="T2" fmla="*/ 909 w 2711"/>
                  <a:gd name="T3" fmla="*/ 1581 h 2062"/>
                  <a:gd name="T4" fmla="*/ 861 w 2711"/>
                  <a:gd name="T5" fmla="*/ 1534 h 2062"/>
                  <a:gd name="T6" fmla="*/ 861 w 2711"/>
                  <a:gd name="T7" fmla="*/ 434 h 2062"/>
                  <a:gd name="T8" fmla="*/ 909 w 2711"/>
                  <a:gd name="T9" fmla="*/ 386 h 2062"/>
                  <a:gd name="T10" fmla="*/ 2664 w 2711"/>
                  <a:gd name="T11" fmla="*/ 386 h 2062"/>
                  <a:gd name="T12" fmla="*/ 2711 w 2711"/>
                  <a:gd name="T13" fmla="*/ 434 h 2062"/>
                  <a:gd name="T14" fmla="*/ 2711 w 2711"/>
                  <a:gd name="T15" fmla="*/ 1534 h 2062"/>
                  <a:gd name="T16" fmla="*/ 2664 w 2711"/>
                  <a:gd name="T17" fmla="*/ 1581 h 2062"/>
                  <a:gd name="T18" fmla="*/ 2177 w 2711"/>
                  <a:gd name="T19" fmla="*/ 1928 h 2062"/>
                  <a:gd name="T20" fmla="*/ 2000 w 2711"/>
                  <a:gd name="T21" fmla="*/ 1928 h 2062"/>
                  <a:gd name="T22" fmla="*/ 2000 w 2711"/>
                  <a:gd name="T23" fmla="*/ 1715 h 2062"/>
                  <a:gd name="T24" fmla="*/ 1573 w 2711"/>
                  <a:gd name="T25" fmla="*/ 1715 h 2062"/>
                  <a:gd name="T26" fmla="*/ 1573 w 2711"/>
                  <a:gd name="T27" fmla="*/ 1928 h 2062"/>
                  <a:gd name="T28" fmla="*/ 1395 w 2711"/>
                  <a:gd name="T29" fmla="*/ 1928 h 2062"/>
                  <a:gd name="T30" fmla="*/ 1329 w 2711"/>
                  <a:gd name="T31" fmla="*/ 1995 h 2062"/>
                  <a:gd name="T32" fmla="*/ 1395 w 2711"/>
                  <a:gd name="T33" fmla="*/ 2062 h 2062"/>
                  <a:gd name="T34" fmla="*/ 1640 w 2711"/>
                  <a:gd name="T35" fmla="*/ 2062 h 2062"/>
                  <a:gd name="T36" fmla="*/ 1933 w 2711"/>
                  <a:gd name="T37" fmla="*/ 2062 h 2062"/>
                  <a:gd name="T38" fmla="*/ 2177 w 2711"/>
                  <a:gd name="T39" fmla="*/ 2062 h 2062"/>
                  <a:gd name="T40" fmla="*/ 2244 w 2711"/>
                  <a:gd name="T41" fmla="*/ 1995 h 2062"/>
                  <a:gd name="T42" fmla="*/ 2177 w 2711"/>
                  <a:gd name="T43" fmla="*/ 1928 h 2062"/>
                  <a:gd name="T44" fmla="*/ 1065 w 2711"/>
                  <a:gd name="T45" fmla="*/ 253 h 2062"/>
                  <a:gd name="T46" fmla="*/ 909 w 2711"/>
                  <a:gd name="T47" fmla="*/ 253 h 2062"/>
                  <a:gd name="T48" fmla="*/ 880 w 2711"/>
                  <a:gd name="T49" fmla="*/ 255 h 2062"/>
                  <a:gd name="T50" fmla="*/ 863 w 2711"/>
                  <a:gd name="T51" fmla="*/ 253 h 2062"/>
                  <a:gd name="T52" fmla="*/ 201 w 2711"/>
                  <a:gd name="T53" fmla="*/ 253 h 2062"/>
                  <a:gd name="T54" fmla="*/ 135 w 2711"/>
                  <a:gd name="T55" fmla="*/ 320 h 2062"/>
                  <a:gd name="T56" fmla="*/ 201 w 2711"/>
                  <a:gd name="T57" fmla="*/ 386 h 2062"/>
                  <a:gd name="T58" fmla="*/ 735 w 2711"/>
                  <a:gd name="T59" fmla="*/ 386 h 2062"/>
                  <a:gd name="T60" fmla="*/ 728 w 2711"/>
                  <a:gd name="T61" fmla="*/ 434 h 2062"/>
                  <a:gd name="T62" fmla="*/ 728 w 2711"/>
                  <a:gd name="T63" fmla="*/ 558 h 2062"/>
                  <a:gd name="T64" fmla="*/ 201 w 2711"/>
                  <a:gd name="T65" fmla="*/ 558 h 2062"/>
                  <a:gd name="T66" fmla="*/ 135 w 2711"/>
                  <a:gd name="T67" fmla="*/ 624 h 2062"/>
                  <a:gd name="T68" fmla="*/ 201 w 2711"/>
                  <a:gd name="T69" fmla="*/ 691 h 2062"/>
                  <a:gd name="T70" fmla="*/ 728 w 2711"/>
                  <a:gd name="T71" fmla="*/ 691 h 2062"/>
                  <a:gd name="T72" fmla="*/ 728 w 2711"/>
                  <a:gd name="T73" fmla="*/ 863 h 2062"/>
                  <a:gd name="T74" fmla="*/ 201 w 2711"/>
                  <a:gd name="T75" fmla="*/ 863 h 2062"/>
                  <a:gd name="T76" fmla="*/ 135 w 2711"/>
                  <a:gd name="T77" fmla="*/ 929 h 2062"/>
                  <a:gd name="T78" fmla="*/ 201 w 2711"/>
                  <a:gd name="T79" fmla="*/ 996 h 2062"/>
                  <a:gd name="T80" fmla="*/ 728 w 2711"/>
                  <a:gd name="T81" fmla="*/ 996 h 2062"/>
                  <a:gd name="T82" fmla="*/ 728 w 2711"/>
                  <a:gd name="T83" fmla="*/ 1534 h 2062"/>
                  <a:gd name="T84" fmla="*/ 909 w 2711"/>
                  <a:gd name="T85" fmla="*/ 1715 h 2062"/>
                  <a:gd name="T86" fmla="*/ 1065 w 2711"/>
                  <a:gd name="T87" fmla="*/ 1715 h 2062"/>
                  <a:gd name="T88" fmla="*/ 1065 w 2711"/>
                  <a:gd name="T89" fmla="*/ 1995 h 2062"/>
                  <a:gd name="T90" fmla="*/ 998 w 2711"/>
                  <a:gd name="T91" fmla="*/ 2062 h 2062"/>
                  <a:gd name="T92" fmla="*/ 67 w 2711"/>
                  <a:gd name="T93" fmla="*/ 2062 h 2062"/>
                  <a:gd name="T94" fmla="*/ 0 w 2711"/>
                  <a:gd name="T95" fmla="*/ 1995 h 2062"/>
                  <a:gd name="T96" fmla="*/ 0 w 2711"/>
                  <a:gd name="T97" fmla="*/ 66 h 2062"/>
                  <a:gd name="T98" fmla="*/ 67 w 2711"/>
                  <a:gd name="T99" fmla="*/ 0 h 2062"/>
                  <a:gd name="T100" fmla="*/ 998 w 2711"/>
                  <a:gd name="T101" fmla="*/ 0 h 2062"/>
                  <a:gd name="T102" fmla="*/ 1065 w 2711"/>
                  <a:gd name="T103" fmla="*/ 66 h 2062"/>
                  <a:gd name="T104" fmla="*/ 1065 w 2711"/>
                  <a:gd name="T105" fmla="*/ 253 h 2062"/>
                  <a:gd name="T106" fmla="*/ 430 w 2711"/>
                  <a:gd name="T107" fmla="*/ 1569 h 2062"/>
                  <a:gd name="T108" fmla="*/ 532 w 2711"/>
                  <a:gd name="T109" fmla="*/ 1672 h 2062"/>
                  <a:gd name="T110" fmla="*/ 635 w 2711"/>
                  <a:gd name="T111" fmla="*/ 1569 h 2062"/>
                  <a:gd name="T112" fmla="*/ 532 w 2711"/>
                  <a:gd name="T113" fmla="*/ 1466 h 2062"/>
                  <a:gd name="T114" fmla="*/ 430 w 2711"/>
                  <a:gd name="T115" fmla="*/ 1569 h 20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711" h="2062">
                    <a:moveTo>
                      <a:pt x="2664" y="1581"/>
                    </a:moveTo>
                    <a:lnTo>
                      <a:pt x="909" y="1581"/>
                    </a:lnTo>
                    <a:cubicBezTo>
                      <a:pt x="883" y="1581"/>
                      <a:pt x="861" y="1560"/>
                      <a:pt x="861" y="1534"/>
                    </a:cubicBezTo>
                    <a:lnTo>
                      <a:pt x="861" y="434"/>
                    </a:lnTo>
                    <a:cubicBezTo>
                      <a:pt x="861" y="407"/>
                      <a:pt x="883" y="386"/>
                      <a:pt x="909" y="386"/>
                    </a:cubicBezTo>
                    <a:lnTo>
                      <a:pt x="2664" y="386"/>
                    </a:lnTo>
                    <a:cubicBezTo>
                      <a:pt x="2690" y="386"/>
                      <a:pt x="2711" y="408"/>
                      <a:pt x="2711" y="434"/>
                    </a:cubicBezTo>
                    <a:lnTo>
                      <a:pt x="2711" y="1534"/>
                    </a:lnTo>
                    <a:cubicBezTo>
                      <a:pt x="2711" y="1560"/>
                      <a:pt x="2690" y="1581"/>
                      <a:pt x="2664" y="1581"/>
                    </a:cubicBezTo>
                    <a:close/>
                    <a:moveTo>
                      <a:pt x="2177" y="1928"/>
                    </a:moveTo>
                    <a:lnTo>
                      <a:pt x="2000" y="1928"/>
                    </a:lnTo>
                    <a:lnTo>
                      <a:pt x="2000" y="1715"/>
                    </a:lnTo>
                    <a:lnTo>
                      <a:pt x="1573" y="1715"/>
                    </a:lnTo>
                    <a:lnTo>
                      <a:pt x="1573" y="1928"/>
                    </a:lnTo>
                    <a:lnTo>
                      <a:pt x="1395" y="1928"/>
                    </a:lnTo>
                    <a:cubicBezTo>
                      <a:pt x="1358" y="1928"/>
                      <a:pt x="1329" y="1958"/>
                      <a:pt x="1329" y="1995"/>
                    </a:cubicBezTo>
                    <a:cubicBezTo>
                      <a:pt x="1329" y="2032"/>
                      <a:pt x="1358" y="2062"/>
                      <a:pt x="1395" y="2062"/>
                    </a:cubicBezTo>
                    <a:lnTo>
                      <a:pt x="1640" y="2062"/>
                    </a:lnTo>
                    <a:lnTo>
                      <a:pt x="1933" y="2062"/>
                    </a:lnTo>
                    <a:lnTo>
                      <a:pt x="2177" y="2062"/>
                    </a:lnTo>
                    <a:cubicBezTo>
                      <a:pt x="2214" y="2062"/>
                      <a:pt x="2244" y="2032"/>
                      <a:pt x="2244" y="1995"/>
                    </a:cubicBezTo>
                    <a:cubicBezTo>
                      <a:pt x="2244" y="1958"/>
                      <a:pt x="2214" y="1928"/>
                      <a:pt x="2177" y="1928"/>
                    </a:cubicBezTo>
                    <a:close/>
                    <a:moveTo>
                      <a:pt x="1065" y="253"/>
                    </a:moveTo>
                    <a:lnTo>
                      <a:pt x="909" y="253"/>
                    </a:lnTo>
                    <a:cubicBezTo>
                      <a:pt x="899" y="253"/>
                      <a:pt x="890" y="254"/>
                      <a:pt x="880" y="255"/>
                    </a:cubicBezTo>
                    <a:cubicBezTo>
                      <a:pt x="875" y="254"/>
                      <a:pt x="869" y="253"/>
                      <a:pt x="863" y="253"/>
                    </a:cubicBezTo>
                    <a:lnTo>
                      <a:pt x="201" y="253"/>
                    </a:lnTo>
                    <a:cubicBezTo>
                      <a:pt x="164" y="253"/>
                      <a:pt x="135" y="283"/>
                      <a:pt x="135" y="320"/>
                    </a:cubicBezTo>
                    <a:cubicBezTo>
                      <a:pt x="135" y="356"/>
                      <a:pt x="164" y="386"/>
                      <a:pt x="201" y="386"/>
                    </a:cubicBezTo>
                    <a:lnTo>
                      <a:pt x="735" y="386"/>
                    </a:lnTo>
                    <a:cubicBezTo>
                      <a:pt x="730" y="401"/>
                      <a:pt x="728" y="417"/>
                      <a:pt x="728" y="434"/>
                    </a:cubicBezTo>
                    <a:lnTo>
                      <a:pt x="728" y="558"/>
                    </a:lnTo>
                    <a:lnTo>
                      <a:pt x="201" y="558"/>
                    </a:lnTo>
                    <a:cubicBezTo>
                      <a:pt x="164" y="558"/>
                      <a:pt x="135" y="588"/>
                      <a:pt x="135" y="624"/>
                    </a:cubicBezTo>
                    <a:cubicBezTo>
                      <a:pt x="135" y="661"/>
                      <a:pt x="164" y="691"/>
                      <a:pt x="201" y="691"/>
                    </a:cubicBezTo>
                    <a:lnTo>
                      <a:pt x="728" y="691"/>
                    </a:lnTo>
                    <a:lnTo>
                      <a:pt x="728" y="863"/>
                    </a:lnTo>
                    <a:lnTo>
                      <a:pt x="201" y="863"/>
                    </a:lnTo>
                    <a:cubicBezTo>
                      <a:pt x="164" y="863"/>
                      <a:pt x="135" y="893"/>
                      <a:pt x="135" y="929"/>
                    </a:cubicBezTo>
                    <a:cubicBezTo>
                      <a:pt x="135" y="966"/>
                      <a:pt x="164" y="996"/>
                      <a:pt x="201" y="996"/>
                    </a:cubicBezTo>
                    <a:lnTo>
                      <a:pt x="728" y="996"/>
                    </a:lnTo>
                    <a:lnTo>
                      <a:pt x="728" y="1534"/>
                    </a:lnTo>
                    <a:cubicBezTo>
                      <a:pt x="728" y="1633"/>
                      <a:pt x="809" y="1715"/>
                      <a:pt x="909" y="1715"/>
                    </a:cubicBezTo>
                    <a:lnTo>
                      <a:pt x="1065" y="1715"/>
                    </a:lnTo>
                    <a:lnTo>
                      <a:pt x="1065" y="1995"/>
                    </a:lnTo>
                    <a:cubicBezTo>
                      <a:pt x="1065" y="2032"/>
                      <a:pt x="1035" y="2062"/>
                      <a:pt x="998" y="2062"/>
                    </a:cubicBezTo>
                    <a:lnTo>
                      <a:pt x="67" y="2062"/>
                    </a:lnTo>
                    <a:cubicBezTo>
                      <a:pt x="30" y="2062"/>
                      <a:pt x="0" y="2032"/>
                      <a:pt x="0" y="1995"/>
                    </a:cubicBezTo>
                    <a:lnTo>
                      <a:pt x="0" y="66"/>
                    </a:lnTo>
                    <a:cubicBezTo>
                      <a:pt x="0" y="29"/>
                      <a:pt x="30" y="0"/>
                      <a:pt x="67" y="0"/>
                    </a:cubicBezTo>
                    <a:lnTo>
                      <a:pt x="998" y="0"/>
                    </a:lnTo>
                    <a:cubicBezTo>
                      <a:pt x="1035" y="0"/>
                      <a:pt x="1065" y="29"/>
                      <a:pt x="1065" y="66"/>
                    </a:cubicBezTo>
                    <a:lnTo>
                      <a:pt x="1065" y="253"/>
                    </a:lnTo>
                    <a:close/>
                    <a:moveTo>
                      <a:pt x="430" y="1569"/>
                    </a:moveTo>
                    <a:cubicBezTo>
                      <a:pt x="430" y="1626"/>
                      <a:pt x="476" y="1672"/>
                      <a:pt x="532" y="1672"/>
                    </a:cubicBezTo>
                    <a:cubicBezTo>
                      <a:pt x="589" y="1672"/>
                      <a:pt x="635" y="1626"/>
                      <a:pt x="635" y="1569"/>
                    </a:cubicBezTo>
                    <a:cubicBezTo>
                      <a:pt x="635" y="1512"/>
                      <a:pt x="589" y="1466"/>
                      <a:pt x="532" y="1466"/>
                    </a:cubicBezTo>
                    <a:cubicBezTo>
                      <a:pt x="476" y="1466"/>
                      <a:pt x="430" y="1512"/>
                      <a:pt x="430" y="15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grpSp>
            <p:nvGrpSpPr>
              <p:cNvPr id="29" name="ïSḷíḑê">
                <a:extLst>
                  <a:ext uri="{FF2B5EF4-FFF2-40B4-BE49-F238E27FC236}">
                    <a16:creationId xmlns:a16="http://schemas.microsoft.com/office/drawing/2014/main" xmlns="" id="{2C2F3861-0F5E-4E3A-80AC-13AB23574494}"/>
                  </a:ext>
                </a:extLst>
              </p:cNvPr>
              <p:cNvGrpSpPr/>
              <p:nvPr/>
            </p:nvGrpSpPr>
            <p:grpSpPr>
              <a:xfrm>
                <a:off x="673101" y="3668688"/>
                <a:ext cx="2232024" cy="1082948"/>
                <a:chOff x="673101" y="3668688"/>
                <a:chExt cx="2232024" cy="1082948"/>
              </a:xfrm>
            </p:grpSpPr>
            <p:sp>
              <p:nvSpPr>
                <p:cNvPr id="30" name="íšļîdè">
                  <a:extLst>
                    <a:ext uri="{FF2B5EF4-FFF2-40B4-BE49-F238E27FC236}">
                      <a16:creationId xmlns:a16="http://schemas.microsoft.com/office/drawing/2014/main" xmlns="" id="{9F98B879-37E8-4DB8-9B06-F865A17419F6}"/>
                    </a:ext>
                  </a:extLst>
                </p:cNvPr>
                <p:cNvSpPr txBox="1"/>
                <p:nvPr/>
              </p:nvSpPr>
              <p:spPr>
                <a:xfrm>
                  <a:off x="673101" y="4061200"/>
                  <a:ext cx="2232024" cy="69043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buSzPct val="25000"/>
                  </a:pPr>
                  <a:r>
                    <a:rPr lang="en-US" sz="1100" dirty="0"/>
                    <a:t>Copy paste fonts. Choose the only option to retain text.…</a:t>
                  </a:r>
                  <a:r>
                    <a:rPr lang="de-DE" sz="1100" dirty="0"/>
                    <a:t>..</a:t>
                  </a:r>
                </a:p>
              </p:txBody>
            </p:sp>
            <p:sp>
              <p:nvSpPr>
                <p:cNvPr id="31" name="išļîḑé">
                  <a:extLst>
                    <a:ext uri="{FF2B5EF4-FFF2-40B4-BE49-F238E27FC236}">
                      <a16:creationId xmlns:a16="http://schemas.microsoft.com/office/drawing/2014/main" xmlns="" id="{43B658FA-7BAE-4591-A0DC-2665380252C8}"/>
                    </a:ext>
                  </a:extLst>
                </p:cNvPr>
                <p:cNvSpPr txBox="1"/>
                <p:nvPr/>
              </p:nvSpPr>
              <p:spPr>
                <a:xfrm>
                  <a:off x="673101" y="3668688"/>
                  <a:ext cx="2232024" cy="39251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buSzPct val="25000"/>
                  </a:pPr>
                  <a:r>
                    <a:rPr lang="de-DE" b="1" dirty="0"/>
                    <a:t>Text here</a:t>
                  </a:r>
                </a:p>
              </p:txBody>
            </p:sp>
          </p:grpSp>
        </p:grpSp>
        <p:grpSp>
          <p:nvGrpSpPr>
            <p:cNvPr id="19" name="íś1ïḋè">
              <a:extLst>
                <a:ext uri="{FF2B5EF4-FFF2-40B4-BE49-F238E27FC236}">
                  <a16:creationId xmlns:a16="http://schemas.microsoft.com/office/drawing/2014/main" xmlns="" id="{3311266C-C31A-4FC7-9613-77AD0569C409}"/>
                </a:ext>
              </a:extLst>
            </p:cNvPr>
            <p:cNvGrpSpPr/>
            <p:nvPr/>
          </p:nvGrpSpPr>
          <p:grpSpPr>
            <a:xfrm>
              <a:off x="9286876" y="4001895"/>
              <a:ext cx="2232024" cy="1999757"/>
              <a:chOff x="673101" y="2751879"/>
              <a:chExt cx="2232024" cy="1999757"/>
            </a:xfrm>
          </p:grpSpPr>
          <p:sp>
            <p:nvSpPr>
              <p:cNvPr id="22" name="íślîdé">
                <a:extLst>
                  <a:ext uri="{FF2B5EF4-FFF2-40B4-BE49-F238E27FC236}">
                    <a16:creationId xmlns:a16="http://schemas.microsoft.com/office/drawing/2014/main" xmlns="" id="{DC6F3C27-9EF9-4C3D-9A9E-7733D2C29205}"/>
                  </a:ext>
                </a:extLst>
              </p:cNvPr>
              <p:cNvSpPr/>
              <p:nvPr/>
            </p:nvSpPr>
            <p:spPr>
              <a:xfrm>
                <a:off x="1392764" y="2751879"/>
                <a:ext cx="792698" cy="792698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23" name="iSļîďè">
                <a:extLst>
                  <a:ext uri="{FF2B5EF4-FFF2-40B4-BE49-F238E27FC236}">
                    <a16:creationId xmlns:a16="http://schemas.microsoft.com/office/drawing/2014/main" xmlns="" id="{A0631AC8-85BA-4AB0-B4A7-E522ED180984}"/>
                  </a:ext>
                </a:extLst>
              </p:cNvPr>
              <p:cNvSpPr/>
              <p:nvPr/>
            </p:nvSpPr>
            <p:spPr bwMode="auto">
              <a:xfrm>
                <a:off x="1590113" y="2968480"/>
                <a:ext cx="398001" cy="359496"/>
              </a:xfrm>
              <a:custGeom>
                <a:avLst/>
                <a:gdLst>
                  <a:gd name="connsiteX0" fmla="*/ 0 w 609050"/>
                  <a:gd name="connsiteY0" fmla="*/ 411255 h 550128"/>
                  <a:gd name="connsiteX1" fmla="*/ 25953 w 609050"/>
                  <a:gd name="connsiteY1" fmla="*/ 426310 h 550128"/>
                  <a:gd name="connsiteX2" fmla="*/ 202989 w 609050"/>
                  <a:gd name="connsiteY2" fmla="*/ 463367 h 550128"/>
                  <a:gd name="connsiteX3" fmla="*/ 219808 w 609050"/>
                  <a:gd name="connsiteY3" fmla="*/ 462933 h 550128"/>
                  <a:gd name="connsiteX4" fmla="*/ 251707 w 609050"/>
                  <a:gd name="connsiteY4" fmla="*/ 518375 h 550128"/>
                  <a:gd name="connsiteX5" fmla="*/ 202989 w 609050"/>
                  <a:gd name="connsiteY5" fmla="*/ 521125 h 550128"/>
                  <a:gd name="connsiteX6" fmla="*/ 0 w 609050"/>
                  <a:gd name="connsiteY6" fmla="*/ 434416 h 550128"/>
                  <a:gd name="connsiteX7" fmla="*/ 0 w 609050"/>
                  <a:gd name="connsiteY7" fmla="*/ 295387 h 550128"/>
                  <a:gd name="connsiteX8" fmla="*/ 25960 w 609050"/>
                  <a:gd name="connsiteY8" fmla="*/ 310451 h 550128"/>
                  <a:gd name="connsiteX9" fmla="*/ 203040 w 609050"/>
                  <a:gd name="connsiteY9" fmla="*/ 347531 h 550128"/>
                  <a:gd name="connsiteX10" fmla="*/ 204781 w 609050"/>
                  <a:gd name="connsiteY10" fmla="*/ 347531 h 550128"/>
                  <a:gd name="connsiteX11" fmla="*/ 203040 w 609050"/>
                  <a:gd name="connsiteY11" fmla="*/ 376355 h 550128"/>
                  <a:gd name="connsiteX12" fmla="*/ 204781 w 609050"/>
                  <a:gd name="connsiteY12" fmla="*/ 405469 h 550128"/>
                  <a:gd name="connsiteX13" fmla="*/ 203040 w 609050"/>
                  <a:gd name="connsiteY13" fmla="*/ 405469 h 550128"/>
                  <a:gd name="connsiteX14" fmla="*/ 0 w 609050"/>
                  <a:gd name="connsiteY14" fmla="*/ 318562 h 550128"/>
                  <a:gd name="connsiteX15" fmla="*/ 435036 w 609050"/>
                  <a:gd name="connsiteY15" fmla="*/ 202593 h 550128"/>
                  <a:gd name="connsiteX16" fmla="*/ 609050 w 609050"/>
                  <a:gd name="connsiteY16" fmla="*/ 376361 h 550128"/>
                  <a:gd name="connsiteX17" fmla="*/ 435036 w 609050"/>
                  <a:gd name="connsiteY17" fmla="*/ 550128 h 550128"/>
                  <a:gd name="connsiteX18" fmla="*/ 317721 w 609050"/>
                  <a:gd name="connsiteY18" fmla="*/ 504659 h 550128"/>
                  <a:gd name="connsiteX19" fmla="*/ 280888 w 609050"/>
                  <a:gd name="connsiteY19" fmla="*/ 457018 h 550128"/>
                  <a:gd name="connsiteX20" fmla="*/ 262761 w 609050"/>
                  <a:gd name="connsiteY20" fmla="*/ 401267 h 550128"/>
                  <a:gd name="connsiteX21" fmla="*/ 261021 w 609050"/>
                  <a:gd name="connsiteY21" fmla="*/ 376361 h 550128"/>
                  <a:gd name="connsiteX22" fmla="*/ 264067 w 609050"/>
                  <a:gd name="connsiteY22" fmla="*/ 343634 h 550128"/>
                  <a:gd name="connsiteX23" fmla="*/ 290024 w 609050"/>
                  <a:gd name="connsiteY23" fmla="*/ 280499 h 550128"/>
                  <a:gd name="connsiteX24" fmla="*/ 405888 w 609050"/>
                  <a:gd name="connsiteY24" fmla="*/ 205055 h 550128"/>
                  <a:gd name="connsiteX25" fmla="*/ 435036 w 609050"/>
                  <a:gd name="connsiteY25" fmla="*/ 202593 h 550128"/>
                  <a:gd name="connsiteX26" fmla="*/ 0 w 609050"/>
                  <a:gd name="connsiteY26" fmla="*/ 179589 h 550128"/>
                  <a:gd name="connsiteX27" fmla="*/ 25955 w 609050"/>
                  <a:gd name="connsiteY27" fmla="*/ 194643 h 550128"/>
                  <a:gd name="connsiteX28" fmla="*/ 203003 w 609050"/>
                  <a:gd name="connsiteY28" fmla="*/ 231699 h 550128"/>
                  <a:gd name="connsiteX29" fmla="*/ 256364 w 609050"/>
                  <a:gd name="connsiteY29" fmla="*/ 228804 h 550128"/>
                  <a:gd name="connsiteX30" fmla="*/ 219968 w 609050"/>
                  <a:gd name="connsiteY30" fmla="*/ 289166 h 550128"/>
                  <a:gd name="connsiteX31" fmla="*/ 203003 w 609050"/>
                  <a:gd name="connsiteY31" fmla="*/ 289600 h 550128"/>
                  <a:gd name="connsiteX32" fmla="*/ 0 w 609050"/>
                  <a:gd name="connsiteY32" fmla="*/ 202749 h 550128"/>
                  <a:gd name="connsiteX33" fmla="*/ 203017 w 609050"/>
                  <a:gd name="connsiteY33" fmla="*/ 0 h 550128"/>
                  <a:gd name="connsiteX34" fmla="*/ 406034 w 609050"/>
                  <a:gd name="connsiteY34" fmla="*/ 86902 h 550128"/>
                  <a:gd name="connsiteX35" fmla="*/ 203017 w 609050"/>
                  <a:gd name="connsiteY35" fmla="*/ 173804 h 550128"/>
                  <a:gd name="connsiteX36" fmla="*/ 0 w 609050"/>
                  <a:gd name="connsiteY36" fmla="*/ 86902 h 550128"/>
                  <a:gd name="connsiteX37" fmla="*/ 203017 w 609050"/>
                  <a:gd name="connsiteY37" fmla="*/ 0 h 550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09050" h="550128">
                    <a:moveTo>
                      <a:pt x="0" y="411255"/>
                    </a:moveTo>
                    <a:cubicBezTo>
                      <a:pt x="7974" y="416611"/>
                      <a:pt x="16529" y="421677"/>
                      <a:pt x="25953" y="426310"/>
                    </a:cubicBezTo>
                    <a:cubicBezTo>
                      <a:pt x="73656" y="450194"/>
                      <a:pt x="136583" y="463367"/>
                      <a:pt x="202989" y="463367"/>
                    </a:cubicBezTo>
                    <a:cubicBezTo>
                      <a:pt x="208644" y="463367"/>
                      <a:pt x="214154" y="463222"/>
                      <a:pt x="219808" y="462933"/>
                    </a:cubicBezTo>
                    <a:cubicBezTo>
                      <a:pt x="227783" y="483054"/>
                      <a:pt x="238657" y="501583"/>
                      <a:pt x="251707" y="518375"/>
                    </a:cubicBezTo>
                    <a:cubicBezTo>
                      <a:pt x="236193" y="520256"/>
                      <a:pt x="219953" y="521125"/>
                      <a:pt x="202989" y="521125"/>
                    </a:cubicBezTo>
                    <a:cubicBezTo>
                      <a:pt x="86850" y="521125"/>
                      <a:pt x="0" y="475382"/>
                      <a:pt x="0" y="434416"/>
                    </a:cubicBezTo>
                    <a:close/>
                    <a:moveTo>
                      <a:pt x="0" y="295387"/>
                    </a:moveTo>
                    <a:cubicBezTo>
                      <a:pt x="7976" y="300746"/>
                      <a:pt x="16533" y="305816"/>
                      <a:pt x="25960" y="310451"/>
                    </a:cubicBezTo>
                    <a:cubicBezTo>
                      <a:pt x="73675" y="334350"/>
                      <a:pt x="136617" y="347531"/>
                      <a:pt x="203040" y="347531"/>
                    </a:cubicBezTo>
                    <a:cubicBezTo>
                      <a:pt x="203621" y="347531"/>
                      <a:pt x="204201" y="347531"/>
                      <a:pt x="204781" y="347531"/>
                    </a:cubicBezTo>
                    <a:cubicBezTo>
                      <a:pt x="203621" y="356946"/>
                      <a:pt x="203040" y="366651"/>
                      <a:pt x="203040" y="376355"/>
                    </a:cubicBezTo>
                    <a:cubicBezTo>
                      <a:pt x="203040" y="386205"/>
                      <a:pt x="203621" y="395909"/>
                      <a:pt x="204781" y="405469"/>
                    </a:cubicBezTo>
                    <a:cubicBezTo>
                      <a:pt x="204201" y="405469"/>
                      <a:pt x="203621" y="405469"/>
                      <a:pt x="203040" y="405469"/>
                    </a:cubicBezTo>
                    <a:cubicBezTo>
                      <a:pt x="86872" y="405469"/>
                      <a:pt x="0" y="359553"/>
                      <a:pt x="0" y="318562"/>
                    </a:cubicBezTo>
                    <a:close/>
                    <a:moveTo>
                      <a:pt x="435036" y="202593"/>
                    </a:moveTo>
                    <a:cubicBezTo>
                      <a:pt x="530889" y="202593"/>
                      <a:pt x="609050" y="280644"/>
                      <a:pt x="609050" y="376361"/>
                    </a:cubicBezTo>
                    <a:cubicBezTo>
                      <a:pt x="609050" y="472222"/>
                      <a:pt x="530889" y="550128"/>
                      <a:pt x="435036" y="550128"/>
                    </a:cubicBezTo>
                    <a:cubicBezTo>
                      <a:pt x="389792" y="550128"/>
                      <a:pt x="348754" y="532896"/>
                      <a:pt x="317721" y="504659"/>
                    </a:cubicBezTo>
                    <a:cubicBezTo>
                      <a:pt x="302785" y="491192"/>
                      <a:pt x="290314" y="474974"/>
                      <a:pt x="280888" y="457018"/>
                    </a:cubicBezTo>
                    <a:cubicBezTo>
                      <a:pt x="271897" y="439930"/>
                      <a:pt x="265517" y="421106"/>
                      <a:pt x="262761" y="401267"/>
                    </a:cubicBezTo>
                    <a:cubicBezTo>
                      <a:pt x="261601" y="393158"/>
                      <a:pt x="261021" y="384904"/>
                      <a:pt x="261021" y="376361"/>
                    </a:cubicBezTo>
                    <a:cubicBezTo>
                      <a:pt x="261021" y="365210"/>
                      <a:pt x="262036" y="354350"/>
                      <a:pt x="264067" y="343634"/>
                    </a:cubicBezTo>
                    <a:cubicBezTo>
                      <a:pt x="268417" y="320755"/>
                      <a:pt x="277408" y="299324"/>
                      <a:pt x="290024" y="280499"/>
                    </a:cubicBezTo>
                    <a:cubicBezTo>
                      <a:pt x="316126" y="241256"/>
                      <a:pt x="357599" y="213309"/>
                      <a:pt x="405888" y="205055"/>
                    </a:cubicBezTo>
                    <a:cubicBezTo>
                      <a:pt x="415314" y="203462"/>
                      <a:pt x="425030" y="202593"/>
                      <a:pt x="435036" y="202593"/>
                    </a:cubicBezTo>
                    <a:close/>
                    <a:moveTo>
                      <a:pt x="0" y="179589"/>
                    </a:moveTo>
                    <a:cubicBezTo>
                      <a:pt x="7975" y="184945"/>
                      <a:pt x="16530" y="190011"/>
                      <a:pt x="25955" y="194643"/>
                    </a:cubicBezTo>
                    <a:cubicBezTo>
                      <a:pt x="73661" y="218527"/>
                      <a:pt x="136592" y="231699"/>
                      <a:pt x="203003" y="231699"/>
                    </a:cubicBezTo>
                    <a:cubicBezTo>
                      <a:pt x="221128" y="231699"/>
                      <a:pt x="238963" y="230686"/>
                      <a:pt x="256364" y="228804"/>
                    </a:cubicBezTo>
                    <a:cubicBezTo>
                      <a:pt x="241284" y="246754"/>
                      <a:pt x="228958" y="267164"/>
                      <a:pt x="219968" y="289166"/>
                    </a:cubicBezTo>
                    <a:cubicBezTo>
                      <a:pt x="214458" y="289455"/>
                      <a:pt x="208658" y="289600"/>
                      <a:pt x="203003" y="289600"/>
                    </a:cubicBezTo>
                    <a:cubicBezTo>
                      <a:pt x="86856" y="289600"/>
                      <a:pt x="0" y="243714"/>
                      <a:pt x="0" y="202749"/>
                    </a:cubicBezTo>
                    <a:close/>
                    <a:moveTo>
                      <a:pt x="203017" y="0"/>
                    </a:moveTo>
                    <a:cubicBezTo>
                      <a:pt x="315140" y="0"/>
                      <a:pt x="406034" y="38907"/>
                      <a:pt x="406034" y="86902"/>
                    </a:cubicBezTo>
                    <a:cubicBezTo>
                      <a:pt x="406034" y="134897"/>
                      <a:pt x="315140" y="173804"/>
                      <a:pt x="203017" y="173804"/>
                    </a:cubicBezTo>
                    <a:cubicBezTo>
                      <a:pt x="90894" y="173804"/>
                      <a:pt x="0" y="134897"/>
                      <a:pt x="0" y="86902"/>
                    </a:cubicBezTo>
                    <a:cubicBezTo>
                      <a:pt x="0" y="38907"/>
                      <a:pt x="90894" y="0"/>
                      <a:pt x="20301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grpSp>
            <p:nvGrpSpPr>
              <p:cNvPr id="24" name="îsļïḍê">
                <a:extLst>
                  <a:ext uri="{FF2B5EF4-FFF2-40B4-BE49-F238E27FC236}">
                    <a16:creationId xmlns:a16="http://schemas.microsoft.com/office/drawing/2014/main" xmlns="" id="{D1F88D2E-4CB4-4DE6-B12C-0AD930FDD0A0}"/>
                  </a:ext>
                </a:extLst>
              </p:cNvPr>
              <p:cNvGrpSpPr/>
              <p:nvPr/>
            </p:nvGrpSpPr>
            <p:grpSpPr>
              <a:xfrm>
                <a:off x="673101" y="3668688"/>
                <a:ext cx="2232024" cy="1082948"/>
                <a:chOff x="673101" y="3668688"/>
                <a:chExt cx="2232024" cy="1082948"/>
              </a:xfrm>
            </p:grpSpPr>
            <p:sp>
              <p:nvSpPr>
                <p:cNvPr id="25" name="išlïďe">
                  <a:extLst>
                    <a:ext uri="{FF2B5EF4-FFF2-40B4-BE49-F238E27FC236}">
                      <a16:creationId xmlns:a16="http://schemas.microsoft.com/office/drawing/2014/main" xmlns="" id="{DBB7988B-D34E-4956-8746-4FE6799F1F57}"/>
                    </a:ext>
                  </a:extLst>
                </p:cNvPr>
                <p:cNvSpPr txBox="1"/>
                <p:nvPr/>
              </p:nvSpPr>
              <p:spPr>
                <a:xfrm>
                  <a:off x="673101" y="4061200"/>
                  <a:ext cx="2232024" cy="69043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buSzPct val="25000"/>
                  </a:pPr>
                  <a:r>
                    <a:rPr lang="en-US" sz="1100" dirty="0"/>
                    <a:t>Copy paste fonts. Choose the only option to retain text.…</a:t>
                  </a:r>
                  <a:r>
                    <a:rPr lang="de-DE" sz="1100" dirty="0"/>
                    <a:t>..</a:t>
                  </a:r>
                </a:p>
              </p:txBody>
            </p:sp>
            <p:sp>
              <p:nvSpPr>
                <p:cNvPr id="26" name="îSḻíḑe">
                  <a:extLst>
                    <a:ext uri="{FF2B5EF4-FFF2-40B4-BE49-F238E27FC236}">
                      <a16:creationId xmlns:a16="http://schemas.microsoft.com/office/drawing/2014/main" xmlns="" id="{866E90B0-DE28-4876-A880-3650125F15D3}"/>
                    </a:ext>
                  </a:extLst>
                </p:cNvPr>
                <p:cNvSpPr txBox="1"/>
                <p:nvPr/>
              </p:nvSpPr>
              <p:spPr>
                <a:xfrm>
                  <a:off x="673101" y="3668688"/>
                  <a:ext cx="2232024" cy="39251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buSzPct val="25000"/>
                  </a:pPr>
                  <a:r>
                    <a:rPr lang="de-DE" b="1" dirty="0"/>
                    <a:t>Text here</a:t>
                  </a:r>
                </a:p>
              </p:txBody>
            </p:sp>
          </p:grpSp>
        </p:grpSp>
        <p:sp>
          <p:nvSpPr>
            <p:cNvPr id="20" name="îṩḻíḓè">
              <a:extLst>
                <a:ext uri="{FF2B5EF4-FFF2-40B4-BE49-F238E27FC236}">
                  <a16:creationId xmlns:a16="http://schemas.microsoft.com/office/drawing/2014/main" xmlns="" id="{B88AD8FA-8F53-42C3-AC01-0F9471942426}"/>
                </a:ext>
              </a:extLst>
            </p:cNvPr>
            <p:cNvSpPr txBox="1"/>
            <p:nvPr/>
          </p:nvSpPr>
          <p:spPr>
            <a:xfrm>
              <a:off x="2566913" y="2167331"/>
              <a:ext cx="793498" cy="31381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>
                <a:defRPr lang="zh-CN" altLang="en-US" sz="1050" b="0" i="0" u="none" strike="noStrike" kern="1200" baseline="0">
                  <a:solidFill>
                    <a:schemeClr val="tx1">
                      <a:lumMod val="60000"/>
                      <a:lumOff val="40000"/>
                    </a:schemeClr>
                  </a:solidFill>
                  <a:latin typeface="Impact" panose="020B0806030902050204" pitchFamily="34" charset="0"/>
                </a:defRPr>
              </a:pPr>
              <a:r>
                <a:rPr lang="en-US" sz="1100" b="1" dirty="0">
                  <a:solidFill>
                    <a:schemeClr val="accent1"/>
                  </a:solidFill>
                </a:rPr>
                <a:t>... ￥ | 30 %</a:t>
              </a:r>
            </a:p>
          </p:txBody>
        </p:sp>
        <p:sp>
          <p:nvSpPr>
            <p:cNvPr id="21" name="îṩľiďê">
              <a:extLst>
                <a:ext uri="{FF2B5EF4-FFF2-40B4-BE49-F238E27FC236}">
                  <a16:creationId xmlns:a16="http://schemas.microsoft.com/office/drawing/2014/main" xmlns="" id="{FEB5588F-57F3-47EE-8810-9DEC218A528E}"/>
                </a:ext>
              </a:extLst>
            </p:cNvPr>
            <p:cNvSpPr txBox="1"/>
            <p:nvPr/>
          </p:nvSpPr>
          <p:spPr>
            <a:xfrm>
              <a:off x="2192958" y="2794576"/>
              <a:ext cx="793498" cy="31381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>
                <a:defRPr lang="zh-CN" altLang="en-US" sz="1050" b="0" i="0" u="none" strike="noStrike" kern="1200" baseline="0">
                  <a:solidFill>
                    <a:schemeClr val="tx1">
                      <a:lumMod val="60000"/>
                      <a:lumOff val="40000"/>
                    </a:schemeClr>
                  </a:solidFill>
                  <a:latin typeface="Impact" panose="020B0806030902050204" pitchFamily="34" charset="0"/>
                </a:defRPr>
              </a:pPr>
              <a:r>
                <a:rPr lang="en-US" sz="1100" b="1" dirty="0">
                  <a:solidFill>
                    <a:schemeClr val="accent1"/>
                  </a:solidFill>
                </a:rPr>
                <a:t>... ￥ | 20 %</a:t>
              </a:r>
            </a:p>
          </p:txBody>
        </p:sp>
      </p:grpSp>
      <p:sp>
        <p:nvSpPr>
          <p:cNvPr id="2" name="标题 1">
            <a:extLst>
              <a:ext uri="{FF2B5EF4-FFF2-40B4-BE49-F238E27FC236}">
                <a16:creationId xmlns:a16="http://schemas.microsoft.com/office/drawing/2014/main" xmlns="" id="{DDCD85CE-FF5E-426C-A769-DFBEDB06A3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D37FCE90-B984-4443-AD29-F536BA5561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20002322-5464-49C0-AF44-887C36F43F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6454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5C49B91B-248B-4910-89A0-1833E1A1B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8F6624F0-F522-4CEF-B1B1-9650928CAB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7AC6CC2B-3D4B-445D-90F0-A9BFF64D0C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grpSp>
        <p:nvGrpSpPr>
          <p:cNvPr id="5" name="20637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24523966-F354-4C22-BE80-BF8E901D8DAB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390055" y="1191096"/>
            <a:ext cx="7411887" cy="4954937"/>
            <a:chOff x="2390055" y="1191096"/>
            <a:chExt cx="7411887" cy="4954937"/>
          </a:xfrm>
        </p:grpSpPr>
        <p:grpSp>
          <p:nvGrpSpPr>
            <p:cNvPr id="6" name="ïślïdè">
              <a:extLst>
                <a:ext uri="{FF2B5EF4-FFF2-40B4-BE49-F238E27FC236}">
                  <a16:creationId xmlns:a16="http://schemas.microsoft.com/office/drawing/2014/main" xmlns="" id="{874762FD-470B-47BF-8EC9-E84B159866FB}"/>
                </a:ext>
              </a:extLst>
            </p:cNvPr>
            <p:cNvGrpSpPr/>
            <p:nvPr/>
          </p:nvGrpSpPr>
          <p:grpSpPr>
            <a:xfrm>
              <a:off x="2795783" y="1463047"/>
              <a:ext cx="1339703" cy="3156749"/>
              <a:chOff x="3567730" y="1798026"/>
              <a:chExt cx="1339703" cy="3156749"/>
            </a:xfrm>
          </p:grpSpPr>
          <p:sp>
            <p:nvSpPr>
              <p:cNvPr id="32" name="îś1iḋè">
                <a:extLst>
                  <a:ext uri="{FF2B5EF4-FFF2-40B4-BE49-F238E27FC236}">
                    <a16:creationId xmlns:a16="http://schemas.microsoft.com/office/drawing/2014/main" xmlns="" id="{B73EF2DE-04D3-4E70-AF47-B3B9CD7CEC11}"/>
                  </a:ext>
                </a:extLst>
              </p:cNvPr>
              <p:cNvSpPr/>
              <p:nvPr/>
            </p:nvSpPr>
            <p:spPr>
              <a:xfrm>
                <a:off x="4059741" y="2152066"/>
                <a:ext cx="355684" cy="1586763"/>
              </a:xfrm>
              <a:prstGeom prst="roundRect">
                <a:avLst>
                  <a:gd name="adj" fmla="val 19656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en-US" baseline="-25000"/>
              </a:p>
            </p:txBody>
          </p:sp>
          <p:sp>
            <p:nvSpPr>
              <p:cNvPr id="33" name="îSļîḑe">
                <a:extLst>
                  <a:ext uri="{FF2B5EF4-FFF2-40B4-BE49-F238E27FC236}">
                    <a16:creationId xmlns:a16="http://schemas.microsoft.com/office/drawing/2014/main" xmlns="" id="{03369080-27E1-45C5-AEEB-B9BC15FA1080}"/>
                  </a:ext>
                </a:extLst>
              </p:cNvPr>
              <p:cNvSpPr/>
              <p:nvPr/>
            </p:nvSpPr>
            <p:spPr>
              <a:xfrm>
                <a:off x="3567730" y="3615072"/>
                <a:ext cx="1339703" cy="133970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ECF0F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r>
                  <a:rPr lang="en-US" dirty="0">
                    <a:solidFill>
                      <a:schemeClr val="tx1"/>
                    </a:solidFill>
                  </a:rPr>
                  <a:t>65%</a:t>
                </a:r>
              </a:p>
            </p:txBody>
          </p:sp>
          <p:sp>
            <p:nvSpPr>
              <p:cNvPr id="34" name="íśļïḓê">
                <a:extLst>
                  <a:ext uri="{FF2B5EF4-FFF2-40B4-BE49-F238E27FC236}">
                    <a16:creationId xmlns:a16="http://schemas.microsoft.com/office/drawing/2014/main" xmlns="" id="{5D28622D-CC5F-4802-B616-DC6AB85D3486}"/>
                  </a:ext>
                </a:extLst>
              </p:cNvPr>
              <p:cNvSpPr/>
              <p:nvPr/>
            </p:nvSpPr>
            <p:spPr>
              <a:xfrm flipH="1">
                <a:off x="3695320" y="3742662"/>
                <a:ext cx="1084521" cy="1084521"/>
              </a:xfrm>
              <a:prstGeom prst="arc">
                <a:avLst>
                  <a:gd name="adj1" fmla="val 16200000"/>
                  <a:gd name="adj2" fmla="val 7447828"/>
                </a:avLst>
              </a:prstGeom>
              <a:ln w="101600" cap="rnd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en-US" baseline="-25000"/>
              </a:p>
            </p:txBody>
          </p:sp>
          <p:sp>
            <p:nvSpPr>
              <p:cNvPr id="35" name="îṣḻïḓé">
                <a:extLst>
                  <a:ext uri="{FF2B5EF4-FFF2-40B4-BE49-F238E27FC236}">
                    <a16:creationId xmlns:a16="http://schemas.microsoft.com/office/drawing/2014/main" xmlns="" id="{3A15590E-36A6-4A44-870F-31E176D26E78}"/>
                  </a:ext>
                </a:extLst>
              </p:cNvPr>
              <p:cNvSpPr/>
              <p:nvPr/>
            </p:nvSpPr>
            <p:spPr bwMode="auto">
              <a:xfrm>
                <a:off x="4119466" y="1798026"/>
                <a:ext cx="236227" cy="257614"/>
              </a:xfrm>
              <a:custGeom>
                <a:avLst/>
                <a:gdLst>
                  <a:gd name="T0" fmla="*/ 48 w 73"/>
                  <a:gd name="T1" fmla="*/ 27 h 80"/>
                  <a:gd name="T2" fmla="*/ 55 w 73"/>
                  <a:gd name="T3" fmla="*/ 11 h 80"/>
                  <a:gd name="T4" fmla="*/ 58 w 73"/>
                  <a:gd name="T5" fmla="*/ 10 h 80"/>
                  <a:gd name="T6" fmla="*/ 56 w 73"/>
                  <a:gd name="T7" fmla="*/ 8 h 80"/>
                  <a:gd name="T8" fmla="*/ 56 w 73"/>
                  <a:gd name="T9" fmla="*/ 8 h 80"/>
                  <a:gd name="T10" fmla="*/ 56 w 73"/>
                  <a:gd name="T11" fmla="*/ 8 h 80"/>
                  <a:gd name="T12" fmla="*/ 54 w 73"/>
                  <a:gd name="T13" fmla="*/ 10 h 80"/>
                  <a:gd name="T14" fmla="*/ 39 w 73"/>
                  <a:gd name="T15" fmla="*/ 24 h 80"/>
                  <a:gd name="T16" fmla="*/ 35 w 73"/>
                  <a:gd name="T17" fmla="*/ 24 h 80"/>
                  <a:gd name="T18" fmla="*/ 34 w 73"/>
                  <a:gd name="T19" fmla="*/ 24 h 80"/>
                  <a:gd name="T20" fmla="*/ 16 w 73"/>
                  <a:gd name="T21" fmla="*/ 1 h 80"/>
                  <a:gd name="T22" fmla="*/ 13 w 73"/>
                  <a:gd name="T23" fmla="*/ 1 h 80"/>
                  <a:gd name="T24" fmla="*/ 15 w 73"/>
                  <a:gd name="T25" fmla="*/ 3 h 80"/>
                  <a:gd name="T26" fmla="*/ 29 w 73"/>
                  <a:gd name="T27" fmla="*/ 24 h 80"/>
                  <a:gd name="T28" fmla="*/ 4 w 73"/>
                  <a:gd name="T29" fmla="*/ 27 h 80"/>
                  <a:gd name="T30" fmla="*/ 0 w 73"/>
                  <a:gd name="T31" fmla="*/ 75 h 80"/>
                  <a:gd name="T32" fmla="*/ 6 w 73"/>
                  <a:gd name="T33" fmla="*/ 79 h 80"/>
                  <a:gd name="T34" fmla="*/ 15 w 73"/>
                  <a:gd name="T35" fmla="*/ 80 h 80"/>
                  <a:gd name="T36" fmla="*/ 58 w 73"/>
                  <a:gd name="T37" fmla="*/ 79 h 80"/>
                  <a:gd name="T38" fmla="*/ 67 w 73"/>
                  <a:gd name="T39" fmla="*/ 80 h 80"/>
                  <a:gd name="T40" fmla="*/ 69 w 73"/>
                  <a:gd name="T41" fmla="*/ 79 h 80"/>
                  <a:gd name="T42" fmla="*/ 73 w 73"/>
                  <a:gd name="T43" fmla="*/ 32 h 80"/>
                  <a:gd name="T44" fmla="*/ 62 w 73"/>
                  <a:gd name="T45" fmla="*/ 69 h 80"/>
                  <a:gd name="T46" fmla="*/ 11 w 73"/>
                  <a:gd name="T47" fmla="*/ 76 h 80"/>
                  <a:gd name="T48" fmla="*/ 4 w 73"/>
                  <a:gd name="T49" fmla="*/ 38 h 80"/>
                  <a:gd name="T50" fmla="*/ 54 w 73"/>
                  <a:gd name="T51" fmla="*/ 30 h 80"/>
                  <a:gd name="T52" fmla="*/ 62 w 73"/>
                  <a:gd name="T53" fmla="*/ 69 h 80"/>
                  <a:gd name="T54" fmla="*/ 64 w 73"/>
                  <a:gd name="T55" fmla="*/ 43 h 80"/>
                  <a:gd name="T56" fmla="*/ 70 w 73"/>
                  <a:gd name="T57" fmla="*/ 43 h 80"/>
                  <a:gd name="T58" fmla="*/ 67 w 73"/>
                  <a:gd name="T59" fmla="*/ 39 h 80"/>
                  <a:gd name="T60" fmla="*/ 67 w 73"/>
                  <a:gd name="T61" fmla="*/ 34 h 80"/>
                  <a:gd name="T62" fmla="*/ 67 w 73"/>
                  <a:gd name="T63" fmla="*/ 3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3" h="80">
                    <a:moveTo>
                      <a:pt x="69" y="27"/>
                    </a:moveTo>
                    <a:cubicBezTo>
                      <a:pt x="48" y="27"/>
                      <a:pt x="48" y="27"/>
                      <a:pt x="48" y="27"/>
                    </a:cubicBezTo>
                    <a:cubicBezTo>
                      <a:pt x="47" y="26"/>
                      <a:pt x="44" y="25"/>
                      <a:pt x="40" y="24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5" y="11"/>
                      <a:pt x="56" y="12"/>
                      <a:pt x="56" y="12"/>
                    </a:cubicBezTo>
                    <a:cubicBezTo>
                      <a:pt x="57" y="12"/>
                      <a:pt x="58" y="11"/>
                      <a:pt x="58" y="10"/>
                    </a:cubicBezTo>
                    <a:cubicBezTo>
                      <a:pt x="58" y="9"/>
                      <a:pt x="57" y="8"/>
                      <a:pt x="56" y="8"/>
                    </a:cubicBezTo>
                    <a:cubicBezTo>
                      <a:pt x="56" y="8"/>
                      <a:pt x="56" y="8"/>
                      <a:pt x="56" y="8"/>
                    </a:cubicBezTo>
                    <a:cubicBezTo>
                      <a:pt x="56" y="8"/>
                      <a:pt x="56" y="8"/>
                      <a:pt x="56" y="8"/>
                    </a:cubicBezTo>
                    <a:cubicBezTo>
                      <a:pt x="56" y="8"/>
                      <a:pt x="56" y="8"/>
                      <a:pt x="56" y="8"/>
                    </a:cubicBezTo>
                    <a:cubicBezTo>
                      <a:pt x="56" y="8"/>
                      <a:pt x="56" y="8"/>
                      <a:pt x="56" y="8"/>
                    </a:cubicBezTo>
                    <a:cubicBezTo>
                      <a:pt x="56" y="8"/>
                      <a:pt x="56" y="8"/>
                      <a:pt x="56" y="8"/>
                    </a:cubicBezTo>
                    <a:cubicBezTo>
                      <a:pt x="56" y="8"/>
                      <a:pt x="56" y="8"/>
                      <a:pt x="56" y="8"/>
                    </a:cubicBezTo>
                    <a:cubicBezTo>
                      <a:pt x="55" y="8"/>
                      <a:pt x="54" y="9"/>
                      <a:pt x="54" y="10"/>
                    </a:cubicBezTo>
                    <a:cubicBezTo>
                      <a:pt x="54" y="10"/>
                      <a:pt x="54" y="10"/>
                      <a:pt x="55" y="10"/>
                    </a:cubicBezTo>
                    <a:cubicBezTo>
                      <a:pt x="39" y="24"/>
                      <a:pt x="39" y="24"/>
                      <a:pt x="39" y="24"/>
                    </a:cubicBezTo>
                    <a:cubicBezTo>
                      <a:pt x="38" y="24"/>
                      <a:pt x="37" y="24"/>
                      <a:pt x="36" y="24"/>
                    </a:cubicBezTo>
                    <a:cubicBezTo>
                      <a:pt x="36" y="24"/>
                      <a:pt x="35" y="24"/>
                      <a:pt x="35" y="24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5" y="24"/>
                      <a:pt x="34" y="24"/>
                      <a:pt x="34" y="24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6" y="2"/>
                      <a:pt x="16" y="2"/>
                      <a:pt x="16" y="1"/>
                    </a:cubicBezTo>
                    <a:cubicBezTo>
                      <a:pt x="16" y="0"/>
                      <a:pt x="15" y="0"/>
                      <a:pt x="14" y="0"/>
                    </a:cubicBezTo>
                    <a:cubicBezTo>
                      <a:pt x="13" y="0"/>
                      <a:pt x="13" y="0"/>
                      <a:pt x="13" y="1"/>
                    </a:cubicBezTo>
                    <a:cubicBezTo>
                      <a:pt x="13" y="2"/>
                      <a:pt x="13" y="3"/>
                      <a:pt x="14" y="3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33" y="24"/>
                      <a:pt x="33" y="24"/>
                      <a:pt x="33" y="24"/>
                    </a:cubicBezTo>
                    <a:cubicBezTo>
                      <a:pt x="32" y="24"/>
                      <a:pt x="30" y="24"/>
                      <a:pt x="29" y="24"/>
                    </a:cubicBezTo>
                    <a:cubicBezTo>
                      <a:pt x="26" y="25"/>
                      <a:pt x="24" y="26"/>
                      <a:pt x="23" y="27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2" y="27"/>
                      <a:pt x="0" y="29"/>
                      <a:pt x="0" y="32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77"/>
                      <a:pt x="2" y="79"/>
                      <a:pt x="4" y="79"/>
                    </a:cubicBezTo>
                    <a:cubicBezTo>
                      <a:pt x="6" y="79"/>
                      <a:pt x="6" y="79"/>
                      <a:pt x="6" y="79"/>
                    </a:cubicBezTo>
                    <a:cubicBezTo>
                      <a:pt x="6" y="80"/>
                      <a:pt x="6" y="80"/>
                      <a:pt x="6" y="80"/>
                    </a:cubicBezTo>
                    <a:cubicBezTo>
                      <a:pt x="15" y="80"/>
                      <a:pt x="15" y="80"/>
                      <a:pt x="15" y="80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58" y="79"/>
                      <a:pt x="58" y="79"/>
                      <a:pt x="58" y="79"/>
                    </a:cubicBezTo>
                    <a:cubicBezTo>
                      <a:pt x="58" y="80"/>
                      <a:pt x="58" y="80"/>
                      <a:pt x="58" y="80"/>
                    </a:cubicBezTo>
                    <a:cubicBezTo>
                      <a:pt x="67" y="80"/>
                      <a:pt x="67" y="80"/>
                      <a:pt x="67" y="80"/>
                    </a:cubicBezTo>
                    <a:cubicBezTo>
                      <a:pt x="67" y="79"/>
                      <a:pt x="67" y="79"/>
                      <a:pt x="67" y="79"/>
                    </a:cubicBezTo>
                    <a:cubicBezTo>
                      <a:pt x="69" y="79"/>
                      <a:pt x="69" y="79"/>
                      <a:pt x="69" y="79"/>
                    </a:cubicBezTo>
                    <a:cubicBezTo>
                      <a:pt x="71" y="79"/>
                      <a:pt x="73" y="77"/>
                      <a:pt x="73" y="75"/>
                    </a:cubicBezTo>
                    <a:cubicBezTo>
                      <a:pt x="73" y="32"/>
                      <a:pt x="73" y="32"/>
                      <a:pt x="73" y="32"/>
                    </a:cubicBezTo>
                    <a:cubicBezTo>
                      <a:pt x="73" y="29"/>
                      <a:pt x="71" y="27"/>
                      <a:pt x="69" y="27"/>
                    </a:cubicBezTo>
                    <a:close/>
                    <a:moveTo>
                      <a:pt x="62" y="69"/>
                    </a:moveTo>
                    <a:cubicBezTo>
                      <a:pt x="62" y="73"/>
                      <a:pt x="58" y="76"/>
                      <a:pt x="54" y="76"/>
                    </a:cubicBezTo>
                    <a:cubicBezTo>
                      <a:pt x="11" y="76"/>
                      <a:pt x="11" y="76"/>
                      <a:pt x="11" y="76"/>
                    </a:cubicBezTo>
                    <a:cubicBezTo>
                      <a:pt x="7" y="76"/>
                      <a:pt x="4" y="73"/>
                      <a:pt x="4" y="69"/>
                    </a:cubicBezTo>
                    <a:cubicBezTo>
                      <a:pt x="4" y="38"/>
                      <a:pt x="4" y="38"/>
                      <a:pt x="4" y="38"/>
                    </a:cubicBezTo>
                    <a:cubicBezTo>
                      <a:pt x="4" y="34"/>
                      <a:pt x="7" y="30"/>
                      <a:pt x="11" y="30"/>
                    </a:cubicBezTo>
                    <a:cubicBezTo>
                      <a:pt x="54" y="30"/>
                      <a:pt x="54" y="30"/>
                      <a:pt x="54" y="30"/>
                    </a:cubicBezTo>
                    <a:cubicBezTo>
                      <a:pt x="58" y="30"/>
                      <a:pt x="62" y="34"/>
                      <a:pt x="62" y="38"/>
                    </a:cubicBezTo>
                    <a:lnTo>
                      <a:pt x="62" y="69"/>
                    </a:lnTo>
                    <a:close/>
                    <a:moveTo>
                      <a:pt x="67" y="46"/>
                    </a:moveTo>
                    <a:cubicBezTo>
                      <a:pt x="65" y="46"/>
                      <a:pt x="64" y="45"/>
                      <a:pt x="64" y="43"/>
                    </a:cubicBezTo>
                    <a:cubicBezTo>
                      <a:pt x="64" y="42"/>
                      <a:pt x="65" y="40"/>
                      <a:pt x="67" y="40"/>
                    </a:cubicBezTo>
                    <a:cubicBezTo>
                      <a:pt x="68" y="40"/>
                      <a:pt x="70" y="42"/>
                      <a:pt x="70" y="43"/>
                    </a:cubicBezTo>
                    <a:cubicBezTo>
                      <a:pt x="70" y="45"/>
                      <a:pt x="68" y="46"/>
                      <a:pt x="67" y="46"/>
                    </a:cubicBezTo>
                    <a:close/>
                    <a:moveTo>
                      <a:pt x="67" y="39"/>
                    </a:moveTo>
                    <a:cubicBezTo>
                      <a:pt x="65" y="39"/>
                      <a:pt x="64" y="38"/>
                      <a:pt x="64" y="36"/>
                    </a:cubicBezTo>
                    <a:cubicBezTo>
                      <a:pt x="64" y="35"/>
                      <a:pt x="65" y="34"/>
                      <a:pt x="67" y="34"/>
                    </a:cubicBezTo>
                    <a:cubicBezTo>
                      <a:pt x="68" y="34"/>
                      <a:pt x="70" y="35"/>
                      <a:pt x="70" y="36"/>
                    </a:cubicBezTo>
                    <a:cubicBezTo>
                      <a:pt x="70" y="38"/>
                      <a:pt x="68" y="39"/>
                      <a:pt x="67" y="39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7" name="ïSḷidê">
              <a:extLst>
                <a:ext uri="{FF2B5EF4-FFF2-40B4-BE49-F238E27FC236}">
                  <a16:creationId xmlns:a16="http://schemas.microsoft.com/office/drawing/2014/main" xmlns="" id="{A58AA0E1-2CAF-4325-9C94-AA08A590DD9E}"/>
                </a:ext>
              </a:extLst>
            </p:cNvPr>
            <p:cNvGrpSpPr/>
            <p:nvPr/>
          </p:nvGrpSpPr>
          <p:grpSpPr>
            <a:xfrm>
              <a:off x="8056515" y="1503361"/>
              <a:ext cx="1339703" cy="3116435"/>
              <a:chOff x="7284568" y="1838340"/>
              <a:chExt cx="1339703" cy="3116435"/>
            </a:xfrm>
          </p:grpSpPr>
          <p:sp>
            <p:nvSpPr>
              <p:cNvPr id="28" name="ïṧ1ïdé">
                <a:extLst>
                  <a:ext uri="{FF2B5EF4-FFF2-40B4-BE49-F238E27FC236}">
                    <a16:creationId xmlns:a16="http://schemas.microsoft.com/office/drawing/2014/main" xmlns="" id="{26A6ED17-2B78-44D0-A3E6-72841988C2CD}"/>
                  </a:ext>
                </a:extLst>
              </p:cNvPr>
              <p:cNvSpPr/>
              <p:nvPr/>
            </p:nvSpPr>
            <p:spPr>
              <a:xfrm>
                <a:off x="7776576" y="2152067"/>
                <a:ext cx="355684" cy="1586763"/>
              </a:xfrm>
              <a:prstGeom prst="roundRect">
                <a:avLst>
                  <a:gd name="adj" fmla="val 19656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en-US" baseline="-25000"/>
              </a:p>
            </p:txBody>
          </p:sp>
          <p:sp>
            <p:nvSpPr>
              <p:cNvPr id="29" name="íṧliḓé">
                <a:extLst>
                  <a:ext uri="{FF2B5EF4-FFF2-40B4-BE49-F238E27FC236}">
                    <a16:creationId xmlns:a16="http://schemas.microsoft.com/office/drawing/2014/main" xmlns="" id="{1A850A6E-86D5-443D-AC45-F5D8225781DB}"/>
                  </a:ext>
                </a:extLst>
              </p:cNvPr>
              <p:cNvSpPr/>
              <p:nvPr/>
            </p:nvSpPr>
            <p:spPr>
              <a:xfrm>
                <a:off x="7284568" y="3615072"/>
                <a:ext cx="1339703" cy="133970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ECF0F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r>
                  <a:rPr lang="en-US" dirty="0">
                    <a:solidFill>
                      <a:schemeClr val="tx1"/>
                    </a:solidFill>
                  </a:rPr>
                  <a:t>85%</a:t>
                </a:r>
              </a:p>
            </p:txBody>
          </p:sp>
          <p:sp>
            <p:nvSpPr>
              <p:cNvPr id="30" name="îŝlîďe">
                <a:extLst>
                  <a:ext uri="{FF2B5EF4-FFF2-40B4-BE49-F238E27FC236}">
                    <a16:creationId xmlns:a16="http://schemas.microsoft.com/office/drawing/2014/main" xmlns="" id="{78A47FF3-7672-43D6-814C-0C69EF67BBA8}"/>
                  </a:ext>
                </a:extLst>
              </p:cNvPr>
              <p:cNvSpPr/>
              <p:nvPr/>
            </p:nvSpPr>
            <p:spPr>
              <a:xfrm>
                <a:off x="7412158" y="3742660"/>
                <a:ext cx="1084521" cy="1084521"/>
              </a:xfrm>
              <a:prstGeom prst="arc">
                <a:avLst>
                  <a:gd name="adj1" fmla="val 16200000"/>
                  <a:gd name="adj2" fmla="val 9599996"/>
                </a:avLst>
              </a:prstGeom>
              <a:ln w="101600" cap="rnd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en-US" baseline="-25000"/>
              </a:p>
            </p:txBody>
          </p:sp>
          <p:sp>
            <p:nvSpPr>
              <p:cNvPr id="31" name="ïṥľïde">
                <a:extLst>
                  <a:ext uri="{FF2B5EF4-FFF2-40B4-BE49-F238E27FC236}">
                    <a16:creationId xmlns:a16="http://schemas.microsoft.com/office/drawing/2014/main" xmlns="" id="{36276B13-FC52-49C9-BE86-18F1F36F8540}"/>
                  </a:ext>
                </a:extLst>
              </p:cNvPr>
              <p:cNvSpPr/>
              <p:nvPr/>
            </p:nvSpPr>
            <p:spPr bwMode="auto">
              <a:xfrm>
                <a:off x="7830494" y="1838340"/>
                <a:ext cx="256443" cy="226457"/>
              </a:xfrm>
              <a:custGeom>
                <a:avLst/>
                <a:gdLst>
                  <a:gd name="T0" fmla="*/ 35 w 102"/>
                  <a:gd name="T1" fmla="*/ 64 h 90"/>
                  <a:gd name="T2" fmla="*/ 16 w 102"/>
                  <a:gd name="T3" fmla="*/ 64 h 90"/>
                  <a:gd name="T4" fmla="*/ 13 w 102"/>
                  <a:gd name="T5" fmla="*/ 67 h 90"/>
                  <a:gd name="T6" fmla="*/ 16 w 102"/>
                  <a:gd name="T7" fmla="*/ 70 h 90"/>
                  <a:gd name="T8" fmla="*/ 35 w 102"/>
                  <a:gd name="T9" fmla="*/ 70 h 90"/>
                  <a:gd name="T10" fmla="*/ 38 w 102"/>
                  <a:gd name="T11" fmla="*/ 67 h 90"/>
                  <a:gd name="T12" fmla="*/ 35 w 102"/>
                  <a:gd name="T13" fmla="*/ 64 h 90"/>
                  <a:gd name="T14" fmla="*/ 35 w 102"/>
                  <a:gd name="T15" fmla="*/ 51 h 90"/>
                  <a:gd name="T16" fmla="*/ 16 w 102"/>
                  <a:gd name="T17" fmla="*/ 51 h 90"/>
                  <a:gd name="T18" fmla="*/ 13 w 102"/>
                  <a:gd name="T19" fmla="*/ 54 h 90"/>
                  <a:gd name="T20" fmla="*/ 16 w 102"/>
                  <a:gd name="T21" fmla="*/ 58 h 90"/>
                  <a:gd name="T22" fmla="*/ 35 w 102"/>
                  <a:gd name="T23" fmla="*/ 58 h 90"/>
                  <a:gd name="T24" fmla="*/ 38 w 102"/>
                  <a:gd name="T25" fmla="*/ 54 h 90"/>
                  <a:gd name="T26" fmla="*/ 35 w 102"/>
                  <a:gd name="T27" fmla="*/ 51 h 90"/>
                  <a:gd name="T28" fmla="*/ 90 w 102"/>
                  <a:gd name="T29" fmla="*/ 19 h 90"/>
                  <a:gd name="T30" fmla="*/ 83 w 102"/>
                  <a:gd name="T31" fmla="*/ 19 h 90"/>
                  <a:gd name="T32" fmla="*/ 49 w 102"/>
                  <a:gd name="T33" fmla="*/ 0 h 90"/>
                  <a:gd name="T34" fmla="*/ 45 w 102"/>
                  <a:gd name="T35" fmla="*/ 2 h 90"/>
                  <a:gd name="T36" fmla="*/ 46 w 102"/>
                  <a:gd name="T37" fmla="*/ 6 h 90"/>
                  <a:gd name="T38" fmla="*/ 70 w 102"/>
                  <a:gd name="T39" fmla="*/ 19 h 90"/>
                  <a:gd name="T40" fmla="*/ 13 w 102"/>
                  <a:gd name="T41" fmla="*/ 19 h 90"/>
                  <a:gd name="T42" fmla="*/ 0 w 102"/>
                  <a:gd name="T43" fmla="*/ 32 h 90"/>
                  <a:gd name="T44" fmla="*/ 0 w 102"/>
                  <a:gd name="T45" fmla="*/ 77 h 90"/>
                  <a:gd name="T46" fmla="*/ 13 w 102"/>
                  <a:gd name="T47" fmla="*/ 90 h 90"/>
                  <a:gd name="T48" fmla="*/ 90 w 102"/>
                  <a:gd name="T49" fmla="*/ 90 h 90"/>
                  <a:gd name="T50" fmla="*/ 102 w 102"/>
                  <a:gd name="T51" fmla="*/ 77 h 90"/>
                  <a:gd name="T52" fmla="*/ 102 w 102"/>
                  <a:gd name="T53" fmla="*/ 32 h 90"/>
                  <a:gd name="T54" fmla="*/ 90 w 102"/>
                  <a:gd name="T55" fmla="*/ 19 h 90"/>
                  <a:gd name="T56" fmla="*/ 96 w 102"/>
                  <a:gd name="T57" fmla="*/ 77 h 90"/>
                  <a:gd name="T58" fmla="*/ 90 w 102"/>
                  <a:gd name="T59" fmla="*/ 83 h 90"/>
                  <a:gd name="T60" fmla="*/ 13 w 102"/>
                  <a:gd name="T61" fmla="*/ 83 h 90"/>
                  <a:gd name="T62" fmla="*/ 6 w 102"/>
                  <a:gd name="T63" fmla="*/ 77 h 90"/>
                  <a:gd name="T64" fmla="*/ 6 w 102"/>
                  <a:gd name="T65" fmla="*/ 32 h 90"/>
                  <a:gd name="T66" fmla="*/ 13 w 102"/>
                  <a:gd name="T67" fmla="*/ 26 h 90"/>
                  <a:gd name="T68" fmla="*/ 90 w 102"/>
                  <a:gd name="T69" fmla="*/ 26 h 90"/>
                  <a:gd name="T70" fmla="*/ 96 w 102"/>
                  <a:gd name="T71" fmla="*/ 32 h 90"/>
                  <a:gd name="T72" fmla="*/ 96 w 102"/>
                  <a:gd name="T73" fmla="*/ 77 h 90"/>
                  <a:gd name="T74" fmla="*/ 67 w 102"/>
                  <a:gd name="T75" fmla="*/ 35 h 90"/>
                  <a:gd name="T76" fmla="*/ 48 w 102"/>
                  <a:gd name="T77" fmla="*/ 54 h 90"/>
                  <a:gd name="T78" fmla="*/ 67 w 102"/>
                  <a:gd name="T79" fmla="*/ 74 h 90"/>
                  <a:gd name="T80" fmla="*/ 86 w 102"/>
                  <a:gd name="T81" fmla="*/ 54 h 90"/>
                  <a:gd name="T82" fmla="*/ 67 w 102"/>
                  <a:gd name="T83" fmla="*/ 35 h 90"/>
                  <a:gd name="T84" fmla="*/ 67 w 102"/>
                  <a:gd name="T85" fmla="*/ 67 h 90"/>
                  <a:gd name="T86" fmla="*/ 54 w 102"/>
                  <a:gd name="T87" fmla="*/ 54 h 90"/>
                  <a:gd name="T88" fmla="*/ 67 w 102"/>
                  <a:gd name="T89" fmla="*/ 42 h 90"/>
                  <a:gd name="T90" fmla="*/ 80 w 102"/>
                  <a:gd name="T91" fmla="*/ 54 h 90"/>
                  <a:gd name="T92" fmla="*/ 67 w 102"/>
                  <a:gd name="T93" fmla="*/ 67 h 90"/>
                  <a:gd name="T94" fmla="*/ 35 w 102"/>
                  <a:gd name="T95" fmla="*/ 38 h 90"/>
                  <a:gd name="T96" fmla="*/ 16 w 102"/>
                  <a:gd name="T97" fmla="*/ 38 h 90"/>
                  <a:gd name="T98" fmla="*/ 13 w 102"/>
                  <a:gd name="T99" fmla="*/ 42 h 90"/>
                  <a:gd name="T100" fmla="*/ 16 w 102"/>
                  <a:gd name="T101" fmla="*/ 45 h 90"/>
                  <a:gd name="T102" fmla="*/ 35 w 102"/>
                  <a:gd name="T103" fmla="*/ 45 h 90"/>
                  <a:gd name="T104" fmla="*/ 38 w 102"/>
                  <a:gd name="T105" fmla="*/ 42 h 90"/>
                  <a:gd name="T106" fmla="*/ 35 w 102"/>
                  <a:gd name="T107" fmla="*/ 38 h 90"/>
                  <a:gd name="T108" fmla="*/ 35 w 102"/>
                  <a:gd name="T109" fmla="*/ 38 h 90"/>
                  <a:gd name="T110" fmla="*/ 35 w 102"/>
                  <a:gd name="T111" fmla="*/ 38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2" h="90">
                    <a:moveTo>
                      <a:pt x="35" y="64"/>
                    </a:moveTo>
                    <a:cubicBezTo>
                      <a:pt x="16" y="64"/>
                      <a:pt x="16" y="64"/>
                      <a:pt x="16" y="64"/>
                    </a:cubicBezTo>
                    <a:cubicBezTo>
                      <a:pt x="14" y="64"/>
                      <a:pt x="13" y="65"/>
                      <a:pt x="13" y="67"/>
                    </a:cubicBezTo>
                    <a:cubicBezTo>
                      <a:pt x="13" y="69"/>
                      <a:pt x="14" y="70"/>
                      <a:pt x="16" y="70"/>
                    </a:cubicBezTo>
                    <a:cubicBezTo>
                      <a:pt x="35" y="70"/>
                      <a:pt x="35" y="70"/>
                      <a:pt x="35" y="70"/>
                    </a:cubicBezTo>
                    <a:cubicBezTo>
                      <a:pt x="37" y="70"/>
                      <a:pt x="38" y="69"/>
                      <a:pt x="38" y="67"/>
                    </a:cubicBezTo>
                    <a:cubicBezTo>
                      <a:pt x="38" y="65"/>
                      <a:pt x="37" y="64"/>
                      <a:pt x="35" y="64"/>
                    </a:cubicBezTo>
                    <a:close/>
                    <a:moveTo>
                      <a:pt x="35" y="51"/>
                    </a:moveTo>
                    <a:cubicBezTo>
                      <a:pt x="16" y="51"/>
                      <a:pt x="16" y="51"/>
                      <a:pt x="16" y="51"/>
                    </a:cubicBezTo>
                    <a:cubicBezTo>
                      <a:pt x="14" y="51"/>
                      <a:pt x="13" y="53"/>
                      <a:pt x="13" y="54"/>
                    </a:cubicBezTo>
                    <a:cubicBezTo>
                      <a:pt x="13" y="56"/>
                      <a:pt x="14" y="58"/>
                      <a:pt x="16" y="58"/>
                    </a:cubicBezTo>
                    <a:cubicBezTo>
                      <a:pt x="35" y="58"/>
                      <a:pt x="35" y="58"/>
                      <a:pt x="35" y="58"/>
                    </a:cubicBezTo>
                    <a:cubicBezTo>
                      <a:pt x="37" y="58"/>
                      <a:pt x="38" y="56"/>
                      <a:pt x="38" y="54"/>
                    </a:cubicBezTo>
                    <a:cubicBezTo>
                      <a:pt x="38" y="53"/>
                      <a:pt x="37" y="51"/>
                      <a:pt x="35" y="51"/>
                    </a:cubicBezTo>
                    <a:close/>
                    <a:moveTo>
                      <a:pt x="90" y="19"/>
                    </a:moveTo>
                    <a:cubicBezTo>
                      <a:pt x="83" y="19"/>
                      <a:pt x="83" y="19"/>
                      <a:pt x="83" y="19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8" y="0"/>
                      <a:pt x="46" y="0"/>
                      <a:pt x="45" y="2"/>
                    </a:cubicBezTo>
                    <a:cubicBezTo>
                      <a:pt x="44" y="3"/>
                      <a:pt x="44" y="5"/>
                      <a:pt x="46" y="6"/>
                    </a:cubicBezTo>
                    <a:cubicBezTo>
                      <a:pt x="70" y="19"/>
                      <a:pt x="70" y="19"/>
                      <a:pt x="70" y="19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6" y="19"/>
                      <a:pt x="0" y="25"/>
                      <a:pt x="0" y="32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84"/>
                      <a:pt x="6" y="90"/>
                      <a:pt x="13" y="90"/>
                    </a:cubicBezTo>
                    <a:cubicBezTo>
                      <a:pt x="90" y="90"/>
                      <a:pt x="90" y="90"/>
                      <a:pt x="90" y="90"/>
                    </a:cubicBezTo>
                    <a:cubicBezTo>
                      <a:pt x="97" y="90"/>
                      <a:pt x="102" y="84"/>
                      <a:pt x="102" y="77"/>
                    </a:cubicBezTo>
                    <a:cubicBezTo>
                      <a:pt x="102" y="32"/>
                      <a:pt x="102" y="32"/>
                      <a:pt x="102" y="32"/>
                    </a:cubicBezTo>
                    <a:cubicBezTo>
                      <a:pt x="102" y="25"/>
                      <a:pt x="97" y="19"/>
                      <a:pt x="90" y="19"/>
                    </a:cubicBezTo>
                    <a:close/>
                    <a:moveTo>
                      <a:pt x="96" y="77"/>
                    </a:moveTo>
                    <a:cubicBezTo>
                      <a:pt x="96" y="80"/>
                      <a:pt x="93" y="83"/>
                      <a:pt x="90" y="83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9" y="83"/>
                      <a:pt x="6" y="80"/>
                      <a:pt x="6" y="77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6" y="28"/>
                      <a:pt x="9" y="26"/>
                      <a:pt x="13" y="26"/>
                    </a:cubicBezTo>
                    <a:cubicBezTo>
                      <a:pt x="90" y="26"/>
                      <a:pt x="90" y="26"/>
                      <a:pt x="90" y="26"/>
                    </a:cubicBezTo>
                    <a:cubicBezTo>
                      <a:pt x="93" y="26"/>
                      <a:pt x="96" y="28"/>
                      <a:pt x="96" y="32"/>
                    </a:cubicBezTo>
                    <a:lnTo>
                      <a:pt x="96" y="77"/>
                    </a:lnTo>
                    <a:close/>
                    <a:moveTo>
                      <a:pt x="67" y="35"/>
                    </a:moveTo>
                    <a:cubicBezTo>
                      <a:pt x="57" y="35"/>
                      <a:pt x="48" y="44"/>
                      <a:pt x="48" y="54"/>
                    </a:cubicBezTo>
                    <a:cubicBezTo>
                      <a:pt x="48" y="65"/>
                      <a:pt x="57" y="74"/>
                      <a:pt x="67" y="74"/>
                    </a:cubicBezTo>
                    <a:cubicBezTo>
                      <a:pt x="78" y="74"/>
                      <a:pt x="86" y="65"/>
                      <a:pt x="86" y="54"/>
                    </a:cubicBezTo>
                    <a:cubicBezTo>
                      <a:pt x="86" y="44"/>
                      <a:pt x="78" y="35"/>
                      <a:pt x="67" y="35"/>
                    </a:cubicBezTo>
                    <a:close/>
                    <a:moveTo>
                      <a:pt x="67" y="67"/>
                    </a:moveTo>
                    <a:cubicBezTo>
                      <a:pt x="60" y="67"/>
                      <a:pt x="54" y="61"/>
                      <a:pt x="54" y="54"/>
                    </a:cubicBezTo>
                    <a:cubicBezTo>
                      <a:pt x="54" y="47"/>
                      <a:pt x="60" y="42"/>
                      <a:pt x="67" y="42"/>
                    </a:cubicBezTo>
                    <a:cubicBezTo>
                      <a:pt x="74" y="42"/>
                      <a:pt x="80" y="47"/>
                      <a:pt x="80" y="54"/>
                    </a:cubicBezTo>
                    <a:cubicBezTo>
                      <a:pt x="80" y="61"/>
                      <a:pt x="74" y="67"/>
                      <a:pt x="67" y="67"/>
                    </a:cubicBezTo>
                    <a:close/>
                    <a:moveTo>
                      <a:pt x="35" y="38"/>
                    </a:moveTo>
                    <a:cubicBezTo>
                      <a:pt x="16" y="38"/>
                      <a:pt x="16" y="38"/>
                      <a:pt x="16" y="38"/>
                    </a:cubicBezTo>
                    <a:cubicBezTo>
                      <a:pt x="14" y="38"/>
                      <a:pt x="13" y="40"/>
                      <a:pt x="13" y="42"/>
                    </a:cubicBezTo>
                    <a:cubicBezTo>
                      <a:pt x="13" y="43"/>
                      <a:pt x="14" y="45"/>
                      <a:pt x="16" y="45"/>
                    </a:cubicBezTo>
                    <a:cubicBezTo>
                      <a:pt x="35" y="45"/>
                      <a:pt x="35" y="45"/>
                      <a:pt x="35" y="45"/>
                    </a:cubicBezTo>
                    <a:cubicBezTo>
                      <a:pt x="37" y="45"/>
                      <a:pt x="38" y="43"/>
                      <a:pt x="38" y="42"/>
                    </a:cubicBezTo>
                    <a:cubicBezTo>
                      <a:pt x="38" y="40"/>
                      <a:pt x="37" y="38"/>
                      <a:pt x="35" y="38"/>
                    </a:cubicBezTo>
                    <a:close/>
                    <a:moveTo>
                      <a:pt x="35" y="38"/>
                    </a:moveTo>
                    <a:cubicBezTo>
                      <a:pt x="35" y="38"/>
                      <a:pt x="35" y="38"/>
                      <a:pt x="35" y="38"/>
                    </a:cubicBez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8" name="ïṧľíḋe">
              <a:extLst>
                <a:ext uri="{FF2B5EF4-FFF2-40B4-BE49-F238E27FC236}">
                  <a16:creationId xmlns:a16="http://schemas.microsoft.com/office/drawing/2014/main" xmlns="" id="{9967DDA0-40B9-4CB2-BEF1-A4982E4AB430}"/>
                </a:ext>
              </a:extLst>
            </p:cNvPr>
            <p:cNvGrpSpPr/>
            <p:nvPr/>
          </p:nvGrpSpPr>
          <p:grpSpPr>
            <a:xfrm>
              <a:off x="5035023" y="1191096"/>
              <a:ext cx="2121955" cy="3819824"/>
              <a:chOff x="5035023" y="1526075"/>
              <a:chExt cx="2121955" cy="3819824"/>
            </a:xfrm>
          </p:grpSpPr>
          <p:sp>
            <p:nvSpPr>
              <p:cNvPr id="18" name="iŝlíḍê">
                <a:extLst>
                  <a:ext uri="{FF2B5EF4-FFF2-40B4-BE49-F238E27FC236}">
                    <a16:creationId xmlns:a16="http://schemas.microsoft.com/office/drawing/2014/main" xmlns="" id="{C217541E-CC2F-40E9-BD41-C4FB3CF9AA46}"/>
                  </a:ext>
                </a:extLst>
              </p:cNvPr>
              <p:cNvSpPr/>
              <p:nvPr/>
            </p:nvSpPr>
            <p:spPr>
              <a:xfrm>
                <a:off x="5918158" y="1895407"/>
                <a:ext cx="355684" cy="1586763"/>
              </a:xfrm>
              <a:prstGeom prst="roundRect">
                <a:avLst>
                  <a:gd name="adj" fmla="val 19656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en-US" baseline="-25000"/>
              </a:p>
            </p:txBody>
          </p:sp>
          <p:sp>
            <p:nvSpPr>
              <p:cNvPr id="19" name="îşľíḋè">
                <a:extLst>
                  <a:ext uri="{FF2B5EF4-FFF2-40B4-BE49-F238E27FC236}">
                    <a16:creationId xmlns:a16="http://schemas.microsoft.com/office/drawing/2014/main" xmlns="" id="{E588877F-E6C0-443A-92C3-16901CE255AC}"/>
                  </a:ext>
                </a:extLst>
              </p:cNvPr>
              <p:cNvSpPr/>
              <p:nvPr/>
            </p:nvSpPr>
            <p:spPr>
              <a:xfrm>
                <a:off x="6401432" y="2607559"/>
                <a:ext cx="355684" cy="900370"/>
              </a:xfrm>
              <a:prstGeom prst="roundRect">
                <a:avLst>
                  <a:gd name="adj" fmla="val 19656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en-US" baseline="-25000"/>
              </a:p>
            </p:txBody>
          </p:sp>
          <p:sp>
            <p:nvSpPr>
              <p:cNvPr id="20" name="íšḻïdê">
                <a:extLst>
                  <a:ext uri="{FF2B5EF4-FFF2-40B4-BE49-F238E27FC236}">
                    <a16:creationId xmlns:a16="http://schemas.microsoft.com/office/drawing/2014/main" xmlns="" id="{AF99EF21-B621-487E-9632-1B042CF9389E}"/>
                  </a:ext>
                </a:extLst>
              </p:cNvPr>
              <p:cNvSpPr/>
              <p:nvPr/>
            </p:nvSpPr>
            <p:spPr>
              <a:xfrm>
                <a:off x="5437796" y="2362689"/>
                <a:ext cx="355684" cy="1145239"/>
              </a:xfrm>
              <a:prstGeom prst="roundRect">
                <a:avLst>
                  <a:gd name="adj" fmla="val 19656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en-US" baseline="-25000"/>
              </a:p>
            </p:txBody>
          </p:sp>
          <p:sp>
            <p:nvSpPr>
              <p:cNvPr id="21" name="ï$ľïḋe">
                <a:extLst>
                  <a:ext uri="{FF2B5EF4-FFF2-40B4-BE49-F238E27FC236}">
                    <a16:creationId xmlns:a16="http://schemas.microsoft.com/office/drawing/2014/main" xmlns="" id="{12C1EA4A-28F4-466C-8FAC-4F78074B7129}"/>
                  </a:ext>
                </a:extLst>
              </p:cNvPr>
              <p:cNvSpPr/>
              <p:nvPr/>
            </p:nvSpPr>
            <p:spPr>
              <a:xfrm>
                <a:off x="5035023" y="3223944"/>
                <a:ext cx="2121955" cy="212195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ECF0F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r>
                  <a:rPr lang="en-US" sz="2800" b="1" dirty="0">
                    <a:solidFill>
                      <a:schemeClr val="accent1"/>
                    </a:solidFill>
                  </a:rPr>
                  <a:t>90%</a:t>
                </a:r>
              </a:p>
            </p:txBody>
          </p:sp>
          <p:sp>
            <p:nvSpPr>
              <p:cNvPr id="22" name="îšḷîďè">
                <a:extLst>
                  <a:ext uri="{FF2B5EF4-FFF2-40B4-BE49-F238E27FC236}">
                    <a16:creationId xmlns:a16="http://schemas.microsoft.com/office/drawing/2014/main" xmlns="" id="{74C7C5EA-B60D-49CF-9F48-BCDFA7782E27}"/>
                  </a:ext>
                </a:extLst>
              </p:cNvPr>
              <p:cNvSpPr/>
              <p:nvPr/>
            </p:nvSpPr>
            <p:spPr>
              <a:xfrm>
                <a:off x="5163312" y="3352233"/>
                <a:ext cx="1865376" cy="1865376"/>
              </a:xfrm>
              <a:prstGeom prst="arc">
                <a:avLst>
                  <a:gd name="adj1" fmla="val 16200000"/>
                  <a:gd name="adj2" fmla="val 12264189"/>
                </a:avLst>
              </a:prstGeom>
              <a:ln w="101600" cap="rnd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en-US" baseline="-25000"/>
              </a:p>
            </p:txBody>
          </p:sp>
          <p:grpSp>
            <p:nvGrpSpPr>
              <p:cNvPr id="23" name="ïSļíḍê">
                <a:extLst>
                  <a:ext uri="{FF2B5EF4-FFF2-40B4-BE49-F238E27FC236}">
                    <a16:creationId xmlns:a16="http://schemas.microsoft.com/office/drawing/2014/main" xmlns="" id="{FD57C69D-B50F-4114-BA14-DBD8515EC59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964418" y="1526075"/>
                <a:ext cx="263163" cy="280760"/>
                <a:chOff x="328" y="1931"/>
                <a:chExt cx="329" cy="351"/>
              </a:xfrm>
              <a:solidFill>
                <a:schemeClr val="accent1"/>
              </a:solidFill>
            </p:grpSpPr>
            <p:sp>
              <p:nvSpPr>
                <p:cNvPr id="26" name="iSḷïḑè">
                  <a:extLst>
                    <a:ext uri="{FF2B5EF4-FFF2-40B4-BE49-F238E27FC236}">
                      <a16:creationId xmlns:a16="http://schemas.microsoft.com/office/drawing/2014/main" xmlns="" id="{E7A284BA-9087-4ACE-BAFC-A60AED7432D5}"/>
                    </a:ext>
                  </a:extLst>
                </p:cNvPr>
                <p:cNvSpPr/>
                <p:nvPr/>
              </p:nvSpPr>
              <p:spPr bwMode="auto">
                <a:xfrm>
                  <a:off x="328" y="1931"/>
                  <a:ext cx="329" cy="351"/>
                </a:xfrm>
                <a:custGeom>
                  <a:avLst/>
                  <a:gdLst>
                    <a:gd name="T0" fmla="*/ 116 w 136"/>
                    <a:gd name="T1" fmla="*/ 46 h 146"/>
                    <a:gd name="T2" fmla="*/ 113 w 136"/>
                    <a:gd name="T3" fmla="*/ 43 h 146"/>
                    <a:gd name="T4" fmla="*/ 109 w 136"/>
                    <a:gd name="T5" fmla="*/ 41 h 146"/>
                    <a:gd name="T6" fmla="*/ 33 w 136"/>
                    <a:gd name="T7" fmla="*/ 3 h 146"/>
                    <a:gd name="T8" fmla="*/ 24 w 136"/>
                    <a:gd name="T9" fmla="*/ 2 h 146"/>
                    <a:gd name="T10" fmla="*/ 31 w 136"/>
                    <a:gd name="T11" fmla="*/ 8 h 146"/>
                    <a:gd name="T12" fmla="*/ 99 w 136"/>
                    <a:gd name="T13" fmla="*/ 43 h 146"/>
                    <a:gd name="T14" fmla="*/ 98 w 136"/>
                    <a:gd name="T15" fmla="*/ 45 h 146"/>
                    <a:gd name="T16" fmla="*/ 28 w 136"/>
                    <a:gd name="T17" fmla="*/ 45 h 146"/>
                    <a:gd name="T18" fmla="*/ 4 w 136"/>
                    <a:gd name="T19" fmla="*/ 94 h 146"/>
                    <a:gd name="T20" fmla="*/ 28 w 136"/>
                    <a:gd name="T21" fmla="*/ 146 h 146"/>
                    <a:gd name="T22" fmla="*/ 118 w 136"/>
                    <a:gd name="T23" fmla="*/ 146 h 146"/>
                    <a:gd name="T24" fmla="*/ 135 w 136"/>
                    <a:gd name="T25" fmla="*/ 94 h 146"/>
                    <a:gd name="T26" fmla="*/ 117 w 136"/>
                    <a:gd name="T27" fmla="*/ 46 h 146"/>
                    <a:gd name="T28" fmla="*/ 116 w 136"/>
                    <a:gd name="T29" fmla="*/ 46 h 146"/>
                    <a:gd name="T30" fmla="*/ 121 w 136"/>
                    <a:gd name="T31" fmla="*/ 130 h 146"/>
                    <a:gd name="T32" fmla="*/ 108 w 136"/>
                    <a:gd name="T33" fmla="*/ 142 h 146"/>
                    <a:gd name="T34" fmla="*/ 95 w 136"/>
                    <a:gd name="T35" fmla="*/ 130 h 146"/>
                    <a:gd name="T36" fmla="*/ 95 w 136"/>
                    <a:gd name="T37" fmla="*/ 97 h 146"/>
                    <a:gd name="T38" fmla="*/ 108 w 136"/>
                    <a:gd name="T39" fmla="*/ 85 h 146"/>
                    <a:gd name="T40" fmla="*/ 121 w 136"/>
                    <a:gd name="T41" fmla="*/ 97 h 146"/>
                    <a:gd name="T42" fmla="*/ 121 w 136"/>
                    <a:gd name="T43" fmla="*/ 130 h 146"/>
                    <a:gd name="T44" fmla="*/ 127 w 136"/>
                    <a:gd name="T45" fmla="*/ 68 h 146"/>
                    <a:gd name="T46" fmla="*/ 116 w 136"/>
                    <a:gd name="T47" fmla="*/ 79 h 146"/>
                    <a:gd name="T48" fmla="*/ 23 w 136"/>
                    <a:gd name="T49" fmla="*/ 79 h 146"/>
                    <a:gd name="T50" fmla="*/ 12 w 136"/>
                    <a:gd name="T51" fmla="*/ 68 h 146"/>
                    <a:gd name="T52" fmla="*/ 12 w 136"/>
                    <a:gd name="T53" fmla="*/ 67 h 146"/>
                    <a:gd name="T54" fmla="*/ 23 w 136"/>
                    <a:gd name="T55" fmla="*/ 56 h 146"/>
                    <a:gd name="T56" fmla="*/ 116 w 136"/>
                    <a:gd name="T57" fmla="*/ 56 h 146"/>
                    <a:gd name="T58" fmla="*/ 127 w 136"/>
                    <a:gd name="T59" fmla="*/ 67 h 146"/>
                    <a:gd name="T60" fmla="*/ 127 w 136"/>
                    <a:gd name="T61" fmla="*/ 68 h 146"/>
                    <a:gd name="T62" fmla="*/ 127 w 136"/>
                    <a:gd name="T63" fmla="*/ 68 h 146"/>
                    <a:gd name="T64" fmla="*/ 127 w 136"/>
                    <a:gd name="T65" fmla="*/ 68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36" h="146">
                      <a:moveTo>
                        <a:pt x="116" y="46"/>
                      </a:moveTo>
                      <a:cubicBezTo>
                        <a:pt x="116" y="46"/>
                        <a:pt x="114" y="44"/>
                        <a:pt x="113" y="43"/>
                      </a:cubicBezTo>
                      <a:cubicBezTo>
                        <a:pt x="112" y="42"/>
                        <a:pt x="111" y="42"/>
                        <a:pt x="109" y="41"/>
                      </a:cubicBezTo>
                      <a:cubicBezTo>
                        <a:pt x="33" y="3"/>
                        <a:pt x="33" y="3"/>
                        <a:pt x="33" y="3"/>
                      </a:cubicBezTo>
                      <a:cubicBezTo>
                        <a:pt x="29" y="1"/>
                        <a:pt x="25" y="0"/>
                        <a:pt x="24" y="2"/>
                      </a:cubicBezTo>
                      <a:cubicBezTo>
                        <a:pt x="24" y="3"/>
                        <a:pt x="26" y="6"/>
                        <a:pt x="31" y="8"/>
                      </a:cubicBezTo>
                      <a:cubicBezTo>
                        <a:pt x="99" y="43"/>
                        <a:pt x="99" y="43"/>
                        <a:pt x="99" y="43"/>
                      </a:cubicBezTo>
                      <a:cubicBezTo>
                        <a:pt x="102" y="44"/>
                        <a:pt x="102" y="46"/>
                        <a:pt x="98" y="45"/>
                      </a:cubicBezTo>
                      <a:cubicBezTo>
                        <a:pt x="28" y="45"/>
                        <a:pt x="28" y="45"/>
                        <a:pt x="28" y="45"/>
                      </a:cubicBezTo>
                      <a:cubicBezTo>
                        <a:pt x="1" y="45"/>
                        <a:pt x="4" y="46"/>
                        <a:pt x="4" y="94"/>
                      </a:cubicBezTo>
                      <a:cubicBezTo>
                        <a:pt x="4" y="143"/>
                        <a:pt x="0" y="146"/>
                        <a:pt x="28" y="146"/>
                      </a:cubicBezTo>
                      <a:cubicBezTo>
                        <a:pt x="118" y="146"/>
                        <a:pt x="118" y="146"/>
                        <a:pt x="118" y="146"/>
                      </a:cubicBezTo>
                      <a:cubicBezTo>
                        <a:pt x="135" y="146"/>
                        <a:pt x="135" y="143"/>
                        <a:pt x="135" y="94"/>
                      </a:cubicBezTo>
                      <a:cubicBezTo>
                        <a:pt x="135" y="51"/>
                        <a:pt x="136" y="46"/>
                        <a:pt x="117" y="46"/>
                      </a:cubicBezTo>
                      <a:cubicBezTo>
                        <a:pt x="117" y="46"/>
                        <a:pt x="117" y="46"/>
                        <a:pt x="116" y="46"/>
                      </a:cubicBezTo>
                      <a:close/>
                      <a:moveTo>
                        <a:pt x="121" y="130"/>
                      </a:moveTo>
                      <a:cubicBezTo>
                        <a:pt x="121" y="137"/>
                        <a:pt x="116" y="142"/>
                        <a:pt x="108" y="142"/>
                      </a:cubicBezTo>
                      <a:cubicBezTo>
                        <a:pt x="100" y="142"/>
                        <a:pt x="95" y="137"/>
                        <a:pt x="95" y="130"/>
                      </a:cubicBezTo>
                      <a:cubicBezTo>
                        <a:pt x="95" y="97"/>
                        <a:pt x="95" y="97"/>
                        <a:pt x="95" y="97"/>
                      </a:cubicBezTo>
                      <a:cubicBezTo>
                        <a:pt x="95" y="90"/>
                        <a:pt x="100" y="85"/>
                        <a:pt x="108" y="85"/>
                      </a:cubicBezTo>
                      <a:cubicBezTo>
                        <a:pt x="116" y="85"/>
                        <a:pt x="121" y="90"/>
                        <a:pt x="121" y="97"/>
                      </a:cubicBezTo>
                      <a:lnTo>
                        <a:pt x="121" y="130"/>
                      </a:lnTo>
                      <a:close/>
                      <a:moveTo>
                        <a:pt x="127" y="68"/>
                      </a:moveTo>
                      <a:cubicBezTo>
                        <a:pt x="127" y="74"/>
                        <a:pt x="122" y="79"/>
                        <a:pt x="116" y="79"/>
                      </a:cubicBezTo>
                      <a:cubicBezTo>
                        <a:pt x="23" y="79"/>
                        <a:pt x="23" y="79"/>
                        <a:pt x="23" y="79"/>
                      </a:cubicBezTo>
                      <a:cubicBezTo>
                        <a:pt x="17" y="79"/>
                        <a:pt x="12" y="74"/>
                        <a:pt x="12" y="68"/>
                      </a:cubicBezTo>
                      <a:cubicBezTo>
                        <a:pt x="12" y="67"/>
                        <a:pt x="12" y="67"/>
                        <a:pt x="12" y="67"/>
                      </a:cubicBezTo>
                      <a:cubicBezTo>
                        <a:pt x="12" y="61"/>
                        <a:pt x="17" y="56"/>
                        <a:pt x="23" y="56"/>
                      </a:cubicBezTo>
                      <a:cubicBezTo>
                        <a:pt x="116" y="56"/>
                        <a:pt x="116" y="56"/>
                        <a:pt x="116" y="56"/>
                      </a:cubicBezTo>
                      <a:cubicBezTo>
                        <a:pt x="122" y="56"/>
                        <a:pt x="127" y="61"/>
                        <a:pt x="127" y="67"/>
                      </a:cubicBezTo>
                      <a:lnTo>
                        <a:pt x="127" y="68"/>
                      </a:lnTo>
                      <a:close/>
                      <a:moveTo>
                        <a:pt x="127" y="68"/>
                      </a:moveTo>
                      <a:cubicBezTo>
                        <a:pt x="127" y="68"/>
                        <a:pt x="127" y="68"/>
                        <a:pt x="127" y="68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1200" cap="none" spc="0" normalizeH="0" baseline="-2500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" name="íSľiḍê">
                  <a:extLst>
                    <a:ext uri="{FF2B5EF4-FFF2-40B4-BE49-F238E27FC236}">
                      <a16:creationId xmlns:a16="http://schemas.microsoft.com/office/drawing/2014/main" xmlns="" id="{29AFFB46-4ECA-4F56-826D-57F32C901C2A}"/>
                    </a:ext>
                  </a:extLst>
                </p:cNvPr>
                <p:cNvSpPr/>
                <p:nvPr/>
              </p:nvSpPr>
              <p:spPr bwMode="auto">
                <a:xfrm>
                  <a:off x="567" y="2147"/>
                  <a:ext cx="44" cy="44"/>
                </a:xfrm>
                <a:custGeom>
                  <a:avLst/>
                  <a:gdLst>
                    <a:gd name="T0" fmla="*/ 18 w 18"/>
                    <a:gd name="T1" fmla="*/ 9 h 18"/>
                    <a:gd name="T2" fmla="*/ 9 w 18"/>
                    <a:gd name="T3" fmla="*/ 18 h 18"/>
                    <a:gd name="T4" fmla="*/ 0 w 18"/>
                    <a:gd name="T5" fmla="*/ 9 h 18"/>
                    <a:gd name="T6" fmla="*/ 9 w 18"/>
                    <a:gd name="T7" fmla="*/ 0 h 18"/>
                    <a:gd name="T8" fmla="*/ 18 w 18"/>
                    <a:gd name="T9" fmla="*/ 9 h 18"/>
                    <a:gd name="T10" fmla="*/ 18 w 18"/>
                    <a:gd name="T11" fmla="*/ 9 h 18"/>
                    <a:gd name="T12" fmla="*/ 18 w 18"/>
                    <a:gd name="T13" fmla="*/ 9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" h="18">
                      <a:moveTo>
                        <a:pt x="18" y="9"/>
                      </a:moveTo>
                      <a:cubicBezTo>
                        <a:pt x="18" y="14"/>
                        <a:pt x="14" y="18"/>
                        <a:pt x="9" y="18"/>
                      </a:cubicBezTo>
                      <a:cubicBezTo>
                        <a:pt x="4" y="18"/>
                        <a:pt x="0" y="14"/>
                        <a:pt x="0" y="9"/>
                      </a:cubicBezTo>
                      <a:cubicBezTo>
                        <a:pt x="0" y="4"/>
                        <a:pt x="4" y="0"/>
                        <a:pt x="9" y="0"/>
                      </a:cubicBezTo>
                      <a:cubicBezTo>
                        <a:pt x="14" y="0"/>
                        <a:pt x="18" y="4"/>
                        <a:pt x="18" y="9"/>
                      </a:cubicBezTo>
                      <a:close/>
                      <a:moveTo>
                        <a:pt x="18" y="9"/>
                      </a:moveTo>
                      <a:cubicBezTo>
                        <a:pt x="18" y="9"/>
                        <a:pt x="18" y="9"/>
                        <a:pt x="18" y="9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1200" cap="none" spc="0" normalizeH="0" baseline="-2500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24" name="isľïḍe">
                <a:extLst>
                  <a:ext uri="{FF2B5EF4-FFF2-40B4-BE49-F238E27FC236}">
                    <a16:creationId xmlns:a16="http://schemas.microsoft.com/office/drawing/2014/main" xmlns="" id="{B3BB6FF3-A6E8-4D27-B394-B3871F2BE377}"/>
                  </a:ext>
                </a:extLst>
              </p:cNvPr>
              <p:cNvSpPr/>
              <p:nvPr/>
            </p:nvSpPr>
            <p:spPr bwMode="auto">
              <a:xfrm>
                <a:off x="5524227" y="2054768"/>
                <a:ext cx="143148" cy="229394"/>
              </a:xfrm>
              <a:custGeom>
                <a:avLst/>
                <a:gdLst>
                  <a:gd name="T0" fmla="*/ 870 w 1024"/>
                  <a:gd name="T1" fmla="*/ 0 h 1638"/>
                  <a:gd name="T2" fmla="*/ 154 w 1024"/>
                  <a:gd name="T3" fmla="*/ 0 h 1638"/>
                  <a:gd name="T4" fmla="*/ 0 w 1024"/>
                  <a:gd name="T5" fmla="*/ 154 h 1638"/>
                  <a:gd name="T6" fmla="*/ 0 w 1024"/>
                  <a:gd name="T7" fmla="*/ 1485 h 1638"/>
                  <a:gd name="T8" fmla="*/ 154 w 1024"/>
                  <a:gd name="T9" fmla="*/ 1638 h 1638"/>
                  <a:gd name="T10" fmla="*/ 870 w 1024"/>
                  <a:gd name="T11" fmla="*/ 1638 h 1638"/>
                  <a:gd name="T12" fmla="*/ 1024 w 1024"/>
                  <a:gd name="T13" fmla="*/ 1485 h 1638"/>
                  <a:gd name="T14" fmla="*/ 1024 w 1024"/>
                  <a:gd name="T15" fmla="*/ 154 h 1638"/>
                  <a:gd name="T16" fmla="*/ 870 w 1024"/>
                  <a:gd name="T17" fmla="*/ 0 h 1638"/>
                  <a:gd name="T18" fmla="*/ 307 w 1024"/>
                  <a:gd name="T19" fmla="*/ 77 h 1638"/>
                  <a:gd name="T20" fmla="*/ 717 w 1024"/>
                  <a:gd name="T21" fmla="*/ 77 h 1638"/>
                  <a:gd name="T22" fmla="*/ 717 w 1024"/>
                  <a:gd name="T23" fmla="*/ 128 h 1638"/>
                  <a:gd name="T24" fmla="*/ 307 w 1024"/>
                  <a:gd name="T25" fmla="*/ 128 h 1638"/>
                  <a:gd name="T26" fmla="*/ 307 w 1024"/>
                  <a:gd name="T27" fmla="*/ 77 h 1638"/>
                  <a:gd name="T28" fmla="*/ 512 w 1024"/>
                  <a:gd name="T29" fmla="*/ 1536 h 1638"/>
                  <a:gd name="T30" fmla="*/ 410 w 1024"/>
                  <a:gd name="T31" fmla="*/ 1434 h 1638"/>
                  <a:gd name="T32" fmla="*/ 512 w 1024"/>
                  <a:gd name="T33" fmla="*/ 1331 h 1638"/>
                  <a:gd name="T34" fmla="*/ 614 w 1024"/>
                  <a:gd name="T35" fmla="*/ 1434 h 1638"/>
                  <a:gd name="T36" fmla="*/ 512 w 1024"/>
                  <a:gd name="T37" fmla="*/ 1536 h 1638"/>
                  <a:gd name="T38" fmla="*/ 922 w 1024"/>
                  <a:gd name="T39" fmla="*/ 1229 h 1638"/>
                  <a:gd name="T40" fmla="*/ 102 w 1024"/>
                  <a:gd name="T41" fmla="*/ 1229 h 1638"/>
                  <a:gd name="T42" fmla="*/ 102 w 1024"/>
                  <a:gd name="T43" fmla="*/ 205 h 1638"/>
                  <a:gd name="T44" fmla="*/ 922 w 1024"/>
                  <a:gd name="T45" fmla="*/ 205 h 1638"/>
                  <a:gd name="T46" fmla="*/ 922 w 1024"/>
                  <a:gd name="T47" fmla="*/ 1229 h 1638"/>
                  <a:gd name="T48" fmla="*/ 922 w 1024"/>
                  <a:gd name="T49" fmla="*/ 1229 h 1638"/>
                  <a:gd name="T50" fmla="*/ 922 w 1024"/>
                  <a:gd name="T51" fmla="*/ 1229 h 1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24" h="1638">
                    <a:moveTo>
                      <a:pt x="870" y="0"/>
                    </a:moveTo>
                    <a:cubicBezTo>
                      <a:pt x="154" y="0"/>
                      <a:pt x="154" y="0"/>
                      <a:pt x="154" y="0"/>
                    </a:cubicBezTo>
                    <a:cubicBezTo>
                      <a:pt x="69" y="0"/>
                      <a:pt x="0" y="69"/>
                      <a:pt x="0" y="154"/>
                    </a:cubicBezTo>
                    <a:cubicBezTo>
                      <a:pt x="0" y="1485"/>
                      <a:pt x="0" y="1485"/>
                      <a:pt x="0" y="1485"/>
                    </a:cubicBezTo>
                    <a:cubicBezTo>
                      <a:pt x="0" y="1569"/>
                      <a:pt x="69" y="1638"/>
                      <a:pt x="154" y="1638"/>
                    </a:cubicBezTo>
                    <a:cubicBezTo>
                      <a:pt x="870" y="1638"/>
                      <a:pt x="870" y="1638"/>
                      <a:pt x="870" y="1638"/>
                    </a:cubicBezTo>
                    <a:cubicBezTo>
                      <a:pt x="955" y="1638"/>
                      <a:pt x="1024" y="1569"/>
                      <a:pt x="1024" y="1485"/>
                    </a:cubicBezTo>
                    <a:cubicBezTo>
                      <a:pt x="1024" y="154"/>
                      <a:pt x="1024" y="154"/>
                      <a:pt x="1024" y="154"/>
                    </a:cubicBezTo>
                    <a:cubicBezTo>
                      <a:pt x="1024" y="69"/>
                      <a:pt x="955" y="0"/>
                      <a:pt x="870" y="0"/>
                    </a:cubicBezTo>
                    <a:close/>
                    <a:moveTo>
                      <a:pt x="307" y="77"/>
                    </a:moveTo>
                    <a:cubicBezTo>
                      <a:pt x="717" y="77"/>
                      <a:pt x="717" y="77"/>
                      <a:pt x="717" y="77"/>
                    </a:cubicBezTo>
                    <a:cubicBezTo>
                      <a:pt x="717" y="128"/>
                      <a:pt x="717" y="128"/>
                      <a:pt x="717" y="128"/>
                    </a:cubicBezTo>
                    <a:cubicBezTo>
                      <a:pt x="307" y="128"/>
                      <a:pt x="307" y="128"/>
                      <a:pt x="307" y="128"/>
                    </a:cubicBezTo>
                    <a:lnTo>
                      <a:pt x="307" y="77"/>
                    </a:lnTo>
                    <a:close/>
                    <a:moveTo>
                      <a:pt x="512" y="1536"/>
                    </a:moveTo>
                    <a:cubicBezTo>
                      <a:pt x="455" y="1536"/>
                      <a:pt x="410" y="1490"/>
                      <a:pt x="410" y="1434"/>
                    </a:cubicBezTo>
                    <a:cubicBezTo>
                      <a:pt x="410" y="1377"/>
                      <a:pt x="455" y="1331"/>
                      <a:pt x="512" y="1331"/>
                    </a:cubicBezTo>
                    <a:cubicBezTo>
                      <a:pt x="569" y="1331"/>
                      <a:pt x="614" y="1377"/>
                      <a:pt x="614" y="1434"/>
                    </a:cubicBezTo>
                    <a:cubicBezTo>
                      <a:pt x="614" y="1490"/>
                      <a:pt x="569" y="1536"/>
                      <a:pt x="512" y="1536"/>
                    </a:cubicBezTo>
                    <a:close/>
                    <a:moveTo>
                      <a:pt x="922" y="1229"/>
                    </a:moveTo>
                    <a:cubicBezTo>
                      <a:pt x="102" y="1229"/>
                      <a:pt x="102" y="1229"/>
                      <a:pt x="102" y="1229"/>
                    </a:cubicBezTo>
                    <a:cubicBezTo>
                      <a:pt x="102" y="205"/>
                      <a:pt x="102" y="205"/>
                      <a:pt x="102" y="205"/>
                    </a:cubicBezTo>
                    <a:cubicBezTo>
                      <a:pt x="922" y="205"/>
                      <a:pt x="922" y="205"/>
                      <a:pt x="922" y="205"/>
                    </a:cubicBezTo>
                    <a:lnTo>
                      <a:pt x="922" y="1229"/>
                    </a:lnTo>
                    <a:close/>
                    <a:moveTo>
                      <a:pt x="922" y="1229"/>
                    </a:moveTo>
                    <a:cubicBezTo>
                      <a:pt x="922" y="1229"/>
                      <a:pt x="922" y="1229"/>
                      <a:pt x="922" y="1229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" name="íşľîďê">
                <a:extLst>
                  <a:ext uri="{FF2B5EF4-FFF2-40B4-BE49-F238E27FC236}">
                    <a16:creationId xmlns:a16="http://schemas.microsoft.com/office/drawing/2014/main" xmlns="" id="{F6518E3F-C665-4C0F-AD1A-E1EE6AD283F8}"/>
                  </a:ext>
                </a:extLst>
              </p:cNvPr>
              <p:cNvSpPr/>
              <p:nvPr/>
            </p:nvSpPr>
            <p:spPr bwMode="auto">
              <a:xfrm>
                <a:off x="6454070" y="2278632"/>
                <a:ext cx="263111" cy="255257"/>
              </a:xfrm>
              <a:custGeom>
                <a:avLst/>
                <a:gdLst>
                  <a:gd name="T0" fmla="*/ 163 w 166"/>
                  <a:gd name="T1" fmla="*/ 79 h 160"/>
                  <a:gd name="T2" fmla="*/ 163 w 166"/>
                  <a:gd name="T3" fmla="*/ 67 h 160"/>
                  <a:gd name="T4" fmla="*/ 89 w 166"/>
                  <a:gd name="T5" fmla="*/ 3 h 160"/>
                  <a:gd name="T6" fmla="*/ 77 w 166"/>
                  <a:gd name="T7" fmla="*/ 3 h 160"/>
                  <a:gd name="T8" fmla="*/ 4 w 166"/>
                  <a:gd name="T9" fmla="*/ 71 h 160"/>
                  <a:gd name="T10" fmla="*/ 3 w 166"/>
                  <a:gd name="T11" fmla="*/ 82 h 160"/>
                  <a:gd name="T12" fmla="*/ 5 w 166"/>
                  <a:gd name="T13" fmla="*/ 84 h 160"/>
                  <a:gd name="T14" fmla="*/ 16 w 166"/>
                  <a:gd name="T15" fmla="*/ 85 h 160"/>
                  <a:gd name="T16" fmla="*/ 22 w 166"/>
                  <a:gd name="T17" fmla="*/ 80 h 160"/>
                  <a:gd name="T18" fmla="*/ 22 w 166"/>
                  <a:gd name="T19" fmla="*/ 152 h 160"/>
                  <a:gd name="T20" fmla="*/ 30 w 166"/>
                  <a:gd name="T21" fmla="*/ 160 h 160"/>
                  <a:gd name="T22" fmla="*/ 58 w 166"/>
                  <a:gd name="T23" fmla="*/ 160 h 160"/>
                  <a:gd name="T24" fmla="*/ 66 w 166"/>
                  <a:gd name="T25" fmla="*/ 152 h 160"/>
                  <a:gd name="T26" fmla="*/ 66 w 166"/>
                  <a:gd name="T27" fmla="*/ 102 h 160"/>
                  <a:gd name="T28" fmla="*/ 103 w 166"/>
                  <a:gd name="T29" fmla="*/ 102 h 160"/>
                  <a:gd name="T30" fmla="*/ 103 w 166"/>
                  <a:gd name="T31" fmla="*/ 152 h 160"/>
                  <a:gd name="T32" fmla="*/ 111 w 166"/>
                  <a:gd name="T33" fmla="*/ 160 h 160"/>
                  <a:gd name="T34" fmla="*/ 141 w 166"/>
                  <a:gd name="T35" fmla="*/ 160 h 160"/>
                  <a:gd name="T36" fmla="*/ 149 w 166"/>
                  <a:gd name="T37" fmla="*/ 152 h 160"/>
                  <a:gd name="T38" fmla="*/ 149 w 166"/>
                  <a:gd name="T39" fmla="*/ 81 h 160"/>
                  <a:gd name="T40" fmla="*/ 153 w 166"/>
                  <a:gd name="T41" fmla="*/ 84 h 160"/>
                  <a:gd name="T42" fmla="*/ 161 w 166"/>
                  <a:gd name="T43" fmla="*/ 81 h 160"/>
                  <a:gd name="T44" fmla="*/ 163 w 166"/>
                  <a:gd name="T45" fmla="*/ 79 h 160"/>
                  <a:gd name="T46" fmla="*/ 163 w 166"/>
                  <a:gd name="T47" fmla="*/ 79 h 160"/>
                  <a:gd name="T48" fmla="*/ 163 w 166"/>
                  <a:gd name="T49" fmla="*/ 79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6" h="160">
                    <a:moveTo>
                      <a:pt x="163" y="79"/>
                    </a:moveTo>
                    <a:cubicBezTo>
                      <a:pt x="166" y="75"/>
                      <a:pt x="166" y="70"/>
                      <a:pt x="163" y="67"/>
                    </a:cubicBezTo>
                    <a:cubicBezTo>
                      <a:pt x="89" y="3"/>
                      <a:pt x="89" y="3"/>
                      <a:pt x="89" y="3"/>
                    </a:cubicBezTo>
                    <a:cubicBezTo>
                      <a:pt x="86" y="0"/>
                      <a:pt x="81" y="0"/>
                      <a:pt x="77" y="3"/>
                    </a:cubicBezTo>
                    <a:cubicBezTo>
                      <a:pt x="4" y="71"/>
                      <a:pt x="4" y="71"/>
                      <a:pt x="4" y="71"/>
                    </a:cubicBezTo>
                    <a:cubicBezTo>
                      <a:pt x="0" y="74"/>
                      <a:pt x="0" y="79"/>
                      <a:pt x="3" y="82"/>
                    </a:cubicBezTo>
                    <a:cubicBezTo>
                      <a:pt x="5" y="84"/>
                      <a:pt x="5" y="84"/>
                      <a:pt x="5" y="84"/>
                    </a:cubicBezTo>
                    <a:cubicBezTo>
                      <a:pt x="8" y="87"/>
                      <a:pt x="13" y="88"/>
                      <a:pt x="16" y="85"/>
                    </a:cubicBezTo>
                    <a:cubicBezTo>
                      <a:pt x="22" y="80"/>
                      <a:pt x="22" y="80"/>
                      <a:pt x="22" y="80"/>
                    </a:cubicBezTo>
                    <a:cubicBezTo>
                      <a:pt x="22" y="152"/>
                      <a:pt x="22" y="152"/>
                      <a:pt x="22" y="152"/>
                    </a:cubicBezTo>
                    <a:cubicBezTo>
                      <a:pt x="22" y="157"/>
                      <a:pt x="25" y="160"/>
                      <a:pt x="30" y="160"/>
                    </a:cubicBezTo>
                    <a:cubicBezTo>
                      <a:pt x="58" y="160"/>
                      <a:pt x="58" y="160"/>
                      <a:pt x="58" y="160"/>
                    </a:cubicBezTo>
                    <a:cubicBezTo>
                      <a:pt x="63" y="160"/>
                      <a:pt x="66" y="157"/>
                      <a:pt x="66" y="152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03" y="152"/>
                      <a:pt x="103" y="152"/>
                      <a:pt x="103" y="152"/>
                    </a:cubicBezTo>
                    <a:cubicBezTo>
                      <a:pt x="103" y="157"/>
                      <a:pt x="106" y="160"/>
                      <a:pt x="111" y="160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146" y="160"/>
                      <a:pt x="149" y="157"/>
                      <a:pt x="149" y="152"/>
                    </a:cubicBezTo>
                    <a:cubicBezTo>
                      <a:pt x="149" y="81"/>
                      <a:pt x="149" y="81"/>
                      <a:pt x="149" y="81"/>
                    </a:cubicBezTo>
                    <a:cubicBezTo>
                      <a:pt x="149" y="81"/>
                      <a:pt x="151" y="82"/>
                      <a:pt x="153" y="84"/>
                    </a:cubicBezTo>
                    <a:cubicBezTo>
                      <a:pt x="154" y="86"/>
                      <a:pt x="158" y="84"/>
                      <a:pt x="161" y="81"/>
                    </a:cubicBezTo>
                    <a:lnTo>
                      <a:pt x="163" y="79"/>
                    </a:lnTo>
                    <a:close/>
                    <a:moveTo>
                      <a:pt x="163" y="79"/>
                    </a:moveTo>
                    <a:cubicBezTo>
                      <a:pt x="163" y="79"/>
                      <a:pt x="163" y="79"/>
                      <a:pt x="163" y="79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9" name="iṣľiḍê">
              <a:extLst>
                <a:ext uri="{FF2B5EF4-FFF2-40B4-BE49-F238E27FC236}">
                  <a16:creationId xmlns:a16="http://schemas.microsoft.com/office/drawing/2014/main" xmlns="" id="{4334B2C3-A424-4DE9-A593-E83E96E59627}"/>
                </a:ext>
              </a:extLst>
            </p:cNvPr>
            <p:cNvGrpSpPr/>
            <p:nvPr/>
          </p:nvGrpSpPr>
          <p:grpSpPr>
            <a:xfrm>
              <a:off x="5010137" y="5010919"/>
              <a:ext cx="2151154" cy="1135114"/>
              <a:chOff x="5010137" y="5010919"/>
              <a:chExt cx="2151154" cy="1135114"/>
            </a:xfrm>
          </p:grpSpPr>
          <p:sp>
            <p:nvSpPr>
              <p:cNvPr id="16" name="îśļiḓé">
                <a:extLst>
                  <a:ext uri="{FF2B5EF4-FFF2-40B4-BE49-F238E27FC236}">
                    <a16:creationId xmlns:a16="http://schemas.microsoft.com/office/drawing/2014/main" xmlns="" id="{747495CF-6861-4502-B3FE-46957D6914E6}"/>
                  </a:ext>
                </a:extLst>
              </p:cNvPr>
              <p:cNvSpPr txBox="1"/>
              <p:nvPr/>
            </p:nvSpPr>
            <p:spPr>
              <a:xfrm>
                <a:off x="5010137" y="5010919"/>
                <a:ext cx="2151154" cy="39858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ctr">
                  <a:buSzPct val="25000"/>
                </a:pPr>
                <a:r>
                  <a:rPr lang="de-DE" b="1" dirty="0"/>
                  <a:t>Text here</a:t>
                </a:r>
              </a:p>
            </p:txBody>
          </p:sp>
          <p:sp>
            <p:nvSpPr>
              <p:cNvPr id="17" name="iş1iḋè">
                <a:extLst>
                  <a:ext uri="{FF2B5EF4-FFF2-40B4-BE49-F238E27FC236}">
                    <a16:creationId xmlns:a16="http://schemas.microsoft.com/office/drawing/2014/main" xmlns="" id="{6B897F08-22DD-4E56-B2A1-5744F575B3E3}"/>
                  </a:ext>
                </a:extLst>
              </p:cNvPr>
              <p:cNvSpPr txBox="1"/>
              <p:nvPr/>
            </p:nvSpPr>
            <p:spPr>
              <a:xfrm>
                <a:off x="5010137" y="5409506"/>
                <a:ext cx="2151154" cy="73652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/>
              <a:p>
                <a:pPr algn="ctr">
                  <a:lnSpc>
                    <a:spcPct val="150000"/>
                  </a:lnSpc>
                  <a:buSzPct val="25000"/>
                </a:pPr>
                <a:r>
                  <a:rPr lang="en-US" sz="1100" dirty="0"/>
                  <a:t>Copy paste fonts. Choose the only option to retain text.…</a:t>
                </a:r>
                <a:r>
                  <a:rPr lang="de-DE" sz="1100" dirty="0"/>
                  <a:t>..</a:t>
                </a:r>
              </a:p>
            </p:txBody>
          </p:sp>
        </p:grpSp>
        <p:grpSp>
          <p:nvGrpSpPr>
            <p:cNvPr id="10" name="iṧliḑè">
              <a:extLst>
                <a:ext uri="{FF2B5EF4-FFF2-40B4-BE49-F238E27FC236}">
                  <a16:creationId xmlns:a16="http://schemas.microsoft.com/office/drawing/2014/main" xmlns="" id="{DC8B9943-9EE2-4359-A622-221685516CE3}"/>
                </a:ext>
              </a:extLst>
            </p:cNvPr>
            <p:cNvGrpSpPr/>
            <p:nvPr/>
          </p:nvGrpSpPr>
          <p:grpSpPr>
            <a:xfrm>
              <a:off x="7650788" y="4642655"/>
              <a:ext cx="2151154" cy="1135114"/>
              <a:chOff x="7547917" y="4612332"/>
              <a:chExt cx="2368438" cy="1135114"/>
            </a:xfrm>
          </p:grpSpPr>
          <p:sp>
            <p:nvSpPr>
              <p:cNvPr id="14" name="îṩlíḑê">
                <a:extLst>
                  <a:ext uri="{FF2B5EF4-FFF2-40B4-BE49-F238E27FC236}">
                    <a16:creationId xmlns:a16="http://schemas.microsoft.com/office/drawing/2014/main" xmlns="" id="{8ABD363D-B83B-49B3-B89D-58FF66751826}"/>
                  </a:ext>
                </a:extLst>
              </p:cNvPr>
              <p:cNvSpPr txBox="1"/>
              <p:nvPr/>
            </p:nvSpPr>
            <p:spPr>
              <a:xfrm>
                <a:off x="7547917" y="4612332"/>
                <a:ext cx="2368438" cy="39858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ctr">
                  <a:buSzPct val="25000"/>
                </a:pPr>
                <a:r>
                  <a:rPr lang="de-DE" b="1" dirty="0"/>
                  <a:t>Text here</a:t>
                </a:r>
              </a:p>
            </p:txBody>
          </p:sp>
          <p:sp>
            <p:nvSpPr>
              <p:cNvPr id="15" name="íŝḻîḓe">
                <a:extLst>
                  <a:ext uri="{FF2B5EF4-FFF2-40B4-BE49-F238E27FC236}">
                    <a16:creationId xmlns:a16="http://schemas.microsoft.com/office/drawing/2014/main" xmlns="" id="{A243A152-1C58-4963-858A-AB20E7C1B122}"/>
                  </a:ext>
                </a:extLst>
              </p:cNvPr>
              <p:cNvSpPr txBox="1"/>
              <p:nvPr/>
            </p:nvSpPr>
            <p:spPr>
              <a:xfrm>
                <a:off x="7547917" y="5010919"/>
                <a:ext cx="2368438" cy="73652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/>
              <a:p>
                <a:pPr algn="ctr">
                  <a:lnSpc>
                    <a:spcPct val="150000"/>
                  </a:lnSpc>
                  <a:buSzPct val="25000"/>
                </a:pPr>
                <a:r>
                  <a:rPr lang="en-US" sz="1100" dirty="0"/>
                  <a:t>Copy paste fonts. Choose the only option to retain text.…</a:t>
                </a:r>
                <a:r>
                  <a:rPr lang="de-DE" sz="1100" dirty="0"/>
                  <a:t>..</a:t>
                </a:r>
              </a:p>
            </p:txBody>
          </p:sp>
        </p:grpSp>
        <p:grpSp>
          <p:nvGrpSpPr>
            <p:cNvPr id="11" name="îṣḷíďé">
              <a:extLst>
                <a:ext uri="{FF2B5EF4-FFF2-40B4-BE49-F238E27FC236}">
                  <a16:creationId xmlns:a16="http://schemas.microsoft.com/office/drawing/2014/main" xmlns="" id="{F5A8EF3F-BBAA-407D-B5A6-EC39C75DD13C}"/>
                </a:ext>
              </a:extLst>
            </p:cNvPr>
            <p:cNvGrpSpPr/>
            <p:nvPr/>
          </p:nvGrpSpPr>
          <p:grpSpPr>
            <a:xfrm>
              <a:off x="2390055" y="4642655"/>
              <a:ext cx="2151154" cy="1135114"/>
              <a:chOff x="7547917" y="4612332"/>
              <a:chExt cx="2368438" cy="1135114"/>
            </a:xfrm>
          </p:grpSpPr>
          <p:sp>
            <p:nvSpPr>
              <p:cNvPr id="12" name="îṧľîḍê">
                <a:extLst>
                  <a:ext uri="{FF2B5EF4-FFF2-40B4-BE49-F238E27FC236}">
                    <a16:creationId xmlns:a16="http://schemas.microsoft.com/office/drawing/2014/main" xmlns="" id="{AEC33F15-8524-4670-8D3C-79A4937F57A5}"/>
                  </a:ext>
                </a:extLst>
              </p:cNvPr>
              <p:cNvSpPr txBox="1"/>
              <p:nvPr/>
            </p:nvSpPr>
            <p:spPr>
              <a:xfrm>
                <a:off x="7547917" y="4612332"/>
                <a:ext cx="2368438" cy="39858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ctr">
                  <a:buSzPct val="25000"/>
                </a:pPr>
                <a:r>
                  <a:rPr lang="de-DE" b="1" dirty="0"/>
                  <a:t>Text here</a:t>
                </a:r>
              </a:p>
            </p:txBody>
          </p:sp>
          <p:sp>
            <p:nvSpPr>
              <p:cNvPr id="13" name="ïṥ1ïḋè">
                <a:extLst>
                  <a:ext uri="{FF2B5EF4-FFF2-40B4-BE49-F238E27FC236}">
                    <a16:creationId xmlns:a16="http://schemas.microsoft.com/office/drawing/2014/main" xmlns="" id="{1B02EC64-75AA-4988-B6E0-4D811D0DBD66}"/>
                  </a:ext>
                </a:extLst>
              </p:cNvPr>
              <p:cNvSpPr txBox="1"/>
              <p:nvPr/>
            </p:nvSpPr>
            <p:spPr>
              <a:xfrm>
                <a:off x="7547917" y="5010919"/>
                <a:ext cx="2368438" cy="73652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/>
              <a:p>
                <a:pPr algn="ctr">
                  <a:lnSpc>
                    <a:spcPct val="150000"/>
                  </a:lnSpc>
                  <a:buSzPct val="25000"/>
                </a:pPr>
                <a:r>
                  <a:rPr lang="en-US" sz="1100" dirty="0"/>
                  <a:t>Copy paste fonts. Choose the only option to retain text.…</a:t>
                </a:r>
                <a:r>
                  <a:rPr lang="de-DE" sz="1100" dirty="0"/>
                  <a:t>.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03268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F889D7B4-A933-4417-98B4-307FCE2EE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282089D5-B75B-45DA-85DD-D7A2169B1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CD8638F4-24D5-4399-8EEF-5389682E4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grpSp>
        <p:nvGrpSpPr>
          <p:cNvPr id="5" name="20754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A5103BA5-E65B-41CE-98A6-5CD173F4E07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3100" y="1130300"/>
            <a:ext cx="10373284" cy="5016500"/>
            <a:chOff x="673100" y="1130300"/>
            <a:chExt cx="10373284" cy="5016500"/>
          </a:xfrm>
        </p:grpSpPr>
        <p:grpSp>
          <p:nvGrpSpPr>
            <p:cNvPr id="6" name="ïşľíḓè">
              <a:extLst>
                <a:ext uri="{FF2B5EF4-FFF2-40B4-BE49-F238E27FC236}">
                  <a16:creationId xmlns:a16="http://schemas.microsoft.com/office/drawing/2014/main" xmlns="" id="{D299767F-0AF3-4530-A93E-7FD87E770A03}"/>
                </a:ext>
              </a:extLst>
            </p:cNvPr>
            <p:cNvGrpSpPr/>
            <p:nvPr/>
          </p:nvGrpSpPr>
          <p:grpSpPr>
            <a:xfrm>
              <a:off x="7575790" y="1130300"/>
              <a:ext cx="3470594" cy="4669710"/>
              <a:chOff x="7128115" y="1303683"/>
              <a:chExt cx="3470594" cy="4669710"/>
            </a:xfrm>
          </p:grpSpPr>
          <p:grpSp>
            <p:nvGrpSpPr>
              <p:cNvPr id="28" name="i$ḻïde">
                <a:extLst>
                  <a:ext uri="{FF2B5EF4-FFF2-40B4-BE49-F238E27FC236}">
                    <a16:creationId xmlns:a16="http://schemas.microsoft.com/office/drawing/2014/main" xmlns="" id="{0E728199-7EC5-47FC-8E3C-DBFB4E746FC3}"/>
                  </a:ext>
                </a:extLst>
              </p:cNvPr>
              <p:cNvGrpSpPr/>
              <p:nvPr/>
            </p:nvGrpSpPr>
            <p:grpSpPr>
              <a:xfrm>
                <a:off x="7128115" y="3058564"/>
                <a:ext cx="3470594" cy="2914829"/>
                <a:chOff x="1554163" y="1203325"/>
                <a:chExt cx="6840537" cy="5745163"/>
              </a:xfrm>
            </p:grpSpPr>
            <p:sp>
              <p:nvSpPr>
                <p:cNvPr id="37" name="îŝľíḓê">
                  <a:extLst>
                    <a:ext uri="{FF2B5EF4-FFF2-40B4-BE49-F238E27FC236}">
                      <a16:creationId xmlns:a16="http://schemas.microsoft.com/office/drawing/2014/main" xmlns="" id="{771B982F-B8EC-4A69-A4D1-ED1E8BF786A6}"/>
                    </a:ext>
                  </a:extLst>
                </p:cNvPr>
                <p:cNvSpPr/>
                <p:nvPr/>
              </p:nvSpPr>
              <p:spPr bwMode="auto">
                <a:xfrm>
                  <a:off x="3735388" y="6911975"/>
                  <a:ext cx="2513012" cy="36513"/>
                </a:xfrm>
                <a:custGeom>
                  <a:avLst/>
                  <a:gdLst>
                    <a:gd name="T0" fmla="*/ 6776 w 6981"/>
                    <a:gd name="T1" fmla="*/ 0 h 103"/>
                    <a:gd name="T2" fmla="*/ 6776 w 6981"/>
                    <a:gd name="T3" fmla="*/ 0 h 103"/>
                    <a:gd name="T4" fmla="*/ 203 w 6981"/>
                    <a:gd name="T5" fmla="*/ 0 h 103"/>
                    <a:gd name="T6" fmla="*/ 0 w 6981"/>
                    <a:gd name="T7" fmla="*/ 46 h 103"/>
                    <a:gd name="T8" fmla="*/ 0 w 6981"/>
                    <a:gd name="T9" fmla="*/ 55 h 103"/>
                    <a:gd name="T10" fmla="*/ 203 w 6981"/>
                    <a:gd name="T11" fmla="*/ 102 h 103"/>
                    <a:gd name="T12" fmla="*/ 6776 w 6981"/>
                    <a:gd name="T13" fmla="*/ 102 h 103"/>
                    <a:gd name="T14" fmla="*/ 6980 w 6981"/>
                    <a:gd name="T15" fmla="*/ 55 h 103"/>
                    <a:gd name="T16" fmla="*/ 6980 w 6981"/>
                    <a:gd name="T17" fmla="*/ 46 h 103"/>
                    <a:gd name="T18" fmla="*/ 6776 w 6981"/>
                    <a:gd name="T19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981" h="103">
                      <a:moveTo>
                        <a:pt x="6776" y="0"/>
                      </a:moveTo>
                      <a:lnTo>
                        <a:pt x="6776" y="0"/>
                      </a:lnTo>
                      <a:cubicBezTo>
                        <a:pt x="203" y="0"/>
                        <a:pt x="203" y="0"/>
                        <a:pt x="203" y="0"/>
                      </a:cubicBezTo>
                      <a:cubicBezTo>
                        <a:pt x="92" y="0"/>
                        <a:pt x="0" y="18"/>
                        <a:pt x="0" y="46"/>
                      </a:cubicBezTo>
                      <a:cubicBezTo>
                        <a:pt x="0" y="55"/>
                        <a:pt x="0" y="55"/>
                        <a:pt x="0" y="55"/>
                      </a:cubicBezTo>
                      <a:cubicBezTo>
                        <a:pt x="0" y="83"/>
                        <a:pt x="92" y="102"/>
                        <a:pt x="203" y="102"/>
                      </a:cubicBezTo>
                      <a:cubicBezTo>
                        <a:pt x="6776" y="102"/>
                        <a:pt x="6776" y="102"/>
                        <a:pt x="6776" y="102"/>
                      </a:cubicBezTo>
                      <a:cubicBezTo>
                        <a:pt x="6887" y="102"/>
                        <a:pt x="6980" y="83"/>
                        <a:pt x="6980" y="55"/>
                      </a:cubicBezTo>
                      <a:cubicBezTo>
                        <a:pt x="6980" y="46"/>
                        <a:pt x="6980" y="46"/>
                        <a:pt x="6980" y="46"/>
                      </a:cubicBezTo>
                      <a:cubicBezTo>
                        <a:pt x="6980" y="18"/>
                        <a:pt x="6887" y="0"/>
                        <a:pt x="6776" y="0"/>
                      </a:cubicBezTo>
                    </a:path>
                  </a:pathLst>
                </a:custGeom>
                <a:solidFill>
                  <a:srgbClr val="BCBDC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endParaRPr lang="en-US"/>
                </a:p>
              </p:txBody>
            </p:sp>
            <p:sp>
              <p:nvSpPr>
                <p:cNvPr id="38" name="îṧļiḑè">
                  <a:extLst>
                    <a:ext uri="{FF2B5EF4-FFF2-40B4-BE49-F238E27FC236}">
                      <a16:creationId xmlns:a16="http://schemas.microsoft.com/office/drawing/2014/main" xmlns="" id="{3F8620C1-F939-4108-B602-CF0CAAE86368}"/>
                    </a:ext>
                  </a:extLst>
                </p:cNvPr>
                <p:cNvSpPr/>
                <p:nvPr/>
              </p:nvSpPr>
              <p:spPr bwMode="auto">
                <a:xfrm>
                  <a:off x="1554163" y="1203325"/>
                  <a:ext cx="6840537" cy="4140200"/>
                </a:xfrm>
                <a:custGeom>
                  <a:avLst/>
                  <a:gdLst>
                    <a:gd name="T0" fmla="*/ 18999 w 19000"/>
                    <a:gd name="T1" fmla="*/ 11499 h 11500"/>
                    <a:gd name="T2" fmla="*/ 18999 w 19000"/>
                    <a:gd name="T3" fmla="*/ 11499 h 11500"/>
                    <a:gd name="T4" fmla="*/ 18999 w 19000"/>
                    <a:gd name="T5" fmla="*/ 630 h 11500"/>
                    <a:gd name="T6" fmla="*/ 18369 w 19000"/>
                    <a:gd name="T7" fmla="*/ 0 h 11500"/>
                    <a:gd name="T8" fmla="*/ 630 w 19000"/>
                    <a:gd name="T9" fmla="*/ 0 h 11500"/>
                    <a:gd name="T10" fmla="*/ 0 w 19000"/>
                    <a:gd name="T11" fmla="*/ 630 h 11500"/>
                    <a:gd name="T12" fmla="*/ 0 w 19000"/>
                    <a:gd name="T13" fmla="*/ 11499 h 11500"/>
                    <a:gd name="T14" fmla="*/ 18999 w 19000"/>
                    <a:gd name="T15" fmla="*/ 11499 h 11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9000" h="11500">
                      <a:moveTo>
                        <a:pt x="18999" y="11499"/>
                      </a:moveTo>
                      <a:lnTo>
                        <a:pt x="18999" y="11499"/>
                      </a:lnTo>
                      <a:cubicBezTo>
                        <a:pt x="18999" y="630"/>
                        <a:pt x="18999" y="630"/>
                        <a:pt x="18999" y="630"/>
                      </a:cubicBezTo>
                      <a:cubicBezTo>
                        <a:pt x="18999" y="287"/>
                        <a:pt x="18712" y="0"/>
                        <a:pt x="18369" y="0"/>
                      </a:cubicBezTo>
                      <a:cubicBezTo>
                        <a:pt x="630" y="0"/>
                        <a:pt x="630" y="0"/>
                        <a:pt x="630" y="0"/>
                      </a:cubicBezTo>
                      <a:cubicBezTo>
                        <a:pt x="278" y="0"/>
                        <a:pt x="0" y="287"/>
                        <a:pt x="0" y="630"/>
                      </a:cubicBezTo>
                      <a:cubicBezTo>
                        <a:pt x="0" y="11499"/>
                        <a:pt x="0" y="11499"/>
                        <a:pt x="0" y="11499"/>
                      </a:cubicBezTo>
                      <a:lnTo>
                        <a:pt x="18999" y="11499"/>
                      </a:lnTo>
                    </a:path>
                  </a:pathLst>
                </a:custGeom>
                <a:solidFill>
                  <a:srgbClr val="17191D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endParaRPr lang="en-US"/>
                </a:p>
              </p:txBody>
            </p:sp>
            <p:sp>
              <p:nvSpPr>
                <p:cNvPr id="39" name="iṣlïdè">
                  <a:extLst>
                    <a:ext uri="{FF2B5EF4-FFF2-40B4-BE49-F238E27FC236}">
                      <a16:creationId xmlns:a16="http://schemas.microsoft.com/office/drawing/2014/main" xmlns="" id="{E0C77A1A-60FC-463E-8A58-74BEE48CCCE1}"/>
                    </a:ext>
                  </a:extLst>
                </p:cNvPr>
                <p:cNvSpPr/>
                <p:nvPr/>
              </p:nvSpPr>
              <p:spPr bwMode="auto">
                <a:xfrm>
                  <a:off x="3735388" y="6099175"/>
                  <a:ext cx="2513012" cy="833438"/>
                </a:xfrm>
                <a:custGeom>
                  <a:avLst/>
                  <a:gdLst>
                    <a:gd name="T0" fmla="*/ 6924 w 6981"/>
                    <a:gd name="T1" fmla="*/ 2138 h 2315"/>
                    <a:gd name="T2" fmla="*/ 6924 w 6981"/>
                    <a:gd name="T3" fmla="*/ 2138 h 2315"/>
                    <a:gd name="T4" fmla="*/ 6249 w 6981"/>
                    <a:gd name="T5" fmla="*/ 2000 h 2315"/>
                    <a:gd name="T6" fmla="*/ 6036 w 6981"/>
                    <a:gd name="T7" fmla="*/ 1712 h 2315"/>
                    <a:gd name="T8" fmla="*/ 5897 w 6981"/>
                    <a:gd name="T9" fmla="*/ 0 h 2315"/>
                    <a:gd name="T10" fmla="*/ 1074 w 6981"/>
                    <a:gd name="T11" fmla="*/ 0 h 2315"/>
                    <a:gd name="T12" fmla="*/ 944 w 6981"/>
                    <a:gd name="T13" fmla="*/ 1712 h 2315"/>
                    <a:gd name="T14" fmla="*/ 731 w 6981"/>
                    <a:gd name="T15" fmla="*/ 2000 h 2315"/>
                    <a:gd name="T16" fmla="*/ 37 w 6981"/>
                    <a:gd name="T17" fmla="*/ 2148 h 2315"/>
                    <a:gd name="T18" fmla="*/ 0 w 6981"/>
                    <a:gd name="T19" fmla="*/ 2185 h 2315"/>
                    <a:gd name="T20" fmla="*/ 0 w 6981"/>
                    <a:gd name="T21" fmla="*/ 2314 h 2315"/>
                    <a:gd name="T22" fmla="*/ 18 w 6981"/>
                    <a:gd name="T23" fmla="*/ 2314 h 2315"/>
                    <a:gd name="T24" fmla="*/ 6961 w 6981"/>
                    <a:gd name="T25" fmla="*/ 2314 h 2315"/>
                    <a:gd name="T26" fmla="*/ 6980 w 6981"/>
                    <a:gd name="T27" fmla="*/ 2314 h 2315"/>
                    <a:gd name="T28" fmla="*/ 6980 w 6981"/>
                    <a:gd name="T29" fmla="*/ 2185 h 2315"/>
                    <a:gd name="T30" fmla="*/ 6924 w 6981"/>
                    <a:gd name="T31" fmla="*/ 2138 h 23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6981" h="2315">
                      <a:moveTo>
                        <a:pt x="6924" y="2138"/>
                      </a:moveTo>
                      <a:lnTo>
                        <a:pt x="6924" y="2138"/>
                      </a:lnTo>
                      <a:cubicBezTo>
                        <a:pt x="6795" y="2111"/>
                        <a:pt x="6443" y="2037"/>
                        <a:pt x="6249" y="2000"/>
                      </a:cubicBezTo>
                      <a:cubicBezTo>
                        <a:pt x="6008" y="1944"/>
                        <a:pt x="6036" y="1712"/>
                        <a:pt x="6036" y="1712"/>
                      </a:cubicBezTo>
                      <a:cubicBezTo>
                        <a:pt x="5897" y="0"/>
                        <a:pt x="5897" y="0"/>
                        <a:pt x="5897" y="0"/>
                      </a:cubicBezTo>
                      <a:cubicBezTo>
                        <a:pt x="1074" y="0"/>
                        <a:pt x="1074" y="0"/>
                        <a:pt x="1074" y="0"/>
                      </a:cubicBezTo>
                      <a:cubicBezTo>
                        <a:pt x="944" y="1712"/>
                        <a:pt x="944" y="1712"/>
                        <a:pt x="944" y="1712"/>
                      </a:cubicBezTo>
                      <a:cubicBezTo>
                        <a:pt x="944" y="1712"/>
                        <a:pt x="972" y="1944"/>
                        <a:pt x="731" y="2000"/>
                      </a:cubicBezTo>
                      <a:cubicBezTo>
                        <a:pt x="527" y="2046"/>
                        <a:pt x="148" y="2120"/>
                        <a:pt x="37" y="2148"/>
                      </a:cubicBezTo>
                      <a:cubicBezTo>
                        <a:pt x="0" y="2157"/>
                        <a:pt x="0" y="2185"/>
                        <a:pt x="0" y="2185"/>
                      </a:cubicBezTo>
                      <a:cubicBezTo>
                        <a:pt x="0" y="2314"/>
                        <a:pt x="0" y="2314"/>
                        <a:pt x="0" y="2314"/>
                      </a:cubicBezTo>
                      <a:cubicBezTo>
                        <a:pt x="18" y="2314"/>
                        <a:pt x="18" y="2314"/>
                        <a:pt x="18" y="2314"/>
                      </a:cubicBezTo>
                      <a:cubicBezTo>
                        <a:pt x="6961" y="2314"/>
                        <a:pt x="6961" y="2314"/>
                        <a:pt x="6961" y="2314"/>
                      </a:cubicBezTo>
                      <a:cubicBezTo>
                        <a:pt x="6980" y="2314"/>
                        <a:pt x="6980" y="2314"/>
                        <a:pt x="6980" y="2314"/>
                      </a:cubicBezTo>
                      <a:cubicBezTo>
                        <a:pt x="6980" y="2185"/>
                        <a:pt x="6980" y="2185"/>
                        <a:pt x="6980" y="2185"/>
                      </a:cubicBezTo>
                      <a:cubicBezTo>
                        <a:pt x="6980" y="2185"/>
                        <a:pt x="6980" y="2157"/>
                        <a:pt x="6924" y="2138"/>
                      </a:cubicBezTo>
                    </a:path>
                  </a:pathLst>
                </a:custGeom>
                <a:solidFill>
                  <a:srgbClr val="EAEAE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endParaRPr lang="en-US"/>
                </a:p>
              </p:txBody>
            </p:sp>
            <p:sp>
              <p:nvSpPr>
                <p:cNvPr id="40" name="íṣ1idê">
                  <a:extLst>
                    <a:ext uri="{FF2B5EF4-FFF2-40B4-BE49-F238E27FC236}">
                      <a16:creationId xmlns:a16="http://schemas.microsoft.com/office/drawing/2014/main" xmlns="" id="{59593EA2-5527-451F-94A8-3459507FC86B}"/>
                    </a:ext>
                  </a:extLst>
                </p:cNvPr>
                <p:cNvSpPr/>
                <p:nvPr/>
              </p:nvSpPr>
              <p:spPr bwMode="auto">
                <a:xfrm>
                  <a:off x="1554163" y="5343525"/>
                  <a:ext cx="6840537" cy="757238"/>
                </a:xfrm>
                <a:custGeom>
                  <a:avLst/>
                  <a:gdLst>
                    <a:gd name="T0" fmla="*/ 0 w 19000"/>
                    <a:gd name="T1" fmla="*/ 0 h 2103"/>
                    <a:gd name="T2" fmla="*/ 0 w 19000"/>
                    <a:gd name="T3" fmla="*/ 0 h 2103"/>
                    <a:gd name="T4" fmla="*/ 0 w 19000"/>
                    <a:gd name="T5" fmla="*/ 1472 h 2103"/>
                    <a:gd name="T6" fmla="*/ 630 w 19000"/>
                    <a:gd name="T7" fmla="*/ 2102 h 2103"/>
                    <a:gd name="T8" fmla="*/ 18369 w 19000"/>
                    <a:gd name="T9" fmla="*/ 2102 h 2103"/>
                    <a:gd name="T10" fmla="*/ 18999 w 19000"/>
                    <a:gd name="T11" fmla="*/ 1472 h 2103"/>
                    <a:gd name="T12" fmla="*/ 18999 w 19000"/>
                    <a:gd name="T13" fmla="*/ 0 h 2103"/>
                    <a:gd name="T14" fmla="*/ 0 w 19000"/>
                    <a:gd name="T15" fmla="*/ 0 h 2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9000" h="2103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0" y="1472"/>
                        <a:pt x="0" y="1472"/>
                        <a:pt x="0" y="1472"/>
                      </a:cubicBezTo>
                      <a:cubicBezTo>
                        <a:pt x="0" y="1824"/>
                        <a:pt x="278" y="2102"/>
                        <a:pt x="630" y="2102"/>
                      </a:cubicBezTo>
                      <a:cubicBezTo>
                        <a:pt x="18369" y="2102"/>
                        <a:pt x="18369" y="2102"/>
                        <a:pt x="18369" y="2102"/>
                      </a:cubicBezTo>
                      <a:cubicBezTo>
                        <a:pt x="18712" y="2102"/>
                        <a:pt x="18999" y="1824"/>
                        <a:pt x="18999" y="1472"/>
                      </a:cubicBezTo>
                      <a:cubicBezTo>
                        <a:pt x="18999" y="0"/>
                        <a:pt x="18999" y="0"/>
                        <a:pt x="18999" y="0"/>
                      </a:cubicBezTo>
                      <a:lnTo>
                        <a:pt x="0" y="0"/>
                      </a:lnTo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endParaRPr lang="en-US"/>
                </a:p>
              </p:txBody>
            </p:sp>
            <p:sp>
              <p:nvSpPr>
                <p:cNvPr id="41" name="íṣlîḓè">
                  <a:extLst>
                    <a:ext uri="{FF2B5EF4-FFF2-40B4-BE49-F238E27FC236}">
                      <a16:creationId xmlns:a16="http://schemas.microsoft.com/office/drawing/2014/main" xmlns="" id="{0CB31C92-69D7-470D-AA47-19CC3A984083}"/>
                    </a:ext>
                  </a:extLst>
                </p:cNvPr>
                <p:cNvSpPr/>
                <p:nvPr/>
              </p:nvSpPr>
              <p:spPr bwMode="auto">
                <a:xfrm>
                  <a:off x="3735388" y="6872288"/>
                  <a:ext cx="2513012" cy="60325"/>
                </a:xfrm>
                <a:custGeom>
                  <a:avLst/>
                  <a:gdLst>
                    <a:gd name="T0" fmla="*/ 6943 w 6981"/>
                    <a:gd name="T1" fmla="*/ 0 h 167"/>
                    <a:gd name="T2" fmla="*/ 6943 w 6981"/>
                    <a:gd name="T3" fmla="*/ 0 h 167"/>
                    <a:gd name="T4" fmla="*/ 27 w 6981"/>
                    <a:gd name="T5" fmla="*/ 0 h 167"/>
                    <a:gd name="T6" fmla="*/ 0 w 6981"/>
                    <a:gd name="T7" fmla="*/ 37 h 167"/>
                    <a:gd name="T8" fmla="*/ 0 w 6981"/>
                    <a:gd name="T9" fmla="*/ 166 h 167"/>
                    <a:gd name="T10" fmla="*/ 18 w 6981"/>
                    <a:gd name="T11" fmla="*/ 166 h 167"/>
                    <a:gd name="T12" fmla="*/ 6961 w 6981"/>
                    <a:gd name="T13" fmla="*/ 166 h 167"/>
                    <a:gd name="T14" fmla="*/ 6980 w 6981"/>
                    <a:gd name="T15" fmla="*/ 166 h 167"/>
                    <a:gd name="T16" fmla="*/ 6980 w 6981"/>
                    <a:gd name="T17" fmla="*/ 37 h 167"/>
                    <a:gd name="T18" fmla="*/ 6943 w 6981"/>
                    <a:gd name="T19" fmla="*/ 0 h 1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981" h="167">
                      <a:moveTo>
                        <a:pt x="6943" y="0"/>
                      </a:moveTo>
                      <a:lnTo>
                        <a:pt x="6943" y="0"/>
                      </a:ln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0" y="9"/>
                        <a:pt x="0" y="37"/>
                        <a:pt x="0" y="37"/>
                      </a:cubicBezTo>
                      <a:cubicBezTo>
                        <a:pt x="0" y="166"/>
                        <a:pt x="0" y="166"/>
                        <a:pt x="0" y="166"/>
                      </a:cubicBezTo>
                      <a:cubicBezTo>
                        <a:pt x="18" y="166"/>
                        <a:pt x="18" y="166"/>
                        <a:pt x="18" y="166"/>
                      </a:cubicBezTo>
                      <a:cubicBezTo>
                        <a:pt x="6961" y="166"/>
                        <a:pt x="6961" y="166"/>
                        <a:pt x="6961" y="166"/>
                      </a:cubicBezTo>
                      <a:cubicBezTo>
                        <a:pt x="6980" y="166"/>
                        <a:pt x="6980" y="166"/>
                        <a:pt x="6980" y="166"/>
                      </a:cubicBezTo>
                      <a:cubicBezTo>
                        <a:pt x="6980" y="37"/>
                        <a:pt x="6980" y="37"/>
                        <a:pt x="6980" y="37"/>
                      </a:cubicBezTo>
                      <a:cubicBezTo>
                        <a:pt x="6980" y="37"/>
                        <a:pt x="6980" y="18"/>
                        <a:pt x="6943" y="0"/>
                      </a:cubicBezTo>
                    </a:path>
                  </a:pathLst>
                </a:custGeom>
                <a:solidFill>
                  <a:srgbClr val="D1D2D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endParaRPr lang="en-US"/>
                </a:p>
              </p:txBody>
            </p:sp>
            <p:sp>
              <p:nvSpPr>
                <p:cNvPr id="42" name="íSlïḑé">
                  <a:extLst>
                    <a:ext uri="{FF2B5EF4-FFF2-40B4-BE49-F238E27FC236}">
                      <a16:creationId xmlns:a16="http://schemas.microsoft.com/office/drawing/2014/main" xmlns="" id="{C98DB1F2-0B75-4B8C-A0BF-0B1D3483C0BA}"/>
                    </a:ext>
                  </a:extLst>
                </p:cNvPr>
                <p:cNvSpPr/>
                <p:nvPr/>
              </p:nvSpPr>
              <p:spPr bwMode="auto">
                <a:xfrm>
                  <a:off x="1874838" y="1503363"/>
                  <a:ext cx="6196012" cy="3509962"/>
                </a:xfrm>
                <a:custGeom>
                  <a:avLst/>
                  <a:gdLst>
                    <a:gd name="T0" fmla="*/ 17212 w 17213"/>
                    <a:gd name="T1" fmla="*/ 9749 h 9750"/>
                    <a:gd name="T2" fmla="*/ 0 w 17213"/>
                    <a:gd name="T3" fmla="*/ 9749 h 9750"/>
                    <a:gd name="T4" fmla="*/ 0 w 17213"/>
                    <a:gd name="T5" fmla="*/ 0 h 9750"/>
                    <a:gd name="T6" fmla="*/ 17212 w 17213"/>
                    <a:gd name="T7" fmla="*/ 0 h 9750"/>
                    <a:gd name="T8" fmla="*/ 17212 w 17213"/>
                    <a:gd name="T9" fmla="*/ 9749 h 97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213" h="9750">
                      <a:moveTo>
                        <a:pt x="17212" y="9749"/>
                      </a:moveTo>
                      <a:lnTo>
                        <a:pt x="0" y="9749"/>
                      </a:lnTo>
                      <a:lnTo>
                        <a:pt x="0" y="0"/>
                      </a:lnTo>
                      <a:lnTo>
                        <a:pt x="17212" y="0"/>
                      </a:lnTo>
                      <a:lnTo>
                        <a:pt x="17212" y="9749"/>
                      </a:lnTo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29" name="îsļïḋè">
                <a:extLst>
                  <a:ext uri="{FF2B5EF4-FFF2-40B4-BE49-F238E27FC236}">
                    <a16:creationId xmlns:a16="http://schemas.microsoft.com/office/drawing/2014/main" xmlns="" id="{A8F6835A-268C-40F6-8333-4C57ADDC0A83}"/>
                  </a:ext>
                </a:extLst>
              </p:cNvPr>
              <p:cNvSpPr/>
              <p:nvPr/>
            </p:nvSpPr>
            <p:spPr bwMode="auto">
              <a:xfrm>
                <a:off x="7737188" y="2836203"/>
                <a:ext cx="2301721" cy="1458250"/>
              </a:xfrm>
              <a:custGeom>
                <a:avLst/>
                <a:gdLst>
                  <a:gd name="T0" fmla="*/ 2651 w 2808"/>
                  <a:gd name="T1" fmla="*/ 1437 h 1779"/>
                  <a:gd name="T2" fmla="*/ 2608 w 2808"/>
                  <a:gd name="T3" fmla="*/ 1457 h 1779"/>
                  <a:gd name="T4" fmla="*/ 2583 w 2808"/>
                  <a:gd name="T5" fmla="*/ 1371 h 1779"/>
                  <a:gd name="T6" fmla="*/ 2522 w 2808"/>
                  <a:gd name="T7" fmla="*/ 1309 h 1779"/>
                  <a:gd name="T8" fmla="*/ 2439 w 2808"/>
                  <a:gd name="T9" fmla="*/ 1279 h 1779"/>
                  <a:gd name="T10" fmla="*/ 2353 w 2808"/>
                  <a:gd name="T11" fmla="*/ 1292 h 1779"/>
                  <a:gd name="T12" fmla="*/ 2351 w 2808"/>
                  <a:gd name="T13" fmla="*/ 1227 h 1779"/>
                  <a:gd name="T14" fmla="*/ 2339 w 2808"/>
                  <a:gd name="T15" fmla="*/ 1119 h 1779"/>
                  <a:gd name="T16" fmla="*/ 2271 w 2808"/>
                  <a:gd name="T17" fmla="*/ 1007 h 1779"/>
                  <a:gd name="T18" fmla="*/ 2159 w 2808"/>
                  <a:gd name="T19" fmla="*/ 939 h 1779"/>
                  <a:gd name="T20" fmla="*/ 2060 w 2808"/>
                  <a:gd name="T21" fmla="*/ 928 h 1779"/>
                  <a:gd name="T22" fmla="*/ 1980 w 2808"/>
                  <a:gd name="T23" fmla="*/ 944 h 1779"/>
                  <a:gd name="T24" fmla="*/ 1911 w 2808"/>
                  <a:gd name="T25" fmla="*/ 982 h 1779"/>
                  <a:gd name="T26" fmla="*/ 1856 w 2808"/>
                  <a:gd name="T27" fmla="*/ 1039 h 1779"/>
                  <a:gd name="T28" fmla="*/ 1770 w 2808"/>
                  <a:gd name="T29" fmla="*/ 1063 h 1779"/>
                  <a:gd name="T30" fmla="*/ 1663 w 2808"/>
                  <a:gd name="T31" fmla="*/ 1031 h 1779"/>
                  <a:gd name="T32" fmla="*/ 1615 w 2808"/>
                  <a:gd name="T33" fmla="*/ 1037 h 1779"/>
                  <a:gd name="T34" fmla="*/ 1569 w 2808"/>
                  <a:gd name="T35" fmla="*/ 1056 h 1779"/>
                  <a:gd name="T36" fmla="*/ 1519 w 2808"/>
                  <a:gd name="T37" fmla="*/ 969 h 1779"/>
                  <a:gd name="T38" fmla="*/ 1436 w 2808"/>
                  <a:gd name="T39" fmla="*/ 929 h 1779"/>
                  <a:gd name="T40" fmla="*/ 1393 w 2808"/>
                  <a:gd name="T41" fmla="*/ 928 h 1779"/>
                  <a:gd name="T42" fmla="*/ 1355 w 2808"/>
                  <a:gd name="T43" fmla="*/ 936 h 1779"/>
                  <a:gd name="T44" fmla="*/ 1294 w 2808"/>
                  <a:gd name="T45" fmla="*/ 863 h 1779"/>
                  <a:gd name="T46" fmla="*/ 1217 w 2808"/>
                  <a:gd name="T47" fmla="*/ 807 h 1779"/>
                  <a:gd name="T48" fmla="*/ 1127 w 2808"/>
                  <a:gd name="T49" fmla="*/ 774 h 1779"/>
                  <a:gd name="T50" fmla="*/ 1043 w 2808"/>
                  <a:gd name="T51" fmla="*/ 764 h 1779"/>
                  <a:gd name="T52" fmla="*/ 968 w 2808"/>
                  <a:gd name="T53" fmla="*/ 772 h 1779"/>
                  <a:gd name="T54" fmla="*/ 840 w 2808"/>
                  <a:gd name="T55" fmla="*/ 826 h 1779"/>
                  <a:gd name="T56" fmla="*/ 743 w 2808"/>
                  <a:gd name="T57" fmla="*/ 921 h 1779"/>
                  <a:gd name="T58" fmla="*/ 687 w 2808"/>
                  <a:gd name="T59" fmla="*/ 1048 h 1779"/>
                  <a:gd name="T60" fmla="*/ 641 w 2808"/>
                  <a:gd name="T61" fmla="*/ 1077 h 1779"/>
                  <a:gd name="T62" fmla="*/ 536 w 2808"/>
                  <a:gd name="T63" fmla="*/ 1109 h 1779"/>
                  <a:gd name="T64" fmla="*/ 458 w 2808"/>
                  <a:gd name="T65" fmla="*/ 1181 h 1779"/>
                  <a:gd name="T66" fmla="*/ 415 w 2808"/>
                  <a:gd name="T67" fmla="*/ 1280 h 1779"/>
                  <a:gd name="T68" fmla="*/ 364 w 2808"/>
                  <a:gd name="T69" fmla="*/ 1302 h 1779"/>
                  <a:gd name="T70" fmla="*/ 326 w 2808"/>
                  <a:gd name="T71" fmla="*/ 1341 h 1779"/>
                  <a:gd name="T72" fmla="*/ 252 w 2808"/>
                  <a:gd name="T73" fmla="*/ 1309 h 1779"/>
                  <a:gd name="T74" fmla="*/ 180 w 2808"/>
                  <a:gd name="T75" fmla="*/ 1304 h 1779"/>
                  <a:gd name="T76" fmla="*/ 88 w 2808"/>
                  <a:gd name="T77" fmla="*/ 1333 h 1779"/>
                  <a:gd name="T78" fmla="*/ 25 w 2808"/>
                  <a:gd name="T79" fmla="*/ 1393 h 1779"/>
                  <a:gd name="T80" fmla="*/ 0 w 2808"/>
                  <a:gd name="T81" fmla="*/ 1475 h 1779"/>
                  <a:gd name="T82" fmla="*/ 16 w 2808"/>
                  <a:gd name="T83" fmla="*/ 1543 h 1779"/>
                  <a:gd name="T84" fmla="*/ 73 w 2808"/>
                  <a:gd name="T85" fmla="*/ 1608 h 1779"/>
                  <a:gd name="T86" fmla="*/ 160 w 2808"/>
                  <a:gd name="T87" fmla="*/ 1644 h 1779"/>
                  <a:gd name="T88" fmla="*/ 246 w 2808"/>
                  <a:gd name="T89" fmla="*/ 1643 h 1779"/>
                  <a:gd name="T90" fmla="*/ 305 w 2808"/>
                  <a:gd name="T91" fmla="*/ 1672 h 1779"/>
                  <a:gd name="T92" fmla="*/ 591 w 2808"/>
                  <a:gd name="T93" fmla="*/ 1730 h 1779"/>
                  <a:gd name="T94" fmla="*/ 1027 w 2808"/>
                  <a:gd name="T95" fmla="*/ 1767 h 1779"/>
                  <a:gd name="T96" fmla="*/ 1452 w 2808"/>
                  <a:gd name="T97" fmla="*/ 1779 h 1779"/>
                  <a:gd name="T98" fmla="*/ 1926 w 2808"/>
                  <a:gd name="T99" fmla="*/ 1765 h 1779"/>
                  <a:gd name="T100" fmla="*/ 2314 w 2808"/>
                  <a:gd name="T101" fmla="*/ 1730 h 1779"/>
                  <a:gd name="T102" fmla="*/ 2579 w 2808"/>
                  <a:gd name="T103" fmla="*/ 1678 h 1779"/>
                  <a:gd name="T104" fmla="*/ 2664 w 2808"/>
                  <a:gd name="T105" fmla="*/ 1684 h 1779"/>
                  <a:gd name="T106" fmla="*/ 2720 w 2808"/>
                  <a:gd name="T107" fmla="*/ 1680 h 1779"/>
                  <a:gd name="T108" fmla="*/ 2772 w 2808"/>
                  <a:gd name="T109" fmla="*/ 1649 h 1779"/>
                  <a:gd name="T110" fmla="*/ 2803 w 2808"/>
                  <a:gd name="T111" fmla="*/ 1597 h 1779"/>
                  <a:gd name="T112" fmla="*/ 2808 w 2808"/>
                  <a:gd name="T113" fmla="*/ 1546 h 1779"/>
                  <a:gd name="T114" fmla="*/ 2787 w 2808"/>
                  <a:gd name="T115" fmla="*/ 1489 h 1779"/>
                  <a:gd name="T116" fmla="*/ 2742 w 2808"/>
                  <a:gd name="T117" fmla="*/ 1448 h 1779"/>
                  <a:gd name="T118" fmla="*/ 2682 w 2808"/>
                  <a:gd name="T119" fmla="*/ 1433 h 1779"/>
                  <a:gd name="T120" fmla="*/ 886 w 2808"/>
                  <a:gd name="T121" fmla="*/ 1462 h 1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808" h="1779">
                    <a:moveTo>
                      <a:pt x="2682" y="1433"/>
                    </a:moveTo>
                    <a:lnTo>
                      <a:pt x="2682" y="1433"/>
                    </a:lnTo>
                    <a:lnTo>
                      <a:pt x="2671" y="1433"/>
                    </a:lnTo>
                    <a:lnTo>
                      <a:pt x="2661" y="1434"/>
                    </a:lnTo>
                    <a:lnTo>
                      <a:pt x="2651" y="1437"/>
                    </a:lnTo>
                    <a:lnTo>
                      <a:pt x="2643" y="1439"/>
                    </a:lnTo>
                    <a:lnTo>
                      <a:pt x="2633" y="1443"/>
                    </a:lnTo>
                    <a:lnTo>
                      <a:pt x="2624" y="1447"/>
                    </a:lnTo>
                    <a:lnTo>
                      <a:pt x="2608" y="1457"/>
                    </a:lnTo>
                    <a:lnTo>
                      <a:pt x="2608" y="1457"/>
                    </a:lnTo>
                    <a:lnTo>
                      <a:pt x="2605" y="1438"/>
                    </a:lnTo>
                    <a:lnTo>
                      <a:pt x="2603" y="1421"/>
                    </a:lnTo>
                    <a:lnTo>
                      <a:pt x="2597" y="1403"/>
                    </a:lnTo>
                    <a:lnTo>
                      <a:pt x="2590" y="1387"/>
                    </a:lnTo>
                    <a:lnTo>
                      <a:pt x="2583" y="1371"/>
                    </a:lnTo>
                    <a:lnTo>
                      <a:pt x="2573" y="1357"/>
                    </a:lnTo>
                    <a:lnTo>
                      <a:pt x="2562" y="1344"/>
                    </a:lnTo>
                    <a:lnTo>
                      <a:pt x="2549" y="1330"/>
                    </a:lnTo>
                    <a:lnTo>
                      <a:pt x="2537" y="1319"/>
                    </a:lnTo>
                    <a:lnTo>
                      <a:pt x="2522" y="1309"/>
                    </a:lnTo>
                    <a:lnTo>
                      <a:pt x="2507" y="1300"/>
                    </a:lnTo>
                    <a:lnTo>
                      <a:pt x="2491" y="1293"/>
                    </a:lnTo>
                    <a:lnTo>
                      <a:pt x="2475" y="1287"/>
                    </a:lnTo>
                    <a:lnTo>
                      <a:pt x="2457" y="1283"/>
                    </a:lnTo>
                    <a:lnTo>
                      <a:pt x="2439" y="1279"/>
                    </a:lnTo>
                    <a:lnTo>
                      <a:pt x="2420" y="1279"/>
                    </a:lnTo>
                    <a:lnTo>
                      <a:pt x="2420" y="1279"/>
                    </a:lnTo>
                    <a:lnTo>
                      <a:pt x="2398" y="1280"/>
                    </a:lnTo>
                    <a:lnTo>
                      <a:pt x="2374" y="1284"/>
                    </a:lnTo>
                    <a:lnTo>
                      <a:pt x="2353" y="1292"/>
                    </a:lnTo>
                    <a:lnTo>
                      <a:pt x="2333" y="1300"/>
                    </a:lnTo>
                    <a:lnTo>
                      <a:pt x="2333" y="1300"/>
                    </a:lnTo>
                    <a:lnTo>
                      <a:pt x="2341" y="1277"/>
                    </a:lnTo>
                    <a:lnTo>
                      <a:pt x="2347" y="1253"/>
                    </a:lnTo>
                    <a:lnTo>
                      <a:pt x="2351" y="1227"/>
                    </a:lnTo>
                    <a:lnTo>
                      <a:pt x="2352" y="1201"/>
                    </a:lnTo>
                    <a:lnTo>
                      <a:pt x="2352" y="1201"/>
                    </a:lnTo>
                    <a:lnTo>
                      <a:pt x="2351" y="1174"/>
                    </a:lnTo>
                    <a:lnTo>
                      <a:pt x="2346" y="1146"/>
                    </a:lnTo>
                    <a:lnTo>
                      <a:pt x="2339" y="1119"/>
                    </a:lnTo>
                    <a:lnTo>
                      <a:pt x="2329" y="1094"/>
                    </a:lnTo>
                    <a:lnTo>
                      <a:pt x="2318" y="1071"/>
                    </a:lnTo>
                    <a:lnTo>
                      <a:pt x="2305" y="1048"/>
                    </a:lnTo>
                    <a:lnTo>
                      <a:pt x="2288" y="1027"/>
                    </a:lnTo>
                    <a:lnTo>
                      <a:pt x="2271" y="1007"/>
                    </a:lnTo>
                    <a:lnTo>
                      <a:pt x="2251" y="990"/>
                    </a:lnTo>
                    <a:lnTo>
                      <a:pt x="2230" y="974"/>
                    </a:lnTo>
                    <a:lnTo>
                      <a:pt x="2208" y="960"/>
                    </a:lnTo>
                    <a:lnTo>
                      <a:pt x="2184" y="949"/>
                    </a:lnTo>
                    <a:lnTo>
                      <a:pt x="2159" y="939"/>
                    </a:lnTo>
                    <a:lnTo>
                      <a:pt x="2132" y="933"/>
                    </a:lnTo>
                    <a:lnTo>
                      <a:pt x="2106" y="928"/>
                    </a:lnTo>
                    <a:lnTo>
                      <a:pt x="2077" y="926"/>
                    </a:lnTo>
                    <a:lnTo>
                      <a:pt x="2077" y="926"/>
                    </a:lnTo>
                    <a:lnTo>
                      <a:pt x="2060" y="928"/>
                    </a:lnTo>
                    <a:lnTo>
                      <a:pt x="2044" y="929"/>
                    </a:lnTo>
                    <a:lnTo>
                      <a:pt x="2027" y="931"/>
                    </a:lnTo>
                    <a:lnTo>
                      <a:pt x="2011" y="935"/>
                    </a:lnTo>
                    <a:lnTo>
                      <a:pt x="1995" y="939"/>
                    </a:lnTo>
                    <a:lnTo>
                      <a:pt x="1980" y="944"/>
                    </a:lnTo>
                    <a:lnTo>
                      <a:pt x="1965" y="950"/>
                    </a:lnTo>
                    <a:lnTo>
                      <a:pt x="1950" y="957"/>
                    </a:lnTo>
                    <a:lnTo>
                      <a:pt x="1937" y="965"/>
                    </a:lnTo>
                    <a:lnTo>
                      <a:pt x="1923" y="974"/>
                    </a:lnTo>
                    <a:lnTo>
                      <a:pt x="1911" y="982"/>
                    </a:lnTo>
                    <a:lnTo>
                      <a:pt x="1898" y="992"/>
                    </a:lnTo>
                    <a:lnTo>
                      <a:pt x="1887" y="1003"/>
                    </a:lnTo>
                    <a:lnTo>
                      <a:pt x="1876" y="1015"/>
                    </a:lnTo>
                    <a:lnTo>
                      <a:pt x="1865" y="1027"/>
                    </a:lnTo>
                    <a:lnTo>
                      <a:pt x="1856" y="1039"/>
                    </a:lnTo>
                    <a:lnTo>
                      <a:pt x="1683" y="0"/>
                    </a:lnTo>
                    <a:lnTo>
                      <a:pt x="1803" y="1090"/>
                    </a:lnTo>
                    <a:lnTo>
                      <a:pt x="1803" y="1090"/>
                    </a:lnTo>
                    <a:lnTo>
                      <a:pt x="1788" y="1075"/>
                    </a:lnTo>
                    <a:lnTo>
                      <a:pt x="1770" y="1063"/>
                    </a:lnTo>
                    <a:lnTo>
                      <a:pt x="1627" y="68"/>
                    </a:lnTo>
                    <a:lnTo>
                      <a:pt x="1709" y="1036"/>
                    </a:lnTo>
                    <a:lnTo>
                      <a:pt x="1709" y="1036"/>
                    </a:lnTo>
                    <a:lnTo>
                      <a:pt x="1687" y="1032"/>
                    </a:lnTo>
                    <a:lnTo>
                      <a:pt x="1663" y="1031"/>
                    </a:lnTo>
                    <a:lnTo>
                      <a:pt x="1663" y="1031"/>
                    </a:lnTo>
                    <a:lnTo>
                      <a:pt x="1651" y="1031"/>
                    </a:lnTo>
                    <a:lnTo>
                      <a:pt x="1639" y="1032"/>
                    </a:lnTo>
                    <a:lnTo>
                      <a:pt x="1626" y="1034"/>
                    </a:lnTo>
                    <a:lnTo>
                      <a:pt x="1615" y="1037"/>
                    </a:lnTo>
                    <a:lnTo>
                      <a:pt x="1603" y="1041"/>
                    </a:lnTo>
                    <a:lnTo>
                      <a:pt x="1591" y="1046"/>
                    </a:lnTo>
                    <a:lnTo>
                      <a:pt x="1580" y="1051"/>
                    </a:lnTo>
                    <a:lnTo>
                      <a:pt x="1569" y="1056"/>
                    </a:lnTo>
                    <a:lnTo>
                      <a:pt x="1569" y="1056"/>
                    </a:lnTo>
                    <a:lnTo>
                      <a:pt x="1564" y="1036"/>
                    </a:lnTo>
                    <a:lnTo>
                      <a:pt x="1555" y="1017"/>
                    </a:lnTo>
                    <a:lnTo>
                      <a:pt x="1545" y="1000"/>
                    </a:lnTo>
                    <a:lnTo>
                      <a:pt x="1533" y="984"/>
                    </a:lnTo>
                    <a:lnTo>
                      <a:pt x="1519" y="969"/>
                    </a:lnTo>
                    <a:lnTo>
                      <a:pt x="1503" y="956"/>
                    </a:lnTo>
                    <a:lnTo>
                      <a:pt x="1486" y="945"/>
                    </a:lnTo>
                    <a:lnTo>
                      <a:pt x="1467" y="938"/>
                    </a:lnTo>
                    <a:lnTo>
                      <a:pt x="1430" y="253"/>
                    </a:lnTo>
                    <a:lnTo>
                      <a:pt x="1436" y="929"/>
                    </a:lnTo>
                    <a:lnTo>
                      <a:pt x="1436" y="929"/>
                    </a:lnTo>
                    <a:lnTo>
                      <a:pt x="1422" y="928"/>
                    </a:lnTo>
                    <a:lnTo>
                      <a:pt x="1409" y="926"/>
                    </a:lnTo>
                    <a:lnTo>
                      <a:pt x="1409" y="926"/>
                    </a:lnTo>
                    <a:lnTo>
                      <a:pt x="1393" y="928"/>
                    </a:lnTo>
                    <a:lnTo>
                      <a:pt x="1376" y="230"/>
                    </a:lnTo>
                    <a:lnTo>
                      <a:pt x="1361" y="934"/>
                    </a:lnTo>
                    <a:lnTo>
                      <a:pt x="1361" y="934"/>
                    </a:lnTo>
                    <a:lnTo>
                      <a:pt x="1355" y="936"/>
                    </a:lnTo>
                    <a:lnTo>
                      <a:pt x="1355" y="936"/>
                    </a:lnTo>
                    <a:lnTo>
                      <a:pt x="1344" y="920"/>
                    </a:lnTo>
                    <a:lnTo>
                      <a:pt x="1333" y="905"/>
                    </a:lnTo>
                    <a:lnTo>
                      <a:pt x="1320" y="890"/>
                    </a:lnTo>
                    <a:lnTo>
                      <a:pt x="1308" y="877"/>
                    </a:lnTo>
                    <a:lnTo>
                      <a:pt x="1294" y="863"/>
                    </a:lnTo>
                    <a:lnTo>
                      <a:pt x="1279" y="851"/>
                    </a:lnTo>
                    <a:lnTo>
                      <a:pt x="1265" y="838"/>
                    </a:lnTo>
                    <a:lnTo>
                      <a:pt x="1250" y="827"/>
                    </a:lnTo>
                    <a:lnTo>
                      <a:pt x="1234" y="817"/>
                    </a:lnTo>
                    <a:lnTo>
                      <a:pt x="1217" y="807"/>
                    </a:lnTo>
                    <a:lnTo>
                      <a:pt x="1200" y="798"/>
                    </a:lnTo>
                    <a:lnTo>
                      <a:pt x="1183" y="791"/>
                    </a:lnTo>
                    <a:lnTo>
                      <a:pt x="1164" y="785"/>
                    </a:lnTo>
                    <a:lnTo>
                      <a:pt x="1145" y="779"/>
                    </a:lnTo>
                    <a:lnTo>
                      <a:pt x="1127" y="774"/>
                    </a:lnTo>
                    <a:lnTo>
                      <a:pt x="1107" y="770"/>
                    </a:lnTo>
                    <a:lnTo>
                      <a:pt x="1168" y="68"/>
                    </a:lnTo>
                    <a:lnTo>
                      <a:pt x="1056" y="765"/>
                    </a:lnTo>
                    <a:lnTo>
                      <a:pt x="1056" y="765"/>
                    </a:lnTo>
                    <a:lnTo>
                      <a:pt x="1043" y="764"/>
                    </a:lnTo>
                    <a:lnTo>
                      <a:pt x="1043" y="764"/>
                    </a:lnTo>
                    <a:lnTo>
                      <a:pt x="1022" y="765"/>
                    </a:lnTo>
                    <a:lnTo>
                      <a:pt x="1112" y="0"/>
                    </a:lnTo>
                    <a:lnTo>
                      <a:pt x="968" y="772"/>
                    </a:lnTo>
                    <a:lnTo>
                      <a:pt x="968" y="772"/>
                    </a:lnTo>
                    <a:lnTo>
                      <a:pt x="940" y="780"/>
                    </a:lnTo>
                    <a:lnTo>
                      <a:pt x="913" y="789"/>
                    </a:lnTo>
                    <a:lnTo>
                      <a:pt x="888" y="800"/>
                    </a:lnTo>
                    <a:lnTo>
                      <a:pt x="863" y="812"/>
                    </a:lnTo>
                    <a:lnTo>
                      <a:pt x="840" y="826"/>
                    </a:lnTo>
                    <a:lnTo>
                      <a:pt x="817" y="842"/>
                    </a:lnTo>
                    <a:lnTo>
                      <a:pt x="796" y="861"/>
                    </a:lnTo>
                    <a:lnTo>
                      <a:pt x="778" y="879"/>
                    </a:lnTo>
                    <a:lnTo>
                      <a:pt x="759" y="900"/>
                    </a:lnTo>
                    <a:lnTo>
                      <a:pt x="743" y="921"/>
                    </a:lnTo>
                    <a:lnTo>
                      <a:pt x="728" y="945"/>
                    </a:lnTo>
                    <a:lnTo>
                      <a:pt x="714" y="970"/>
                    </a:lnTo>
                    <a:lnTo>
                      <a:pt x="703" y="995"/>
                    </a:lnTo>
                    <a:lnTo>
                      <a:pt x="694" y="1021"/>
                    </a:lnTo>
                    <a:lnTo>
                      <a:pt x="687" y="1048"/>
                    </a:lnTo>
                    <a:lnTo>
                      <a:pt x="682" y="1075"/>
                    </a:lnTo>
                    <a:lnTo>
                      <a:pt x="682" y="1075"/>
                    </a:lnTo>
                    <a:lnTo>
                      <a:pt x="663" y="1075"/>
                    </a:lnTo>
                    <a:lnTo>
                      <a:pt x="663" y="1075"/>
                    </a:lnTo>
                    <a:lnTo>
                      <a:pt x="641" y="1077"/>
                    </a:lnTo>
                    <a:lnTo>
                      <a:pt x="618" y="1079"/>
                    </a:lnTo>
                    <a:lnTo>
                      <a:pt x="596" y="1084"/>
                    </a:lnTo>
                    <a:lnTo>
                      <a:pt x="576" y="1092"/>
                    </a:lnTo>
                    <a:lnTo>
                      <a:pt x="555" y="1099"/>
                    </a:lnTo>
                    <a:lnTo>
                      <a:pt x="536" y="1109"/>
                    </a:lnTo>
                    <a:lnTo>
                      <a:pt x="518" y="1121"/>
                    </a:lnTo>
                    <a:lnTo>
                      <a:pt x="502" y="1134"/>
                    </a:lnTo>
                    <a:lnTo>
                      <a:pt x="486" y="1149"/>
                    </a:lnTo>
                    <a:lnTo>
                      <a:pt x="471" y="1165"/>
                    </a:lnTo>
                    <a:lnTo>
                      <a:pt x="458" y="1181"/>
                    </a:lnTo>
                    <a:lnTo>
                      <a:pt x="446" y="1200"/>
                    </a:lnTo>
                    <a:lnTo>
                      <a:pt x="436" y="1218"/>
                    </a:lnTo>
                    <a:lnTo>
                      <a:pt x="427" y="1238"/>
                    </a:lnTo>
                    <a:lnTo>
                      <a:pt x="420" y="1259"/>
                    </a:lnTo>
                    <a:lnTo>
                      <a:pt x="415" y="1280"/>
                    </a:lnTo>
                    <a:lnTo>
                      <a:pt x="415" y="1280"/>
                    </a:lnTo>
                    <a:lnTo>
                      <a:pt x="401" y="1284"/>
                    </a:lnTo>
                    <a:lnTo>
                      <a:pt x="389" y="1288"/>
                    </a:lnTo>
                    <a:lnTo>
                      <a:pt x="376" y="1294"/>
                    </a:lnTo>
                    <a:lnTo>
                      <a:pt x="364" y="1302"/>
                    </a:lnTo>
                    <a:lnTo>
                      <a:pt x="353" y="1310"/>
                    </a:lnTo>
                    <a:lnTo>
                      <a:pt x="343" y="1319"/>
                    </a:lnTo>
                    <a:lnTo>
                      <a:pt x="334" y="1330"/>
                    </a:lnTo>
                    <a:lnTo>
                      <a:pt x="326" y="1341"/>
                    </a:lnTo>
                    <a:lnTo>
                      <a:pt x="326" y="1341"/>
                    </a:lnTo>
                    <a:lnTo>
                      <a:pt x="313" y="1333"/>
                    </a:lnTo>
                    <a:lnTo>
                      <a:pt x="298" y="1325"/>
                    </a:lnTo>
                    <a:lnTo>
                      <a:pt x="283" y="1319"/>
                    </a:lnTo>
                    <a:lnTo>
                      <a:pt x="268" y="1313"/>
                    </a:lnTo>
                    <a:lnTo>
                      <a:pt x="252" y="1309"/>
                    </a:lnTo>
                    <a:lnTo>
                      <a:pt x="235" y="1305"/>
                    </a:lnTo>
                    <a:lnTo>
                      <a:pt x="217" y="1304"/>
                    </a:lnTo>
                    <a:lnTo>
                      <a:pt x="200" y="1303"/>
                    </a:lnTo>
                    <a:lnTo>
                      <a:pt x="200" y="1303"/>
                    </a:lnTo>
                    <a:lnTo>
                      <a:pt x="180" y="1304"/>
                    </a:lnTo>
                    <a:lnTo>
                      <a:pt x="160" y="1307"/>
                    </a:lnTo>
                    <a:lnTo>
                      <a:pt x="140" y="1310"/>
                    </a:lnTo>
                    <a:lnTo>
                      <a:pt x="121" y="1316"/>
                    </a:lnTo>
                    <a:lnTo>
                      <a:pt x="104" y="1324"/>
                    </a:lnTo>
                    <a:lnTo>
                      <a:pt x="88" y="1333"/>
                    </a:lnTo>
                    <a:lnTo>
                      <a:pt x="73" y="1343"/>
                    </a:lnTo>
                    <a:lnTo>
                      <a:pt x="58" y="1354"/>
                    </a:lnTo>
                    <a:lnTo>
                      <a:pt x="46" y="1366"/>
                    </a:lnTo>
                    <a:lnTo>
                      <a:pt x="34" y="1379"/>
                    </a:lnTo>
                    <a:lnTo>
                      <a:pt x="25" y="1393"/>
                    </a:lnTo>
                    <a:lnTo>
                      <a:pt x="16" y="1408"/>
                    </a:lnTo>
                    <a:lnTo>
                      <a:pt x="8" y="1425"/>
                    </a:lnTo>
                    <a:lnTo>
                      <a:pt x="3" y="1441"/>
                    </a:lnTo>
                    <a:lnTo>
                      <a:pt x="1" y="1458"/>
                    </a:lnTo>
                    <a:lnTo>
                      <a:pt x="0" y="1475"/>
                    </a:lnTo>
                    <a:lnTo>
                      <a:pt x="0" y="1475"/>
                    </a:lnTo>
                    <a:lnTo>
                      <a:pt x="1" y="1493"/>
                    </a:lnTo>
                    <a:lnTo>
                      <a:pt x="3" y="1510"/>
                    </a:lnTo>
                    <a:lnTo>
                      <a:pt x="8" y="1526"/>
                    </a:lnTo>
                    <a:lnTo>
                      <a:pt x="16" y="1543"/>
                    </a:lnTo>
                    <a:lnTo>
                      <a:pt x="25" y="1557"/>
                    </a:lnTo>
                    <a:lnTo>
                      <a:pt x="34" y="1572"/>
                    </a:lnTo>
                    <a:lnTo>
                      <a:pt x="46" y="1585"/>
                    </a:lnTo>
                    <a:lnTo>
                      <a:pt x="58" y="1597"/>
                    </a:lnTo>
                    <a:lnTo>
                      <a:pt x="73" y="1608"/>
                    </a:lnTo>
                    <a:lnTo>
                      <a:pt x="88" y="1618"/>
                    </a:lnTo>
                    <a:lnTo>
                      <a:pt x="104" y="1627"/>
                    </a:lnTo>
                    <a:lnTo>
                      <a:pt x="121" y="1634"/>
                    </a:lnTo>
                    <a:lnTo>
                      <a:pt x="140" y="1641"/>
                    </a:lnTo>
                    <a:lnTo>
                      <a:pt x="160" y="1644"/>
                    </a:lnTo>
                    <a:lnTo>
                      <a:pt x="180" y="1647"/>
                    </a:lnTo>
                    <a:lnTo>
                      <a:pt x="200" y="1648"/>
                    </a:lnTo>
                    <a:lnTo>
                      <a:pt x="200" y="1648"/>
                    </a:lnTo>
                    <a:lnTo>
                      <a:pt x="223" y="1647"/>
                    </a:lnTo>
                    <a:lnTo>
                      <a:pt x="246" y="1643"/>
                    </a:lnTo>
                    <a:lnTo>
                      <a:pt x="246" y="1643"/>
                    </a:lnTo>
                    <a:lnTo>
                      <a:pt x="258" y="1651"/>
                    </a:lnTo>
                    <a:lnTo>
                      <a:pt x="272" y="1658"/>
                    </a:lnTo>
                    <a:lnTo>
                      <a:pt x="288" y="1664"/>
                    </a:lnTo>
                    <a:lnTo>
                      <a:pt x="305" y="1672"/>
                    </a:lnTo>
                    <a:lnTo>
                      <a:pt x="348" y="1684"/>
                    </a:lnTo>
                    <a:lnTo>
                      <a:pt x="399" y="1697"/>
                    </a:lnTo>
                    <a:lnTo>
                      <a:pt x="456" y="1709"/>
                    </a:lnTo>
                    <a:lnTo>
                      <a:pt x="520" y="1720"/>
                    </a:lnTo>
                    <a:lnTo>
                      <a:pt x="591" y="1730"/>
                    </a:lnTo>
                    <a:lnTo>
                      <a:pt x="667" y="1740"/>
                    </a:lnTo>
                    <a:lnTo>
                      <a:pt x="750" y="1749"/>
                    </a:lnTo>
                    <a:lnTo>
                      <a:pt x="838" y="1756"/>
                    </a:lnTo>
                    <a:lnTo>
                      <a:pt x="930" y="1762"/>
                    </a:lnTo>
                    <a:lnTo>
                      <a:pt x="1027" y="1767"/>
                    </a:lnTo>
                    <a:lnTo>
                      <a:pt x="1129" y="1772"/>
                    </a:lnTo>
                    <a:lnTo>
                      <a:pt x="1234" y="1776"/>
                    </a:lnTo>
                    <a:lnTo>
                      <a:pt x="1342" y="1777"/>
                    </a:lnTo>
                    <a:lnTo>
                      <a:pt x="1452" y="1779"/>
                    </a:lnTo>
                    <a:lnTo>
                      <a:pt x="1452" y="1779"/>
                    </a:lnTo>
                    <a:lnTo>
                      <a:pt x="1552" y="1777"/>
                    </a:lnTo>
                    <a:lnTo>
                      <a:pt x="1650" y="1776"/>
                    </a:lnTo>
                    <a:lnTo>
                      <a:pt x="1744" y="1774"/>
                    </a:lnTo>
                    <a:lnTo>
                      <a:pt x="1836" y="1770"/>
                    </a:lnTo>
                    <a:lnTo>
                      <a:pt x="1926" y="1765"/>
                    </a:lnTo>
                    <a:lnTo>
                      <a:pt x="2011" y="1760"/>
                    </a:lnTo>
                    <a:lnTo>
                      <a:pt x="2093" y="1754"/>
                    </a:lnTo>
                    <a:lnTo>
                      <a:pt x="2172" y="1746"/>
                    </a:lnTo>
                    <a:lnTo>
                      <a:pt x="2245" y="1739"/>
                    </a:lnTo>
                    <a:lnTo>
                      <a:pt x="2314" y="1730"/>
                    </a:lnTo>
                    <a:lnTo>
                      <a:pt x="2378" y="1721"/>
                    </a:lnTo>
                    <a:lnTo>
                      <a:pt x="2436" y="1712"/>
                    </a:lnTo>
                    <a:lnTo>
                      <a:pt x="2490" y="1700"/>
                    </a:lnTo>
                    <a:lnTo>
                      <a:pt x="2537" y="1689"/>
                    </a:lnTo>
                    <a:lnTo>
                      <a:pt x="2579" y="1678"/>
                    </a:lnTo>
                    <a:lnTo>
                      <a:pt x="2614" y="1666"/>
                    </a:lnTo>
                    <a:lnTo>
                      <a:pt x="2614" y="1666"/>
                    </a:lnTo>
                    <a:lnTo>
                      <a:pt x="2629" y="1674"/>
                    </a:lnTo>
                    <a:lnTo>
                      <a:pt x="2645" y="1680"/>
                    </a:lnTo>
                    <a:lnTo>
                      <a:pt x="2664" y="1684"/>
                    </a:lnTo>
                    <a:lnTo>
                      <a:pt x="2682" y="1685"/>
                    </a:lnTo>
                    <a:lnTo>
                      <a:pt x="2682" y="1685"/>
                    </a:lnTo>
                    <a:lnTo>
                      <a:pt x="2695" y="1685"/>
                    </a:lnTo>
                    <a:lnTo>
                      <a:pt x="2707" y="1683"/>
                    </a:lnTo>
                    <a:lnTo>
                      <a:pt x="2720" y="1680"/>
                    </a:lnTo>
                    <a:lnTo>
                      <a:pt x="2731" y="1675"/>
                    </a:lnTo>
                    <a:lnTo>
                      <a:pt x="2742" y="1671"/>
                    </a:lnTo>
                    <a:lnTo>
                      <a:pt x="2752" y="1664"/>
                    </a:lnTo>
                    <a:lnTo>
                      <a:pt x="2762" y="1657"/>
                    </a:lnTo>
                    <a:lnTo>
                      <a:pt x="2772" y="1649"/>
                    </a:lnTo>
                    <a:lnTo>
                      <a:pt x="2779" y="1639"/>
                    </a:lnTo>
                    <a:lnTo>
                      <a:pt x="2787" y="1630"/>
                    </a:lnTo>
                    <a:lnTo>
                      <a:pt x="2793" y="1620"/>
                    </a:lnTo>
                    <a:lnTo>
                      <a:pt x="2798" y="1608"/>
                    </a:lnTo>
                    <a:lnTo>
                      <a:pt x="2803" y="1597"/>
                    </a:lnTo>
                    <a:lnTo>
                      <a:pt x="2805" y="1585"/>
                    </a:lnTo>
                    <a:lnTo>
                      <a:pt x="2808" y="1572"/>
                    </a:lnTo>
                    <a:lnTo>
                      <a:pt x="2808" y="1559"/>
                    </a:lnTo>
                    <a:lnTo>
                      <a:pt x="2808" y="1559"/>
                    </a:lnTo>
                    <a:lnTo>
                      <a:pt x="2808" y="1546"/>
                    </a:lnTo>
                    <a:lnTo>
                      <a:pt x="2805" y="1534"/>
                    </a:lnTo>
                    <a:lnTo>
                      <a:pt x="2803" y="1521"/>
                    </a:lnTo>
                    <a:lnTo>
                      <a:pt x="2798" y="1510"/>
                    </a:lnTo>
                    <a:lnTo>
                      <a:pt x="2793" y="1499"/>
                    </a:lnTo>
                    <a:lnTo>
                      <a:pt x="2787" y="1489"/>
                    </a:lnTo>
                    <a:lnTo>
                      <a:pt x="2779" y="1479"/>
                    </a:lnTo>
                    <a:lnTo>
                      <a:pt x="2772" y="1469"/>
                    </a:lnTo>
                    <a:lnTo>
                      <a:pt x="2762" y="1462"/>
                    </a:lnTo>
                    <a:lnTo>
                      <a:pt x="2752" y="1454"/>
                    </a:lnTo>
                    <a:lnTo>
                      <a:pt x="2742" y="1448"/>
                    </a:lnTo>
                    <a:lnTo>
                      <a:pt x="2731" y="1443"/>
                    </a:lnTo>
                    <a:lnTo>
                      <a:pt x="2720" y="1438"/>
                    </a:lnTo>
                    <a:lnTo>
                      <a:pt x="2707" y="1436"/>
                    </a:lnTo>
                    <a:lnTo>
                      <a:pt x="2695" y="1433"/>
                    </a:lnTo>
                    <a:lnTo>
                      <a:pt x="2682" y="1433"/>
                    </a:lnTo>
                    <a:close/>
                    <a:moveTo>
                      <a:pt x="878" y="1462"/>
                    </a:moveTo>
                    <a:lnTo>
                      <a:pt x="878" y="1462"/>
                    </a:lnTo>
                    <a:lnTo>
                      <a:pt x="881" y="1459"/>
                    </a:lnTo>
                    <a:lnTo>
                      <a:pt x="881" y="1459"/>
                    </a:lnTo>
                    <a:lnTo>
                      <a:pt x="886" y="1462"/>
                    </a:lnTo>
                    <a:lnTo>
                      <a:pt x="886" y="1462"/>
                    </a:lnTo>
                    <a:lnTo>
                      <a:pt x="878" y="146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0" name="íṣḷiḑè">
                <a:extLst>
                  <a:ext uri="{FF2B5EF4-FFF2-40B4-BE49-F238E27FC236}">
                    <a16:creationId xmlns:a16="http://schemas.microsoft.com/office/drawing/2014/main" xmlns="" id="{55428F92-AC70-4A79-AA47-6789CCEE830B}"/>
                  </a:ext>
                </a:extLst>
              </p:cNvPr>
              <p:cNvSpPr/>
              <p:nvPr/>
            </p:nvSpPr>
            <p:spPr bwMode="auto">
              <a:xfrm>
                <a:off x="9001166" y="2275029"/>
                <a:ext cx="154924" cy="390998"/>
              </a:xfrm>
              <a:custGeom>
                <a:avLst/>
                <a:gdLst>
                  <a:gd name="T0" fmla="*/ 66 w 190"/>
                  <a:gd name="T1" fmla="*/ 13 h 475"/>
                  <a:gd name="T2" fmla="*/ 66 w 190"/>
                  <a:gd name="T3" fmla="*/ 13 h 475"/>
                  <a:gd name="T4" fmla="*/ 63 w 190"/>
                  <a:gd name="T5" fmla="*/ 34 h 475"/>
                  <a:gd name="T6" fmla="*/ 61 w 190"/>
                  <a:gd name="T7" fmla="*/ 57 h 475"/>
                  <a:gd name="T8" fmla="*/ 53 w 190"/>
                  <a:gd name="T9" fmla="*/ 110 h 475"/>
                  <a:gd name="T10" fmla="*/ 42 w 190"/>
                  <a:gd name="T11" fmla="*/ 167 h 475"/>
                  <a:gd name="T12" fmla="*/ 31 w 190"/>
                  <a:gd name="T13" fmla="*/ 223 h 475"/>
                  <a:gd name="T14" fmla="*/ 8 w 190"/>
                  <a:gd name="T15" fmla="*/ 317 h 475"/>
                  <a:gd name="T16" fmla="*/ 0 w 190"/>
                  <a:gd name="T17" fmla="*/ 356 h 475"/>
                  <a:gd name="T18" fmla="*/ 0 w 190"/>
                  <a:gd name="T19" fmla="*/ 356 h 475"/>
                  <a:gd name="T20" fmla="*/ 10 w 190"/>
                  <a:gd name="T21" fmla="*/ 348 h 475"/>
                  <a:gd name="T22" fmla="*/ 20 w 190"/>
                  <a:gd name="T23" fmla="*/ 343 h 475"/>
                  <a:gd name="T24" fmla="*/ 28 w 190"/>
                  <a:gd name="T25" fmla="*/ 339 h 475"/>
                  <a:gd name="T26" fmla="*/ 37 w 190"/>
                  <a:gd name="T27" fmla="*/ 337 h 475"/>
                  <a:gd name="T28" fmla="*/ 46 w 190"/>
                  <a:gd name="T29" fmla="*/ 336 h 475"/>
                  <a:gd name="T30" fmla="*/ 53 w 190"/>
                  <a:gd name="T31" fmla="*/ 336 h 475"/>
                  <a:gd name="T32" fmla="*/ 59 w 190"/>
                  <a:gd name="T33" fmla="*/ 337 h 475"/>
                  <a:gd name="T34" fmla="*/ 66 w 190"/>
                  <a:gd name="T35" fmla="*/ 338 h 475"/>
                  <a:gd name="T36" fmla="*/ 72 w 190"/>
                  <a:gd name="T37" fmla="*/ 342 h 475"/>
                  <a:gd name="T38" fmla="*/ 78 w 190"/>
                  <a:gd name="T39" fmla="*/ 346 h 475"/>
                  <a:gd name="T40" fmla="*/ 83 w 190"/>
                  <a:gd name="T41" fmla="*/ 351 h 475"/>
                  <a:gd name="T42" fmla="*/ 87 w 190"/>
                  <a:gd name="T43" fmla="*/ 357 h 475"/>
                  <a:gd name="T44" fmla="*/ 95 w 190"/>
                  <a:gd name="T45" fmla="*/ 369 h 475"/>
                  <a:gd name="T46" fmla="*/ 102 w 190"/>
                  <a:gd name="T47" fmla="*/ 384 h 475"/>
                  <a:gd name="T48" fmla="*/ 107 w 190"/>
                  <a:gd name="T49" fmla="*/ 399 h 475"/>
                  <a:gd name="T50" fmla="*/ 112 w 190"/>
                  <a:gd name="T51" fmla="*/ 415 h 475"/>
                  <a:gd name="T52" fmla="*/ 114 w 190"/>
                  <a:gd name="T53" fmla="*/ 430 h 475"/>
                  <a:gd name="T54" fmla="*/ 117 w 190"/>
                  <a:gd name="T55" fmla="*/ 444 h 475"/>
                  <a:gd name="T56" fmla="*/ 118 w 190"/>
                  <a:gd name="T57" fmla="*/ 466 h 475"/>
                  <a:gd name="T58" fmla="*/ 119 w 190"/>
                  <a:gd name="T59" fmla="*/ 475 h 475"/>
                  <a:gd name="T60" fmla="*/ 119 w 190"/>
                  <a:gd name="T61" fmla="*/ 475 h 475"/>
                  <a:gd name="T62" fmla="*/ 135 w 190"/>
                  <a:gd name="T63" fmla="*/ 421 h 475"/>
                  <a:gd name="T64" fmla="*/ 149 w 190"/>
                  <a:gd name="T65" fmla="*/ 372 h 475"/>
                  <a:gd name="T66" fmla="*/ 161 w 190"/>
                  <a:gd name="T67" fmla="*/ 327 h 475"/>
                  <a:gd name="T68" fmla="*/ 170 w 190"/>
                  <a:gd name="T69" fmla="*/ 286 h 475"/>
                  <a:gd name="T70" fmla="*/ 177 w 190"/>
                  <a:gd name="T71" fmla="*/ 248 h 475"/>
                  <a:gd name="T72" fmla="*/ 184 w 190"/>
                  <a:gd name="T73" fmla="*/ 213 h 475"/>
                  <a:gd name="T74" fmla="*/ 187 w 190"/>
                  <a:gd name="T75" fmla="*/ 182 h 475"/>
                  <a:gd name="T76" fmla="*/ 190 w 190"/>
                  <a:gd name="T77" fmla="*/ 153 h 475"/>
                  <a:gd name="T78" fmla="*/ 190 w 190"/>
                  <a:gd name="T79" fmla="*/ 128 h 475"/>
                  <a:gd name="T80" fmla="*/ 189 w 190"/>
                  <a:gd name="T81" fmla="*/ 106 h 475"/>
                  <a:gd name="T82" fmla="*/ 187 w 190"/>
                  <a:gd name="T83" fmla="*/ 86 h 475"/>
                  <a:gd name="T84" fmla="*/ 184 w 190"/>
                  <a:gd name="T85" fmla="*/ 70 h 475"/>
                  <a:gd name="T86" fmla="*/ 180 w 190"/>
                  <a:gd name="T87" fmla="*/ 55 h 475"/>
                  <a:gd name="T88" fmla="*/ 175 w 190"/>
                  <a:gd name="T89" fmla="*/ 41 h 475"/>
                  <a:gd name="T90" fmla="*/ 169 w 190"/>
                  <a:gd name="T91" fmla="*/ 31 h 475"/>
                  <a:gd name="T92" fmla="*/ 163 w 190"/>
                  <a:gd name="T93" fmla="*/ 23 h 475"/>
                  <a:gd name="T94" fmla="*/ 155 w 190"/>
                  <a:gd name="T95" fmla="*/ 15 h 475"/>
                  <a:gd name="T96" fmla="*/ 148 w 190"/>
                  <a:gd name="T97" fmla="*/ 10 h 475"/>
                  <a:gd name="T98" fmla="*/ 139 w 190"/>
                  <a:gd name="T99" fmla="*/ 5 h 475"/>
                  <a:gd name="T100" fmla="*/ 131 w 190"/>
                  <a:gd name="T101" fmla="*/ 3 h 475"/>
                  <a:gd name="T102" fmla="*/ 123 w 190"/>
                  <a:gd name="T103" fmla="*/ 2 h 475"/>
                  <a:gd name="T104" fmla="*/ 115 w 190"/>
                  <a:gd name="T105" fmla="*/ 0 h 475"/>
                  <a:gd name="T106" fmla="*/ 100 w 190"/>
                  <a:gd name="T107" fmla="*/ 2 h 475"/>
                  <a:gd name="T108" fmla="*/ 86 w 190"/>
                  <a:gd name="T109" fmla="*/ 4 h 475"/>
                  <a:gd name="T110" fmla="*/ 76 w 190"/>
                  <a:gd name="T111" fmla="*/ 8 h 475"/>
                  <a:gd name="T112" fmla="*/ 66 w 190"/>
                  <a:gd name="T113" fmla="*/ 13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90" h="475">
                    <a:moveTo>
                      <a:pt x="66" y="13"/>
                    </a:moveTo>
                    <a:lnTo>
                      <a:pt x="66" y="13"/>
                    </a:lnTo>
                    <a:lnTo>
                      <a:pt x="63" y="34"/>
                    </a:lnTo>
                    <a:lnTo>
                      <a:pt x="61" y="57"/>
                    </a:lnTo>
                    <a:lnTo>
                      <a:pt x="53" y="110"/>
                    </a:lnTo>
                    <a:lnTo>
                      <a:pt x="42" y="167"/>
                    </a:lnTo>
                    <a:lnTo>
                      <a:pt x="31" y="223"/>
                    </a:lnTo>
                    <a:lnTo>
                      <a:pt x="8" y="317"/>
                    </a:lnTo>
                    <a:lnTo>
                      <a:pt x="0" y="356"/>
                    </a:lnTo>
                    <a:lnTo>
                      <a:pt x="0" y="356"/>
                    </a:lnTo>
                    <a:lnTo>
                      <a:pt x="10" y="348"/>
                    </a:lnTo>
                    <a:lnTo>
                      <a:pt x="20" y="343"/>
                    </a:lnTo>
                    <a:lnTo>
                      <a:pt x="28" y="339"/>
                    </a:lnTo>
                    <a:lnTo>
                      <a:pt x="37" y="337"/>
                    </a:lnTo>
                    <a:lnTo>
                      <a:pt x="46" y="336"/>
                    </a:lnTo>
                    <a:lnTo>
                      <a:pt x="53" y="336"/>
                    </a:lnTo>
                    <a:lnTo>
                      <a:pt x="59" y="337"/>
                    </a:lnTo>
                    <a:lnTo>
                      <a:pt x="66" y="338"/>
                    </a:lnTo>
                    <a:lnTo>
                      <a:pt x="72" y="342"/>
                    </a:lnTo>
                    <a:lnTo>
                      <a:pt x="78" y="346"/>
                    </a:lnTo>
                    <a:lnTo>
                      <a:pt x="83" y="351"/>
                    </a:lnTo>
                    <a:lnTo>
                      <a:pt x="87" y="357"/>
                    </a:lnTo>
                    <a:lnTo>
                      <a:pt x="95" y="369"/>
                    </a:lnTo>
                    <a:lnTo>
                      <a:pt x="102" y="384"/>
                    </a:lnTo>
                    <a:lnTo>
                      <a:pt x="107" y="399"/>
                    </a:lnTo>
                    <a:lnTo>
                      <a:pt x="112" y="415"/>
                    </a:lnTo>
                    <a:lnTo>
                      <a:pt x="114" y="430"/>
                    </a:lnTo>
                    <a:lnTo>
                      <a:pt x="117" y="444"/>
                    </a:lnTo>
                    <a:lnTo>
                      <a:pt x="118" y="466"/>
                    </a:lnTo>
                    <a:lnTo>
                      <a:pt x="119" y="475"/>
                    </a:lnTo>
                    <a:lnTo>
                      <a:pt x="119" y="475"/>
                    </a:lnTo>
                    <a:lnTo>
                      <a:pt x="135" y="421"/>
                    </a:lnTo>
                    <a:lnTo>
                      <a:pt x="149" y="372"/>
                    </a:lnTo>
                    <a:lnTo>
                      <a:pt x="161" y="327"/>
                    </a:lnTo>
                    <a:lnTo>
                      <a:pt x="170" y="286"/>
                    </a:lnTo>
                    <a:lnTo>
                      <a:pt x="177" y="248"/>
                    </a:lnTo>
                    <a:lnTo>
                      <a:pt x="184" y="213"/>
                    </a:lnTo>
                    <a:lnTo>
                      <a:pt x="187" y="182"/>
                    </a:lnTo>
                    <a:lnTo>
                      <a:pt x="190" y="153"/>
                    </a:lnTo>
                    <a:lnTo>
                      <a:pt x="190" y="128"/>
                    </a:lnTo>
                    <a:lnTo>
                      <a:pt x="189" y="106"/>
                    </a:lnTo>
                    <a:lnTo>
                      <a:pt x="187" y="86"/>
                    </a:lnTo>
                    <a:lnTo>
                      <a:pt x="184" y="70"/>
                    </a:lnTo>
                    <a:lnTo>
                      <a:pt x="180" y="55"/>
                    </a:lnTo>
                    <a:lnTo>
                      <a:pt x="175" y="41"/>
                    </a:lnTo>
                    <a:lnTo>
                      <a:pt x="169" y="31"/>
                    </a:lnTo>
                    <a:lnTo>
                      <a:pt x="163" y="23"/>
                    </a:lnTo>
                    <a:lnTo>
                      <a:pt x="155" y="15"/>
                    </a:lnTo>
                    <a:lnTo>
                      <a:pt x="148" y="10"/>
                    </a:lnTo>
                    <a:lnTo>
                      <a:pt x="139" y="5"/>
                    </a:lnTo>
                    <a:lnTo>
                      <a:pt x="131" y="3"/>
                    </a:lnTo>
                    <a:lnTo>
                      <a:pt x="123" y="2"/>
                    </a:lnTo>
                    <a:lnTo>
                      <a:pt x="115" y="0"/>
                    </a:lnTo>
                    <a:lnTo>
                      <a:pt x="100" y="2"/>
                    </a:lnTo>
                    <a:lnTo>
                      <a:pt x="86" y="4"/>
                    </a:lnTo>
                    <a:lnTo>
                      <a:pt x="76" y="8"/>
                    </a:lnTo>
                    <a:lnTo>
                      <a:pt x="66" y="1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1" name="ïṣlíďè">
                <a:extLst>
                  <a:ext uri="{FF2B5EF4-FFF2-40B4-BE49-F238E27FC236}">
                    <a16:creationId xmlns:a16="http://schemas.microsoft.com/office/drawing/2014/main" xmlns="" id="{325025FA-492A-43AD-836D-600D169910DB}"/>
                  </a:ext>
                </a:extLst>
              </p:cNvPr>
              <p:cNvSpPr/>
              <p:nvPr/>
            </p:nvSpPr>
            <p:spPr bwMode="auto">
              <a:xfrm>
                <a:off x="9001166" y="2275029"/>
                <a:ext cx="154924" cy="390998"/>
              </a:xfrm>
              <a:custGeom>
                <a:avLst/>
                <a:gdLst>
                  <a:gd name="T0" fmla="*/ 66 w 190"/>
                  <a:gd name="T1" fmla="*/ 13 h 475"/>
                  <a:gd name="T2" fmla="*/ 66 w 190"/>
                  <a:gd name="T3" fmla="*/ 13 h 475"/>
                  <a:gd name="T4" fmla="*/ 63 w 190"/>
                  <a:gd name="T5" fmla="*/ 34 h 475"/>
                  <a:gd name="T6" fmla="*/ 61 w 190"/>
                  <a:gd name="T7" fmla="*/ 57 h 475"/>
                  <a:gd name="T8" fmla="*/ 53 w 190"/>
                  <a:gd name="T9" fmla="*/ 110 h 475"/>
                  <a:gd name="T10" fmla="*/ 42 w 190"/>
                  <a:gd name="T11" fmla="*/ 167 h 475"/>
                  <a:gd name="T12" fmla="*/ 31 w 190"/>
                  <a:gd name="T13" fmla="*/ 223 h 475"/>
                  <a:gd name="T14" fmla="*/ 8 w 190"/>
                  <a:gd name="T15" fmla="*/ 317 h 475"/>
                  <a:gd name="T16" fmla="*/ 0 w 190"/>
                  <a:gd name="T17" fmla="*/ 356 h 475"/>
                  <a:gd name="T18" fmla="*/ 0 w 190"/>
                  <a:gd name="T19" fmla="*/ 356 h 475"/>
                  <a:gd name="T20" fmla="*/ 10 w 190"/>
                  <a:gd name="T21" fmla="*/ 348 h 475"/>
                  <a:gd name="T22" fmla="*/ 20 w 190"/>
                  <a:gd name="T23" fmla="*/ 343 h 475"/>
                  <a:gd name="T24" fmla="*/ 28 w 190"/>
                  <a:gd name="T25" fmla="*/ 339 h 475"/>
                  <a:gd name="T26" fmla="*/ 37 w 190"/>
                  <a:gd name="T27" fmla="*/ 337 h 475"/>
                  <a:gd name="T28" fmla="*/ 46 w 190"/>
                  <a:gd name="T29" fmla="*/ 336 h 475"/>
                  <a:gd name="T30" fmla="*/ 53 w 190"/>
                  <a:gd name="T31" fmla="*/ 336 h 475"/>
                  <a:gd name="T32" fmla="*/ 59 w 190"/>
                  <a:gd name="T33" fmla="*/ 337 h 475"/>
                  <a:gd name="T34" fmla="*/ 66 w 190"/>
                  <a:gd name="T35" fmla="*/ 338 h 475"/>
                  <a:gd name="T36" fmla="*/ 72 w 190"/>
                  <a:gd name="T37" fmla="*/ 342 h 475"/>
                  <a:gd name="T38" fmla="*/ 78 w 190"/>
                  <a:gd name="T39" fmla="*/ 346 h 475"/>
                  <a:gd name="T40" fmla="*/ 83 w 190"/>
                  <a:gd name="T41" fmla="*/ 351 h 475"/>
                  <a:gd name="T42" fmla="*/ 87 w 190"/>
                  <a:gd name="T43" fmla="*/ 357 h 475"/>
                  <a:gd name="T44" fmla="*/ 95 w 190"/>
                  <a:gd name="T45" fmla="*/ 369 h 475"/>
                  <a:gd name="T46" fmla="*/ 102 w 190"/>
                  <a:gd name="T47" fmla="*/ 384 h 475"/>
                  <a:gd name="T48" fmla="*/ 107 w 190"/>
                  <a:gd name="T49" fmla="*/ 399 h 475"/>
                  <a:gd name="T50" fmla="*/ 112 w 190"/>
                  <a:gd name="T51" fmla="*/ 415 h 475"/>
                  <a:gd name="T52" fmla="*/ 114 w 190"/>
                  <a:gd name="T53" fmla="*/ 430 h 475"/>
                  <a:gd name="T54" fmla="*/ 117 w 190"/>
                  <a:gd name="T55" fmla="*/ 444 h 475"/>
                  <a:gd name="T56" fmla="*/ 118 w 190"/>
                  <a:gd name="T57" fmla="*/ 466 h 475"/>
                  <a:gd name="T58" fmla="*/ 119 w 190"/>
                  <a:gd name="T59" fmla="*/ 475 h 475"/>
                  <a:gd name="T60" fmla="*/ 119 w 190"/>
                  <a:gd name="T61" fmla="*/ 475 h 475"/>
                  <a:gd name="T62" fmla="*/ 135 w 190"/>
                  <a:gd name="T63" fmla="*/ 421 h 475"/>
                  <a:gd name="T64" fmla="*/ 149 w 190"/>
                  <a:gd name="T65" fmla="*/ 372 h 475"/>
                  <a:gd name="T66" fmla="*/ 161 w 190"/>
                  <a:gd name="T67" fmla="*/ 327 h 475"/>
                  <a:gd name="T68" fmla="*/ 170 w 190"/>
                  <a:gd name="T69" fmla="*/ 286 h 475"/>
                  <a:gd name="T70" fmla="*/ 177 w 190"/>
                  <a:gd name="T71" fmla="*/ 248 h 475"/>
                  <a:gd name="T72" fmla="*/ 184 w 190"/>
                  <a:gd name="T73" fmla="*/ 213 h 475"/>
                  <a:gd name="T74" fmla="*/ 187 w 190"/>
                  <a:gd name="T75" fmla="*/ 182 h 475"/>
                  <a:gd name="T76" fmla="*/ 190 w 190"/>
                  <a:gd name="T77" fmla="*/ 153 h 475"/>
                  <a:gd name="T78" fmla="*/ 190 w 190"/>
                  <a:gd name="T79" fmla="*/ 128 h 475"/>
                  <a:gd name="T80" fmla="*/ 189 w 190"/>
                  <a:gd name="T81" fmla="*/ 106 h 475"/>
                  <a:gd name="T82" fmla="*/ 187 w 190"/>
                  <a:gd name="T83" fmla="*/ 86 h 475"/>
                  <a:gd name="T84" fmla="*/ 184 w 190"/>
                  <a:gd name="T85" fmla="*/ 70 h 475"/>
                  <a:gd name="T86" fmla="*/ 180 w 190"/>
                  <a:gd name="T87" fmla="*/ 55 h 475"/>
                  <a:gd name="T88" fmla="*/ 175 w 190"/>
                  <a:gd name="T89" fmla="*/ 41 h 475"/>
                  <a:gd name="T90" fmla="*/ 169 w 190"/>
                  <a:gd name="T91" fmla="*/ 31 h 475"/>
                  <a:gd name="T92" fmla="*/ 163 w 190"/>
                  <a:gd name="T93" fmla="*/ 23 h 475"/>
                  <a:gd name="T94" fmla="*/ 155 w 190"/>
                  <a:gd name="T95" fmla="*/ 15 h 475"/>
                  <a:gd name="T96" fmla="*/ 148 w 190"/>
                  <a:gd name="T97" fmla="*/ 10 h 475"/>
                  <a:gd name="T98" fmla="*/ 139 w 190"/>
                  <a:gd name="T99" fmla="*/ 5 h 475"/>
                  <a:gd name="T100" fmla="*/ 131 w 190"/>
                  <a:gd name="T101" fmla="*/ 3 h 475"/>
                  <a:gd name="T102" fmla="*/ 123 w 190"/>
                  <a:gd name="T103" fmla="*/ 2 h 475"/>
                  <a:gd name="T104" fmla="*/ 115 w 190"/>
                  <a:gd name="T105" fmla="*/ 0 h 475"/>
                  <a:gd name="T106" fmla="*/ 100 w 190"/>
                  <a:gd name="T107" fmla="*/ 2 h 475"/>
                  <a:gd name="T108" fmla="*/ 86 w 190"/>
                  <a:gd name="T109" fmla="*/ 4 h 475"/>
                  <a:gd name="T110" fmla="*/ 76 w 190"/>
                  <a:gd name="T111" fmla="*/ 8 h 475"/>
                  <a:gd name="T112" fmla="*/ 66 w 190"/>
                  <a:gd name="T113" fmla="*/ 13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90" h="475">
                    <a:moveTo>
                      <a:pt x="66" y="13"/>
                    </a:moveTo>
                    <a:lnTo>
                      <a:pt x="66" y="13"/>
                    </a:lnTo>
                    <a:lnTo>
                      <a:pt x="63" y="34"/>
                    </a:lnTo>
                    <a:lnTo>
                      <a:pt x="61" y="57"/>
                    </a:lnTo>
                    <a:lnTo>
                      <a:pt x="53" y="110"/>
                    </a:lnTo>
                    <a:lnTo>
                      <a:pt x="42" y="167"/>
                    </a:lnTo>
                    <a:lnTo>
                      <a:pt x="31" y="223"/>
                    </a:lnTo>
                    <a:lnTo>
                      <a:pt x="8" y="317"/>
                    </a:lnTo>
                    <a:lnTo>
                      <a:pt x="0" y="356"/>
                    </a:lnTo>
                    <a:lnTo>
                      <a:pt x="0" y="356"/>
                    </a:lnTo>
                    <a:lnTo>
                      <a:pt x="10" y="348"/>
                    </a:lnTo>
                    <a:lnTo>
                      <a:pt x="20" y="343"/>
                    </a:lnTo>
                    <a:lnTo>
                      <a:pt x="28" y="339"/>
                    </a:lnTo>
                    <a:lnTo>
                      <a:pt x="37" y="337"/>
                    </a:lnTo>
                    <a:lnTo>
                      <a:pt x="46" y="336"/>
                    </a:lnTo>
                    <a:lnTo>
                      <a:pt x="53" y="336"/>
                    </a:lnTo>
                    <a:lnTo>
                      <a:pt x="59" y="337"/>
                    </a:lnTo>
                    <a:lnTo>
                      <a:pt x="66" y="338"/>
                    </a:lnTo>
                    <a:lnTo>
                      <a:pt x="72" y="342"/>
                    </a:lnTo>
                    <a:lnTo>
                      <a:pt x="78" y="346"/>
                    </a:lnTo>
                    <a:lnTo>
                      <a:pt x="83" y="351"/>
                    </a:lnTo>
                    <a:lnTo>
                      <a:pt x="87" y="357"/>
                    </a:lnTo>
                    <a:lnTo>
                      <a:pt x="95" y="369"/>
                    </a:lnTo>
                    <a:lnTo>
                      <a:pt x="102" y="384"/>
                    </a:lnTo>
                    <a:lnTo>
                      <a:pt x="107" y="399"/>
                    </a:lnTo>
                    <a:lnTo>
                      <a:pt x="112" y="415"/>
                    </a:lnTo>
                    <a:lnTo>
                      <a:pt x="114" y="430"/>
                    </a:lnTo>
                    <a:lnTo>
                      <a:pt x="117" y="444"/>
                    </a:lnTo>
                    <a:lnTo>
                      <a:pt x="118" y="466"/>
                    </a:lnTo>
                    <a:lnTo>
                      <a:pt x="119" y="475"/>
                    </a:lnTo>
                    <a:lnTo>
                      <a:pt x="119" y="475"/>
                    </a:lnTo>
                    <a:lnTo>
                      <a:pt x="135" y="421"/>
                    </a:lnTo>
                    <a:lnTo>
                      <a:pt x="149" y="372"/>
                    </a:lnTo>
                    <a:lnTo>
                      <a:pt x="161" y="327"/>
                    </a:lnTo>
                    <a:lnTo>
                      <a:pt x="170" y="286"/>
                    </a:lnTo>
                    <a:lnTo>
                      <a:pt x="177" y="248"/>
                    </a:lnTo>
                    <a:lnTo>
                      <a:pt x="184" y="213"/>
                    </a:lnTo>
                    <a:lnTo>
                      <a:pt x="187" y="182"/>
                    </a:lnTo>
                    <a:lnTo>
                      <a:pt x="190" y="153"/>
                    </a:lnTo>
                    <a:lnTo>
                      <a:pt x="190" y="128"/>
                    </a:lnTo>
                    <a:lnTo>
                      <a:pt x="189" y="106"/>
                    </a:lnTo>
                    <a:lnTo>
                      <a:pt x="187" y="86"/>
                    </a:lnTo>
                    <a:lnTo>
                      <a:pt x="184" y="70"/>
                    </a:lnTo>
                    <a:lnTo>
                      <a:pt x="180" y="55"/>
                    </a:lnTo>
                    <a:lnTo>
                      <a:pt x="175" y="41"/>
                    </a:lnTo>
                    <a:lnTo>
                      <a:pt x="169" y="31"/>
                    </a:lnTo>
                    <a:lnTo>
                      <a:pt x="163" y="23"/>
                    </a:lnTo>
                    <a:lnTo>
                      <a:pt x="155" y="15"/>
                    </a:lnTo>
                    <a:lnTo>
                      <a:pt x="148" y="10"/>
                    </a:lnTo>
                    <a:lnTo>
                      <a:pt x="139" y="5"/>
                    </a:lnTo>
                    <a:lnTo>
                      <a:pt x="131" y="3"/>
                    </a:lnTo>
                    <a:lnTo>
                      <a:pt x="123" y="2"/>
                    </a:lnTo>
                    <a:lnTo>
                      <a:pt x="115" y="0"/>
                    </a:lnTo>
                    <a:lnTo>
                      <a:pt x="100" y="2"/>
                    </a:lnTo>
                    <a:lnTo>
                      <a:pt x="86" y="4"/>
                    </a:lnTo>
                    <a:lnTo>
                      <a:pt x="76" y="8"/>
                    </a:lnTo>
                    <a:lnTo>
                      <a:pt x="66" y="13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2" name="îṡḷîďe">
                <a:extLst>
                  <a:ext uri="{FF2B5EF4-FFF2-40B4-BE49-F238E27FC236}">
                    <a16:creationId xmlns:a16="http://schemas.microsoft.com/office/drawing/2014/main" xmlns="" id="{DD2B20A5-256B-4999-A4F1-6BE7B9F55209}"/>
                  </a:ext>
                </a:extLst>
              </p:cNvPr>
              <p:cNvSpPr/>
              <p:nvPr/>
            </p:nvSpPr>
            <p:spPr bwMode="auto">
              <a:xfrm>
                <a:off x="8573283" y="2275029"/>
                <a:ext cx="154924" cy="390998"/>
              </a:xfrm>
              <a:custGeom>
                <a:avLst/>
                <a:gdLst>
                  <a:gd name="T0" fmla="*/ 71 w 191"/>
                  <a:gd name="T1" fmla="*/ 475 h 475"/>
                  <a:gd name="T2" fmla="*/ 71 w 191"/>
                  <a:gd name="T3" fmla="*/ 475 h 475"/>
                  <a:gd name="T4" fmla="*/ 72 w 191"/>
                  <a:gd name="T5" fmla="*/ 466 h 475"/>
                  <a:gd name="T6" fmla="*/ 73 w 191"/>
                  <a:gd name="T7" fmla="*/ 444 h 475"/>
                  <a:gd name="T8" fmla="*/ 76 w 191"/>
                  <a:gd name="T9" fmla="*/ 430 h 475"/>
                  <a:gd name="T10" fmla="*/ 79 w 191"/>
                  <a:gd name="T11" fmla="*/ 415 h 475"/>
                  <a:gd name="T12" fmla="*/ 83 w 191"/>
                  <a:gd name="T13" fmla="*/ 399 h 475"/>
                  <a:gd name="T14" fmla="*/ 88 w 191"/>
                  <a:gd name="T15" fmla="*/ 384 h 475"/>
                  <a:gd name="T16" fmla="*/ 94 w 191"/>
                  <a:gd name="T17" fmla="*/ 369 h 475"/>
                  <a:gd name="T18" fmla="*/ 103 w 191"/>
                  <a:gd name="T19" fmla="*/ 357 h 475"/>
                  <a:gd name="T20" fmla="*/ 107 w 191"/>
                  <a:gd name="T21" fmla="*/ 351 h 475"/>
                  <a:gd name="T22" fmla="*/ 113 w 191"/>
                  <a:gd name="T23" fmla="*/ 346 h 475"/>
                  <a:gd name="T24" fmla="*/ 118 w 191"/>
                  <a:gd name="T25" fmla="*/ 342 h 475"/>
                  <a:gd name="T26" fmla="*/ 124 w 191"/>
                  <a:gd name="T27" fmla="*/ 338 h 475"/>
                  <a:gd name="T28" fmla="*/ 130 w 191"/>
                  <a:gd name="T29" fmla="*/ 337 h 475"/>
                  <a:gd name="T30" fmla="*/ 138 w 191"/>
                  <a:gd name="T31" fmla="*/ 336 h 475"/>
                  <a:gd name="T32" fmla="*/ 145 w 191"/>
                  <a:gd name="T33" fmla="*/ 336 h 475"/>
                  <a:gd name="T34" fmla="*/ 153 w 191"/>
                  <a:gd name="T35" fmla="*/ 337 h 475"/>
                  <a:gd name="T36" fmla="*/ 161 w 191"/>
                  <a:gd name="T37" fmla="*/ 339 h 475"/>
                  <a:gd name="T38" fmla="*/ 170 w 191"/>
                  <a:gd name="T39" fmla="*/ 343 h 475"/>
                  <a:gd name="T40" fmla="*/ 180 w 191"/>
                  <a:gd name="T41" fmla="*/ 348 h 475"/>
                  <a:gd name="T42" fmla="*/ 191 w 191"/>
                  <a:gd name="T43" fmla="*/ 356 h 475"/>
                  <a:gd name="T44" fmla="*/ 191 w 191"/>
                  <a:gd name="T45" fmla="*/ 356 h 475"/>
                  <a:gd name="T46" fmla="*/ 181 w 191"/>
                  <a:gd name="T47" fmla="*/ 317 h 475"/>
                  <a:gd name="T48" fmla="*/ 159 w 191"/>
                  <a:gd name="T49" fmla="*/ 223 h 475"/>
                  <a:gd name="T50" fmla="*/ 148 w 191"/>
                  <a:gd name="T51" fmla="*/ 167 h 475"/>
                  <a:gd name="T52" fmla="*/ 137 w 191"/>
                  <a:gd name="T53" fmla="*/ 110 h 475"/>
                  <a:gd name="T54" fmla="*/ 129 w 191"/>
                  <a:gd name="T55" fmla="*/ 57 h 475"/>
                  <a:gd name="T56" fmla="*/ 127 w 191"/>
                  <a:gd name="T57" fmla="*/ 34 h 475"/>
                  <a:gd name="T58" fmla="*/ 125 w 191"/>
                  <a:gd name="T59" fmla="*/ 13 h 475"/>
                  <a:gd name="T60" fmla="*/ 125 w 191"/>
                  <a:gd name="T61" fmla="*/ 13 h 475"/>
                  <a:gd name="T62" fmla="*/ 115 w 191"/>
                  <a:gd name="T63" fmla="*/ 8 h 475"/>
                  <a:gd name="T64" fmla="*/ 104 w 191"/>
                  <a:gd name="T65" fmla="*/ 4 h 475"/>
                  <a:gd name="T66" fmla="*/ 91 w 191"/>
                  <a:gd name="T67" fmla="*/ 2 h 475"/>
                  <a:gd name="T68" fmla="*/ 74 w 191"/>
                  <a:gd name="T69" fmla="*/ 0 h 475"/>
                  <a:gd name="T70" fmla="*/ 67 w 191"/>
                  <a:gd name="T71" fmla="*/ 2 h 475"/>
                  <a:gd name="T72" fmla="*/ 58 w 191"/>
                  <a:gd name="T73" fmla="*/ 3 h 475"/>
                  <a:gd name="T74" fmla="*/ 51 w 191"/>
                  <a:gd name="T75" fmla="*/ 5 h 475"/>
                  <a:gd name="T76" fmla="*/ 42 w 191"/>
                  <a:gd name="T77" fmla="*/ 10 h 475"/>
                  <a:gd name="T78" fmla="*/ 35 w 191"/>
                  <a:gd name="T79" fmla="*/ 15 h 475"/>
                  <a:gd name="T80" fmla="*/ 28 w 191"/>
                  <a:gd name="T81" fmla="*/ 23 h 475"/>
                  <a:gd name="T82" fmla="*/ 21 w 191"/>
                  <a:gd name="T83" fmla="*/ 31 h 475"/>
                  <a:gd name="T84" fmla="*/ 16 w 191"/>
                  <a:gd name="T85" fmla="*/ 41 h 475"/>
                  <a:gd name="T86" fmla="*/ 10 w 191"/>
                  <a:gd name="T87" fmla="*/ 55 h 475"/>
                  <a:gd name="T88" fmla="*/ 6 w 191"/>
                  <a:gd name="T89" fmla="*/ 70 h 475"/>
                  <a:gd name="T90" fmla="*/ 2 w 191"/>
                  <a:gd name="T91" fmla="*/ 86 h 475"/>
                  <a:gd name="T92" fmla="*/ 1 w 191"/>
                  <a:gd name="T93" fmla="*/ 106 h 475"/>
                  <a:gd name="T94" fmla="*/ 0 w 191"/>
                  <a:gd name="T95" fmla="*/ 128 h 475"/>
                  <a:gd name="T96" fmla="*/ 1 w 191"/>
                  <a:gd name="T97" fmla="*/ 153 h 475"/>
                  <a:gd name="T98" fmla="*/ 2 w 191"/>
                  <a:gd name="T99" fmla="*/ 182 h 475"/>
                  <a:gd name="T100" fmla="*/ 7 w 191"/>
                  <a:gd name="T101" fmla="*/ 213 h 475"/>
                  <a:gd name="T102" fmla="*/ 12 w 191"/>
                  <a:gd name="T103" fmla="*/ 248 h 475"/>
                  <a:gd name="T104" fmla="*/ 20 w 191"/>
                  <a:gd name="T105" fmla="*/ 286 h 475"/>
                  <a:gd name="T106" fmla="*/ 30 w 191"/>
                  <a:gd name="T107" fmla="*/ 327 h 475"/>
                  <a:gd name="T108" fmla="*/ 41 w 191"/>
                  <a:gd name="T109" fmla="*/ 372 h 475"/>
                  <a:gd name="T110" fmla="*/ 55 w 191"/>
                  <a:gd name="T111" fmla="*/ 421 h 475"/>
                  <a:gd name="T112" fmla="*/ 71 w 191"/>
                  <a:gd name="T113" fmla="*/ 475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91" h="475">
                    <a:moveTo>
                      <a:pt x="71" y="475"/>
                    </a:moveTo>
                    <a:lnTo>
                      <a:pt x="71" y="475"/>
                    </a:lnTo>
                    <a:lnTo>
                      <a:pt x="72" y="466"/>
                    </a:lnTo>
                    <a:lnTo>
                      <a:pt x="73" y="444"/>
                    </a:lnTo>
                    <a:lnTo>
                      <a:pt x="76" y="430"/>
                    </a:lnTo>
                    <a:lnTo>
                      <a:pt x="79" y="415"/>
                    </a:lnTo>
                    <a:lnTo>
                      <a:pt x="83" y="399"/>
                    </a:lnTo>
                    <a:lnTo>
                      <a:pt x="88" y="384"/>
                    </a:lnTo>
                    <a:lnTo>
                      <a:pt x="94" y="369"/>
                    </a:lnTo>
                    <a:lnTo>
                      <a:pt x="103" y="357"/>
                    </a:lnTo>
                    <a:lnTo>
                      <a:pt x="107" y="351"/>
                    </a:lnTo>
                    <a:lnTo>
                      <a:pt x="113" y="346"/>
                    </a:lnTo>
                    <a:lnTo>
                      <a:pt x="118" y="342"/>
                    </a:lnTo>
                    <a:lnTo>
                      <a:pt x="124" y="338"/>
                    </a:lnTo>
                    <a:lnTo>
                      <a:pt x="130" y="337"/>
                    </a:lnTo>
                    <a:lnTo>
                      <a:pt x="138" y="336"/>
                    </a:lnTo>
                    <a:lnTo>
                      <a:pt x="145" y="336"/>
                    </a:lnTo>
                    <a:lnTo>
                      <a:pt x="153" y="337"/>
                    </a:lnTo>
                    <a:lnTo>
                      <a:pt x="161" y="339"/>
                    </a:lnTo>
                    <a:lnTo>
                      <a:pt x="170" y="343"/>
                    </a:lnTo>
                    <a:lnTo>
                      <a:pt x="180" y="348"/>
                    </a:lnTo>
                    <a:lnTo>
                      <a:pt x="191" y="356"/>
                    </a:lnTo>
                    <a:lnTo>
                      <a:pt x="191" y="356"/>
                    </a:lnTo>
                    <a:lnTo>
                      <a:pt x="181" y="317"/>
                    </a:lnTo>
                    <a:lnTo>
                      <a:pt x="159" y="223"/>
                    </a:lnTo>
                    <a:lnTo>
                      <a:pt x="148" y="167"/>
                    </a:lnTo>
                    <a:lnTo>
                      <a:pt x="137" y="110"/>
                    </a:lnTo>
                    <a:lnTo>
                      <a:pt x="129" y="57"/>
                    </a:lnTo>
                    <a:lnTo>
                      <a:pt x="127" y="34"/>
                    </a:lnTo>
                    <a:lnTo>
                      <a:pt x="125" y="13"/>
                    </a:lnTo>
                    <a:lnTo>
                      <a:pt x="125" y="13"/>
                    </a:lnTo>
                    <a:lnTo>
                      <a:pt x="115" y="8"/>
                    </a:lnTo>
                    <a:lnTo>
                      <a:pt x="104" y="4"/>
                    </a:lnTo>
                    <a:lnTo>
                      <a:pt x="91" y="2"/>
                    </a:lnTo>
                    <a:lnTo>
                      <a:pt x="74" y="0"/>
                    </a:lnTo>
                    <a:lnTo>
                      <a:pt x="67" y="2"/>
                    </a:lnTo>
                    <a:lnTo>
                      <a:pt x="58" y="3"/>
                    </a:lnTo>
                    <a:lnTo>
                      <a:pt x="51" y="5"/>
                    </a:lnTo>
                    <a:lnTo>
                      <a:pt x="42" y="10"/>
                    </a:lnTo>
                    <a:lnTo>
                      <a:pt x="35" y="15"/>
                    </a:lnTo>
                    <a:lnTo>
                      <a:pt x="28" y="23"/>
                    </a:lnTo>
                    <a:lnTo>
                      <a:pt x="21" y="31"/>
                    </a:lnTo>
                    <a:lnTo>
                      <a:pt x="16" y="41"/>
                    </a:lnTo>
                    <a:lnTo>
                      <a:pt x="10" y="55"/>
                    </a:lnTo>
                    <a:lnTo>
                      <a:pt x="6" y="70"/>
                    </a:lnTo>
                    <a:lnTo>
                      <a:pt x="2" y="86"/>
                    </a:lnTo>
                    <a:lnTo>
                      <a:pt x="1" y="106"/>
                    </a:lnTo>
                    <a:lnTo>
                      <a:pt x="0" y="128"/>
                    </a:lnTo>
                    <a:lnTo>
                      <a:pt x="1" y="153"/>
                    </a:lnTo>
                    <a:lnTo>
                      <a:pt x="2" y="182"/>
                    </a:lnTo>
                    <a:lnTo>
                      <a:pt x="7" y="213"/>
                    </a:lnTo>
                    <a:lnTo>
                      <a:pt x="12" y="248"/>
                    </a:lnTo>
                    <a:lnTo>
                      <a:pt x="20" y="286"/>
                    </a:lnTo>
                    <a:lnTo>
                      <a:pt x="30" y="327"/>
                    </a:lnTo>
                    <a:lnTo>
                      <a:pt x="41" y="372"/>
                    </a:lnTo>
                    <a:lnTo>
                      <a:pt x="55" y="421"/>
                    </a:lnTo>
                    <a:lnTo>
                      <a:pt x="71" y="47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3" name="îsḻiḓé">
                <a:extLst>
                  <a:ext uri="{FF2B5EF4-FFF2-40B4-BE49-F238E27FC236}">
                    <a16:creationId xmlns:a16="http://schemas.microsoft.com/office/drawing/2014/main" xmlns="" id="{46E06C66-5897-4EEE-8399-55D2344B9C81}"/>
                  </a:ext>
                </a:extLst>
              </p:cNvPr>
              <p:cNvSpPr/>
              <p:nvPr/>
            </p:nvSpPr>
            <p:spPr bwMode="auto">
              <a:xfrm>
                <a:off x="8573283" y="2275029"/>
                <a:ext cx="154924" cy="390998"/>
              </a:xfrm>
              <a:custGeom>
                <a:avLst/>
                <a:gdLst>
                  <a:gd name="T0" fmla="*/ 71 w 191"/>
                  <a:gd name="T1" fmla="*/ 475 h 475"/>
                  <a:gd name="T2" fmla="*/ 71 w 191"/>
                  <a:gd name="T3" fmla="*/ 475 h 475"/>
                  <a:gd name="T4" fmla="*/ 72 w 191"/>
                  <a:gd name="T5" fmla="*/ 466 h 475"/>
                  <a:gd name="T6" fmla="*/ 73 w 191"/>
                  <a:gd name="T7" fmla="*/ 444 h 475"/>
                  <a:gd name="T8" fmla="*/ 76 w 191"/>
                  <a:gd name="T9" fmla="*/ 430 h 475"/>
                  <a:gd name="T10" fmla="*/ 79 w 191"/>
                  <a:gd name="T11" fmla="*/ 415 h 475"/>
                  <a:gd name="T12" fmla="*/ 83 w 191"/>
                  <a:gd name="T13" fmla="*/ 399 h 475"/>
                  <a:gd name="T14" fmla="*/ 88 w 191"/>
                  <a:gd name="T15" fmla="*/ 384 h 475"/>
                  <a:gd name="T16" fmla="*/ 94 w 191"/>
                  <a:gd name="T17" fmla="*/ 369 h 475"/>
                  <a:gd name="T18" fmla="*/ 103 w 191"/>
                  <a:gd name="T19" fmla="*/ 357 h 475"/>
                  <a:gd name="T20" fmla="*/ 107 w 191"/>
                  <a:gd name="T21" fmla="*/ 351 h 475"/>
                  <a:gd name="T22" fmla="*/ 113 w 191"/>
                  <a:gd name="T23" fmla="*/ 346 h 475"/>
                  <a:gd name="T24" fmla="*/ 118 w 191"/>
                  <a:gd name="T25" fmla="*/ 342 h 475"/>
                  <a:gd name="T26" fmla="*/ 124 w 191"/>
                  <a:gd name="T27" fmla="*/ 338 h 475"/>
                  <a:gd name="T28" fmla="*/ 130 w 191"/>
                  <a:gd name="T29" fmla="*/ 337 h 475"/>
                  <a:gd name="T30" fmla="*/ 138 w 191"/>
                  <a:gd name="T31" fmla="*/ 336 h 475"/>
                  <a:gd name="T32" fmla="*/ 145 w 191"/>
                  <a:gd name="T33" fmla="*/ 336 h 475"/>
                  <a:gd name="T34" fmla="*/ 153 w 191"/>
                  <a:gd name="T35" fmla="*/ 337 h 475"/>
                  <a:gd name="T36" fmla="*/ 161 w 191"/>
                  <a:gd name="T37" fmla="*/ 339 h 475"/>
                  <a:gd name="T38" fmla="*/ 170 w 191"/>
                  <a:gd name="T39" fmla="*/ 343 h 475"/>
                  <a:gd name="T40" fmla="*/ 180 w 191"/>
                  <a:gd name="T41" fmla="*/ 348 h 475"/>
                  <a:gd name="T42" fmla="*/ 191 w 191"/>
                  <a:gd name="T43" fmla="*/ 356 h 475"/>
                  <a:gd name="T44" fmla="*/ 191 w 191"/>
                  <a:gd name="T45" fmla="*/ 356 h 475"/>
                  <a:gd name="T46" fmla="*/ 181 w 191"/>
                  <a:gd name="T47" fmla="*/ 317 h 475"/>
                  <a:gd name="T48" fmla="*/ 159 w 191"/>
                  <a:gd name="T49" fmla="*/ 223 h 475"/>
                  <a:gd name="T50" fmla="*/ 148 w 191"/>
                  <a:gd name="T51" fmla="*/ 167 h 475"/>
                  <a:gd name="T52" fmla="*/ 137 w 191"/>
                  <a:gd name="T53" fmla="*/ 110 h 475"/>
                  <a:gd name="T54" fmla="*/ 129 w 191"/>
                  <a:gd name="T55" fmla="*/ 57 h 475"/>
                  <a:gd name="T56" fmla="*/ 127 w 191"/>
                  <a:gd name="T57" fmla="*/ 34 h 475"/>
                  <a:gd name="T58" fmla="*/ 125 w 191"/>
                  <a:gd name="T59" fmla="*/ 13 h 475"/>
                  <a:gd name="T60" fmla="*/ 125 w 191"/>
                  <a:gd name="T61" fmla="*/ 13 h 475"/>
                  <a:gd name="T62" fmla="*/ 115 w 191"/>
                  <a:gd name="T63" fmla="*/ 8 h 475"/>
                  <a:gd name="T64" fmla="*/ 104 w 191"/>
                  <a:gd name="T65" fmla="*/ 4 h 475"/>
                  <a:gd name="T66" fmla="*/ 91 w 191"/>
                  <a:gd name="T67" fmla="*/ 2 h 475"/>
                  <a:gd name="T68" fmla="*/ 74 w 191"/>
                  <a:gd name="T69" fmla="*/ 0 h 475"/>
                  <a:gd name="T70" fmla="*/ 67 w 191"/>
                  <a:gd name="T71" fmla="*/ 2 h 475"/>
                  <a:gd name="T72" fmla="*/ 58 w 191"/>
                  <a:gd name="T73" fmla="*/ 3 h 475"/>
                  <a:gd name="T74" fmla="*/ 51 w 191"/>
                  <a:gd name="T75" fmla="*/ 5 h 475"/>
                  <a:gd name="T76" fmla="*/ 42 w 191"/>
                  <a:gd name="T77" fmla="*/ 10 h 475"/>
                  <a:gd name="T78" fmla="*/ 35 w 191"/>
                  <a:gd name="T79" fmla="*/ 15 h 475"/>
                  <a:gd name="T80" fmla="*/ 28 w 191"/>
                  <a:gd name="T81" fmla="*/ 23 h 475"/>
                  <a:gd name="T82" fmla="*/ 21 w 191"/>
                  <a:gd name="T83" fmla="*/ 31 h 475"/>
                  <a:gd name="T84" fmla="*/ 16 w 191"/>
                  <a:gd name="T85" fmla="*/ 41 h 475"/>
                  <a:gd name="T86" fmla="*/ 10 w 191"/>
                  <a:gd name="T87" fmla="*/ 55 h 475"/>
                  <a:gd name="T88" fmla="*/ 6 w 191"/>
                  <a:gd name="T89" fmla="*/ 70 h 475"/>
                  <a:gd name="T90" fmla="*/ 2 w 191"/>
                  <a:gd name="T91" fmla="*/ 86 h 475"/>
                  <a:gd name="T92" fmla="*/ 1 w 191"/>
                  <a:gd name="T93" fmla="*/ 106 h 475"/>
                  <a:gd name="T94" fmla="*/ 0 w 191"/>
                  <a:gd name="T95" fmla="*/ 128 h 475"/>
                  <a:gd name="T96" fmla="*/ 1 w 191"/>
                  <a:gd name="T97" fmla="*/ 153 h 475"/>
                  <a:gd name="T98" fmla="*/ 2 w 191"/>
                  <a:gd name="T99" fmla="*/ 182 h 475"/>
                  <a:gd name="T100" fmla="*/ 7 w 191"/>
                  <a:gd name="T101" fmla="*/ 213 h 475"/>
                  <a:gd name="T102" fmla="*/ 12 w 191"/>
                  <a:gd name="T103" fmla="*/ 248 h 475"/>
                  <a:gd name="T104" fmla="*/ 20 w 191"/>
                  <a:gd name="T105" fmla="*/ 286 h 475"/>
                  <a:gd name="T106" fmla="*/ 30 w 191"/>
                  <a:gd name="T107" fmla="*/ 327 h 475"/>
                  <a:gd name="T108" fmla="*/ 41 w 191"/>
                  <a:gd name="T109" fmla="*/ 372 h 475"/>
                  <a:gd name="T110" fmla="*/ 55 w 191"/>
                  <a:gd name="T111" fmla="*/ 421 h 475"/>
                  <a:gd name="T112" fmla="*/ 71 w 191"/>
                  <a:gd name="T113" fmla="*/ 475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91" h="475">
                    <a:moveTo>
                      <a:pt x="71" y="475"/>
                    </a:moveTo>
                    <a:lnTo>
                      <a:pt x="71" y="475"/>
                    </a:lnTo>
                    <a:lnTo>
                      <a:pt x="72" y="466"/>
                    </a:lnTo>
                    <a:lnTo>
                      <a:pt x="73" y="444"/>
                    </a:lnTo>
                    <a:lnTo>
                      <a:pt x="76" y="430"/>
                    </a:lnTo>
                    <a:lnTo>
                      <a:pt x="79" y="415"/>
                    </a:lnTo>
                    <a:lnTo>
                      <a:pt x="83" y="399"/>
                    </a:lnTo>
                    <a:lnTo>
                      <a:pt x="88" y="384"/>
                    </a:lnTo>
                    <a:lnTo>
                      <a:pt x="94" y="369"/>
                    </a:lnTo>
                    <a:lnTo>
                      <a:pt x="103" y="357"/>
                    </a:lnTo>
                    <a:lnTo>
                      <a:pt x="107" y="351"/>
                    </a:lnTo>
                    <a:lnTo>
                      <a:pt x="113" y="346"/>
                    </a:lnTo>
                    <a:lnTo>
                      <a:pt x="118" y="342"/>
                    </a:lnTo>
                    <a:lnTo>
                      <a:pt x="124" y="338"/>
                    </a:lnTo>
                    <a:lnTo>
                      <a:pt x="130" y="337"/>
                    </a:lnTo>
                    <a:lnTo>
                      <a:pt x="138" y="336"/>
                    </a:lnTo>
                    <a:lnTo>
                      <a:pt x="145" y="336"/>
                    </a:lnTo>
                    <a:lnTo>
                      <a:pt x="153" y="337"/>
                    </a:lnTo>
                    <a:lnTo>
                      <a:pt x="161" y="339"/>
                    </a:lnTo>
                    <a:lnTo>
                      <a:pt x="170" y="343"/>
                    </a:lnTo>
                    <a:lnTo>
                      <a:pt x="180" y="348"/>
                    </a:lnTo>
                    <a:lnTo>
                      <a:pt x="191" y="356"/>
                    </a:lnTo>
                    <a:lnTo>
                      <a:pt x="191" y="356"/>
                    </a:lnTo>
                    <a:lnTo>
                      <a:pt x="181" y="317"/>
                    </a:lnTo>
                    <a:lnTo>
                      <a:pt x="159" y="223"/>
                    </a:lnTo>
                    <a:lnTo>
                      <a:pt x="148" y="167"/>
                    </a:lnTo>
                    <a:lnTo>
                      <a:pt x="137" y="110"/>
                    </a:lnTo>
                    <a:lnTo>
                      <a:pt x="129" y="57"/>
                    </a:lnTo>
                    <a:lnTo>
                      <a:pt x="127" y="34"/>
                    </a:lnTo>
                    <a:lnTo>
                      <a:pt x="125" y="13"/>
                    </a:lnTo>
                    <a:lnTo>
                      <a:pt x="125" y="13"/>
                    </a:lnTo>
                    <a:lnTo>
                      <a:pt x="115" y="8"/>
                    </a:lnTo>
                    <a:lnTo>
                      <a:pt x="104" y="4"/>
                    </a:lnTo>
                    <a:lnTo>
                      <a:pt x="91" y="2"/>
                    </a:lnTo>
                    <a:lnTo>
                      <a:pt x="74" y="0"/>
                    </a:lnTo>
                    <a:lnTo>
                      <a:pt x="67" y="2"/>
                    </a:lnTo>
                    <a:lnTo>
                      <a:pt x="58" y="3"/>
                    </a:lnTo>
                    <a:lnTo>
                      <a:pt x="51" y="5"/>
                    </a:lnTo>
                    <a:lnTo>
                      <a:pt x="42" y="10"/>
                    </a:lnTo>
                    <a:lnTo>
                      <a:pt x="35" y="15"/>
                    </a:lnTo>
                    <a:lnTo>
                      <a:pt x="28" y="23"/>
                    </a:lnTo>
                    <a:lnTo>
                      <a:pt x="21" y="31"/>
                    </a:lnTo>
                    <a:lnTo>
                      <a:pt x="16" y="41"/>
                    </a:lnTo>
                    <a:lnTo>
                      <a:pt x="10" y="55"/>
                    </a:lnTo>
                    <a:lnTo>
                      <a:pt x="6" y="70"/>
                    </a:lnTo>
                    <a:lnTo>
                      <a:pt x="2" y="86"/>
                    </a:lnTo>
                    <a:lnTo>
                      <a:pt x="1" y="106"/>
                    </a:lnTo>
                    <a:lnTo>
                      <a:pt x="0" y="128"/>
                    </a:lnTo>
                    <a:lnTo>
                      <a:pt x="1" y="153"/>
                    </a:lnTo>
                    <a:lnTo>
                      <a:pt x="2" y="182"/>
                    </a:lnTo>
                    <a:lnTo>
                      <a:pt x="7" y="213"/>
                    </a:lnTo>
                    <a:lnTo>
                      <a:pt x="12" y="248"/>
                    </a:lnTo>
                    <a:lnTo>
                      <a:pt x="20" y="286"/>
                    </a:lnTo>
                    <a:lnTo>
                      <a:pt x="30" y="327"/>
                    </a:lnTo>
                    <a:lnTo>
                      <a:pt x="41" y="372"/>
                    </a:lnTo>
                    <a:lnTo>
                      <a:pt x="55" y="421"/>
                    </a:lnTo>
                    <a:lnTo>
                      <a:pt x="71" y="475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4" name="iṡ1îḋe">
                <a:extLst>
                  <a:ext uri="{FF2B5EF4-FFF2-40B4-BE49-F238E27FC236}">
                    <a16:creationId xmlns:a16="http://schemas.microsoft.com/office/drawing/2014/main" xmlns="" id="{39A94F21-03FE-41BE-95E4-71DDB322928C}"/>
                  </a:ext>
                </a:extLst>
              </p:cNvPr>
              <p:cNvSpPr/>
              <p:nvPr/>
            </p:nvSpPr>
            <p:spPr bwMode="auto">
              <a:xfrm>
                <a:off x="8676565" y="1303683"/>
                <a:ext cx="376244" cy="1254143"/>
              </a:xfrm>
              <a:custGeom>
                <a:avLst/>
                <a:gdLst>
                  <a:gd name="T0" fmla="*/ 355 w 458"/>
                  <a:gd name="T1" fmla="*/ 470 h 1530"/>
                  <a:gd name="T2" fmla="*/ 351 w 458"/>
                  <a:gd name="T3" fmla="*/ 465 h 1530"/>
                  <a:gd name="T4" fmla="*/ 295 w 458"/>
                  <a:gd name="T5" fmla="*/ 344 h 1530"/>
                  <a:gd name="T6" fmla="*/ 256 w 458"/>
                  <a:gd name="T7" fmla="*/ 220 h 1530"/>
                  <a:gd name="T8" fmla="*/ 231 w 458"/>
                  <a:gd name="T9" fmla="*/ 71 h 1530"/>
                  <a:gd name="T10" fmla="*/ 239 w 458"/>
                  <a:gd name="T11" fmla="*/ 26 h 1530"/>
                  <a:gd name="T12" fmla="*/ 243 w 458"/>
                  <a:gd name="T13" fmla="*/ 10 h 1530"/>
                  <a:gd name="T14" fmla="*/ 228 w 458"/>
                  <a:gd name="T15" fmla="*/ 0 h 1530"/>
                  <a:gd name="T16" fmla="*/ 213 w 458"/>
                  <a:gd name="T17" fmla="*/ 15 h 1530"/>
                  <a:gd name="T18" fmla="*/ 222 w 458"/>
                  <a:gd name="T19" fmla="*/ 30 h 1530"/>
                  <a:gd name="T20" fmla="*/ 223 w 458"/>
                  <a:gd name="T21" fmla="*/ 109 h 1530"/>
                  <a:gd name="T22" fmla="*/ 193 w 458"/>
                  <a:gd name="T23" fmla="*/ 253 h 1530"/>
                  <a:gd name="T24" fmla="*/ 152 w 458"/>
                  <a:gd name="T25" fmla="*/ 369 h 1530"/>
                  <a:gd name="T26" fmla="*/ 107 w 458"/>
                  <a:gd name="T27" fmla="*/ 465 h 1530"/>
                  <a:gd name="T28" fmla="*/ 103 w 458"/>
                  <a:gd name="T29" fmla="*/ 471 h 1530"/>
                  <a:gd name="T30" fmla="*/ 66 w 458"/>
                  <a:gd name="T31" fmla="*/ 528 h 1530"/>
                  <a:gd name="T32" fmla="*/ 29 w 458"/>
                  <a:gd name="T33" fmla="*/ 626 h 1530"/>
                  <a:gd name="T34" fmla="*/ 3 w 458"/>
                  <a:gd name="T35" fmla="*/ 785 h 1530"/>
                  <a:gd name="T36" fmla="*/ 0 w 458"/>
                  <a:gd name="T37" fmla="*/ 952 h 1530"/>
                  <a:gd name="T38" fmla="*/ 20 w 458"/>
                  <a:gd name="T39" fmla="*/ 1183 h 1530"/>
                  <a:gd name="T40" fmla="*/ 59 w 458"/>
                  <a:gd name="T41" fmla="*/ 1414 h 1530"/>
                  <a:gd name="T42" fmla="*/ 372 w 458"/>
                  <a:gd name="T43" fmla="*/ 1530 h 1530"/>
                  <a:gd name="T44" fmla="*/ 416 w 458"/>
                  <a:gd name="T45" fmla="*/ 1332 h 1530"/>
                  <a:gd name="T46" fmla="*/ 444 w 458"/>
                  <a:gd name="T47" fmla="*/ 1127 h 1530"/>
                  <a:gd name="T48" fmla="*/ 458 w 458"/>
                  <a:gd name="T49" fmla="*/ 891 h 1530"/>
                  <a:gd name="T50" fmla="*/ 449 w 458"/>
                  <a:gd name="T51" fmla="*/ 739 h 1530"/>
                  <a:gd name="T52" fmla="*/ 420 w 458"/>
                  <a:gd name="T53" fmla="*/ 596 h 1530"/>
                  <a:gd name="T54" fmla="*/ 384 w 458"/>
                  <a:gd name="T55" fmla="*/ 512 h 1530"/>
                  <a:gd name="T56" fmla="*/ 228 w 458"/>
                  <a:gd name="T57" fmla="*/ 607 h 1530"/>
                  <a:gd name="T58" fmla="*/ 258 w 458"/>
                  <a:gd name="T59" fmla="*/ 614 h 1530"/>
                  <a:gd name="T60" fmla="*/ 298 w 458"/>
                  <a:gd name="T61" fmla="*/ 652 h 1530"/>
                  <a:gd name="T62" fmla="*/ 303 w 458"/>
                  <a:gd name="T63" fmla="*/ 682 h 1530"/>
                  <a:gd name="T64" fmla="*/ 290 w 458"/>
                  <a:gd name="T65" fmla="*/ 723 h 1530"/>
                  <a:gd name="T66" fmla="*/ 243 w 458"/>
                  <a:gd name="T67" fmla="*/ 754 h 1530"/>
                  <a:gd name="T68" fmla="*/ 221 w 458"/>
                  <a:gd name="T69" fmla="*/ 755 h 1530"/>
                  <a:gd name="T70" fmla="*/ 176 w 458"/>
                  <a:gd name="T71" fmla="*/ 734 h 1530"/>
                  <a:gd name="T72" fmla="*/ 155 w 458"/>
                  <a:gd name="T73" fmla="*/ 689 h 1530"/>
                  <a:gd name="T74" fmla="*/ 156 w 458"/>
                  <a:gd name="T75" fmla="*/ 667 h 1530"/>
                  <a:gd name="T76" fmla="*/ 187 w 458"/>
                  <a:gd name="T77" fmla="*/ 620 h 1530"/>
                  <a:gd name="T78" fmla="*/ 228 w 458"/>
                  <a:gd name="T79" fmla="*/ 607 h 1530"/>
                  <a:gd name="T80" fmla="*/ 244 w 458"/>
                  <a:gd name="T81" fmla="*/ 873 h 1530"/>
                  <a:gd name="T82" fmla="*/ 290 w 458"/>
                  <a:gd name="T83" fmla="*/ 906 h 1530"/>
                  <a:gd name="T84" fmla="*/ 303 w 458"/>
                  <a:gd name="T85" fmla="*/ 947 h 1530"/>
                  <a:gd name="T86" fmla="*/ 298 w 458"/>
                  <a:gd name="T87" fmla="*/ 975 h 1530"/>
                  <a:gd name="T88" fmla="*/ 258 w 458"/>
                  <a:gd name="T89" fmla="*/ 1015 h 1530"/>
                  <a:gd name="T90" fmla="*/ 230 w 458"/>
                  <a:gd name="T91" fmla="*/ 1021 h 1530"/>
                  <a:gd name="T92" fmla="*/ 187 w 458"/>
                  <a:gd name="T93" fmla="*/ 1009 h 1530"/>
                  <a:gd name="T94" fmla="*/ 156 w 458"/>
                  <a:gd name="T95" fmla="*/ 962 h 1530"/>
                  <a:gd name="T96" fmla="*/ 155 w 458"/>
                  <a:gd name="T97" fmla="*/ 939 h 1530"/>
                  <a:gd name="T98" fmla="*/ 176 w 458"/>
                  <a:gd name="T99" fmla="*/ 894 h 1530"/>
                  <a:gd name="T100" fmla="*/ 221 w 458"/>
                  <a:gd name="T101" fmla="*/ 873 h 1530"/>
                  <a:gd name="T102" fmla="*/ 221 w 458"/>
                  <a:gd name="T103" fmla="*/ 1286 h 1530"/>
                  <a:gd name="T104" fmla="*/ 176 w 458"/>
                  <a:gd name="T105" fmla="*/ 1265 h 1530"/>
                  <a:gd name="T106" fmla="*/ 155 w 458"/>
                  <a:gd name="T107" fmla="*/ 1219 h 1530"/>
                  <a:gd name="T108" fmla="*/ 156 w 458"/>
                  <a:gd name="T109" fmla="*/ 1196 h 1530"/>
                  <a:gd name="T110" fmla="*/ 187 w 458"/>
                  <a:gd name="T111" fmla="*/ 1150 h 1530"/>
                  <a:gd name="T112" fmla="*/ 230 w 458"/>
                  <a:gd name="T113" fmla="*/ 1138 h 1530"/>
                  <a:gd name="T114" fmla="*/ 258 w 458"/>
                  <a:gd name="T115" fmla="*/ 1143 h 1530"/>
                  <a:gd name="T116" fmla="*/ 298 w 458"/>
                  <a:gd name="T117" fmla="*/ 1183 h 1530"/>
                  <a:gd name="T118" fmla="*/ 303 w 458"/>
                  <a:gd name="T119" fmla="*/ 1211 h 1530"/>
                  <a:gd name="T120" fmla="*/ 290 w 458"/>
                  <a:gd name="T121" fmla="*/ 1253 h 1530"/>
                  <a:gd name="T122" fmla="*/ 244 w 458"/>
                  <a:gd name="T123" fmla="*/ 1284 h 1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58" h="1530">
                    <a:moveTo>
                      <a:pt x="355" y="471"/>
                    </a:moveTo>
                    <a:lnTo>
                      <a:pt x="355" y="471"/>
                    </a:lnTo>
                    <a:lnTo>
                      <a:pt x="355" y="471"/>
                    </a:lnTo>
                    <a:lnTo>
                      <a:pt x="355" y="470"/>
                    </a:lnTo>
                    <a:lnTo>
                      <a:pt x="355" y="470"/>
                    </a:lnTo>
                    <a:lnTo>
                      <a:pt x="354" y="467"/>
                    </a:lnTo>
                    <a:lnTo>
                      <a:pt x="351" y="465"/>
                    </a:lnTo>
                    <a:lnTo>
                      <a:pt x="351" y="465"/>
                    </a:lnTo>
                    <a:lnTo>
                      <a:pt x="341" y="446"/>
                    </a:lnTo>
                    <a:lnTo>
                      <a:pt x="325" y="414"/>
                    </a:lnTo>
                    <a:lnTo>
                      <a:pt x="305" y="369"/>
                    </a:lnTo>
                    <a:lnTo>
                      <a:pt x="295" y="344"/>
                    </a:lnTo>
                    <a:lnTo>
                      <a:pt x="284" y="316"/>
                    </a:lnTo>
                    <a:lnTo>
                      <a:pt x="274" y="286"/>
                    </a:lnTo>
                    <a:lnTo>
                      <a:pt x="264" y="253"/>
                    </a:lnTo>
                    <a:lnTo>
                      <a:pt x="256" y="220"/>
                    </a:lnTo>
                    <a:lnTo>
                      <a:pt x="247" y="185"/>
                    </a:lnTo>
                    <a:lnTo>
                      <a:pt x="241" y="148"/>
                    </a:lnTo>
                    <a:lnTo>
                      <a:pt x="234" y="109"/>
                    </a:lnTo>
                    <a:lnTo>
                      <a:pt x="231" y="71"/>
                    </a:lnTo>
                    <a:lnTo>
                      <a:pt x="230" y="31"/>
                    </a:lnTo>
                    <a:lnTo>
                      <a:pt x="230" y="31"/>
                    </a:lnTo>
                    <a:lnTo>
                      <a:pt x="234" y="30"/>
                    </a:lnTo>
                    <a:lnTo>
                      <a:pt x="239" y="26"/>
                    </a:lnTo>
                    <a:lnTo>
                      <a:pt x="243" y="21"/>
                    </a:lnTo>
                    <a:lnTo>
                      <a:pt x="244" y="15"/>
                    </a:lnTo>
                    <a:lnTo>
                      <a:pt x="244" y="15"/>
                    </a:lnTo>
                    <a:lnTo>
                      <a:pt x="243" y="10"/>
                    </a:lnTo>
                    <a:lnTo>
                      <a:pt x="239" y="5"/>
                    </a:lnTo>
                    <a:lnTo>
                      <a:pt x="234" y="1"/>
                    </a:lnTo>
                    <a:lnTo>
                      <a:pt x="228" y="0"/>
                    </a:lnTo>
                    <a:lnTo>
                      <a:pt x="228" y="0"/>
                    </a:lnTo>
                    <a:lnTo>
                      <a:pt x="223" y="1"/>
                    </a:lnTo>
                    <a:lnTo>
                      <a:pt x="218" y="5"/>
                    </a:lnTo>
                    <a:lnTo>
                      <a:pt x="215" y="10"/>
                    </a:lnTo>
                    <a:lnTo>
                      <a:pt x="213" y="15"/>
                    </a:lnTo>
                    <a:lnTo>
                      <a:pt x="213" y="15"/>
                    </a:lnTo>
                    <a:lnTo>
                      <a:pt x="215" y="21"/>
                    </a:lnTo>
                    <a:lnTo>
                      <a:pt x="218" y="26"/>
                    </a:lnTo>
                    <a:lnTo>
                      <a:pt x="222" y="30"/>
                    </a:lnTo>
                    <a:lnTo>
                      <a:pt x="228" y="31"/>
                    </a:lnTo>
                    <a:lnTo>
                      <a:pt x="228" y="31"/>
                    </a:lnTo>
                    <a:lnTo>
                      <a:pt x="227" y="71"/>
                    </a:lnTo>
                    <a:lnTo>
                      <a:pt x="223" y="109"/>
                    </a:lnTo>
                    <a:lnTo>
                      <a:pt x="217" y="148"/>
                    </a:lnTo>
                    <a:lnTo>
                      <a:pt x="210" y="185"/>
                    </a:lnTo>
                    <a:lnTo>
                      <a:pt x="202" y="220"/>
                    </a:lnTo>
                    <a:lnTo>
                      <a:pt x="193" y="253"/>
                    </a:lnTo>
                    <a:lnTo>
                      <a:pt x="184" y="286"/>
                    </a:lnTo>
                    <a:lnTo>
                      <a:pt x="172" y="316"/>
                    </a:lnTo>
                    <a:lnTo>
                      <a:pt x="162" y="344"/>
                    </a:lnTo>
                    <a:lnTo>
                      <a:pt x="152" y="369"/>
                    </a:lnTo>
                    <a:lnTo>
                      <a:pt x="133" y="412"/>
                    </a:lnTo>
                    <a:lnTo>
                      <a:pt x="116" y="445"/>
                    </a:lnTo>
                    <a:lnTo>
                      <a:pt x="107" y="465"/>
                    </a:lnTo>
                    <a:lnTo>
                      <a:pt x="107" y="465"/>
                    </a:lnTo>
                    <a:lnTo>
                      <a:pt x="104" y="467"/>
                    </a:lnTo>
                    <a:lnTo>
                      <a:pt x="103" y="470"/>
                    </a:lnTo>
                    <a:lnTo>
                      <a:pt x="103" y="471"/>
                    </a:lnTo>
                    <a:lnTo>
                      <a:pt x="103" y="471"/>
                    </a:lnTo>
                    <a:lnTo>
                      <a:pt x="95" y="480"/>
                    </a:lnTo>
                    <a:lnTo>
                      <a:pt x="82" y="498"/>
                    </a:lnTo>
                    <a:lnTo>
                      <a:pt x="74" y="512"/>
                    </a:lnTo>
                    <a:lnTo>
                      <a:pt x="66" y="528"/>
                    </a:lnTo>
                    <a:lnTo>
                      <a:pt x="56" y="548"/>
                    </a:lnTo>
                    <a:lnTo>
                      <a:pt x="47" y="570"/>
                    </a:lnTo>
                    <a:lnTo>
                      <a:pt x="38" y="596"/>
                    </a:lnTo>
                    <a:lnTo>
                      <a:pt x="29" y="626"/>
                    </a:lnTo>
                    <a:lnTo>
                      <a:pt x="21" y="660"/>
                    </a:lnTo>
                    <a:lnTo>
                      <a:pt x="13" y="698"/>
                    </a:lnTo>
                    <a:lnTo>
                      <a:pt x="8" y="739"/>
                    </a:lnTo>
                    <a:lnTo>
                      <a:pt x="3" y="785"/>
                    </a:lnTo>
                    <a:lnTo>
                      <a:pt x="0" y="836"/>
                    </a:lnTo>
                    <a:lnTo>
                      <a:pt x="0" y="891"/>
                    </a:lnTo>
                    <a:lnTo>
                      <a:pt x="0" y="891"/>
                    </a:lnTo>
                    <a:lnTo>
                      <a:pt x="0" y="952"/>
                    </a:lnTo>
                    <a:lnTo>
                      <a:pt x="3" y="1011"/>
                    </a:lnTo>
                    <a:lnTo>
                      <a:pt x="7" y="1070"/>
                    </a:lnTo>
                    <a:lnTo>
                      <a:pt x="13" y="1127"/>
                    </a:lnTo>
                    <a:lnTo>
                      <a:pt x="20" y="1183"/>
                    </a:lnTo>
                    <a:lnTo>
                      <a:pt x="27" y="1236"/>
                    </a:lnTo>
                    <a:lnTo>
                      <a:pt x="34" y="1286"/>
                    </a:lnTo>
                    <a:lnTo>
                      <a:pt x="43" y="1332"/>
                    </a:lnTo>
                    <a:lnTo>
                      <a:pt x="59" y="1414"/>
                    </a:lnTo>
                    <a:lnTo>
                      <a:pt x="73" y="1476"/>
                    </a:lnTo>
                    <a:lnTo>
                      <a:pt x="87" y="1530"/>
                    </a:lnTo>
                    <a:lnTo>
                      <a:pt x="230" y="1530"/>
                    </a:lnTo>
                    <a:lnTo>
                      <a:pt x="372" y="1530"/>
                    </a:lnTo>
                    <a:lnTo>
                      <a:pt x="372" y="1530"/>
                    </a:lnTo>
                    <a:lnTo>
                      <a:pt x="386" y="1476"/>
                    </a:lnTo>
                    <a:lnTo>
                      <a:pt x="400" y="1414"/>
                    </a:lnTo>
                    <a:lnTo>
                      <a:pt x="416" y="1332"/>
                    </a:lnTo>
                    <a:lnTo>
                      <a:pt x="423" y="1286"/>
                    </a:lnTo>
                    <a:lnTo>
                      <a:pt x="431" y="1235"/>
                    </a:lnTo>
                    <a:lnTo>
                      <a:pt x="438" y="1183"/>
                    </a:lnTo>
                    <a:lnTo>
                      <a:pt x="444" y="1127"/>
                    </a:lnTo>
                    <a:lnTo>
                      <a:pt x="451" y="1070"/>
                    </a:lnTo>
                    <a:lnTo>
                      <a:pt x="454" y="1011"/>
                    </a:lnTo>
                    <a:lnTo>
                      <a:pt x="458" y="952"/>
                    </a:lnTo>
                    <a:lnTo>
                      <a:pt x="458" y="891"/>
                    </a:lnTo>
                    <a:lnTo>
                      <a:pt x="458" y="891"/>
                    </a:lnTo>
                    <a:lnTo>
                      <a:pt x="457" y="836"/>
                    </a:lnTo>
                    <a:lnTo>
                      <a:pt x="454" y="785"/>
                    </a:lnTo>
                    <a:lnTo>
                      <a:pt x="449" y="739"/>
                    </a:lnTo>
                    <a:lnTo>
                      <a:pt x="443" y="698"/>
                    </a:lnTo>
                    <a:lnTo>
                      <a:pt x="437" y="661"/>
                    </a:lnTo>
                    <a:lnTo>
                      <a:pt x="428" y="627"/>
                    </a:lnTo>
                    <a:lnTo>
                      <a:pt x="420" y="596"/>
                    </a:lnTo>
                    <a:lnTo>
                      <a:pt x="411" y="570"/>
                    </a:lnTo>
                    <a:lnTo>
                      <a:pt x="401" y="548"/>
                    </a:lnTo>
                    <a:lnTo>
                      <a:pt x="392" y="528"/>
                    </a:lnTo>
                    <a:lnTo>
                      <a:pt x="384" y="512"/>
                    </a:lnTo>
                    <a:lnTo>
                      <a:pt x="376" y="498"/>
                    </a:lnTo>
                    <a:lnTo>
                      <a:pt x="362" y="480"/>
                    </a:lnTo>
                    <a:lnTo>
                      <a:pt x="355" y="471"/>
                    </a:lnTo>
                    <a:close/>
                    <a:moveTo>
                      <a:pt x="228" y="607"/>
                    </a:moveTo>
                    <a:lnTo>
                      <a:pt x="228" y="607"/>
                    </a:lnTo>
                    <a:lnTo>
                      <a:pt x="236" y="607"/>
                    </a:lnTo>
                    <a:lnTo>
                      <a:pt x="243" y="609"/>
                    </a:lnTo>
                    <a:lnTo>
                      <a:pt x="258" y="614"/>
                    </a:lnTo>
                    <a:lnTo>
                      <a:pt x="271" y="620"/>
                    </a:lnTo>
                    <a:lnTo>
                      <a:pt x="282" y="629"/>
                    </a:lnTo>
                    <a:lnTo>
                      <a:pt x="290" y="640"/>
                    </a:lnTo>
                    <a:lnTo>
                      <a:pt x="298" y="652"/>
                    </a:lnTo>
                    <a:lnTo>
                      <a:pt x="302" y="667"/>
                    </a:lnTo>
                    <a:lnTo>
                      <a:pt x="303" y="675"/>
                    </a:lnTo>
                    <a:lnTo>
                      <a:pt x="303" y="682"/>
                    </a:lnTo>
                    <a:lnTo>
                      <a:pt x="303" y="682"/>
                    </a:lnTo>
                    <a:lnTo>
                      <a:pt x="303" y="689"/>
                    </a:lnTo>
                    <a:lnTo>
                      <a:pt x="302" y="697"/>
                    </a:lnTo>
                    <a:lnTo>
                      <a:pt x="298" y="711"/>
                    </a:lnTo>
                    <a:lnTo>
                      <a:pt x="290" y="723"/>
                    </a:lnTo>
                    <a:lnTo>
                      <a:pt x="282" y="734"/>
                    </a:lnTo>
                    <a:lnTo>
                      <a:pt x="271" y="743"/>
                    </a:lnTo>
                    <a:lnTo>
                      <a:pt x="258" y="750"/>
                    </a:lnTo>
                    <a:lnTo>
                      <a:pt x="243" y="754"/>
                    </a:lnTo>
                    <a:lnTo>
                      <a:pt x="237" y="755"/>
                    </a:lnTo>
                    <a:lnTo>
                      <a:pt x="228" y="757"/>
                    </a:lnTo>
                    <a:lnTo>
                      <a:pt x="228" y="757"/>
                    </a:lnTo>
                    <a:lnTo>
                      <a:pt x="221" y="755"/>
                    </a:lnTo>
                    <a:lnTo>
                      <a:pt x="213" y="754"/>
                    </a:lnTo>
                    <a:lnTo>
                      <a:pt x="200" y="750"/>
                    </a:lnTo>
                    <a:lnTo>
                      <a:pt x="187" y="743"/>
                    </a:lnTo>
                    <a:lnTo>
                      <a:pt x="176" y="734"/>
                    </a:lnTo>
                    <a:lnTo>
                      <a:pt x="167" y="723"/>
                    </a:lnTo>
                    <a:lnTo>
                      <a:pt x="160" y="711"/>
                    </a:lnTo>
                    <a:lnTo>
                      <a:pt x="156" y="697"/>
                    </a:lnTo>
                    <a:lnTo>
                      <a:pt x="155" y="689"/>
                    </a:lnTo>
                    <a:lnTo>
                      <a:pt x="155" y="682"/>
                    </a:lnTo>
                    <a:lnTo>
                      <a:pt x="155" y="682"/>
                    </a:lnTo>
                    <a:lnTo>
                      <a:pt x="155" y="675"/>
                    </a:lnTo>
                    <a:lnTo>
                      <a:pt x="156" y="667"/>
                    </a:lnTo>
                    <a:lnTo>
                      <a:pt x="160" y="653"/>
                    </a:lnTo>
                    <a:lnTo>
                      <a:pt x="167" y="640"/>
                    </a:lnTo>
                    <a:lnTo>
                      <a:pt x="176" y="630"/>
                    </a:lnTo>
                    <a:lnTo>
                      <a:pt x="187" y="620"/>
                    </a:lnTo>
                    <a:lnTo>
                      <a:pt x="200" y="614"/>
                    </a:lnTo>
                    <a:lnTo>
                      <a:pt x="213" y="609"/>
                    </a:lnTo>
                    <a:lnTo>
                      <a:pt x="221" y="607"/>
                    </a:lnTo>
                    <a:lnTo>
                      <a:pt x="228" y="607"/>
                    </a:lnTo>
                    <a:close/>
                    <a:moveTo>
                      <a:pt x="228" y="872"/>
                    </a:moveTo>
                    <a:lnTo>
                      <a:pt x="228" y="872"/>
                    </a:lnTo>
                    <a:lnTo>
                      <a:pt x="237" y="873"/>
                    </a:lnTo>
                    <a:lnTo>
                      <a:pt x="244" y="873"/>
                    </a:lnTo>
                    <a:lnTo>
                      <a:pt x="258" y="878"/>
                    </a:lnTo>
                    <a:lnTo>
                      <a:pt x="271" y="884"/>
                    </a:lnTo>
                    <a:lnTo>
                      <a:pt x="282" y="894"/>
                    </a:lnTo>
                    <a:lnTo>
                      <a:pt x="290" y="906"/>
                    </a:lnTo>
                    <a:lnTo>
                      <a:pt x="298" y="918"/>
                    </a:lnTo>
                    <a:lnTo>
                      <a:pt x="302" y="932"/>
                    </a:lnTo>
                    <a:lnTo>
                      <a:pt x="303" y="939"/>
                    </a:lnTo>
                    <a:lnTo>
                      <a:pt x="303" y="947"/>
                    </a:lnTo>
                    <a:lnTo>
                      <a:pt x="303" y="947"/>
                    </a:lnTo>
                    <a:lnTo>
                      <a:pt x="303" y="954"/>
                    </a:lnTo>
                    <a:lnTo>
                      <a:pt x="302" y="962"/>
                    </a:lnTo>
                    <a:lnTo>
                      <a:pt x="298" y="975"/>
                    </a:lnTo>
                    <a:lnTo>
                      <a:pt x="290" y="988"/>
                    </a:lnTo>
                    <a:lnTo>
                      <a:pt x="282" y="999"/>
                    </a:lnTo>
                    <a:lnTo>
                      <a:pt x="271" y="1009"/>
                    </a:lnTo>
                    <a:lnTo>
                      <a:pt x="258" y="1015"/>
                    </a:lnTo>
                    <a:lnTo>
                      <a:pt x="244" y="1020"/>
                    </a:lnTo>
                    <a:lnTo>
                      <a:pt x="237" y="1021"/>
                    </a:lnTo>
                    <a:lnTo>
                      <a:pt x="230" y="1021"/>
                    </a:lnTo>
                    <a:lnTo>
                      <a:pt x="230" y="1021"/>
                    </a:lnTo>
                    <a:lnTo>
                      <a:pt x="221" y="1021"/>
                    </a:lnTo>
                    <a:lnTo>
                      <a:pt x="213" y="1020"/>
                    </a:lnTo>
                    <a:lnTo>
                      <a:pt x="200" y="1015"/>
                    </a:lnTo>
                    <a:lnTo>
                      <a:pt x="187" y="1009"/>
                    </a:lnTo>
                    <a:lnTo>
                      <a:pt x="176" y="999"/>
                    </a:lnTo>
                    <a:lnTo>
                      <a:pt x="167" y="989"/>
                    </a:lnTo>
                    <a:lnTo>
                      <a:pt x="160" y="975"/>
                    </a:lnTo>
                    <a:lnTo>
                      <a:pt x="156" y="962"/>
                    </a:lnTo>
                    <a:lnTo>
                      <a:pt x="155" y="954"/>
                    </a:lnTo>
                    <a:lnTo>
                      <a:pt x="155" y="947"/>
                    </a:lnTo>
                    <a:lnTo>
                      <a:pt x="155" y="947"/>
                    </a:lnTo>
                    <a:lnTo>
                      <a:pt x="155" y="939"/>
                    </a:lnTo>
                    <a:lnTo>
                      <a:pt x="156" y="932"/>
                    </a:lnTo>
                    <a:lnTo>
                      <a:pt x="160" y="918"/>
                    </a:lnTo>
                    <a:lnTo>
                      <a:pt x="167" y="906"/>
                    </a:lnTo>
                    <a:lnTo>
                      <a:pt x="176" y="894"/>
                    </a:lnTo>
                    <a:lnTo>
                      <a:pt x="187" y="884"/>
                    </a:lnTo>
                    <a:lnTo>
                      <a:pt x="200" y="878"/>
                    </a:lnTo>
                    <a:lnTo>
                      <a:pt x="213" y="873"/>
                    </a:lnTo>
                    <a:lnTo>
                      <a:pt x="221" y="873"/>
                    </a:lnTo>
                    <a:lnTo>
                      <a:pt x="228" y="872"/>
                    </a:lnTo>
                    <a:close/>
                    <a:moveTo>
                      <a:pt x="230" y="1286"/>
                    </a:moveTo>
                    <a:lnTo>
                      <a:pt x="230" y="1286"/>
                    </a:lnTo>
                    <a:lnTo>
                      <a:pt x="221" y="1286"/>
                    </a:lnTo>
                    <a:lnTo>
                      <a:pt x="215" y="1284"/>
                    </a:lnTo>
                    <a:lnTo>
                      <a:pt x="200" y="1280"/>
                    </a:lnTo>
                    <a:lnTo>
                      <a:pt x="187" y="1273"/>
                    </a:lnTo>
                    <a:lnTo>
                      <a:pt x="176" y="1265"/>
                    </a:lnTo>
                    <a:lnTo>
                      <a:pt x="167" y="1253"/>
                    </a:lnTo>
                    <a:lnTo>
                      <a:pt x="160" y="1241"/>
                    </a:lnTo>
                    <a:lnTo>
                      <a:pt x="156" y="1226"/>
                    </a:lnTo>
                    <a:lnTo>
                      <a:pt x="155" y="1219"/>
                    </a:lnTo>
                    <a:lnTo>
                      <a:pt x="155" y="1211"/>
                    </a:lnTo>
                    <a:lnTo>
                      <a:pt x="155" y="1211"/>
                    </a:lnTo>
                    <a:lnTo>
                      <a:pt x="155" y="1204"/>
                    </a:lnTo>
                    <a:lnTo>
                      <a:pt x="156" y="1196"/>
                    </a:lnTo>
                    <a:lnTo>
                      <a:pt x="160" y="1183"/>
                    </a:lnTo>
                    <a:lnTo>
                      <a:pt x="167" y="1170"/>
                    </a:lnTo>
                    <a:lnTo>
                      <a:pt x="176" y="1159"/>
                    </a:lnTo>
                    <a:lnTo>
                      <a:pt x="187" y="1150"/>
                    </a:lnTo>
                    <a:lnTo>
                      <a:pt x="200" y="1143"/>
                    </a:lnTo>
                    <a:lnTo>
                      <a:pt x="215" y="1139"/>
                    </a:lnTo>
                    <a:lnTo>
                      <a:pt x="221" y="1138"/>
                    </a:lnTo>
                    <a:lnTo>
                      <a:pt x="230" y="1138"/>
                    </a:lnTo>
                    <a:lnTo>
                      <a:pt x="230" y="1138"/>
                    </a:lnTo>
                    <a:lnTo>
                      <a:pt x="237" y="1138"/>
                    </a:lnTo>
                    <a:lnTo>
                      <a:pt x="244" y="1139"/>
                    </a:lnTo>
                    <a:lnTo>
                      <a:pt x="258" y="1143"/>
                    </a:lnTo>
                    <a:lnTo>
                      <a:pt x="271" y="1150"/>
                    </a:lnTo>
                    <a:lnTo>
                      <a:pt x="282" y="1159"/>
                    </a:lnTo>
                    <a:lnTo>
                      <a:pt x="290" y="1170"/>
                    </a:lnTo>
                    <a:lnTo>
                      <a:pt x="298" y="1183"/>
                    </a:lnTo>
                    <a:lnTo>
                      <a:pt x="302" y="1196"/>
                    </a:lnTo>
                    <a:lnTo>
                      <a:pt x="303" y="1204"/>
                    </a:lnTo>
                    <a:lnTo>
                      <a:pt x="303" y="1211"/>
                    </a:lnTo>
                    <a:lnTo>
                      <a:pt x="303" y="1211"/>
                    </a:lnTo>
                    <a:lnTo>
                      <a:pt x="303" y="1219"/>
                    </a:lnTo>
                    <a:lnTo>
                      <a:pt x="302" y="1226"/>
                    </a:lnTo>
                    <a:lnTo>
                      <a:pt x="298" y="1241"/>
                    </a:lnTo>
                    <a:lnTo>
                      <a:pt x="290" y="1253"/>
                    </a:lnTo>
                    <a:lnTo>
                      <a:pt x="282" y="1265"/>
                    </a:lnTo>
                    <a:lnTo>
                      <a:pt x="271" y="1273"/>
                    </a:lnTo>
                    <a:lnTo>
                      <a:pt x="258" y="1280"/>
                    </a:lnTo>
                    <a:lnTo>
                      <a:pt x="244" y="1284"/>
                    </a:lnTo>
                    <a:lnTo>
                      <a:pt x="237" y="1286"/>
                    </a:lnTo>
                    <a:lnTo>
                      <a:pt x="230" y="12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5" name="îṣlïḓè">
                <a:extLst>
                  <a:ext uri="{FF2B5EF4-FFF2-40B4-BE49-F238E27FC236}">
                    <a16:creationId xmlns:a16="http://schemas.microsoft.com/office/drawing/2014/main" xmlns="" id="{2B2294F3-15B9-42E9-9F42-587917428ED2}"/>
                  </a:ext>
                </a:extLst>
              </p:cNvPr>
              <p:cNvSpPr/>
              <p:nvPr/>
            </p:nvSpPr>
            <p:spPr bwMode="auto">
              <a:xfrm>
                <a:off x="8752798" y="2592254"/>
                <a:ext cx="221320" cy="275420"/>
              </a:xfrm>
              <a:custGeom>
                <a:avLst/>
                <a:gdLst>
                  <a:gd name="T0" fmla="*/ 221 w 270"/>
                  <a:gd name="T1" fmla="*/ 10 h 336"/>
                  <a:gd name="T2" fmla="*/ 226 w 270"/>
                  <a:gd name="T3" fmla="*/ 52 h 336"/>
                  <a:gd name="T4" fmla="*/ 220 w 270"/>
                  <a:gd name="T5" fmla="*/ 92 h 336"/>
                  <a:gd name="T6" fmla="*/ 213 w 270"/>
                  <a:gd name="T7" fmla="*/ 113 h 336"/>
                  <a:gd name="T8" fmla="*/ 211 w 270"/>
                  <a:gd name="T9" fmla="*/ 97 h 336"/>
                  <a:gd name="T10" fmla="*/ 206 w 270"/>
                  <a:gd name="T11" fmla="*/ 89 h 336"/>
                  <a:gd name="T12" fmla="*/ 199 w 270"/>
                  <a:gd name="T13" fmla="*/ 85 h 336"/>
                  <a:gd name="T14" fmla="*/ 193 w 270"/>
                  <a:gd name="T15" fmla="*/ 90 h 336"/>
                  <a:gd name="T16" fmla="*/ 179 w 270"/>
                  <a:gd name="T17" fmla="*/ 150 h 336"/>
                  <a:gd name="T18" fmla="*/ 164 w 270"/>
                  <a:gd name="T19" fmla="*/ 187 h 336"/>
                  <a:gd name="T20" fmla="*/ 136 w 270"/>
                  <a:gd name="T21" fmla="*/ 227 h 336"/>
                  <a:gd name="T22" fmla="*/ 114 w 270"/>
                  <a:gd name="T23" fmla="*/ 201 h 336"/>
                  <a:gd name="T24" fmla="*/ 95 w 270"/>
                  <a:gd name="T25" fmla="*/ 162 h 336"/>
                  <a:gd name="T26" fmla="*/ 80 w 270"/>
                  <a:gd name="T27" fmla="*/ 95 h 336"/>
                  <a:gd name="T28" fmla="*/ 73 w 270"/>
                  <a:gd name="T29" fmla="*/ 85 h 336"/>
                  <a:gd name="T30" fmla="*/ 65 w 270"/>
                  <a:gd name="T31" fmla="*/ 89 h 336"/>
                  <a:gd name="T32" fmla="*/ 60 w 270"/>
                  <a:gd name="T33" fmla="*/ 97 h 336"/>
                  <a:gd name="T34" fmla="*/ 58 w 270"/>
                  <a:gd name="T35" fmla="*/ 113 h 336"/>
                  <a:gd name="T36" fmla="*/ 50 w 270"/>
                  <a:gd name="T37" fmla="*/ 92 h 336"/>
                  <a:gd name="T38" fmla="*/ 44 w 270"/>
                  <a:gd name="T39" fmla="*/ 53 h 336"/>
                  <a:gd name="T40" fmla="*/ 49 w 270"/>
                  <a:gd name="T41" fmla="*/ 10 h 336"/>
                  <a:gd name="T42" fmla="*/ 11 w 270"/>
                  <a:gd name="T43" fmla="*/ 0 h 336"/>
                  <a:gd name="T44" fmla="*/ 1 w 270"/>
                  <a:gd name="T45" fmla="*/ 52 h 336"/>
                  <a:gd name="T46" fmla="*/ 3 w 270"/>
                  <a:gd name="T47" fmla="*/ 107 h 336"/>
                  <a:gd name="T48" fmla="*/ 14 w 270"/>
                  <a:gd name="T49" fmla="*/ 152 h 336"/>
                  <a:gd name="T50" fmla="*/ 20 w 270"/>
                  <a:gd name="T51" fmla="*/ 164 h 336"/>
                  <a:gd name="T52" fmla="*/ 22 w 270"/>
                  <a:gd name="T53" fmla="*/ 143 h 336"/>
                  <a:gd name="T54" fmla="*/ 30 w 270"/>
                  <a:gd name="T55" fmla="*/ 133 h 336"/>
                  <a:gd name="T56" fmla="*/ 40 w 270"/>
                  <a:gd name="T57" fmla="*/ 128 h 336"/>
                  <a:gd name="T58" fmla="*/ 50 w 270"/>
                  <a:gd name="T59" fmla="*/ 135 h 336"/>
                  <a:gd name="T60" fmla="*/ 61 w 270"/>
                  <a:gd name="T61" fmla="*/ 190 h 336"/>
                  <a:gd name="T62" fmla="*/ 76 w 270"/>
                  <a:gd name="T63" fmla="*/ 241 h 336"/>
                  <a:gd name="T64" fmla="*/ 104 w 270"/>
                  <a:gd name="T65" fmla="*/ 297 h 336"/>
                  <a:gd name="T66" fmla="*/ 136 w 270"/>
                  <a:gd name="T67" fmla="*/ 336 h 336"/>
                  <a:gd name="T68" fmla="*/ 178 w 270"/>
                  <a:gd name="T69" fmla="*/ 278 h 336"/>
                  <a:gd name="T70" fmla="*/ 201 w 270"/>
                  <a:gd name="T71" fmla="*/ 222 h 336"/>
                  <a:gd name="T72" fmla="*/ 214 w 270"/>
                  <a:gd name="T73" fmla="*/ 162 h 336"/>
                  <a:gd name="T74" fmla="*/ 222 w 270"/>
                  <a:gd name="T75" fmla="*/ 130 h 336"/>
                  <a:gd name="T76" fmla="*/ 230 w 270"/>
                  <a:gd name="T77" fmla="*/ 128 h 336"/>
                  <a:gd name="T78" fmla="*/ 240 w 270"/>
                  <a:gd name="T79" fmla="*/ 133 h 336"/>
                  <a:gd name="T80" fmla="*/ 250 w 270"/>
                  <a:gd name="T81" fmla="*/ 149 h 336"/>
                  <a:gd name="T82" fmla="*/ 250 w 270"/>
                  <a:gd name="T83" fmla="*/ 169 h 336"/>
                  <a:gd name="T84" fmla="*/ 261 w 270"/>
                  <a:gd name="T85" fmla="*/ 136 h 336"/>
                  <a:gd name="T86" fmla="*/ 270 w 270"/>
                  <a:gd name="T87" fmla="*/ 92 h 336"/>
                  <a:gd name="T88" fmla="*/ 267 w 270"/>
                  <a:gd name="T89" fmla="*/ 31 h 336"/>
                  <a:gd name="T90" fmla="*/ 219 w 270"/>
                  <a:gd name="T91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0" h="336">
                    <a:moveTo>
                      <a:pt x="219" y="0"/>
                    </a:moveTo>
                    <a:lnTo>
                      <a:pt x="219" y="0"/>
                    </a:lnTo>
                    <a:lnTo>
                      <a:pt x="221" y="10"/>
                    </a:lnTo>
                    <a:lnTo>
                      <a:pt x="224" y="21"/>
                    </a:lnTo>
                    <a:lnTo>
                      <a:pt x="226" y="36"/>
                    </a:lnTo>
                    <a:lnTo>
                      <a:pt x="226" y="52"/>
                    </a:lnTo>
                    <a:lnTo>
                      <a:pt x="225" y="72"/>
                    </a:lnTo>
                    <a:lnTo>
                      <a:pt x="222" y="82"/>
                    </a:lnTo>
                    <a:lnTo>
                      <a:pt x="220" y="92"/>
                    </a:lnTo>
                    <a:lnTo>
                      <a:pt x="216" y="103"/>
                    </a:lnTo>
                    <a:lnTo>
                      <a:pt x="213" y="113"/>
                    </a:lnTo>
                    <a:lnTo>
                      <a:pt x="213" y="113"/>
                    </a:lnTo>
                    <a:lnTo>
                      <a:pt x="213" y="110"/>
                    </a:lnTo>
                    <a:lnTo>
                      <a:pt x="213" y="104"/>
                    </a:lnTo>
                    <a:lnTo>
                      <a:pt x="211" y="97"/>
                    </a:lnTo>
                    <a:lnTo>
                      <a:pt x="209" y="93"/>
                    </a:lnTo>
                    <a:lnTo>
                      <a:pt x="206" y="89"/>
                    </a:lnTo>
                    <a:lnTo>
                      <a:pt x="206" y="89"/>
                    </a:lnTo>
                    <a:lnTo>
                      <a:pt x="203" y="87"/>
                    </a:lnTo>
                    <a:lnTo>
                      <a:pt x="199" y="85"/>
                    </a:lnTo>
                    <a:lnTo>
                      <a:pt x="199" y="85"/>
                    </a:lnTo>
                    <a:lnTo>
                      <a:pt x="196" y="85"/>
                    </a:lnTo>
                    <a:lnTo>
                      <a:pt x="194" y="88"/>
                    </a:lnTo>
                    <a:lnTo>
                      <a:pt x="193" y="90"/>
                    </a:lnTo>
                    <a:lnTo>
                      <a:pt x="191" y="95"/>
                    </a:lnTo>
                    <a:lnTo>
                      <a:pt x="185" y="128"/>
                    </a:lnTo>
                    <a:lnTo>
                      <a:pt x="179" y="150"/>
                    </a:lnTo>
                    <a:lnTo>
                      <a:pt x="175" y="162"/>
                    </a:lnTo>
                    <a:lnTo>
                      <a:pt x="170" y="175"/>
                    </a:lnTo>
                    <a:lnTo>
                      <a:pt x="164" y="187"/>
                    </a:lnTo>
                    <a:lnTo>
                      <a:pt x="157" y="200"/>
                    </a:lnTo>
                    <a:lnTo>
                      <a:pt x="147" y="213"/>
                    </a:lnTo>
                    <a:lnTo>
                      <a:pt x="136" y="227"/>
                    </a:lnTo>
                    <a:lnTo>
                      <a:pt x="136" y="227"/>
                    </a:lnTo>
                    <a:lnTo>
                      <a:pt x="124" y="213"/>
                    </a:lnTo>
                    <a:lnTo>
                      <a:pt x="114" y="201"/>
                    </a:lnTo>
                    <a:lnTo>
                      <a:pt x="107" y="187"/>
                    </a:lnTo>
                    <a:lnTo>
                      <a:pt x="101" y="175"/>
                    </a:lnTo>
                    <a:lnTo>
                      <a:pt x="95" y="162"/>
                    </a:lnTo>
                    <a:lnTo>
                      <a:pt x="91" y="150"/>
                    </a:lnTo>
                    <a:lnTo>
                      <a:pt x="86" y="128"/>
                    </a:lnTo>
                    <a:lnTo>
                      <a:pt x="80" y="95"/>
                    </a:lnTo>
                    <a:lnTo>
                      <a:pt x="78" y="90"/>
                    </a:lnTo>
                    <a:lnTo>
                      <a:pt x="76" y="88"/>
                    </a:lnTo>
                    <a:lnTo>
                      <a:pt x="73" y="85"/>
                    </a:lnTo>
                    <a:lnTo>
                      <a:pt x="71" y="85"/>
                    </a:lnTo>
                    <a:lnTo>
                      <a:pt x="71" y="85"/>
                    </a:lnTo>
                    <a:lnTo>
                      <a:pt x="65" y="89"/>
                    </a:lnTo>
                    <a:lnTo>
                      <a:pt x="65" y="89"/>
                    </a:lnTo>
                    <a:lnTo>
                      <a:pt x="61" y="93"/>
                    </a:lnTo>
                    <a:lnTo>
                      <a:pt x="60" y="97"/>
                    </a:lnTo>
                    <a:lnTo>
                      <a:pt x="57" y="104"/>
                    </a:lnTo>
                    <a:lnTo>
                      <a:pt x="57" y="110"/>
                    </a:lnTo>
                    <a:lnTo>
                      <a:pt x="58" y="113"/>
                    </a:lnTo>
                    <a:lnTo>
                      <a:pt x="58" y="113"/>
                    </a:lnTo>
                    <a:lnTo>
                      <a:pt x="54" y="103"/>
                    </a:lnTo>
                    <a:lnTo>
                      <a:pt x="50" y="92"/>
                    </a:lnTo>
                    <a:lnTo>
                      <a:pt x="47" y="82"/>
                    </a:lnTo>
                    <a:lnTo>
                      <a:pt x="46" y="72"/>
                    </a:lnTo>
                    <a:lnTo>
                      <a:pt x="44" y="53"/>
                    </a:lnTo>
                    <a:lnTo>
                      <a:pt x="45" y="36"/>
                    </a:lnTo>
                    <a:lnTo>
                      <a:pt x="46" y="21"/>
                    </a:lnTo>
                    <a:lnTo>
                      <a:pt x="49" y="10"/>
                    </a:lnTo>
                    <a:lnTo>
                      <a:pt x="52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15"/>
                    </a:lnTo>
                    <a:lnTo>
                      <a:pt x="4" y="31"/>
                    </a:lnTo>
                    <a:lnTo>
                      <a:pt x="1" y="52"/>
                    </a:lnTo>
                    <a:lnTo>
                      <a:pt x="0" y="78"/>
                    </a:lnTo>
                    <a:lnTo>
                      <a:pt x="1" y="92"/>
                    </a:lnTo>
                    <a:lnTo>
                      <a:pt x="3" y="107"/>
                    </a:lnTo>
                    <a:lnTo>
                      <a:pt x="5" y="121"/>
                    </a:lnTo>
                    <a:lnTo>
                      <a:pt x="9" y="136"/>
                    </a:lnTo>
                    <a:lnTo>
                      <a:pt x="14" y="152"/>
                    </a:lnTo>
                    <a:lnTo>
                      <a:pt x="21" y="169"/>
                    </a:lnTo>
                    <a:lnTo>
                      <a:pt x="21" y="169"/>
                    </a:lnTo>
                    <a:lnTo>
                      <a:pt x="20" y="164"/>
                    </a:lnTo>
                    <a:lnTo>
                      <a:pt x="20" y="155"/>
                    </a:lnTo>
                    <a:lnTo>
                      <a:pt x="21" y="149"/>
                    </a:lnTo>
                    <a:lnTo>
                      <a:pt x="22" y="143"/>
                    </a:lnTo>
                    <a:lnTo>
                      <a:pt x="26" y="138"/>
                    </a:lnTo>
                    <a:lnTo>
                      <a:pt x="30" y="133"/>
                    </a:lnTo>
                    <a:lnTo>
                      <a:pt x="30" y="133"/>
                    </a:lnTo>
                    <a:lnTo>
                      <a:pt x="35" y="129"/>
                    </a:lnTo>
                    <a:lnTo>
                      <a:pt x="40" y="128"/>
                    </a:lnTo>
                    <a:lnTo>
                      <a:pt x="40" y="128"/>
                    </a:lnTo>
                    <a:lnTo>
                      <a:pt x="45" y="128"/>
                    </a:lnTo>
                    <a:lnTo>
                      <a:pt x="47" y="130"/>
                    </a:lnTo>
                    <a:lnTo>
                      <a:pt x="50" y="135"/>
                    </a:lnTo>
                    <a:lnTo>
                      <a:pt x="52" y="143"/>
                    </a:lnTo>
                    <a:lnTo>
                      <a:pt x="56" y="162"/>
                    </a:lnTo>
                    <a:lnTo>
                      <a:pt x="61" y="190"/>
                    </a:lnTo>
                    <a:lnTo>
                      <a:pt x="65" y="206"/>
                    </a:lnTo>
                    <a:lnTo>
                      <a:pt x="70" y="222"/>
                    </a:lnTo>
                    <a:lnTo>
                      <a:pt x="76" y="241"/>
                    </a:lnTo>
                    <a:lnTo>
                      <a:pt x="83" y="258"/>
                    </a:lnTo>
                    <a:lnTo>
                      <a:pt x="93" y="278"/>
                    </a:lnTo>
                    <a:lnTo>
                      <a:pt x="104" y="297"/>
                    </a:lnTo>
                    <a:lnTo>
                      <a:pt x="118" y="316"/>
                    </a:lnTo>
                    <a:lnTo>
                      <a:pt x="136" y="336"/>
                    </a:lnTo>
                    <a:lnTo>
                      <a:pt x="136" y="336"/>
                    </a:lnTo>
                    <a:lnTo>
                      <a:pt x="152" y="316"/>
                    </a:lnTo>
                    <a:lnTo>
                      <a:pt x="167" y="297"/>
                    </a:lnTo>
                    <a:lnTo>
                      <a:pt x="178" y="278"/>
                    </a:lnTo>
                    <a:lnTo>
                      <a:pt x="188" y="258"/>
                    </a:lnTo>
                    <a:lnTo>
                      <a:pt x="195" y="241"/>
                    </a:lnTo>
                    <a:lnTo>
                      <a:pt x="201" y="222"/>
                    </a:lnTo>
                    <a:lnTo>
                      <a:pt x="206" y="206"/>
                    </a:lnTo>
                    <a:lnTo>
                      <a:pt x="209" y="190"/>
                    </a:lnTo>
                    <a:lnTo>
                      <a:pt x="214" y="162"/>
                    </a:lnTo>
                    <a:lnTo>
                      <a:pt x="218" y="143"/>
                    </a:lnTo>
                    <a:lnTo>
                      <a:pt x="220" y="135"/>
                    </a:lnTo>
                    <a:lnTo>
                      <a:pt x="222" y="130"/>
                    </a:lnTo>
                    <a:lnTo>
                      <a:pt x="226" y="128"/>
                    </a:lnTo>
                    <a:lnTo>
                      <a:pt x="230" y="128"/>
                    </a:lnTo>
                    <a:lnTo>
                      <a:pt x="230" y="128"/>
                    </a:lnTo>
                    <a:lnTo>
                      <a:pt x="236" y="129"/>
                    </a:lnTo>
                    <a:lnTo>
                      <a:pt x="240" y="133"/>
                    </a:lnTo>
                    <a:lnTo>
                      <a:pt x="240" y="133"/>
                    </a:lnTo>
                    <a:lnTo>
                      <a:pt x="245" y="138"/>
                    </a:lnTo>
                    <a:lnTo>
                      <a:pt x="247" y="143"/>
                    </a:lnTo>
                    <a:lnTo>
                      <a:pt x="250" y="149"/>
                    </a:lnTo>
                    <a:lnTo>
                      <a:pt x="250" y="155"/>
                    </a:lnTo>
                    <a:lnTo>
                      <a:pt x="250" y="164"/>
                    </a:lnTo>
                    <a:lnTo>
                      <a:pt x="250" y="169"/>
                    </a:lnTo>
                    <a:lnTo>
                      <a:pt x="250" y="169"/>
                    </a:lnTo>
                    <a:lnTo>
                      <a:pt x="256" y="152"/>
                    </a:lnTo>
                    <a:lnTo>
                      <a:pt x="261" y="136"/>
                    </a:lnTo>
                    <a:lnTo>
                      <a:pt x="266" y="121"/>
                    </a:lnTo>
                    <a:lnTo>
                      <a:pt x="268" y="107"/>
                    </a:lnTo>
                    <a:lnTo>
                      <a:pt x="270" y="92"/>
                    </a:lnTo>
                    <a:lnTo>
                      <a:pt x="270" y="78"/>
                    </a:lnTo>
                    <a:lnTo>
                      <a:pt x="270" y="52"/>
                    </a:lnTo>
                    <a:lnTo>
                      <a:pt x="267" y="31"/>
                    </a:lnTo>
                    <a:lnTo>
                      <a:pt x="263" y="15"/>
                    </a:lnTo>
                    <a:lnTo>
                      <a:pt x="259" y="0"/>
                    </a:lnTo>
                    <a:lnTo>
                      <a:pt x="219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6" name="iṡ1ïḓe">
                <a:extLst>
                  <a:ext uri="{FF2B5EF4-FFF2-40B4-BE49-F238E27FC236}">
                    <a16:creationId xmlns:a16="http://schemas.microsoft.com/office/drawing/2014/main" xmlns="" id="{9BE96CF7-3BBB-451B-BFBE-6BD01A007953}"/>
                  </a:ext>
                </a:extLst>
              </p:cNvPr>
              <p:cNvSpPr/>
              <p:nvPr/>
            </p:nvSpPr>
            <p:spPr>
              <a:xfrm>
                <a:off x="7473973" y="3901172"/>
                <a:ext cx="2778879" cy="1090426"/>
              </a:xfrm>
              <a:custGeom>
                <a:avLst/>
                <a:gdLst>
                  <a:gd name="connsiteX0" fmla="*/ 419069 w 1875658"/>
                  <a:gd name="connsiteY0" fmla="*/ 14 h 736004"/>
                  <a:gd name="connsiteX1" fmla="*/ 465318 w 1875658"/>
                  <a:gd name="connsiteY1" fmla="*/ 7470 h 736004"/>
                  <a:gd name="connsiteX2" fmla="*/ 508583 w 1875658"/>
                  <a:gd name="connsiteY2" fmla="*/ 34313 h 736004"/>
                  <a:gd name="connsiteX3" fmla="*/ 538421 w 1875658"/>
                  <a:gd name="connsiteY3" fmla="*/ 74576 h 736004"/>
                  <a:gd name="connsiteX4" fmla="*/ 545881 w 1875658"/>
                  <a:gd name="connsiteY4" fmla="*/ 105892 h 736004"/>
                  <a:gd name="connsiteX5" fmla="*/ 559308 w 1875658"/>
                  <a:gd name="connsiteY5" fmla="*/ 99927 h 736004"/>
                  <a:gd name="connsiteX6" fmla="*/ 595114 w 1875658"/>
                  <a:gd name="connsiteY6" fmla="*/ 92471 h 736004"/>
                  <a:gd name="connsiteX7" fmla="*/ 638379 w 1875658"/>
                  <a:gd name="connsiteY7" fmla="*/ 101418 h 736004"/>
                  <a:gd name="connsiteX8" fmla="*/ 677168 w 1875658"/>
                  <a:gd name="connsiteY8" fmla="*/ 126769 h 736004"/>
                  <a:gd name="connsiteX9" fmla="*/ 690801 w 1875658"/>
                  <a:gd name="connsiteY9" fmla="*/ 147610 h 736004"/>
                  <a:gd name="connsiteX10" fmla="*/ 702553 w 1875658"/>
                  <a:gd name="connsiteY10" fmla="*/ 125422 h 736004"/>
                  <a:gd name="connsiteX11" fmla="*/ 723440 w 1875658"/>
                  <a:gd name="connsiteY11" fmla="*/ 103054 h 736004"/>
                  <a:gd name="connsiteX12" fmla="*/ 745818 w 1875658"/>
                  <a:gd name="connsiteY12" fmla="*/ 88142 h 736004"/>
                  <a:gd name="connsiteX13" fmla="*/ 774164 w 1875658"/>
                  <a:gd name="connsiteY13" fmla="*/ 79194 h 736004"/>
                  <a:gd name="connsiteX14" fmla="*/ 808478 w 1875658"/>
                  <a:gd name="connsiteY14" fmla="*/ 79194 h 736004"/>
                  <a:gd name="connsiteX15" fmla="*/ 826381 w 1875658"/>
                  <a:gd name="connsiteY15" fmla="*/ 83668 h 736004"/>
                  <a:gd name="connsiteX16" fmla="*/ 833840 w 1875658"/>
                  <a:gd name="connsiteY16" fmla="*/ 70247 h 736004"/>
                  <a:gd name="connsiteX17" fmla="*/ 853235 w 1875658"/>
                  <a:gd name="connsiteY17" fmla="*/ 46387 h 736004"/>
                  <a:gd name="connsiteX18" fmla="*/ 875614 w 1875658"/>
                  <a:gd name="connsiteY18" fmla="*/ 27001 h 736004"/>
                  <a:gd name="connsiteX19" fmla="*/ 908436 w 1875658"/>
                  <a:gd name="connsiteY19" fmla="*/ 13580 h 736004"/>
                  <a:gd name="connsiteX20" fmla="*/ 947225 w 1875658"/>
                  <a:gd name="connsiteY20" fmla="*/ 7615 h 736004"/>
                  <a:gd name="connsiteX21" fmla="*/ 993474 w 1875658"/>
                  <a:gd name="connsiteY21" fmla="*/ 15071 h 736004"/>
                  <a:gd name="connsiteX22" fmla="*/ 1036739 w 1875658"/>
                  <a:gd name="connsiteY22" fmla="*/ 41914 h 736004"/>
                  <a:gd name="connsiteX23" fmla="*/ 1066577 w 1875658"/>
                  <a:gd name="connsiteY23" fmla="*/ 82177 h 736004"/>
                  <a:gd name="connsiteX24" fmla="*/ 1074037 w 1875658"/>
                  <a:gd name="connsiteY24" fmla="*/ 113493 h 736004"/>
                  <a:gd name="connsiteX25" fmla="*/ 1087464 w 1875658"/>
                  <a:gd name="connsiteY25" fmla="*/ 107528 h 736004"/>
                  <a:gd name="connsiteX26" fmla="*/ 1123270 w 1875658"/>
                  <a:gd name="connsiteY26" fmla="*/ 100072 h 736004"/>
                  <a:gd name="connsiteX27" fmla="*/ 1166535 w 1875658"/>
                  <a:gd name="connsiteY27" fmla="*/ 109019 h 736004"/>
                  <a:gd name="connsiteX28" fmla="*/ 1178702 w 1875658"/>
                  <a:gd name="connsiteY28" fmla="*/ 116971 h 736004"/>
                  <a:gd name="connsiteX29" fmla="*/ 1191697 w 1875658"/>
                  <a:gd name="connsiteY29" fmla="*/ 103054 h 736004"/>
                  <a:gd name="connsiteX30" fmla="*/ 1214075 w 1875658"/>
                  <a:gd name="connsiteY30" fmla="*/ 88142 h 736004"/>
                  <a:gd name="connsiteX31" fmla="*/ 1242422 w 1875658"/>
                  <a:gd name="connsiteY31" fmla="*/ 79194 h 736004"/>
                  <a:gd name="connsiteX32" fmla="*/ 1276735 w 1875658"/>
                  <a:gd name="connsiteY32" fmla="*/ 79194 h 736004"/>
                  <a:gd name="connsiteX33" fmla="*/ 1294638 w 1875658"/>
                  <a:gd name="connsiteY33" fmla="*/ 83668 h 736004"/>
                  <a:gd name="connsiteX34" fmla="*/ 1302098 w 1875658"/>
                  <a:gd name="connsiteY34" fmla="*/ 70247 h 736004"/>
                  <a:gd name="connsiteX35" fmla="*/ 1321493 w 1875658"/>
                  <a:gd name="connsiteY35" fmla="*/ 46387 h 736004"/>
                  <a:gd name="connsiteX36" fmla="*/ 1343871 w 1875658"/>
                  <a:gd name="connsiteY36" fmla="*/ 27001 h 736004"/>
                  <a:gd name="connsiteX37" fmla="*/ 1376693 w 1875658"/>
                  <a:gd name="connsiteY37" fmla="*/ 13580 h 736004"/>
                  <a:gd name="connsiteX38" fmla="*/ 1415482 w 1875658"/>
                  <a:gd name="connsiteY38" fmla="*/ 7615 h 736004"/>
                  <a:gd name="connsiteX39" fmla="*/ 1450105 w 1875658"/>
                  <a:gd name="connsiteY39" fmla="*/ 13197 h 736004"/>
                  <a:gd name="connsiteX40" fmla="*/ 1486402 w 1875658"/>
                  <a:gd name="connsiteY40" fmla="*/ 7615 h 736004"/>
                  <a:gd name="connsiteX41" fmla="*/ 1532651 w 1875658"/>
                  <a:gd name="connsiteY41" fmla="*/ 15071 h 736004"/>
                  <a:gd name="connsiteX42" fmla="*/ 1575917 w 1875658"/>
                  <a:gd name="connsiteY42" fmla="*/ 41914 h 736004"/>
                  <a:gd name="connsiteX43" fmla="*/ 1605755 w 1875658"/>
                  <a:gd name="connsiteY43" fmla="*/ 82177 h 736004"/>
                  <a:gd name="connsiteX44" fmla="*/ 1610510 w 1875658"/>
                  <a:gd name="connsiteY44" fmla="*/ 100724 h 736004"/>
                  <a:gd name="connsiteX45" fmla="*/ 1611235 w 1875658"/>
                  <a:gd name="connsiteY45" fmla="*/ 104147 h 736004"/>
                  <a:gd name="connsiteX46" fmla="*/ 1627032 w 1875658"/>
                  <a:gd name="connsiteY46" fmla="*/ 107414 h 736004"/>
                  <a:gd name="connsiteX47" fmla="*/ 1642679 w 1875658"/>
                  <a:gd name="connsiteY47" fmla="*/ 102868 h 736004"/>
                  <a:gd name="connsiteX48" fmla="*/ 1662447 w 1875658"/>
                  <a:gd name="connsiteY48" fmla="*/ 100072 h 736004"/>
                  <a:gd name="connsiteX49" fmla="*/ 1705712 w 1875658"/>
                  <a:gd name="connsiteY49" fmla="*/ 109019 h 736004"/>
                  <a:gd name="connsiteX50" fmla="*/ 1744502 w 1875658"/>
                  <a:gd name="connsiteY50" fmla="*/ 134370 h 736004"/>
                  <a:gd name="connsiteX51" fmla="*/ 1769864 w 1875658"/>
                  <a:gd name="connsiteY51" fmla="*/ 173142 h 736004"/>
                  <a:gd name="connsiteX52" fmla="*/ 1773407 w 1875658"/>
                  <a:gd name="connsiteY52" fmla="*/ 193739 h 736004"/>
                  <a:gd name="connsiteX53" fmla="*/ 1775787 w 1875658"/>
                  <a:gd name="connsiteY53" fmla="*/ 210115 h 736004"/>
                  <a:gd name="connsiteX54" fmla="*/ 1776032 w 1875658"/>
                  <a:gd name="connsiteY54" fmla="*/ 210489 h 736004"/>
                  <a:gd name="connsiteX55" fmla="*/ 1783944 w 1875658"/>
                  <a:gd name="connsiteY55" fmla="*/ 213125 h 736004"/>
                  <a:gd name="connsiteX56" fmla="*/ 1792243 w 1875658"/>
                  <a:gd name="connsiteY56" fmla="*/ 217878 h 736004"/>
                  <a:gd name="connsiteX57" fmla="*/ 1829540 w 1875658"/>
                  <a:gd name="connsiteY57" fmla="*/ 247703 h 736004"/>
                  <a:gd name="connsiteX58" fmla="*/ 1856394 w 1875658"/>
                  <a:gd name="connsiteY58" fmla="*/ 293931 h 736004"/>
                  <a:gd name="connsiteX59" fmla="*/ 1857982 w 1875658"/>
                  <a:gd name="connsiteY59" fmla="*/ 321706 h 736004"/>
                  <a:gd name="connsiteX60" fmla="*/ 1860726 w 1875658"/>
                  <a:gd name="connsiteY60" fmla="*/ 326429 h 736004"/>
                  <a:gd name="connsiteX61" fmla="*/ 1875658 w 1875658"/>
                  <a:gd name="connsiteY61" fmla="*/ 326429 h 736004"/>
                  <a:gd name="connsiteX62" fmla="*/ 1875658 w 1875658"/>
                  <a:gd name="connsiteY62" fmla="*/ 736004 h 736004"/>
                  <a:gd name="connsiteX63" fmla="*/ 0 w 1875658"/>
                  <a:gd name="connsiteY63" fmla="*/ 736004 h 736004"/>
                  <a:gd name="connsiteX64" fmla="*/ 0 w 1875658"/>
                  <a:gd name="connsiteY64" fmla="*/ 326429 h 736004"/>
                  <a:gd name="connsiteX65" fmla="*/ 7536 w 1875658"/>
                  <a:gd name="connsiteY65" fmla="*/ 326429 h 736004"/>
                  <a:gd name="connsiteX66" fmla="*/ 7940 w 1875658"/>
                  <a:gd name="connsiteY66" fmla="*/ 325182 h 736004"/>
                  <a:gd name="connsiteX67" fmla="*/ 17203 w 1875658"/>
                  <a:gd name="connsiteY67" fmla="*/ 308471 h 736004"/>
                  <a:gd name="connsiteX68" fmla="*/ 19601 w 1875658"/>
                  <a:gd name="connsiteY68" fmla="*/ 292807 h 736004"/>
                  <a:gd name="connsiteX69" fmla="*/ 35650 w 1875658"/>
                  <a:gd name="connsiteY69" fmla="*/ 257997 h 736004"/>
                  <a:gd name="connsiteX70" fmla="*/ 65488 w 1875658"/>
                  <a:gd name="connsiteY70" fmla="*/ 220716 h 736004"/>
                  <a:gd name="connsiteX71" fmla="*/ 108753 w 1875658"/>
                  <a:gd name="connsiteY71" fmla="*/ 196856 h 736004"/>
                  <a:gd name="connsiteX72" fmla="*/ 136074 w 1875658"/>
                  <a:gd name="connsiteY72" fmla="*/ 194620 h 736004"/>
                  <a:gd name="connsiteX73" fmla="*/ 144039 w 1875658"/>
                  <a:gd name="connsiteY73" fmla="*/ 193806 h 736004"/>
                  <a:gd name="connsiteX74" fmla="*/ 144729 w 1875658"/>
                  <a:gd name="connsiteY74" fmla="*/ 189667 h 736004"/>
                  <a:gd name="connsiteX75" fmla="*/ 157117 w 1875658"/>
                  <a:gd name="connsiteY75" fmla="*/ 166278 h 736004"/>
                  <a:gd name="connsiteX76" fmla="*/ 160970 w 1875658"/>
                  <a:gd name="connsiteY76" fmla="*/ 143172 h 736004"/>
                  <a:gd name="connsiteX77" fmla="*/ 174397 w 1875658"/>
                  <a:gd name="connsiteY77" fmla="*/ 117821 h 736004"/>
                  <a:gd name="connsiteX78" fmla="*/ 195284 w 1875658"/>
                  <a:gd name="connsiteY78" fmla="*/ 95453 h 736004"/>
                  <a:gd name="connsiteX79" fmla="*/ 217662 w 1875658"/>
                  <a:gd name="connsiteY79" fmla="*/ 80541 h 736004"/>
                  <a:gd name="connsiteX80" fmla="*/ 246008 w 1875658"/>
                  <a:gd name="connsiteY80" fmla="*/ 71593 h 736004"/>
                  <a:gd name="connsiteX81" fmla="*/ 280322 w 1875658"/>
                  <a:gd name="connsiteY81" fmla="*/ 71593 h 736004"/>
                  <a:gd name="connsiteX82" fmla="*/ 298225 w 1875658"/>
                  <a:gd name="connsiteY82" fmla="*/ 76067 h 736004"/>
                  <a:gd name="connsiteX83" fmla="*/ 305685 w 1875658"/>
                  <a:gd name="connsiteY83" fmla="*/ 62646 h 736004"/>
                  <a:gd name="connsiteX84" fmla="*/ 325079 w 1875658"/>
                  <a:gd name="connsiteY84" fmla="*/ 38786 h 736004"/>
                  <a:gd name="connsiteX85" fmla="*/ 347458 w 1875658"/>
                  <a:gd name="connsiteY85" fmla="*/ 19400 h 736004"/>
                  <a:gd name="connsiteX86" fmla="*/ 380280 w 1875658"/>
                  <a:gd name="connsiteY86" fmla="*/ 5979 h 736004"/>
                  <a:gd name="connsiteX87" fmla="*/ 419069 w 1875658"/>
                  <a:gd name="connsiteY87" fmla="*/ 14 h 736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1875658" h="736004">
                    <a:moveTo>
                      <a:pt x="419069" y="14"/>
                    </a:moveTo>
                    <a:cubicBezTo>
                      <a:pt x="433242" y="263"/>
                      <a:pt x="450399" y="1754"/>
                      <a:pt x="465318" y="7470"/>
                    </a:cubicBezTo>
                    <a:cubicBezTo>
                      <a:pt x="480237" y="13187"/>
                      <a:pt x="496400" y="23128"/>
                      <a:pt x="508583" y="34313"/>
                    </a:cubicBezTo>
                    <a:cubicBezTo>
                      <a:pt x="520767" y="45497"/>
                      <a:pt x="532205" y="62646"/>
                      <a:pt x="538421" y="74576"/>
                    </a:cubicBezTo>
                    <a:cubicBezTo>
                      <a:pt x="544638" y="86506"/>
                      <a:pt x="542400" y="101666"/>
                      <a:pt x="545881" y="105892"/>
                    </a:cubicBezTo>
                    <a:cubicBezTo>
                      <a:pt x="556324" y="101666"/>
                      <a:pt x="551103" y="102164"/>
                      <a:pt x="559308" y="99927"/>
                    </a:cubicBezTo>
                    <a:cubicBezTo>
                      <a:pt x="567514" y="97690"/>
                      <a:pt x="581935" y="92222"/>
                      <a:pt x="595114" y="92471"/>
                    </a:cubicBezTo>
                    <a:cubicBezTo>
                      <a:pt x="608292" y="92719"/>
                      <a:pt x="624703" y="95701"/>
                      <a:pt x="638379" y="101418"/>
                    </a:cubicBezTo>
                    <a:cubicBezTo>
                      <a:pt x="652055" y="107134"/>
                      <a:pt x="666477" y="116082"/>
                      <a:pt x="677168" y="126769"/>
                    </a:cubicBezTo>
                    <a:lnTo>
                      <a:pt x="690801" y="147610"/>
                    </a:lnTo>
                    <a:lnTo>
                      <a:pt x="702553" y="125422"/>
                    </a:lnTo>
                    <a:cubicBezTo>
                      <a:pt x="708272" y="117469"/>
                      <a:pt x="716229" y="109267"/>
                      <a:pt x="723440" y="103054"/>
                    </a:cubicBezTo>
                    <a:cubicBezTo>
                      <a:pt x="730651" y="96841"/>
                      <a:pt x="737364" y="92118"/>
                      <a:pt x="745818" y="88142"/>
                    </a:cubicBezTo>
                    <a:cubicBezTo>
                      <a:pt x="754272" y="84165"/>
                      <a:pt x="763721" y="80686"/>
                      <a:pt x="774164" y="79194"/>
                    </a:cubicBezTo>
                    <a:cubicBezTo>
                      <a:pt x="784608" y="77703"/>
                      <a:pt x="799775" y="78449"/>
                      <a:pt x="808478" y="79194"/>
                    </a:cubicBezTo>
                    <a:cubicBezTo>
                      <a:pt x="817181" y="79940"/>
                      <a:pt x="816683" y="81680"/>
                      <a:pt x="826381" y="83668"/>
                    </a:cubicBezTo>
                    <a:cubicBezTo>
                      <a:pt x="831105" y="76212"/>
                      <a:pt x="829365" y="76460"/>
                      <a:pt x="833840" y="70247"/>
                    </a:cubicBezTo>
                    <a:cubicBezTo>
                      <a:pt x="838316" y="64034"/>
                      <a:pt x="846273" y="53595"/>
                      <a:pt x="853235" y="46387"/>
                    </a:cubicBezTo>
                    <a:cubicBezTo>
                      <a:pt x="860197" y="39180"/>
                      <a:pt x="866414" y="32469"/>
                      <a:pt x="875614" y="27001"/>
                    </a:cubicBezTo>
                    <a:cubicBezTo>
                      <a:pt x="884814" y="21534"/>
                      <a:pt x="896500" y="16811"/>
                      <a:pt x="908436" y="13580"/>
                    </a:cubicBezTo>
                    <a:cubicBezTo>
                      <a:pt x="920371" y="10349"/>
                      <a:pt x="933052" y="7367"/>
                      <a:pt x="947225" y="7615"/>
                    </a:cubicBezTo>
                    <a:cubicBezTo>
                      <a:pt x="961398" y="7864"/>
                      <a:pt x="978555" y="9355"/>
                      <a:pt x="993474" y="15071"/>
                    </a:cubicBezTo>
                    <a:cubicBezTo>
                      <a:pt x="1008393" y="20788"/>
                      <a:pt x="1024556" y="30729"/>
                      <a:pt x="1036739" y="41914"/>
                    </a:cubicBezTo>
                    <a:cubicBezTo>
                      <a:pt x="1048923" y="53098"/>
                      <a:pt x="1060361" y="70247"/>
                      <a:pt x="1066577" y="82177"/>
                    </a:cubicBezTo>
                    <a:cubicBezTo>
                      <a:pt x="1072794" y="94107"/>
                      <a:pt x="1070556" y="109267"/>
                      <a:pt x="1074037" y="113493"/>
                    </a:cubicBezTo>
                    <a:cubicBezTo>
                      <a:pt x="1084480" y="109267"/>
                      <a:pt x="1079259" y="109765"/>
                      <a:pt x="1087464" y="107528"/>
                    </a:cubicBezTo>
                    <a:cubicBezTo>
                      <a:pt x="1095670" y="105291"/>
                      <a:pt x="1110091" y="99823"/>
                      <a:pt x="1123270" y="100072"/>
                    </a:cubicBezTo>
                    <a:cubicBezTo>
                      <a:pt x="1136449" y="100320"/>
                      <a:pt x="1152860" y="103302"/>
                      <a:pt x="1166535" y="109019"/>
                    </a:cubicBezTo>
                    <a:lnTo>
                      <a:pt x="1178702" y="116971"/>
                    </a:lnTo>
                    <a:lnTo>
                      <a:pt x="1191697" y="103054"/>
                    </a:lnTo>
                    <a:cubicBezTo>
                      <a:pt x="1198908" y="96841"/>
                      <a:pt x="1205621" y="92118"/>
                      <a:pt x="1214075" y="88142"/>
                    </a:cubicBezTo>
                    <a:cubicBezTo>
                      <a:pt x="1222530" y="84165"/>
                      <a:pt x="1231978" y="80686"/>
                      <a:pt x="1242422" y="79194"/>
                    </a:cubicBezTo>
                    <a:cubicBezTo>
                      <a:pt x="1252865" y="77703"/>
                      <a:pt x="1268033" y="78449"/>
                      <a:pt x="1276735" y="79194"/>
                    </a:cubicBezTo>
                    <a:cubicBezTo>
                      <a:pt x="1285438" y="79940"/>
                      <a:pt x="1284941" y="81680"/>
                      <a:pt x="1294638" y="83668"/>
                    </a:cubicBezTo>
                    <a:cubicBezTo>
                      <a:pt x="1299363" y="76212"/>
                      <a:pt x="1297622" y="76460"/>
                      <a:pt x="1302098" y="70247"/>
                    </a:cubicBezTo>
                    <a:cubicBezTo>
                      <a:pt x="1306573" y="64034"/>
                      <a:pt x="1314530" y="53595"/>
                      <a:pt x="1321493" y="46387"/>
                    </a:cubicBezTo>
                    <a:cubicBezTo>
                      <a:pt x="1328455" y="39180"/>
                      <a:pt x="1334671" y="32469"/>
                      <a:pt x="1343871" y="27001"/>
                    </a:cubicBezTo>
                    <a:cubicBezTo>
                      <a:pt x="1353071" y="21534"/>
                      <a:pt x="1364758" y="16811"/>
                      <a:pt x="1376693" y="13580"/>
                    </a:cubicBezTo>
                    <a:cubicBezTo>
                      <a:pt x="1388628" y="10349"/>
                      <a:pt x="1401309" y="7367"/>
                      <a:pt x="1415482" y="7615"/>
                    </a:cubicBezTo>
                    <a:lnTo>
                      <a:pt x="1450105" y="13197"/>
                    </a:lnTo>
                    <a:lnTo>
                      <a:pt x="1486402" y="7615"/>
                    </a:lnTo>
                    <a:cubicBezTo>
                      <a:pt x="1500576" y="7864"/>
                      <a:pt x="1517732" y="9355"/>
                      <a:pt x="1532651" y="15071"/>
                    </a:cubicBezTo>
                    <a:cubicBezTo>
                      <a:pt x="1547570" y="20788"/>
                      <a:pt x="1563733" y="30729"/>
                      <a:pt x="1575917" y="41914"/>
                    </a:cubicBezTo>
                    <a:cubicBezTo>
                      <a:pt x="1588100" y="53098"/>
                      <a:pt x="1599539" y="70247"/>
                      <a:pt x="1605755" y="82177"/>
                    </a:cubicBezTo>
                    <a:cubicBezTo>
                      <a:pt x="1608863" y="88142"/>
                      <a:pt x="1609857" y="94914"/>
                      <a:pt x="1610510" y="100724"/>
                    </a:cubicBezTo>
                    <a:lnTo>
                      <a:pt x="1611235" y="104147"/>
                    </a:lnTo>
                    <a:lnTo>
                      <a:pt x="1627032" y="107414"/>
                    </a:lnTo>
                    <a:lnTo>
                      <a:pt x="1642679" y="102868"/>
                    </a:lnTo>
                    <a:cubicBezTo>
                      <a:pt x="1648958" y="101252"/>
                      <a:pt x="1655858" y="99947"/>
                      <a:pt x="1662447" y="100072"/>
                    </a:cubicBezTo>
                    <a:cubicBezTo>
                      <a:pt x="1675626" y="100320"/>
                      <a:pt x="1692037" y="103302"/>
                      <a:pt x="1705712" y="109019"/>
                    </a:cubicBezTo>
                    <a:cubicBezTo>
                      <a:pt x="1719388" y="114735"/>
                      <a:pt x="1733810" y="123683"/>
                      <a:pt x="1744502" y="134370"/>
                    </a:cubicBezTo>
                    <a:cubicBezTo>
                      <a:pt x="1755194" y="145057"/>
                      <a:pt x="1764642" y="160466"/>
                      <a:pt x="1769864" y="173142"/>
                    </a:cubicBezTo>
                    <a:cubicBezTo>
                      <a:pt x="1772475" y="179479"/>
                      <a:pt x="1773034" y="186936"/>
                      <a:pt x="1773407" y="193739"/>
                    </a:cubicBezTo>
                    <a:lnTo>
                      <a:pt x="1775787" y="210115"/>
                    </a:lnTo>
                    <a:lnTo>
                      <a:pt x="1776032" y="210489"/>
                    </a:lnTo>
                    <a:lnTo>
                      <a:pt x="1783944" y="213125"/>
                    </a:lnTo>
                    <a:cubicBezTo>
                      <a:pt x="1785840" y="213778"/>
                      <a:pt x="1787767" y="214772"/>
                      <a:pt x="1792243" y="217878"/>
                    </a:cubicBezTo>
                    <a:cubicBezTo>
                      <a:pt x="1801194" y="224092"/>
                      <a:pt x="1818848" y="235027"/>
                      <a:pt x="1829540" y="247703"/>
                    </a:cubicBezTo>
                    <a:cubicBezTo>
                      <a:pt x="1840232" y="260378"/>
                      <a:pt x="1851421" y="277527"/>
                      <a:pt x="1856394" y="293931"/>
                    </a:cubicBezTo>
                    <a:lnTo>
                      <a:pt x="1857982" y="321706"/>
                    </a:lnTo>
                    <a:lnTo>
                      <a:pt x="1860726" y="326429"/>
                    </a:lnTo>
                    <a:lnTo>
                      <a:pt x="1875658" y="326429"/>
                    </a:lnTo>
                    <a:lnTo>
                      <a:pt x="1875658" y="736004"/>
                    </a:lnTo>
                    <a:lnTo>
                      <a:pt x="0" y="736004"/>
                    </a:lnTo>
                    <a:lnTo>
                      <a:pt x="0" y="326429"/>
                    </a:lnTo>
                    <a:lnTo>
                      <a:pt x="7536" y="326429"/>
                    </a:lnTo>
                    <a:lnTo>
                      <a:pt x="7940" y="325182"/>
                    </a:lnTo>
                    <a:lnTo>
                      <a:pt x="17203" y="308471"/>
                    </a:lnTo>
                    <a:lnTo>
                      <a:pt x="19601" y="292807"/>
                    </a:lnTo>
                    <a:cubicBezTo>
                      <a:pt x="23622" y="275472"/>
                      <a:pt x="29496" y="269740"/>
                      <a:pt x="35650" y="257997"/>
                    </a:cubicBezTo>
                    <a:cubicBezTo>
                      <a:pt x="43856" y="242339"/>
                      <a:pt x="53304" y="230906"/>
                      <a:pt x="65488" y="220716"/>
                    </a:cubicBezTo>
                    <a:cubicBezTo>
                      <a:pt x="77672" y="210526"/>
                      <a:pt x="93586" y="201330"/>
                      <a:pt x="108753" y="196856"/>
                    </a:cubicBezTo>
                    <a:cubicBezTo>
                      <a:pt x="116337" y="194620"/>
                      <a:pt x="126656" y="194620"/>
                      <a:pt x="136074" y="194620"/>
                    </a:cubicBezTo>
                    <a:lnTo>
                      <a:pt x="144039" y="193806"/>
                    </a:lnTo>
                    <a:lnTo>
                      <a:pt x="144729" y="189667"/>
                    </a:lnTo>
                    <a:lnTo>
                      <a:pt x="157117" y="166278"/>
                    </a:lnTo>
                    <a:lnTo>
                      <a:pt x="160970" y="143172"/>
                    </a:lnTo>
                    <a:cubicBezTo>
                      <a:pt x="163954" y="134473"/>
                      <a:pt x="168678" y="125775"/>
                      <a:pt x="174397" y="117821"/>
                    </a:cubicBezTo>
                    <a:cubicBezTo>
                      <a:pt x="180116" y="109868"/>
                      <a:pt x="188073" y="101666"/>
                      <a:pt x="195284" y="95453"/>
                    </a:cubicBezTo>
                    <a:cubicBezTo>
                      <a:pt x="202495" y="89240"/>
                      <a:pt x="209208" y="84517"/>
                      <a:pt x="217662" y="80541"/>
                    </a:cubicBezTo>
                    <a:cubicBezTo>
                      <a:pt x="226116" y="76564"/>
                      <a:pt x="235565" y="73085"/>
                      <a:pt x="246008" y="71593"/>
                    </a:cubicBezTo>
                    <a:cubicBezTo>
                      <a:pt x="256452" y="70102"/>
                      <a:pt x="271619" y="70848"/>
                      <a:pt x="280322" y="71593"/>
                    </a:cubicBezTo>
                    <a:cubicBezTo>
                      <a:pt x="289025" y="72339"/>
                      <a:pt x="288527" y="74079"/>
                      <a:pt x="298225" y="76067"/>
                    </a:cubicBezTo>
                    <a:cubicBezTo>
                      <a:pt x="302949" y="68611"/>
                      <a:pt x="301209" y="68859"/>
                      <a:pt x="305685" y="62646"/>
                    </a:cubicBezTo>
                    <a:cubicBezTo>
                      <a:pt x="310160" y="56432"/>
                      <a:pt x="318117" y="45994"/>
                      <a:pt x="325079" y="38786"/>
                    </a:cubicBezTo>
                    <a:cubicBezTo>
                      <a:pt x="332041" y="31579"/>
                      <a:pt x="338258" y="24868"/>
                      <a:pt x="347458" y="19400"/>
                    </a:cubicBezTo>
                    <a:cubicBezTo>
                      <a:pt x="356658" y="13933"/>
                      <a:pt x="368345" y="9210"/>
                      <a:pt x="380280" y="5979"/>
                    </a:cubicBezTo>
                    <a:cubicBezTo>
                      <a:pt x="392215" y="2748"/>
                      <a:pt x="404896" y="-234"/>
                      <a:pt x="419069" y="14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/>
              </a:p>
            </p:txBody>
          </p:sp>
        </p:grpSp>
        <p:grpSp>
          <p:nvGrpSpPr>
            <p:cNvPr id="7" name="îŝ1ïḑê">
              <a:extLst>
                <a:ext uri="{FF2B5EF4-FFF2-40B4-BE49-F238E27FC236}">
                  <a16:creationId xmlns:a16="http://schemas.microsoft.com/office/drawing/2014/main" xmlns="" id="{73DFE26D-4FA2-4E4C-9EAE-8378CE3CF262}"/>
                </a:ext>
              </a:extLst>
            </p:cNvPr>
            <p:cNvGrpSpPr/>
            <p:nvPr/>
          </p:nvGrpSpPr>
          <p:grpSpPr>
            <a:xfrm>
              <a:off x="1433951" y="1130300"/>
              <a:ext cx="5744735" cy="5016500"/>
              <a:chOff x="669925" y="1130300"/>
              <a:chExt cx="3797562" cy="5016500"/>
            </a:xfrm>
          </p:grpSpPr>
          <p:grpSp>
            <p:nvGrpSpPr>
              <p:cNvPr id="13" name="íSḷïḋê">
                <a:extLst>
                  <a:ext uri="{FF2B5EF4-FFF2-40B4-BE49-F238E27FC236}">
                    <a16:creationId xmlns:a16="http://schemas.microsoft.com/office/drawing/2014/main" xmlns="" id="{E20EE305-27F7-4BE2-8A09-546DDA2055CA}"/>
                  </a:ext>
                </a:extLst>
              </p:cNvPr>
              <p:cNvGrpSpPr/>
              <p:nvPr/>
            </p:nvGrpSpPr>
            <p:grpSpPr>
              <a:xfrm>
                <a:off x="673100" y="1130300"/>
                <a:ext cx="3794387" cy="1104745"/>
                <a:chOff x="673100" y="1162419"/>
                <a:chExt cx="3794387" cy="1104745"/>
              </a:xfrm>
            </p:grpSpPr>
            <p:sp>
              <p:nvSpPr>
                <p:cNvPr id="26" name="iS1ïḋe">
                  <a:extLst>
                    <a:ext uri="{FF2B5EF4-FFF2-40B4-BE49-F238E27FC236}">
                      <a16:creationId xmlns:a16="http://schemas.microsoft.com/office/drawing/2014/main" xmlns="" id="{802624E9-933B-4514-B7DA-142E6CD14DE1}"/>
                    </a:ext>
                  </a:extLst>
                </p:cNvPr>
                <p:cNvSpPr txBox="1"/>
                <p:nvPr/>
              </p:nvSpPr>
              <p:spPr bwMode="auto">
                <a:xfrm>
                  <a:off x="673100" y="1162419"/>
                  <a:ext cx="3794387" cy="44180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sz="2000" b="1" dirty="0"/>
                    <a:t>01.Text here</a:t>
                  </a:r>
                </a:p>
              </p:txBody>
            </p:sp>
            <p:sp>
              <p:nvSpPr>
                <p:cNvPr id="27" name="ïSlíḋe">
                  <a:extLst>
                    <a:ext uri="{FF2B5EF4-FFF2-40B4-BE49-F238E27FC236}">
                      <a16:creationId xmlns:a16="http://schemas.microsoft.com/office/drawing/2014/main" xmlns="" id="{8BF7F505-F10D-453A-818E-A6A9751801E1}"/>
                    </a:ext>
                  </a:extLst>
                </p:cNvPr>
                <p:cNvSpPr/>
                <p:nvPr/>
              </p:nvSpPr>
              <p:spPr bwMode="auto">
                <a:xfrm>
                  <a:off x="673100" y="1604226"/>
                  <a:ext cx="3794387" cy="6629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……</a:t>
                  </a:r>
                </a:p>
              </p:txBody>
            </p:sp>
          </p:grpSp>
          <p:grpSp>
            <p:nvGrpSpPr>
              <p:cNvPr id="14" name="ïṩľîďé">
                <a:extLst>
                  <a:ext uri="{FF2B5EF4-FFF2-40B4-BE49-F238E27FC236}">
                    <a16:creationId xmlns:a16="http://schemas.microsoft.com/office/drawing/2014/main" xmlns="" id="{3576B193-D052-4BAD-95FB-B6471522D51B}"/>
                  </a:ext>
                </a:extLst>
              </p:cNvPr>
              <p:cNvGrpSpPr/>
              <p:nvPr/>
            </p:nvGrpSpPr>
            <p:grpSpPr>
              <a:xfrm>
                <a:off x="673100" y="2434219"/>
                <a:ext cx="3794387" cy="1104745"/>
                <a:chOff x="673100" y="2452570"/>
                <a:chExt cx="3794387" cy="1104745"/>
              </a:xfrm>
            </p:grpSpPr>
            <p:sp>
              <p:nvSpPr>
                <p:cNvPr id="24" name="íṡḻiďe">
                  <a:extLst>
                    <a:ext uri="{FF2B5EF4-FFF2-40B4-BE49-F238E27FC236}">
                      <a16:creationId xmlns:a16="http://schemas.microsoft.com/office/drawing/2014/main" xmlns="" id="{2B7823D0-8B22-45E9-8AA2-D6E8BE734E68}"/>
                    </a:ext>
                  </a:extLst>
                </p:cNvPr>
                <p:cNvSpPr txBox="1"/>
                <p:nvPr/>
              </p:nvSpPr>
              <p:spPr bwMode="auto">
                <a:xfrm>
                  <a:off x="673100" y="2452570"/>
                  <a:ext cx="3794387" cy="44180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sz="2000" b="1" dirty="0"/>
                    <a:t>02.Text here</a:t>
                  </a:r>
                </a:p>
              </p:txBody>
            </p:sp>
            <p:sp>
              <p:nvSpPr>
                <p:cNvPr id="25" name="i$ľiḓè">
                  <a:extLst>
                    <a:ext uri="{FF2B5EF4-FFF2-40B4-BE49-F238E27FC236}">
                      <a16:creationId xmlns:a16="http://schemas.microsoft.com/office/drawing/2014/main" xmlns="" id="{0DA3754F-088B-4008-B282-31CFB46C925E}"/>
                    </a:ext>
                  </a:extLst>
                </p:cNvPr>
                <p:cNvSpPr/>
                <p:nvPr/>
              </p:nvSpPr>
              <p:spPr bwMode="auto">
                <a:xfrm>
                  <a:off x="673100" y="2894377"/>
                  <a:ext cx="3794387" cy="6629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……</a:t>
                  </a:r>
                </a:p>
              </p:txBody>
            </p:sp>
          </p:grpSp>
          <p:grpSp>
            <p:nvGrpSpPr>
              <p:cNvPr id="15" name="ïṩľîḓe">
                <a:extLst>
                  <a:ext uri="{FF2B5EF4-FFF2-40B4-BE49-F238E27FC236}">
                    <a16:creationId xmlns:a16="http://schemas.microsoft.com/office/drawing/2014/main" xmlns="" id="{7E0305E8-FD09-4766-8E1D-0F0FF2C5856C}"/>
                  </a:ext>
                </a:extLst>
              </p:cNvPr>
              <p:cNvGrpSpPr/>
              <p:nvPr/>
            </p:nvGrpSpPr>
            <p:grpSpPr>
              <a:xfrm>
                <a:off x="673100" y="3738138"/>
                <a:ext cx="3794387" cy="1104745"/>
                <a:chOff x="673100" y="3742721"/>
                <a:chExt cx="3794387" cy="1104745"/>
              </a:xfrm>
            </p:grpSpPr>
            <p:sp>
              <p:nvSpPr>
                <p:cNvPr id="22" name="iṧḷíḍè">
                  <a:extLst>
                    <a:ext uri="{FF2B5EF4-FFF2-40B4-BE49-F238E27FC236}">
                      <a16:creationId xmlns:a16="http://schemas.microsoft.com/office/drawing/2014/main" xmlns="" id="{84482760-1A9D-47E3-A9FD-CF2055217867}"/>
                    </a:ext>
                  </a:extLst>
                </p:cNvPr>
                <p:cNvSpPr txBox="1"/>
                <p:nvPr/>
              </p:nvSpPr>
              <p:spPr bwMode="auto">
                <a:xfrm>
                  <a:off x="673100" y="3742721"/>
                  <a:ext cx="3794387" cy="44180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>
                    <a:lnSpc>
                      <a:spcPct val="100000"/>
                    </a:lnSpc>
                    <a:spcBef>
                      <a:spcPct val="0"/>
                    </a:spcBef>
                    <a:defRPr sz="2000" b="1"/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en-US" altLang="zh-CN" dirty="0"/>
                    <a:t>03.Text here</a:t>
                  </a:r>
                </a:p>
              </p:txBody>
            </p:sp>
            <p:sp>
              <p:nvSpPr>
                <p:cNvPr id="23" name="iŝľïďé">
                  <a:extLst>
                    <a:ext uri="{FF2B5EF4-FFF2-40B4-BE49-F238E27FC236}">
                      <a16:creationId xmlns:a16="http://schemas.microsoft.com/office/drawing/2014/main" xmlns="" id="{04617AA2-C0D6-4653-A2F9-0FE3071D9CB3}"/>
                    </a:ext>
                  </a:extLst>
                </p:cNvPr>
                <p:cNvSpPr/>
                <p:nvPr/>
              </p:nvSpPr>
              <p:spPr bwMode="auto">
                <a:xfrm>
                  <a:off x="673100" y="4184528"/>
                  <a:ext cx="3794387" cy="6629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……</a:t>
                  </a:r>
                </a:p>
              </p:txBody>
            </p:sp>
          </p:grpSp>
          <p:grpSp>
            <p:nvGrpSpPr>
              <p:cNvPr id="16" name="ïsḻíḓe">
                <a:extLst>
                  <a:ext uri="{FF2B5EF4-FFF2-40B4-BE49-F238E27FC236}">
                    <a16:creationId xmlns:a16="http://schemas.microsoft.com/office/drawing/2014/main" xmlns="" id="{9458D03A-3A71-495C-9D61-8126314FF61F}"/>
                  </a:ext>
                </a:extLst>
              </p:cNvPr>
              <p:cNvGrpSpPr/>
              <p:nvPr/>
            </p:nvGrpSpPr>
            <p:grpSpPr>
              <a:xfrm>
                <a:off x="673100" y="5042055"/>
                <a:ext cx="3794387" cy="1104745"/>
                <a:chOff x="673100" y="5042055"/>
                <a:chExt cx="3794387" cy="1104745"/>
              </a:xfrm>
            </p:grpSpPr>
            <p:sp>
              <p:nvSpPr>
                <p:cNvPr id="20" name="íslïḑe">
                  <a:extLst>
                    <a:ext uri="{FF2B5EF4-FFF2-40B4-BE49-F238E27FC236}">
                      <a16:creationId xmlns:a16="http://schemas.microsoft.com/office/drawing/2014/main" xmlns="" id="{EED27530-10D0-46DD-A7EC-A1197AA981E0}"/>
                    </a:ext>
                  </a:extLst>
                </p:cNvPr>
                <p:cNvSpPr txBox="1"/>
                <p:nvPr/>
              </p:nvSpPr>
              <p:spPr bwMode="auto">
                <a:xfrm>
                  <a:off x="673100" y="5042055"/>
                  <a:ext cx="3794387" cy="44180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sz="2000" b="1" dirty="0"/>
                    <a:t>04.Text here</a:t>
                  </a:r>
                </a:p>
              </p:txBody>
            </p:sp>
            <p:sp>
              <p:nvSpPr>
                <p:cNvPr id="21" name="ïsľiḍè">
                  <a:extLst>
                    <a:ext uri="{FF2B5EF4-FFF2-40B4-BE49-F238E27FC236}">
                      <a16:creationId xmlns:a16="http://schemas.microsoft.com/office/drawing/2014/main" xmlns="" id="{E231F7FB-5ECF-4C22-BEF7-190FB4B10C58}"/>
                    </a:ext>
                  </a:extLst>
                </p:cNvPr>
                <p:cNvSpPr/>
                <p:nvPr/>
              </p:nvSpPr>
              <p:spPr bwMode="auto">
                <a:xfrm>
                  <a:off x="673100" y="5483862"/>
                  <a:ext cx="3794387" cy="6629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……</a:t>
                  </a:r>
                </a:p>
              </p:txBody>
            </p:sp>
          </p:grpSp>
          <p:cxnSp>
            <p:nvCxnSpPr>
              <p:cNvPr id="17" name="直接连接符 16">
                <a:extLst>
                  <a:ext uri="{FF2B5EF4-FFF2-40B4-BE49-F238E27FC236}">
                    <a16:creationId xmlns:a16="http://schemas.microsoft.com/office/drawing/2014/main" xmlns="" id="{699D0E0F-7C26-448F-842B-D7DDC5B64F82}"/>
                  </a:ext>
                </a:extLst>
              </p:cNvPr>
              <p:cNvCxnSpPr/>
              <p:nvPr/>
            </p:nvCxnSpPr>
            <p:spPr>
              <a:xfrm>
                <a:off x="669925" y="2334632"/>
                <a:ext cx="3619973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17">
                <a:extLst>
                  <a:ext uri="{FF2B5EF4-FFF2-40B4-BE49-F238E27FC236}">
                    <a16:creationId xmlns:a16="http://schemas.microsoft.com/office/drawing/2014/main" xmlns="" id="{7C2A8145-D1C6-409B-AEC8-56C4DE791868}"/>
                  </a:ext>
                </a:extLst>
              </p:cNvPr>
              <p:cNvCxnSpPr/>
              <p:nvPr/>
            </p:nvCxnSpPr>
            <p:spPr>
              <a:xfrm>
                <a:off x="669925" y="3638551"/>
                <a:ext cx="3619973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直接连接符 18">
                <a:extLst>
                  <a:ext uri="{FF2B5EF4-FFF2-40B4-BE49-F238E27FC236}">
                    <a16:creationId xmlns:a16="http://schemas.microsoft.com/office/drawing/2014/main" xmlns="" id="{BABCD406-958E-4F2A-A26E-B889D33D5330}"/>
                  </a:ext>
                </a:extLst>
              </p:cNvPr>
              <p:cNvCxnSpPr/>
              <p:nvPr/>
            </p:nvCxnSpPr>
            <p:spPr>
              <a:xfrm>
                <a:off x="669925" y="4942470"/>
                <a:ext cx="3619973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" name="îSľïḓé">
              <a:extLst>
                <a:ext uri="{FF2B5EF4-FFF2-40B4-BE49-F238E27FC236}">
                  <a16:creationId xmlns:a16="http://schemas.microsoft.com/office/drawing/2014/main" xmlns="" id="{35844A81-8CF1-4E1C-81BD-FBF9F462E251}"/>
                </a:ext>
              </a:extLst>
            </p:cNvPr>
            <p:cNvSpPr/>
            <p:nvPr/>
          </p:nvSpPr>
          <p:spPr bwMode="auto">
            <a:xfrm>
              <a:off x="696028" y="5349163"/>
              <a:ext cx="493338" cy="490528"/>
            </a:xfrm>
            <a:custGeom>
              <a:avLst/>
              <a:gdLst>
                <a:gd name="T0" fmla="*/ 3682 w 4808"/>
                <a:gd name="T1" fmla="*/ 2763 h 4789"/>
                <a:gd name="T2" fmla="*/ 3420 w 4808"/>
                <a:gd name="T3" fmla="*/ 2703 h 4789"/>
                <a:gd name="T4" fmla="*/ 3026 w 4808"/>
                <a:gd name="T5" fmla="*/ 2392 h 4789"/>
                <a:gd name="T6" fmla="*/ 2818 w 4808"/>
                <a:gd name="T7" fmla="*/ 2517 h 4789"/>
                <a:gd name="T8" fmla="*/ 3219 w 4808"/>
                <a:gd name="T9" fmla="*/ 1876 h 4789"/>
                <a:gd name="T10" fmla="*/ 3609 w 4808"/>
                <a:gd name="T11" fmla="*/ 1953 h 4789"/>
                <a:gd name="T12" fmla="*/ 4553 w 4808"/>
                <a:gd name="T13" fmla="*/ 720 h 4789"/>
                <a:gd name="T14" fmla="*/ 4388 w 4808"/>
                <a:gd name="T15" fmla="*/ 680 h 4789"/>
                <a:gd name="T16" fmla="*/ 3872 w 4808"/>
                <a:gd name="T17" fmla="*/ 1161 h 4789"/>
                <a:gd name="T18" fmla="*/ 3859 w 4808"/>
                <a:gd name="T19" fmla="*/ 1160 h 4789"/>
                <a:gd name="T20" fmla="*/ 3491 w 4808"/>
                <a:gd name="T21" fmla="*/ 1099 h 4789"/>
                <a:gd name="T22" fmla="*/ 3432 w 4808"/>
                <a:gd name="T23" fmla="*/ 731 h 4789"/>
                <a:gd name="T24" fmla="*/ 3454 w 4808"/>
                <a:gd name="T25" fmla="*/ 658 h 4789"/>
                <a:gd name="T26" fmla="*/ 3938 w 4808"/>
                <a:gd name="T27" fmla="*/ 104 h 4789"/>
                <a:gd name="T28" fmla="*/ 3609 w 4808"/>
                <a:gd name="T29" fmla="*/ 0 h 4789"/>
                <a:gd name="T30" fmla="*/ 2710 w 4808"/>
                <a:gd name="T31" fmla="*/ 1369 h 4789"/>
                <a:gd name="T32" fmla="*/ 1300 w 4808"/>
                <a:gd name="T33" fmla="*/ 999 h 4789"/>
                <a:gd name="T34" fmla="*/ 1309 w 4808"/>
                <a:gd name="T35" fmla="*/ 892 h 4789"/>
                <a:gd name="T36" fmla="*/ 865 w 4808"/>
                <a:gd name="T37" fmla="*/ 294 h 4789"/>
                <a:gd name="T38" fmla="*/ 665 w 4808"/>
                <a:gd name="T39" fmla="*/ 298 h 4789"/>
                <a:gd name="T40" fmla="*/ 278 w 4808"/>
                <a:gd name="T41" fmla="*/ 787 h 4789"/>
                <a:gd name="T42" fmla="*/ 630 w 4808"/>
                <a:gd name="T43" fmla="*/ 1163 h 4789"/>
                <a:gd name="T44" fmla="*/ 926 w 4808"/>
                <a:gd name="T45" fmla="*/ 1291 h 4789"/>
                <a:gd name="T46" fmla="*/ 1018 w 4808"/>
                <a:gd name="T47" fmla="*/ 1282 h 4789"/>
                <a:gd name="T48" fmla="*/ 1485 w 4808"/>
                <a:gd name="T49" fmla="*/ 2594 h 4789"/>
                <a:gd name="T50" fmla="*/ 1037 w 4808"/>
                <a:gd name="T51" fmla="*/ 2572 h 4789"/>
                <a:gd name="T52" fmla="*/ 92 w 4808"/>
                <a:gd name="T53" fmla="*/ 3809 h 4789"/>
                <a:gd name="T54" fmla="*/ 186 w 4808"/>
                <a:gd name="T55" fmla="*/ 3882 h 4789"/>
                <a:gd name="T56" fmla="*/ 727 w 4808"/>
                <a:gd name="T57" fmla="*/ 3384 h 4789"/>
                <a:gd name="T58" fmla="*/ 789 w 4808"/>
                <a:gd name="T59" fmla="*/ 3371 h 4789"/>
                <a:gd name="T60" fmla="*/ 796 w 4808"/>
                <a:gd name="T61" fmla="*/ 3372 h 4789"/>
                <a:gd name="T62" fmla="*/ 1218 w 4808"/>
                <a:gd name="T63" fmla="*/ 3798 h 4789"/>
                <a:gd name="T64" fmla="*/ 1192 w 4808"/>
                <a:gd name="T65" fmla="*/ 3873 h 4789"/>
                <a:gd name="T66" fmla="*/ 707 w 4808"/>
                <a:gd name="T67" fmla="*/ 4427 h 4789"/>
                <a:gd name="T68" fmla="*/ 1037 w 4808"/>
                <a:gd name="T69" fmla="*/ 4531 h 4789"/>
                <a:gd name="T70" fmla="*/ 2016 w 4808"/>
                <a:gd name="T71" fmla="*/ 3551 h 4789"/>
                <a:gd name="T72" fmla="*/ 1994 w 4808"/>
                <a:gd name="T73" fmla="*/ 3103 h 4789"/>
                <a:gd name="T74" fmla="*/ 2535 w 4808"/>
                <a:gd name="T75" fmla="*/ 2799 h 4789"/>
                <a:gd name="T76" fmla="*/ 2410 w 4808"/>
                <a:gd name="T77" fmla="*/ 3007 h 4789"/>
                <a:gd name="T78" fmla="*/ 2721 w 4808"/>
                <a:gd name="T79" fmla="*/ 3401 h 4789"/>
                <a:gd name="T80" fmla="*/ 2781 w 4808"/>
                <a:gd name="T81" fmla="*/ 3663 h 4789"/>
                <a:gd name="T82" fmla="*/ 4013 w 4808"/>
                <a:gd name="T83" fmla="*/ 4789 h 4789"/>
                <a:gd name="T84" fmla="*/ 4734 w 4808"/>
                <a:gd name="T85" fmla="*/ 4173 h 4789"/>
                <a:gd name="T86" fmla="*/ 4734 w 4808"/>
                <a:gd name="T87" fmla="*/ 3815 h 4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808" h="4789">
                  <a:moveTo>
                    <a:pt x="4734" y="3815"/>
                  </a:moveTo>
                  <a:lnTo>
                    <a:pt x="3682" y="2763"/>
                  </a:lnTo>
                  <a:cubicBezTo>
                    <a:pt x="3634" y="2715"/>
                    <a:pt x="3570" y="2689"/>
                    <a:pt x="3502" y="2689"/>
                  </a:cubicBezTo>
                  <a:cubicBezTo>
                    <a:pt x="3474" y="2689"/>
                    <a:pt x="3446" y="2694"/>
                    <a:pt x="3420" y="2703"/>
                  </a:cubicBezTo>
                  <a:lnTo>
                    <a:pt x="3167" y="2450"/>
                  </a:lnTo>
                  <a:cubicBezTo>
                    <a:pt x="3130" y="2413"/>
                    <a:pt x="3079" y="2392"/>
                    <a:pt x="3026" y="2392"/>
                  </a:cubicBezTo>
                  <a:cubicBezTo>
                    <a:pt x="2972" y="2392"/>
                    <a:pt x="2922" y="2413"/>
                    <a:pt x="2884" y="2450"/>
                  </a:cubicBezTo>
                  <a:lnTo>
                    <a:pt x="2818" y="2517"/>
                  </a:lnTo>
                  <a:lnTo>
                    <a:pt x="2699" y="2398"/>
                  </a:lnTo>
                  <a:lnTo>
                    <a:pt x="3219" y="1876"/>
                  </a:lnTo>
                  <a:cubicBezTo>
                    <a:pt x="3340" y="1928"/>
                    <a:pt x="3472" y="1953"/>
                    <a:pt x="3609" y="1953"/>
                  </a:cubicBezTo>
                  <a:lnTo>
                    <a:pt x="3609" y="1953"/>
                  </a:lnTo>
                  <a:cubicBezTo>
                    <a:pt x="3870" y="1953"/>
                    <a:pt x="4116" y="1854"/>
                    <a:pt x="4301" y="1669"/>
                  </a:cubicBezTo>
                  <a:cubicBezTo>
                    <a:pt x="4549" y="1421"/>
                    <a:pt x="4646" y="1059"/>
                    <a:pt x="4553" y="720"/>
                  </a:cubicBezTo>
                  <a:cubicBezTo>
                    <a:pt x="4542" y="678"/>
                    <a:pt x="4502" y="648"/>
                    <a:pt x="4459" y="648"/>
                  </a:cubicBezTo>
                  <a:cubicBezTo>
                    <a:pt x="4441" y="648"/>
                    <a:pt x="4413" y="654"/>
                    <a:pt x="4388" y="680"/>
                  </a:cubicBezTo>
                  <a:cubicBezTo>
                    <a:pt x="4384" y="683"/>
                    <a:pt x="4034" y="1030"/>
                    <a:pt x="3918" y="1146"/>
                  </a:cubicBezTo>
                  <a:cubicBezTo>
                    <a:pt x="3906" y="1159"/>
                    <a:pt x="3885" y="1161"/>
                    <a:pt x="3872" y="1161"/>
                  </a:cubicBezTo>
                  <a:cubicBezTo>
                    <a:pt x="3864" y="1161"/>
                    <a:pt x="3859" y="1160"/>
                    <a:pt x="3859" y="1160"/>
                  </a:cubicBezTo>
                  <a:lnTo>
                    <a:pt x="3859" y="1160"/>
                  </a:lnTo>
                  <a:lnTo>
                    <a:pt x="3851" y="1159"/>
                  </a:lnTo>
                  <a:cubicBezTo>
                    <a:pt x="3707" y="1146"/>
                    <a:pt x="3535" y="1119"/>
                    <a:pt x="3491" y="1099"/>
                  </a:cubicBezTo>
                  <a:cubicBezTo>
                    <a:pt x="3470" y="1055"/>
                    <a:pt x="3445" y="879"/>
                    <a:pt x="3432" y="733"/>
                  </a:cubicBezTo>
                  <a:lnTo>
                    <a:pt x="3432" y="731"/>
                  </a:lnTo>
                  <a:lnTo>
                    <a:pt x="3429" y="727"/>
                  </a:lnTo>
                  <a:cubicBezTo>
                    <a:pt x="3428" y="720"/>
                    <a:pt x="3425" y="687"/>
                    <a:pt x="3454" y="658"/>
                  </a:cubicBezTo>
                  <a:cubicBezTo>
                    <a:pt x="3574" y="538"/>
                    <a:pt x="3905" y="204"/>
                    <a:pt x="3908" y="201"/>
                  </a:cubicBezTo>
                  <a:cubicBezTo>
                    <a:pt x="3936" y="173"/>
                    <a:pt x="3947" y="138"/>
                    <a:pt x="3938" y="104"/>
                  </a:cubicBezTo>
                  <a:cubicBezTo>
                    <a:pt x="3927" y="64"/>
                    <a:pt x="3893" y="42"/>
                    <a:pt x="3865" y="34"/>
                  </a:cubicBezTo>
                  <a:cubicBezTo>
                    <a:pt x="3782" y="11"/>
                    <a:pt x="3695" y="0"/>
                    <a:pt x="3609" y="0"/>
                  </a:cubicBezTo>
                  <a:cubicBezTo>
                    <a:pt x="3347" y="0"/>
                    <a:pt x="3101" y="102"/>
                    <a:pt x="2916" y="287"/>
                  </a:cubicBezTo>
                  <a:cubicBezTo>
                    <a:pt x="2624" y="579"/>
                    <a:pt x="2555" y="1011"/>
                    <a:pt x="2710" y="1369"/>
                  </a:cubicBezTo>
                  <a:lnTo>
                    <a:pt x="2190" y="1889"/>
                  </a:lnTo>
                  <a:lnTo>
                    <a:pt x="1300" y="999"/>
                  </a:lnTo>
                  <a:cubicBezTo>
                    <a:pt x="1300" y="998"/>
                    <a:pt x="1299" y="998"/>
                    <a:pt x="1299" y="997"/>
                  </a:cubicBezTo>
                  <a:cubicBezTo>
                    <a:pt x="1307" y="963"/>
                    <a:pt x="1311" y="928"/>
                    <a:pt x="1309" y="892"/>
                  </a:cubicBezTo>
                  <a:cubicBezTo>
                    <a:pt x="1305" y="788"/>
                    <a:pt x="1260" y="689"/>
                    <a:pt x="1182" y="611"/>
                  </a:cubicBezTo>
                  <a:lnTo>
                    <a:pt x="865" y="294"/>
                  </a:lnTo>
                  <a:cubicBezTo>
                    <a:pt x="858" y="288"/>
                    <a:pt x="821" y="253"/>
                    <a:pt x="766" y="253"/>
                  </a:cubicBezTo>
                  <a:cubicBezTo>
                    <a:pt x="740" y="253"/>
                    <a:pt x="702" y="261"/>
                    <a:pt x="665" y="298"/>
                  </a:cubicBezTo>
                  <a:lnTo>
                    <a:pt x="318" y="645"/>
                  </a:lnTo>
                  <a:cubicBezTo>
                    <a:pt x="277" y="685"/>
                    <a:pt x="263" y="737"/>
                    <a:pt x="278" y="787"/>
                  </a:cubicBezTo>
                  <a:cubicBezTo>
                    <a:pt x="288" y="820"/>
                    <a:pt x="308" y="842"/>
                    <a:pt x="314" y="848"/>
                  </a:cubicBezTo>
                  <a:lnTo>
                    <a:pt x="630" y="1163"/>
                  </a:lnTo>
                  <a:cubicBezTo>
                    <a:pt x="712" y="1246"/>
                    <a:pt x="817" y="1291"/>
                    <a:pt x="926" y="1291"/>
                  </a:cubicBezTo>
                  <a:lnTo>
                    <a:pt x="926" y="1291"/>
                  </a:lnTo>
                  <a:cubicBezTo>
                    <a:pt x="957" y="1291"/>
                    <a:pt x="987" y="1287"/>
                    <a:pt x="1016" y="1280"/>
                  </a:cubicBezTo>
                  <a:cubicBezTo>
                    <a:pt x="1017" y="1281"/>
                    <a:pt x="1017" y="1281"/>
                    <a:pt x="1018" y="1282"/>
                  </a:cubicBezTo>
                  <a:lnTo>
                    <a:pt x="1907" y="2171"/>
                  </a:lnTo>
                  <a:lnTo>
                    <a:pt x="1485" y="2594"/>
                  </a:lnTo>
                  <a:cubicBezTo>
                    <a:pt x="1466" y="2613"/>
                    <a:pt x="1449" y="2634"/>
                    <a:pt x="1435" y="2656"/>
                  </a:cubicBezTo>
                  <a:cubicBezTo>
                    <a:pt x="1311" y="2601"/>
                    <a:pt x="1176" y="2572"/>
                    <a:pt x="1037" y="2572"/>
                  </a:cubicBezTo>
                  <a:cubicBezTo>
                    <a:pt x="775" y="2572"/>
                    <a:pt x="529" y="2674"/>
                    <a:pt x="344" y="2859"/>
                  </a:cubicBezTo>
                  <a:cubicBezTo>
                    <a:pt x="96" y="3106"/>
                    <a:pt x="0" y="3471"/>
                    <a:pt x="92" y="3809"/>
                  </a:cubicBezTo>
                  <a:cubicBezTo>
                    <a:pt x="103" y="3852"/>
                    <a:pt x="143" y="3882"/>
                    <a:pt x="186" y="3882"/>
                  </a:cubicBezTo>
                  <a:lnTo>
                    <a:pt x="186" y="3882"/>
                  </a:lnTo>
                  <a:cubicBezTo>
                    <a:pt x="204" y="3882"/>
                    <a:pt x="232" y="3877"/>
                    <a:pt x="258" y="3851"/>
                  </a:cubicBezTo>
                  <a:cubicBezTo>
                    <a:pt x="261" y="3847"/>
                    <a:pt x="611" y="3500"/>
                    <a:pt x="727" y="3384"/>
                  </a:cubicBezTo>
                  <a:cubicBezTo>
                    <a:pt x="740" y="3372"/>
                    <a:pt x="762" y="3370"/>
                    <a:pt x="774" y="3370"/>
                  </a:cubicBezTo>
                  <a:cubicBezTo>
                    <a:pt x="783" y="3370"/>
                    <a:pt x="789" y="3371"/>
                    <a:pt x="789" y="3371"/>
                  </a:cubicBezTo>
                  <a:lnTo>
                    <a:pt x="789" y="3371"/>
                  </a:lnTo>
                  <a:lnTo>
                    <a:pt x="796" y="3372"/>
                  </a:lnTo>
                  <a:cubicBezTo>
                    <a:pt x="940" y="3385"/>
                    <a:pt x="1113" y="3411"/>
                    <a:pt x="1157" y="3431"/>
                  </a:cubicBezTo>
                  <a:cubicBezTo>
                    <a:pt x="1178" y="3475"/>
                    <a:pt x="1205" y="3652"/>
                    <a:pt x="1218" y="3798"/>
                  </a:cubicBezTo>
                  <a:lnTo>
                    <a:pt x="1219" y="3805"/>
                  </a:lnTo>
                  <a:cubicBezTo>
                    <a:pt x="1219" y="3805"/>
                    <a:pt x="1223" y="3842"/>
                    <a:pt x="1192" y="3873"/>
                  </a:cubicBezTo>
                  <a:cubicBezTo>
                    <a:pt x="1072" y="3993"/>
                    <a:pt x="741" y="4327"/>
                    <a:pt x="738" y="4330"/>
                  </a:cubicBezTo>
                  <a:cubicBezTo>
                    <a:pt x="710" y="4358"/>
                    <a:pt x="699" y="4393"/>
                    <a:pt x="707" y="4427"/>
                  </a:cubicBezTo>
                  <a:cubicBezTo>
                    <a:pt x="718" y="4467"/>
                    <a:pt x="752" y="4489"/>
                    <a:pt x="780" y="4497"/>
                  </a:cubicBezTo>
                  <a:cubicBezTo>
                    <a:pt x="864" y="4519"/>
                    <a:pt x="950" y="4531"/>
                    <a:pt x="1037" y="4531"/>
                  </a:cubicBezTo>
                  <a:cubicBezTo>
                    <a:pt x="1298" y="4531"/>
                    <a:pt x="1544" y="4429"/>
                    <a:pt x="1729" y="4244"/>
                  </a:cubicBezTo>
                  <a:cubicBezTo>
                    <a:pt x="1914" y="4059"/>
                    <a:pt x="2016" y="3813"/>
                    <a:pt x="2016" y="3551"/>
                  </a:cubicBezTo>
                  <a:cubicBezTo>
                    <a:pt x="2016" y="3412"/>
                    <a:pt x="1987" y="3277"/>
                    <a:pt x="1932" y="3153"/>
                  </a:cubicBezTo>
                  <a:cubicBezTo>
                    <a:pt x="1954" y="3139"/>
                    <a:pt x="1975" y="3122"/>
                    <a:pt x="1994" y="3103"/>
                  </a:cubicBezTo>
                  <a:lnTo>
                    <a:pt x="2417" y="2681"/>
                  </a:lnTo>
                  <a:lnTo>
                    <a:pt x="2535" y="2799"/>
                  </a:lnTo>
                  <a:lnTo>
                    <a:pt x="2469" y="2866"/>
                  </a:lnTo>
                  <a:cubicBezTo>
                    <a:pt x="2431" y="2904"/>
                    <a:pt x="2410" y="2954"/>
                    <a:pt x="2410" y="3007"/>
                  </a:cubicBezTo>
                  <a:cubicBezTo>
                    <a:pt x="2410" y="3061"/>
                    <a:pt x="2431" y="3111"/>
                    <a:pt x="2469" y="3149"/>
                  </a:cubicBezTo>
                  <a:lnTo>
                    <a:pt x="2721" y="3401"/>
                  </a:lnTo>
                  <a:cubicBezTo>
                    <a:pt x="2712" y="3427"/>
                    <a:pt x="2707" y="3455"/>
                    <a:pt x="2707" y="3484"/>
                  </a:cubicBezTo>
                  <a:cubicBezTo>
                    <a:pt x="2707" y="3552"/>
                    <a:pt x="2734" y="3615"/>
                    <a:pt x="2781" y="3663"/>
                  </a:cubicBezTo>
                  <a:lnTo>
                    <a:pt x="3834" y="4715"/>
                  </a:lnTo>
                  <a:cubicBezTo>
                    <a:pt x="3881" y="4763"/>
                    <a:pt x="3945" y="4789"/>
                    <a:pt x="4013" y="4789"/>
                  </a:cubicBezTo>
                  <a:cubicBezTo>
                    <a:pt x="4081" y="4789"/>
                    <a:pt x="4144" y="4763"/>
                    <a:pt x="4192" y="4715"/>
                  </a:cubicBezTo>
                  <a:lnTo>
                    <a:pt x="4734" y="4173"/>
                  </a:lnTo>
                  <a:cubicBezTo>
                    <a:pt x="4782" y="4126"/>
                    <a:pt x="4808" y="4062"/>
                    <a:pt x="4808" y="3994"/>
                  </a:cubicBezTo>
                  <a:cubicBezTo>
                    <a:pt x="4808" y="3926"/>
                    <a:pt x="4782" y="3863"/>
                    <a:pt x="4734" y="3815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/>
            </a:p>
          </p:txBody>
        </p:sp>
        <p:sp>
          <p:nvSpPr>
            <p:cNvPr id="9" name="ïšlîďè">
              <a:extLst>
                <a:ext uri="{FF2B5EF4-FFF2-40B4-BE49-F238E27FC236}">
                  <a16:creationId xmlns:a16="http://schemas.microsoft.com/office/drawing/2014/main" xmlns="" id="{B320BD01-771F-497F-BAEC-C26437094C74}"/>
                </a:ext>
              </a:extLst>
            </p:cNvPr>
            <p:cNvSpPr/>
            <p:nvPr/>
          </p:nvSpPr>
          <p:spPr bwMode="auto">
            <a:xfrm>
              <a:off x="697801" y="1438149"/>
              <a:ext cx="489792" cy="48904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8649" h="594741">
                  <a:moveTo>
                    <a:pt x="411175" y="315251"/>
                  </a:moveTo>
                  <a:cubicBezTo>
                    <a:pt x="392328" y="315251"/>
                    <a:pt x="373301" y="322420"/>
                    <a:pt x="358940" y="336757"/>
                  </a:cubicBezTo>
                  <a:cubicBezTo>
                    <a:pt x="330220" y="365432"/>
                    <a:pt x="330220" y="411311"/>
                    <a:pt x="358940" y="439986"/>
                  </a:cubicBezTo>
                  <a:cubicBezTo>
                    <a:pt x="387661" y="468660"/>
                    <a:pt x="435049" y="468660"/>
                    <a:pt x="462333" y="439986"/>
                  </a:cubicBezTo>
                  <a:cubicBezTo>
                    <a:pt x="491053" y="411311"/>
                    <a:pt x="491053" y="365432"/>
                    <a:pt x="462333" y="336757"/>
                  </a:cubicBezTo>
                  <a:cubicBezTo>
                    <a:pt x="448691" y="322420"/>
                    <a:pt x="430023" y="315251"/>
                    <a:pt x="411175" y="315251"/>
                  </a:cubicBezTo>
                  <a:close/>
                  <a:moveTo>
                    <a:pt x="410816" y="276182"/>
                  </a:moveTo>
                  <a:cubicBezTo>
                    <a:pt x="439716" y="276182"/>
                    <a:pt x="468795" y="287293"/>
                    <a:pt x="491053" y="309516"/>
                  </a:cubicBezTo>
                  <a:cubicBezTo>
                    <a:pt x="525517" y="342492"/>
                    <a:pt x="532697" y="394106"/>
                    <a:pt x="514029" y="435685"/>
                  </a:cubicBezTo>
                  <a:lnTo>
                    <a:pt x="578649" y="500203"/>
                  </a:lnTo>
                  <a:lnTo>
                    <a:pt x="522645" y="556118"/>
                  </a:lnTo>
                  <a:lnTo>
                    <a:pt x="458025" y="491600"/>
                  </a:lnTo>
                  <a:cubicBezTo>
                    <a:pt x="416381" y="510239"/>
                    <a:pt x="366121" y="503070"/>
                    <a:pt x="331656" y="468660"/>
                  </a:cubicBezTo>
                  <a:cubicBezTo>
                    <a:pt x="287140" y="424215"/>
                    <a:pt x="287140" y="352528"/>
                    <a:pt x="331656" y="309516"/>
                  </a:cubicBezTo>
                  <a:cubicBezTo>
                    <a:pt x="353197" y="287293"/>
                    <a:pt x="381917" y="276182"/>
                    <a:pt x="410816" y="276182"/>
                  </a:cubicBezTo>
                  <a:close/>
                  <a:moveTo>
                    <a:pt x="134949" y="20001"/>
                  </a:moveTo>
                  <a:lnTo>
                    <a:pt x="134949" y="144835"/>
                  </a:lnTo>
                  <a:lnTo>
                    <a:pt x="17242" y="144835"/>
                  </a:lnTo>
                  <a:close/>
                  <a:moveTo>
                    <a:pt x="172278" y="0"/>
                  </a:moveTo>
                  <a:lnTo>
                    <a:pt x="480943" y="0"/>
                  </a:lnTo>
                  <a:lnTo>
                    <a:pt x="480943" y="276591"/>
                  </a:lnTo>
                  <a:cubicBezTo>
                    <a:pt x="460844" y="263693"/>
                    <a:pt x="436438" y="256527"/>
                    <a:pt x="410596" y="256527"/>
                  </a:cubicBezTo>
                  <a:cubicBezTo>
                    <a:pt x="381883" y="256527"/>
                    <a:pt x="354606" y="265126"/>
                    <a:pt x="331636" y="282323"/>
                  </a:cubicBezTo>
                  <a:lnTo>
                    <a:pt x="81832" y="282323"/>
                  </a:lnTo>
                  <a:lnTo>
                    <a:pt x="81832" y="322450"/>
                  </a:lnTo>
                  <a:lnTo>
                    <a:pt x="295744" y="322450"/>
                  </a:lnTo>
                  <a:cubicBezTo>
                    <a:pt x="288566" y="335348"/>
                    <a:pt x="282823" y="351112"/>
                    <a:pt x="279952" y="366877"/>
                  </a:cubicBezTo>
                  <a:lnTo>
                    <a:pt x="81832" y="366877"/>
                  </a:lnTo>
                  <a:lnTo>
                    <a:pt x="81832" y="407004"/>
                  </a:lnTo>
                  <a:lnTo>
                    <a:pt x="279952" y="407004"/>
                  </a:lnTo>
                  <a:cubicBezTo>
                    <a:pt x="281388" y="422768"/>
                    <a:pt x="287130" y="438532"/>
                    <a:pt x="294309" y="451430"/>
                  </a:cubicBezTo>
                  <a:lnTo>
                    <a:pt x="81832" y="451430"/>
                  </a:lnTo>
                  <a:lnTo>
                    <a:pt x="81832" y="491557"/>
                  </a:lnTo>
                  <a:lnTo>
                    <a:pt x="327329" y="491557"/>
                  </a:lnTo>
                  <a:cubicBezTo>
                    <a:pt x="350299" y="511621"/>
                    <a:pt x="380448" y="521653"/>
                    <a:pt x="410596" y="521653"/>
                  </a:cubicBezTo>
                  <a:cubicBezTo>
                    <a:pt x="424953" y="521653"/>
                    <a:pt x="439309" y="518786"/>
                    <a:pt x="453666" y="514487"/>
                  </a:cubicBezTo>
                  <a:lnTo>
                    <a:pt x="480943" y="543149"/>
                  </a:lnTo>
                  <a:lnTo>
                    <a:pt x="480943" y="594741"/>
                  </a:lnTo>
                  <a:lnTo>
                    <a:pt x="0" y="594741"/>
                  </a:lnTo>
                  <a:lnTo>
                    <a:pt x="0" y="180572"/>
                  </a:lnTo>
                  <a:lnTo>
                    <a:pt x="172278" y="18057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zh-CN" altLang="en-US" sz="2200" dirty="0">
                <a:solidFill>
                  <a:schemeClr val="lt1"/>
                </a:solidFill>
              </a:endParaRPr>
            </a:p>
          </p:txBody>
        </p:sp>
        <p:sp>
          <p:nvSpPr>
            <p:cNvPr id="10" name="íṣḷïḍé">
              <a:extLst>
                <a:ext uri="{FF2B5EF4-FFF2-40B4-BE49-F238E27FC236}">
                  <a16:creationId xmlns:a16="http://schemas.microsoft.com/office/drawing/2014/main" xmlns="" id="{2E007FA1-51A2-41D3-A227-68DD4EF04712}"/>
                </a:ext>
              </a:extLst>
            </p:cNvPr>
            <p:cNvSpPr/>
            <p:nvPr/>
          </p:nvSpPr>
          <p:spPr>
            <a:xfrm>
              <a:off x="675505" y="2753345"/>
              <a:ext cx="534384" cy="466492"/>
            </a:xfrm>
            <a:custGeom>
              <a:avLst/>
              <a:gdLst>
                <a:gd name="connsiteX0" fmla="*/ 424975 w 608697"/>
                <a:gd name="connsiteY0" fmla="*/ 168488 h 531358"/>
                <a:gd name="connsiteX1" fmla="*/ 387604 w 608697"/>
                <a:gd name="connsiteY1" fmla="*/ 205806 h 531358"/>
                <a:gd name="connsiteX2" fmla="*/ 424975 w 608697"/>
                <a:gd name="connsiteY2" fmla="*/ 243124 h 531358"/>
                <a:gd name="connsiteX3" fmla="*/ 462346 w 608697"/>
                <a:gd name="connsiteY3" fmla="*/ 205806 h 531358"/>
                <a:gd name="connsiteX4" fmla="*/ 424975 w 608697"/>
                <a:gd name="connsiteY4" fmla="*/ 168488 h 531358"/>
                <a:gd name="connsiteX5" fmla="*/ 287947 w 608697"/>
                <a:gd name="connsiteY5" fmla="*/ 168488 h 531358"/>
                <a:gd name="connsiteX6" fmla="*/ 250576 w 608697"/>
                <a:gd name="connsiteY6" fmla="*/ 205806 h 531358"/>
                <a:gd name="connsiteX7" fmla="*/ 287947 w 608697"/>
                <a:gd name="connsiteY7" fmla="*/ 243124 h 531358"/>
                <a:gd name="connsiteX8" fmla="*/ 325318 w 608697"/>
                <a:gd name="connsiteY8" fmla="*/ 205806 h 531358"/>
                <a:gd name="connsiteX9" fmla="*/ 287947 w 608697"/>
                <a:gd name="connsiteY9" fmla="*/ 168488 h 531358"/>
                <a:gd name="connsiteX10" fmla="*/ 102356 w 608697"/>
                <a:gd name="connsiteY10" fmla="*/ 121231 h 531358"/>
                <a:gd name="connsiteX11" fmla="*/ 98850 w 608697"/>
                <a:gd name="connsiteY11" fmla="*/ 127711 h 531358"/>
                <a:gd name="connsiteX12" fmla="*/ 76842 w 608697"/>
                <a:gd name="connsiteY12" fmla="*/ 217990 h 531358"/>
                <a:gd name="connsiteX13" fmla="*/ 98850 w 608697"/>
                <a:gd name="connsiteY13" fmla="*/ 308194 h 531358"/>
                <a:gd name="connsiteX14" fmla="*/ 157488 w 608697"/>
                <a:gd name="connsiteY14" fmla="*/ 380223 h 531358"/>
                <a:gd name="connsiteX15" fmla="*/ 344668 w 608697"/>
                <a:gd name="connsiteY15" fmla="*/ 444729 h 531358"/>
                <a:gd name="connsiteX16" fmla="*/ 370257 w 608697"/>
                <a:gd name="connsiteY16" fmla="*/ 443687 h 531358"/>
                <a:gd name="connsiteX17" fmla="*/ 236717 w 608697"/>
                <a:gd name="connsiteY17" fmla="*/ 477876 h 531358"/>
                <a:gd name="connsiteX18" fmla="*/ 198072 w 608697"/>
                <a:gd name="connsiteY18" fmla="*/ 475344 h 531358"/>
                <a:gd name="connsiteX19" fmla="*/ 82437 w 608697"/>
                <a:gd name="connsiteY19" fmla="*/ 531284 h 531358"/>
                <a:gd name="connsiteX20" fmla="*/ 81542 w 608697"/>
                <a:gd name="connsiteY20" fmla="*/ 531358 h 531358"/>
                <a:gd name="connsiteX21" fmla="*/ 75051 w 608697"/>
                <a:gd name="connsiteY21" fmla="*/ 527857 h 531358"/>
                <a:gd name="connsiteX22" fmla="*/ 74753 w 608697"/>
                <a:gd name="connsiteY22" fmla="*/ 519738 h 531358"/>
                <a:gd name="connsiteX23" fmla="*/ 88778 w 608697"/>
                <a:gd name="connsiteY23" fmla="*/ 435046 h 531358"/>
                <a:gd name="connsiteX24" fmla="*/ 0 w 608697"/>
                <a:gd name="connsiteY24" fmla="*/ 282198 h 531358"/>
                <a:gd name="connsiteX25" fmla="*/ 102356 w 608697"/>
                <a:gd name="connsiteY25" fmla="*/ 121231 h 531358"/>
                <a:gd name="connsiteX26" fmla="*/ 356424 w 608697"/>
                <a:gd name="connsiteY26" fmla="*/ 0 h 531358"/>
                <a:gd name="connsiteX27" fmla="*/ 608697 w 608697"/>
                <a:gd name="connsiteY27" fmla="*/ 211244 h 531358"/>
                <a:gd name="connsiteX28" fmla="*/ 518290 w 608697"/>
                <a:gd name="connsiteY28" fmla="*/ 373401 h 531358"/>
                <a:gd name="connsiteX29" fmla="*/ 531941 w 608697"/>
                <a:gd name="connsiteY29" fmla="*/ 441109 h 531358"/>
                <a:gd name="connsiteX30" fmla="*/ 531120 w 608697"/>
                <a:gd name="connsiteY30" fmla="*/ 465391 h 531358"/>
                <a:gd name="connsiteX31" fmla="*/ 511577 w 608697"/>
                <a:gd name="connsiteY31" fmla="*/ 475894 h 531358"/>
                <a:gd name="connsiteX32" fmla="*/ 509041 w 608697"/>
                <a:gd name="connsiteY32" fmla="*/ 475745 h 531358"/>
                <a:gd name="connsiteX33" fmla="*/ 391408 w 608697"/>
                <a:gd name="connsiteY33" fmla="*/ 420476 h 531358"/>
                <a:gd name="connsiteX34" fmla="*/ 356424 w 608697"/>
                <a:gd name="connsiteY34" fmla="*/ 422487 h 531358"/>
                <a:gd name="connsiteX35" fmla="*/ 104225 w 608697"/>
                <a:gd name="connsiteY35" fmla="*/ 211244 h 531358"/>
                <a:gd name="connsiteX36" fmla="*/ 356424 w 608697"/>
                <a:gd name="connsiteY36" fmla="*/ 0 h 531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8697" h="531358">
                  <a:moveTo>
                    <a:pt x="424975" y="168488"/>
                  </a:moveTo>
                  <a:cubicBezTo>
                    <a:pt x="404312" y="168488"/>
                    <a:pt x="387604" y="185248"/>
                    <a:pt x="387604" y="205806"/>
                  </a:cubicBezTo>
                  <a:cubicBezTo>
                    <a:pt x="387604" y="226439"/>
                    <a:pt x="404312" y="243124"/>
                    <a:pt x="424975" y="243124"/>
                  </a:cubicBezTo>
                  <a:cubicBezTo>
                    <a:pt x="445562" y="243124"/>
                    <a:pt x="462346" y="226439"/>
                    <a:pt x="462346" y="205806"/>
                  </a:cubicBezTo>
                  <a:cubicBezTo>
                    <a:pt x="462346" y="185248"/>
                    <a:pt x="445637" y="168488"/>
                    <a:pt x="424975" y="168488"/>
                  </a:cubicBezTo>
                  <a:close/>
                  <a:moveTo>
                    <a:pt x="287947" y="168488"/>
                  </a:moveTo>
                  <a:cubicBezTo>
                    <a:pt x="267285" y="168488"/>
                    <a:pt x="250576" y="185248"/>
                    <a:pt x="250576" y="205806"/>
                  </a:cubicBezTo>
                  <a:cubicBezTo>
                    <a:pt x="250576" y="226439"/>
                    <a:pt x="267285" y="243124"/>
                    <a:pt x="287947" y="243124"/>
                  </a:cubicBezTo>
                  <a:cubicBezTo>
                    <a:pt x="308610" y="243124"/>
                    <a:pt x="325318" y="226439"/>
                    <a:pt x="325318" y="205806"/>
                  </a:cubicBezTo>
                  <a:cubicBezTo>
                    <a:pt x="325318" y="185248"/>
                    <a:pt x="308610" y="168488"/>
                    <a:pt x="287947" y="168488"/>
                  </a:cubicBezTo>
                  <a:close/>
                  <a:moveTo>
                    <a:pt x="102356" y="121231"/>
                  </a:moveTo>
                  <a:cubicBezTo>
                    <a:pt x="101162" y="123317"/>
                    <a:pt x="99969" y="125477"/>
                    <a:pt x="98850" y="127711"/>
                  </a:cubicBezTo>
                  <a:cubicBezTo>
                    <a:pt x="84227" y="156240"/>
                    <a:pt x="76842" y="186631"/>
                    <a:pt x="76842" y="217990"/>
                  </a:cubicBezTo>
                  <a:cubicBezTo>
                    <a:pt x="76842" y="249275"/>
                    <a:pt x="84227" y="279666"/>
                    <a:pt x="98850" y="308194"/>
                  </a:cubicBezTo>
                  <a:cubicBezTo>
                    <a:pt x="112726" y="335308"/>
                    <a:pt x="132496" y="359516"/>
                    <a:pt x="157488" y="380223"/>
                  </a:cubicBezTo>
                  <a:cubicBezTo>
                    <a:pt x="207845" y="421787"/>
                    <a:pt x="274317" y="444729"/>
                    <a:pt x="344668" y="444729"/>
                  </a:cubicBezTo>
                  <a:cubicBezTo>
                    <a:pt x="353173" y="444729"/>
                    <a:pt x="361752" y="444357"/>
                    <a:pt x="370257" y="443687"/>
                  </a:cubicBezTo>
                  <a:cubicBezTo>
                    <a:pt x="332209" y="465288"/>
                    <a:pt x="286254" y="477876"/>
                    <a:pt x="236717" y="477876"/>
                  </a:cubicBezTo>
                  <a:cubicBezTo>
                    <a:pt x="223736" y="477876"/>
                    <a:pt x="210755" y="477057"/>
                    <a:pt x="198072" y="475344"/>
                  </a:cubicBezTo>
                  <a:cubicBezTo>
                    <a:pt x="160397" y="499478"/>
                    <a:pt x="110637" y="528155"/>
                    <a:pt x="82437" y="531284"/>
                  </a:cubicBezTo>
                  <a:cubicBezTo>
                    <a:pt x="82138" y="531358"/>
                    <a:pt x="81840" y="531358"/>
                    <a:pt x="81542" y="531358"/>
                  </a:cubicBezTo>
                  <a:cubicBezTo>
                    <a:pt x="78930" y="531358"/>
                    <a:pt x="76469" y="530017"/>
                    <a:pt x="75051" y="527857"/>
                  </a:cubicBezTo>
                  <a:cubicBezTo>
                    <a:pt x="73410" y="525399"/>
                    <a:pt x="73335" y="522271"/>
                    <a:pt x="74753" y="519738"/>
                  </a:cubicBezTo>
                  <a:cubicBezTo>
                    <a:pt x="75051" y="519291"/>
                    <a:pt x="99223" y="476014"/>
                    <a:pt x="88778" y="435046"/>
                  </a:cubicBezTo>
                  <a:cubicBezTo>
                    <a:pt x="32303" y="397653"/>
                    <a:pt x="0" y="342160"/>
                    <a:pt x="0" y="282198"/>
                  </a:cubicBezTo>
                  <a:cubicBezTo>
                    <a:pt x="0" y="215532"/>
                    <a:pt x="40584" y="156538"/>
                    <a:pt x="102356" y="121231"/>
                  </a:cubicBezTo>
                  <a:close/>
                  <a:moveTo>
                    <a:pt x="356424" y="0"/>
                  </a:moveTo>
                  <a:cubicBezTo>
                    <a:pt x="495540" y="0"/>
                    <a:pt x="608697" y="94747"/>
                    <a:pt x="608697" y="211244"/>
                  </a:cubicBezTo>
                  <a:cubicBezTo>
                    <a:pt x="608697" y="274408"/>
                    <a:pt x="575802" y="333178"/>
                    <a:pt x="518290" y="373401"/>
                  </a:cubicBezTo>
                  <a:cubicBezTo>
                    <a:pt x="512845" y="406324"/>
                    <a:pt x="531717" y="440811"/>
                    <a:pt x="531941" y="441109"/>
                  </a:cubicBezTo>
                  <a:cubicBezTo>
                    <a:pt x="536267" y="448781"/>
                    <a:pt x="535969" y="458092"/>
                    <a:pt x="531120" y="465391"/>
                  </a:cubicBezTo>
                  <a:cubicBezTo>
                    <a:pt x="526794" y="472021"/>
                    <a:pt x="519484" y="475894"/>
                    <a:pt x="511577" y="475894"/>
                  </a:cubicBezTo>
                  <a:cubicBezTo>
                    <a:pt x="510756" y="475894"/>
                    <a:pt x="509936" y="475894"/>
                    <a:pt x="509041" y="475745"/>
                  </a:cubicBezTo>
                  <a:cubicBezTo>
                    <a:pt x="484574" y="473064"/>
                    <a:pt x="444966" y="454442"/>
                    <a:pt x="391408" y="420476"/>
                  </a:cubicBezTo>
                  <a:cubicBezTo>
                    <a:pt x="379920" y="421817"/>
                    <a:pt x="368135" y="422487"/>
                    <a:pt x="356424" y="422487"/>
                  </a:cubicBezTo>
                  <a:cubicBezTo>
                    <a:pt x="217382" y="422487"/>
                    <a:pt x="104225" y="327741"/>
                    <a:pt x="104225" y="211244"/>
                  </a:cubicBezTo>
                  <a:cubicBezTo>
                    <a:pt x="104225" y="94747"/>
                    <a:pt x="217382" y="0"/>
                    <a:pt x="356424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200" kern="1200"/>
            </a:p>
          </p:txBody>
        </p:sp>
        <p:sp>
          <p:nvSpPr>
            <p:cNvPr id="11" name="ïṥľiḑê">
              <a:extLst>
                <a:ext uri="{FF2B5EF4-FFF2-40B4-BE49-F238E27FC236}">
                  <a16:creationId xmlns:a16="http://schemas.microsoft.com/office/drawing/2014/main" xmlns="" id="{6B4F82FB-036C-4CCB-B322-7402FBDB33C4}"/>
                </a:ext>
              </a:extLst>
            </p:cNvPr>
            <p:cNvSpPr/>
            <p:nvPr/>
          </p:nvSpPr>
          <p:spPr>
            <a:xfrm>
              <a:off x="673100" y="4047396"/>
              <a:ext cx="539194" cy="486228"/>
            </a:xfrm>
            <a:custGeom>
              <a:avLst/>
              <a:gdLst>
                <a:gd name="connsiteX0" fmla="*/ 521432 w 608344"/>
                <a:gd name="connsiteY0" fmla="*/ 370453 h 548582"/>
                <a:gd name="connsiteX1" fmla="*/ 465737 w 608344"/>
                <a:gd name="connsiteY1" fmla="*/ 425787 h 548582"/>
                <a:gd name="connsiteX2" fmla="*/ 442491 w 608344"/>
                <a:gd name="connsiteY2" fmla="*/ 402479 h 548582"/>
                <a:gd name="connsiteX3" fmla="*/ 418201 w 608344"/>
                <a:gd name="connsiteY3" fmla="*/ 426545 h 548582"/>
                <a:gd name="connsiteX4" fmla="*/ 441447 w 608344"/>
                <a:gd name="connsiteY4" fmla="*/ 449948 h 548582"/>
                <a:gd name="connsiteX5" fmla="*/ 465642 w 608344"/>
                <a:gd name="connsiteY5" fmla="*/ 474204 h 548582"/>
                <a:gd name="connsiteX6" fmla="*/ 489932 w 608344"/>
                <a:gd name="connsiteY6" fmla="*/ 450043 h 548582"/>
                <a:gd name="connsiteX7" fmla="*/ 545532 w 608344"/>
                <a:gd name="connsiteY7" fmla="*/ 394709 h 548582"/>
                <a:gd name="connsiteX8" fmla="*/ 481962 w 608344"/>
                <a:gd name="connsiteY8" fmla="*/ 296170 h 548582"/>
                <a:gd name="connsiteX9" fmla="*/ 608344 w 608344"/>
                <a:gd name="connsiteY9" fmla="*/ 422376 h 548582"/>
                <a:gd name="connsiteX10" fmla="*/ 481962 w 608344"/>
                <a:gd name="connsiteY10" fmla="*/ 548582 h 548582"/>
                <a:gd name="connsiteX11" fmla="*/ 355579 w 608344"/>
                <a:gd name="connsiteY11" fmla="*/ 422376 h 548582"/>
                <a:gd name="connsiteX12" fmla="*/ 481962 w 608344"/>
                <a:gd name="connsiteY12" fmla="*/ 296170 h 548582"/>
                <a:gd name="connsiteX13" fmla="*/ 255835 w 608344"/>
                <a:gd name="connsiteY13" fmla="*/ 446 h 548582"/>
                <a:gd name="connsiteX14" fmla="*/ 317801 w 608344"/>
                <a:gd name="connsiteY14" fmla="*/ 13616 h 548582"/>
                <a:gd name="connsiteX15" fmla="*/ 348072 w 608344"/>
                <a:gd name="connsiteY15" fmla="*/ 41661 h 548582"/>
                <a:gd name="connsiteX16" fmla="*/ 381190 w 608344"/>
                <a:gd name="connsiteY16" fmla="*/ 146831 h 548582"/>
                <a:gd name="connsiteX17" fmla="*/ 378913 w 608344"/>
                <a:gd name="connsiteY17" fmla="*/ 156211 h 548582"/>
                <a:gd name="connsiteX18" fmla="*/ 387833 w 608344"/>
                <a:gd name="connsiteY18" fmla="*/ 200458 h 548582"/>
                <a:gd name="connsiteX19" fmla="*/ 366387 w 608344"/>
                <a:gd name="connsiteY19" fmla="*/ 237694 h 548582"/>
                <a:gd name="connsiteX20" fmla="*/ 351393 w 608344"/>
                <a:gd name="connsiteY20" fmla="*/ 278720 h 548582"/>
                <a:gd name="connsiteX21" fmla="*/ 351393 w 608344"/>
                <a:gd name="connsiteY21" fmla="*/ 322873 h 548582"/>
                <a:gd name="connsiteX22" fmla="*/ 317611 w 608344"/>
                <a:gd name="connsiteY22" fmla="*/ 422358 h 548582"/>
                <a:gd name="connsiteX23" fmla="*/ 376635 w 608344"/>
                <a:gd name="connsiteY23" fmla="*/ 548088 h 548582"/>
                <a:gd name="connsiteX24" fmla="*/ 26855 w 608344"/>
                <a:gd name="connsiteY24" fmla="*/ 548088 h 548582"/>
                <a:gd name="connsiteX25" fmla="*/ 0 w 608344"/>
                <a:gd name="connsiteY25" fmla="*/ 521274 h 548582"/>
                <a:gd name="connsiteX26" fmla="*/ 0 w 608344"/>
                <a:gd name="connsiteY26" fmla="*/ 473806 h 548582"/>
                <a:gd name="connsiteX27" fmla="*/ 19453 w 608344"/>
                <a:gd name="connsiteY27" fmla="*/ 432969 h 548582"/>
                <a:gd name="connsiteX28" fmla="*/ 173751 w 608344"/>
                <a:gd name="connsiteY28" fmla="*/ 334242 h 548582"/>
                <a:gd name="connsiteX29" fmla="*/ 176408 w 608344"/>
                <a:gd name="connsiteY29" fmla="*/ 329884 h 548582"/>
                <a:gd name="connsiteX30" fmla="*/ 176408 w 608344"/>
                <a:gd name="connsiteY30" fmla="*/ 278720 h 548582"/>
                <a:gd name="connsiteX31" fmla="*/ 161320 w 608344"/>
                <a:gd name="connsiteY31" fmla="*/ 237694 h 548582"/>
                <a:gd name="connsiteX32" fmla="*/ 139969 w 608344"/>
                <a:gd name="connsiteY32" fmla="*/ 200458 h 548582"/>
                <a:gd name="connsiteX33" fmla="*/ 148320 w 608344"/>
                <a:gd name="connsiteY33" fmla="*/ 156211 h 548582"/>
                <a:gd name="connsiteX34" fmla="*/ 146042 w 608344"/>
                <a:gd name="connsiteY34" fmla="*/ 146736 h 548582"/>
                <a:gd name="connsiteX35" fmla="*/ 145758 w 608344"/>
                <a:gd name="connsiteY35" fmla="*/ 95099 h 548582"/>
                <a:gd name="connsiteX36" fmla="*/ 176029 w 608344"/>
                <a:gd name="connsiteY36" fmla="*/ 42135 h 548582"/>
                <a:gd name="connsiteX37" fmla="*/ 203928 w 608344"/>
                <a:gd name="connsiteY37" fmla="*/ 19017 h 548582"/>
                <a:gd name="connsiteX38" fmla="*/ 231162 w 608344"/>
                <a:gd name="connsiteY38" fmla="*/ 5089 h 548582"/>
                <a:gd name="connsiteX39" fmla="*/ 255835 w 608344"/>
                <a:gd name="connsiteY39" fmla="*/ 446 h 548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08344" h="548582">
                  <a:moveTo>
                    <a:pt x="521432" y="370453"/>
                  </a:moveTo>
                  <a:lnTo>
                    <a:pt x="465737" y="425787"/>
                  </a:lnTo>
                  <a:lnTo>
                    <a:pt x="442491" y="402479"/>
                  </a:lnTo>
                  <a:lnTo>
                    <a:pt x="418201" y="426545"/>
                  </a:lnTo>
                  <a:lnTo>
                    <a:pt x="441447" y="449948"/>
                  </a:lnTo>
                  <a:lnTo>
                    <a:pt x="465642" y="474204"/>
                  </a:lnTo>
                  <a:lnTo>
                    <a:pt x="489932" y="450043"/>
                  </a:lnTo>
                  <a:lnTo>
                    <a:pt x="545532" y="394709"/>
                  </a:lnTo>
                  <a:close/>
                  <a:moveTo>
                    <a:pt x="481962" y="296170"/>
                  </a:moveTo>
                  <a:cubicBezTo>
                    <a:pt x="551795" y="296170"/>
                    <a:pt x="608344" y="352641"/>
                    <a:pt x="608344" y="422376"/>
                  </a:cubicBezTo>
                  <a:cubicBezTo>
                    <a:pt x="608344" y="492111"/>
                    <a:pt x="551795" y="548582"/>
                    <a:pt x="481962" y="548582"/>
                  </a:cubicBezTo>
                  <a:cubicBezTo>
                    <a:pt x="412129" y="548582"/>
                    <a:pt x="355579" y="492111"/>
                    <a:pt x="355579" y="422376"/>
                  </a:cubicBezTo>
                  <a:cubicBezTo>
                    <a:pt x="355579" y="352641"/>
                    <a:pt x="412129" y="296170"/>
                    <a:pt x="481962" y="296170"/>
                  </a:cubicBezTo>
                  <a:close/>
                  <a:moveTo>
                    <a:pt x="255835" y="446"/>
                  </a:moveTo>
                  <a:cubicBezTo>
                    <a:pt x="282785" y="-1828"/>
                    <a:pt x="303187" y="4899"/>
                    <a:pt x="317801" y="13616"/>
                  </a:cubicBezTo>
                  <a:cubicBezTo>
                    <a:pt x="339721" y="25744"/>
                    <a:pt x="348072" y="41661"/>
                    <a:pt x="348072" y="41661"/>
                  </a:cubicBezTo>
                  <a:cubicBezTo>
                    <a:pt x="348072" y="41661"/>
                    <a:pt x="398176" y="45167"/>
                    <a:pt x="381190" y="146831"/>
                  </a:cubicBezTo>
                  <a:cubicBezTo>
                    <a:pt x="380621" y="149863"/>
                    <a:pt x="379862" y="153085"/>
                    <a:pt x="378913" y="156211"/>
                  </a:cubicBezTo>
                  <a:cubicBezTo>
                    <a:pt x="388592" y="156211"/>
                    <a:pt x="398271" y="163507"/>
                    <a:pt x="387833" y="200458"/>
                  </a:cubicBezTo>
                  <a:cubicBezTo>
                    <a:pt x="379672" y="229262"/>
                    <a:pt x="372080" y="237221"/>
                    <a:pt x="366387" y="237694"/>
                  </a:cubicBezTo>
                  <a:cubicBezTo>
                    <a:pt x="364394" y="250675"/>
                    <a:pt x="359175" y="265076"/>
                    <a:pt x="351393" y="278720"/>
                  </a:cubicBezTo>
                  <a:lnTo>
                    <a:pt x="351393" y="322873"/>
                  </a:lnTo>
                  <a:cubicBezTo>
                    <a:pt x="330232" y="350539"/>
                    <a:pt x="317611" y="385027"/>
                    <a:pt x="317611" y="422358"/>
                  </a:cubicBezTo>
                  <a:cubicBezTo>
                    <a:pt x="317611" y="472764"/>
                    <a:pt x="340480" y="518053"/>
                    <a:pt x="376635" y="548088"/>
                  </a:cubicBezTo>
                  <a:lnTo>
                    <a:pt x="26855" y="548088"/>
                  </a:lnTo>
                  <a:cubicBezTo>
                    <a:pt x="12052" y="548088"/>
                    <a:pt x="0" y="536055"/>
                    <a:pt x="0" y="521274"/>
                  </a:cubicBezTo>
                  <a:lnTo>
                    <a:pt x="0" y="473806"/>
                  </a:lnTo>
                  <a:cubicBezTo>
                    <a:pt x="0" y="457983"/>
                    <a:pt x="7212" y="443013"/>
                    <a:pt x="19453" y="432969"/>
                  </a:cubicBezTo>
                  <a:cubicBezTo>
                    <a:pt x="86638" y="377921"/>
                    <a:pt x="159043" y="341443"/>
                    <a:pt x="173751" y="334242"/>
                  </a:cubicBezTo>
                  <a:cubicBezTo>
                    <a:pt x="175365" y="333484"/>
                    <a:pt x="176408" y="331779"/>
                    <a:pt x="176408" y="329884"/>
                  </a:cubicBezTo>
                  <a:lnTo>
                    <a:pt x="176408" y="278720"/>
                  </a:lnTo>
                  <a:cubicBezTo>
                    <a:pt x="168437" y="265076"/>
                    <a:pt x="163313" y="250675"/>
                    <a:pt x="161320" y="237694"/>
                  </a:cubicBezTo>
                  <a:cubicBezTo>
                    <a:pt x="155627" y="237221"/>
                    <a:pt x="148035" y="229072"/>
                    <a:pt x="139969" y="200458"/>
                  </a:cubicBezTo>
                  <a:cubicBezTo>
                    <a:pt x="129531" y="164170"/>
                    <a:pt x="138925" y="156496"/>
                    <a:pt x="148320" y="156211"/>
                  </a:cubicBezTo>
                  <a:cubicBezTo>
                    <a:pt x="147371" y="153085"/>
                    <a:pt x="146612" y="149863"/>
                    <a:pt x="146042" y="146736"/>
                  </a:cubicBezTo>
                  <a:cubicBezTo>
                    <a:pt x="142436" y="128450"/>
                    <a:pt x="141487" y="111396"/>
                    <a:pt x="145758" y="95099"/>
                  </a:cubicBezTo>
                  <a:cubicBezTo>
                    <a:pt x="150787" y="73212"/>
                    <a:pt x="162744" y="55684"/>
                    <a:pt x="176029" y="42135"/>
                  </a:cubicBezTo>
                  <a:cubicBezTo>
                    <a:pt x="184379" y="33134"/>
                    <a:pt x="193869" y="25459"/>
                    <a:pt x="203928" y="19017"/>
                  </a:cubicBezTo>
                  <a:cubicBezTo>
                    <a:pt x="212183" y="13332"/>
                    <a:pt x="221293" y="8405"/>
                    <a:pt x="231162" y="5089"/>
                  </a:cubicBezTo>
                  <a:cubicBezTo>
                    <a:pt x="238849" y="2625"/>
                    <a:pt x="247105" y="825"/>
                    <a:pt x="255835" y="44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200" kern="1200"/>
            </a:p>
          </p:txBody>
        </p:sp>
        <p:sp>
          <p:nvSpPr>
            <p:cNvPr id="12" name="ï$ļíḍé">
              <a:extLst>
                <a:ext uri="{FF2B5EF4-FFF2-40B4-BE49-F238E27FC236}">
                  <a16:creationId xmlns:a16="http://schemas.microsoft.com/office/drawing/2014/main" xmlns="" id="{8EFAAEF4-16CE-4361-8776-6A614BC74E54}"/>
                </a:ext>
              </a:extLst>
            </p:cNvPr>
            <p:cNvSpPr/>
            <p:nvPr/>
          </p:nvSpPr>
          <p:spPr>
            <a:xfrm>
              <a:off x="7738487" y="5928362"/>
              <a:ext cx="3307897" cy="4571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553992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308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03D45E32-62C1-45D7-A5A2-70E29582471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-930109" y="1051361"/>
            <a:ext cx="12450597" cy="4778319"/>
            <a:chOff x="-930109" y="1051361"/>
            <a:chExt cx="12450597" cy="4778319"/>
          </a:xfrm>
        </p:grpSpPr>
        <p:grpSp>
          <p:nvGrpSpPr>
            <p:cNvPr id="28" name="iś1íḑè">
              <a:extLst>
                <a:ext uri="{FF2B5EF4-FFF2-40B4-BE49-F238E27FC236}">
                  <a16:creationId xmlns:a16="http://schemas.microsoft.com/office/drawing/2014/main" xmlns="" id="{A161E65A-3E33-40D4-85A4-8B6196A0BAEC}"/>
                </a:ext>
              </a:extLst>
            </p:cNvPr>
            <p:cNvGrpSpPr/>
            <p:nvPr/>
          </p:nvGrpSpPr>
          <p:grpSpPr>
            <a:xfrm>
              <a:off x="-930109" y="1051361"/>
              <a:ext cx="2490640" cy="4778319"/>
              <a:chOff x="-930109" y="1051361"/>
              <a:chExt cx="2490640" cy="4778319"/>
            </a:xfrm>
          </p:grpSpPr>
          <p:sp>
            <p:nvSpPr>
              <p:cNvPr id="49" name="íšļîḑê">
                <a:extLst>
                  <a:ext uri="{FF2B5EF4-FFF2-40B4-BE49-F238E27FC236}">
                    <a16:creationId xmlns:a16="http://schemas.microsoft.com/office/drawing/2014/main" xmlns="" id="{53DE9EFD-8922-4386-867E-57B490448C5A}"/>
                  </a:ext>
                </a:extLst>
              </p:cNvPr>
              <p:cNvSpPr/>
              <p:nvPr/>
            </p:nvSpPr>
            <p:spPr bwMode="auto">
              <a:xfrm rot="13500000">
                <a:off x="-930105" y="3969472"/>
                <a:ext cx="1860208" cy="1860208"/>
              </a:xfrm>
              <a:custGeom>
                <a:avLst/>
                <a:gdLst>
                  <a:gd name="connsiteX0" fmla="*/ 0 w 2304255"/>
                  <a:gd name="connsiteY0" fmla="*/ 0 h 2304255"/>
                  <a:gd name="connsiteX1" fmla="*/ 2304255 w 2304255"/>
                  <a:gd name="connsiteY1" fmla="*/ 2304255 h 2304255"/>
                  <a:gd name="connsiteX2" fmla="*/ 0 w 2304255"/>
                  <a:gd name="connsiteY2" fmla="*/ 2304255 h 2304255"/>
                  <a:gd name="connsiteX3" fmla="*/ 0 w 2304255"/>
                  <a:gd name="connsiteY3" fmla="*/ 0 h 2304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4255" h="2304255">
                    <a:moveTo>
                      <a:pt x="0" y="0"/>
                    </a:moveTo>
                    <a:lnTo>
                      <a:pt x="2304255" y="2304255"/>
                    </a:lnTo>
                    <a:lnTo>
                      <a:pt x="0" y="23042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" name="îṣľídê">
                <a:extLst>
                  <a:ext uri="{FF2B5EF4-FFF2-40B4-BE49-F238E27FC236}">
                    <a16:creationId xmlns:a16="http://schemas.microsoft.com/office/drawing/2014/main" xmlns="" id="{D709840B-9757-4006-BE19-F8A1EAC39F9F}"/>
                  </a:ext>
                </a:extLst>
              </p:cNvPr>
              <p:cNvSpPr/>
              <p:nvPr/>
            </p:nvSpPr>
            <p:spPr bwMode="auto">
              <a:xfrm rot="2700000">
                <a:off x="-930109" y="1051361"/>
                <a:ext cx="1860208" cy="1860208"/>
              </a:xfrm>
              <a:custGeom>
                <a:avLst/>
                <a:gdLst>
                  <a:gd name="connsiteX0" fmla="*/ 0 w 1860208"/>
                  <a:gd name="connsiteY0" fmla="*/ 0 h 1860208"/>
                  <a:gd name="connsiteX1" fmla="*/ 1860208 w 1860208"/>
                  <a:gd name="connsiteY1" fmla="*/ 0 h 1860208"/>
                  <a:gd name="connsiteX2" fmla="*/ 1860208 w 1860208"/>
                  <a:gd name="connsiteY2" fmla="*/ 1860208 h 1860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0208" h="1860208">
                    <a:moveTo>
                      <a:pt x="0" y="0"/>
                    </a:moveTo>
                    <a:lnTo>
                      <a:pt x="1860208" y="0"/>
                    </a:lnTo>
                    <a:lnTo>
                      <a:pt x="1860208" y="1860208"/>
                    </a:lnTo>
                    <a:close/>
                  </a:path>
                </a:pathLst>
              </a:custGeom>
              <a:solidFill>
                <a:schemeClr val="accent1">
                  <a:lumMod val="10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square" anchor="ctr">
                <a:no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51" name="ïşḻïḑé">
                <a:extLst>
                  <a:ext uri="{FF2B5EF4-FFF2-40B4-BE49-F238E27FC236}">
                    <a16:creationId xmlns:a16="http://schemas.microsoft.com/office/drawing/2014/main" xmlns="" id="{1E569498-14AD-4ABB-ABC6-FD81E78FDB25}"/>
                  </a:ext>
                </a:extLst>
              </p:cNvPr>
              <p:cNvSpPr/>
              <p:nvPr/>
            </p:nvSpPr>
            <p:spPr bwMode="auto">
              <a:xfrm rot="5400000">
                <a:off x="-780266" y="2648735"/>
                <a:ext cx="3121063" cy="1560531"/>
              </a:xfrm>
              <a:custGeom>
                <a:avLst/>
                <a:gdLst>
                  <a:gd name="connsiteX0" fmla="*/ 2367656 w 4735313"/>
                  <a:gd name="connsiteY0" fmla="*/ 0 h 2367656"/>
                  <a:gd name="connsiteX1" fmla="*/ 4735313 w 4735313"/>
                  <a:gd name="connsiteY1" fmla="*/ 2367656 h 2367656"/>
                  <a:gd name="connsiteX2" fmla="*/ 3847062 w 4735313"/>
                  <a:gd name="connsiteY2" fmla="*/ 2367656 h 2367656"/>
                  <a:gd name="connsiteX3" fmla="*/ 2367656 w 4735313"/>
                  <a:gd name="connsiteY3" fmla="*/ 888250 h 2367656"/>
                  <a:gd name="connsiteX4" fmla="*/ 888250 w 4735313"/>
                  <a:gd name="connsiteY4" fmla="*/ 2367656 h 2367656"/>
                  <a:gd name="connsiteX5" fmla="*/ 0 w 4735313"/>
                  <a:gd name="connsiteY5" fmla="*/ 2367656 h 2367656"/>
                  <a:gd name="connsiteX6" fmla="*/ 2367656 w 4735313"/>
                  <a:gd name="connsiteY6" fmla="*/ 0 h 2367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35313" h="2367656">
                    <a:moveTo>
                      <a:pt x="2367656" y="0"/>
                    </a:moveTo>
                    <a:lnTo>
                      <a:pt x="4735313" y="2367656"/>
                    </a:lnTo>
                    <a:lnTo>
                      <a:pt x="3847062" y="2367656"/>
                    </a:lnTo>
                    <a:lnTo>
                      <a:pt x="2367656" y="888250"/>
                    </a:lnTo>
                    <a:lnTo>
                      <a:pt x="888250" y="2367656"/>
                    </a:lnTo>
                    <a:lnTo>
                      <a:pt x="0" y="2367656"/>
                    </a:lnTo>
                    <a:lnTo>
                      <a:pt x="2367656" y="0"/>
                    </a:lnTo>
                    <a:close/>
                  </a:path>
                </a:pathLst>
              </a:custGeom>
              <a:solidFill>
                <a:schemeClr val="tx2">
                  <a:alpha val="77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29" name="iSḷîďe">
              <a:extLst>
                <a:ext uri="{FF2B5EF4-FFF2-40B4-BE49-F238E27FC236}">
                  <a16:creationId xmlns:a16="http://schemas.microsoft.com/office/drawing/2014/main" xmlns="" id="{AA46F6B8-41BD-45B8-ACF8-07F2599EE78A}"/>
                </a:ext>
              </a:extLst>
            </p:cNvPr>
            <p:cNvSpPr/>
            <p:nvPr/>
          </p:nvSpPr>
          <p:spPr>
            <a:xfrm>
              <a:off x="1543012" y="2978855"/>
              <a:ext cx="3742988" cy="923330"/>
            </a:xfrm>
            <a:prstGeom prst="rect">
              <a:avLst/>
            </a:prstGeom>
          </p:spPr>
          <p:txBody>
            <a:bodyPr wrap="square" anchor="ctr" anchorCtr="1">
              <a:normAutofit fontScale="85000" lnSpcReduction="10000"/>
            </a:bodyPr>
            <a:lstStyle/>
            <a:p>
              <a:pPr algn="r"/>
              <a:r>
                <a:rPr lang="en-US" altLang="zh-CN" sz="5400" b="1" spc="300" dirty="0">
                  <a:solidFill>
                    <a:schemeClr val="tx2"/>
                  </a:solidFill>
                </a:rPr>
                <a:t>CONTENTS</a:t>
              </a:r>
            </a:p>
          </p:txBody>
        </p:sp>
        <p:sp>
          <p:nvSpPr>
            <p:cNvPr id="30" name="íṧľîḓè">
              <a:extLst>
                <a:ext uri="{FF2B5EF4-FFF2-40B4-BE49-F238E27FC236}">
                  <a16:creationId xmlns:a16="http://schemas.microsoft.com/office/drawing/2014/main" xmlns="" id="{9910C0D0-4346-4E37-8FC1-5F9650E6470A}"/>
                </a:ext>
              </a:extLst>
            </p:cNvPr>
            <p:cNvSpPr/>
            <p:nvPr/>
          </p:nvSpPr>
          <p:spPr>
            <a:xfrm>
              <a:off x="6276020" y="5029187"/>
              <a:ext cx="624349" cy="624349"/>
            </a:xfrm>
            <a:prstGeom prst="diamond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anchor="ctr">
              <a:normAutofit fontScale="92500" lnSpcReduction="20000"/>
            </a:bodyPr>
            <a:lstStyle/>
            <a:p>
              <a:pPr algn="ctr"/>
              <a:r>
                <a:rPr lang="en-US" altLang="zh-CN" dirty="0">
                  <a:solidFill>
                    <a:schemeClr val="bg1"/>
                  </a:solidFill>
                  <a:latin typeface="Impact" panose="020B0806030902050204" pitchFamily="34" charset="0"/>
                </a:rPr>
                <a:t>05</a:t>
              </a:r>
            </a:p>
          </p:txBody>
        </p:sp>
        <p:sp>
          <p:nvSpPr>
            <p:cNvPr id="31" name="îŝliḋe">
              <a:extLst>
                <a:ext uri="{FF2B5EF4-FFF2-40B4-BE49-F238E27FC236}">
                  <a16:creationId xmlns:a16="http://schemas.microsoft.com/office/drawing/2014/main" xmlns="" id="{7C753D03-712B-4632-AFFF-AB5E6EE117B9}"/>
                </a:ext>
              </a:extLst>
            </p:cNvPr>
            <p:cNvSpPr/>
            <p:nvPr/>
          </p:nvSpPr>
          <p:spPr>
            <a:xfrm>
              <a:off x="6281459" y="4150611"/>
              <a:ext cx="624349" cy="624349"/>
            </a:xfrm>
            <a:prstGeom prst="diamond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anchor="ctr">
              <a:normAutofit fontScale="92500" lnSpcReduction="20000"/>
            </a:bodyPr>
            <a:lstStyle/>
            <a:p>
              <a:pPr algn="ctr"/>
              <a:r>
                <a:rPr lang="en-US" altLang="zh-CN">
                  <a:solidFill>
                    <a:schemeClr val="bg1"/>
                  </a:solidFill>
                  <a:latin typeface="Impact" panose="020B0806030902050204" pitchFamily="34" charset="0"/>
                </a:rPr>
                <a:t>04</a:t>
              </a:r>
            </a:p>
          </p:txBody>
        </p:sp>
        <p:sp>
          <p:nvSpPr>
            <p:cNvPr id="32" name="íṧ1íḓê">
              <a:extLst>
                <a:ext uri="{FF2B5EF4-FFF2-40B4-BE49-F238E27FC236}">
                  <a16:creationId xmlns:a16="http://schemas.microsoft.com/office/drawing/2014/main" xmlns="" id="{A910F09E-DFE3-4F4B-8C31-89EB17BDD6FA}"/>
                </a:ext>
              </a:extLst>
            </p:cNvPr>
            <p:cNvSpPr/>
            <p:nvPr/>
          </p:nvSpPr>
          <p:spPr>
            <a:xfrm>
              <a:off x="6281459" y="3272035"/>
              <a:ext cx="624349" cy="624349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anchor="ctr">
              <a:normAutofit fontScale="92500" lnSpcReduction="20000"/>
            </a:bodyPr>
            <a:lstStyle/>
            <a:p>
              <a:pPr algn="ctr"/>
              <a:r>
                <a:rPr lang="en-US" altLang="zh-CN">
                  <a:solidFill>
                    <a:schemeClr val="bg1"/>
                  </a:solidFill>
                  <a:latin typeface="Impact" panose="020B0806030902050204" pitchFamily="34" charset="0"/>
                </a:rPr>
                <a:t>03</a:t>
              </a:r>
            </a:p>
          </p:txBody>
        </p:sp>
        <p:sp>
          <p:nvSpPr>
            <p:cNvPr id="33" name="íSľidè">
              <a:extLst>
                <a:ext uri="{FF2B5EF4-FFF2-40B4-BE49-F238E27FC236}">
                  <a16:creationId xmlns:a16="http://schemas.microsoft.com/office/drawing/2014/main" xmlns="" id="{8423236A-3370-45B0-AE7E-CA44E64DA545}"/>
                </a:ext>
              </a:extLst>
            </p:cNvPr>
            <p:cNvSpPr/>
            <p:nvPr/>
          </p:nvSpPr>
          <p:spPr>
            <a:xfrm>
              <a:off x="6281459" y="2393459"/>
              <a:ext cx="624349" cy="624349"/>
            </a:xfrm>
            <a:prstGeom prst="diamond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anchor="ctr">
              <a:normAutofit fontScale="92500" lnSpcReduction="20000"/>
            </a:bodyPr>
            <a:lstStyle/>
            <a:p>
              <a:pPr algn="ctr"/>
              <a:r>
                <a:rPr lang="en-US" altLang="zh-CN">
                  <a:solidFill>
                    <a:schemeClr val="bg1"/>
                  </a:solidFill>
                  <a:latin typeface="Impact" panose="020B0806030902050204" pitchFamily="34" charset="0"/>
                </a:rPr>
                <a:t>02</a:t>
              </a:r>
            </a:p>
          </p:txBody>
        </p:sp>
        <p:sp>
          <p:nvSpPr>
            <p:cNvPr id="34" name="îsḻidé">
              <a:extLst>
                <a:ext uri="{FF2B5EF4-FFF2-40B4-BE49-F238E27FC236}">
                  <a16:creationId xmlns:a16="http://schemas.microsoft.com/office/drawing/2014/main" xmlns="" id="{5B70DE8E-21F3-4B07-8FB4-3A99D0E93D91}"/>
                </a:ext>
              </a:extLst>
            </p:cNvPr>
            <p:cNvSpPr/>
            <p:nvPr/>
          </p:nvSpPr>
          <p:spPr>
            <a:xfrm>
              <a:off x="6281461" y="1514883"/>
              <a:ext cx="624349" cy="624349"/>
            </a:xfrm>
            <a:prstGeom prst="diamond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anchor="ctr">
              <a:normAutofit fontScale="92500" lnSpcReduction="20000"/>
            </a:bodyPr>
            <a:lstStyle/>
            <a:p>
              <a:pPr algn="ctr"/>
              <a:r>
                <a:rPr lang="en-US" altLang="zh-CN" dirty="0">
                  <a:solidFill>
                    <a:schemeClr val="bg1"/>
                  </a:solidFill>
                  <a:latin typeface="Impact" panose="020B0806030902050204" pitchFamily="34" charset="0"/>
                </a:rPr>
                <a:t>01</a:t>
              </a:r>
            </a:p>
          </p:txBody>
        </p:sp>
        <p:sp>
          <p:nvSpPr>
            <p:cNvPr id="35" name="îŝḻíḋê">
              <a:extLst>
                <a:ext uri="{FF2B5EF4-FFF2-40B4-BE49-F238E27FC236}">
                  <a16:creationId xmlns:a16="http://schemas.microsoft.com/office/drawing/2014/main" xmlns="" id="{BFC06D47-AE05-4A34-AA98-05CB9199ADD1}"/>
                </a:ext>
              </a:extLst>
            </p:cNvPr>
            <p:cNvSpPr txBox="1"/>
            <p:nvPr/>
          </p:nvSpPr>
          <p:spPr>
            <a:xfrm>
              <a:off x="6905844" y="5017678"/>
              <a:ext cx="3962574" cy="303981"/>
            </a:xfrm>
            <a:prstGeom prst="rect">
              <a:avLst/>
            </a:prstGeom>
            <a:noFill/>
          </p:spPr>
          <p:txBody>
            <a:bodyPr wrap="none" lIns="90000" tIns="46800" rIns="90000" bIns="46800" anchor="b" anchorCtr="0">
              <a:normAutofit fontScale="92500" lnSpcReduction="10000"/>
            </a:bodyPr>
            <a:lstStyle/>
            <a:p>
              <a:r>
                <a:rPr lang="en-US" altLang="zh-CN" sz="1600" b="1" dirty="0"/>
                <a:t>Text here</a:t>
              </a:r>
              <a:endParaRPr lang="zh-CN" altLang="en-US" sz="1600" b="1" dirty="0"/>
            </a:p>
          </p:txBody>
        </p:sp>
        <p:sp>
          <p:nvSpPr>
            <p:cNvPr id="36" name="íSḻiḓè">
              <a:extLst>
                <a:ext uri="{FF2B5EF4-FFF2-40B4-BE49-F238E27FC236}">
                  <a16:creationId xmlns:a16="http://schemas.microsoft.com/office/drawing/2014/main" xmlns="" id="{79CF27FD-3522-4A2E-8F79-72FC95303E65}"/>
                </a:ext>
              </a:extLst>
            </p:cNvPr>
            <p:cNvSpPr txBox="1"/>
            <p:nvPr/>
          </p:nvSpPr>
          <p:spPr>
            <a:xfrm>
              <a:off x="6905844" y="5321659"/>
              <a:ext cx="3962574" cy="320368"/>
            </a:xfrm>
            <a:prstGeom prst="rect">
              <a:avLst/>
            </a:prstGeom>
          </p:spPr>
          <p:txBody>
            <a:bodyPr vert="horz" wrap="square" lIns="90000" tIns="46800" rIns="90000" bIns="46800" anchor="ctr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050" dirty="0"/>
                <a:t>Copy paste fonts. Choose the only option to retain text.</a:t>
              </a:r>
            </a:p>
          </p:txBody>
        </p:sp>
        <p:sp>
          <p:nvSpPr>
            <p:cNvPr id="37" name="îšḷïḍê">
              <a:extLst>
                <a:ext uri="{FF2B5EF4-FFF2-40B4-BE49-F238E27FC236}">
                  <a16:creationId xmlns:a16="http://schemas.microsoft.com/office/drawing/2014/main" xmlns="" id="{3D0732E0-8332-4254-8212-B265AD0819B3}"/>
                </a:ext>
              </a:extLst>
            </p:cNvPr>
            <p:cNvSpPr txBox="1"/>
            <p:nvPr/>
          </p:nvSpPr>
          <p:spPr>
            <a:xfrm>
              <a:off x="6905844" y="4139102"/>
              <a:ext cx="3962574" cy="303981"/>
            </a:xfrm>
            <a:prstGeom prst="rect">
              <a:avLst/>
            </a:prstGeom>
            <a:noFill/>
          </p:spPr>
          <p:txBody>
            <a:bodyPr wrap="none" lIns="90000" tIns="46800" rIns="90000" bIns="46800" anchor="b" anchorCtr="0">
              <a:normAutofit fontScale="92500" lnSpcReduction="10000"/>
            </a:bodyPr>
            <a:lstStyle/>
            <a:p>
              <a:r>
                <a:rPr lang="en-US" altLang="zh-CN" sz="1600" b="1" dirty="0"/>
                <a:t>Text here</a:t>
              </a:r>
              <a:endParaRPr lang="zh-CN" altLang="en-US" sz="1600" b="1" dirty="0"/>
            </a:p>
          </p:txBody>
        </p:sp>
        <p:sp>
          <p:nvSpPr>
            <p:cNvPr id="38" name="íṧlïḋê">
              <a:extLst>
                <a:ext uri="{FF2B5EF4-FFF2-40B4-BE49-F238E27FC236}">
                  <a16:creationId xmlns:a16="http://schemas.microsoft.com/office/drawing/2014/main" xmlns="" id="{D973BCF4-7726-4CD4-A698-7E5B8B95C96F}"/>
                </a:ext>
              </a:extLst>
            </p:cNvPr>
            <p:cNvSpPr txBox="1"/>
            <p:nvPr/>
          </p:nvSpPr>
          <p:spPr>
            <a:xfrm>
              <a:off x="6905844" y="4443083"/>
              <a:ext cx="3962574" cy="320368"/>
            </a:xfrm>
            <a:prstGeom prst="rect">
              <a:avLst/>
            </a:prstGeom>
          </p:spPr>
          <p:txBody>
            <a:bodyPr vert="horz" wrap="square" lIns="90000" tIns="46800" rIns="90000" bIns="46800" anchor="ctr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050" dirty="0"/>
                <a:t>Copy paste fonts. Choose the only option to retain text.</a:t>
              </a:r>
            </a:p>
          </p:txBody>
        </p:sp>
        <p:sp>
          <p:nvSpPr>
            <p:cNvPr id="39" name="ïṡḷiďé">
              <a:extLst>
                <a:ext uri="{FF2B5EF4-FFF2-40B4-BE49-F238E27FC236}">
                  <a16:creationId xmlns:a16="http://schemas.microsoft.com/office/drawing/2014/main" xmlns="" id="{EF966302-4E1B-4225-A8CE-CC8D6F8E1619}"/>
                </a:ext>
              </a:extLst>
            </p:cNvPr>
            <p:cNvSpPr txBox="1"/>
            <p:nvPr/>
          </p:nvSpPr>
          <p:spPr>
            <a:xfrm>
              <a:off x="6905844" y="3260526"/>
              <a:ext cx="3962574" cy="303981"/>
            </a:xfrm>
            <a:prstGeom prst="rect">
              <a:avLst/>
            </a:prstGeom>
            <a:noFill/>
          </p:spPr>
          <p:txBody>
            <a:bodyPr wrap="none" lIns="90000" tIns="46800" rIns="90000" bIns="46800" anchor="b" anchorCtr="0">
              <a:normAutofit fontScale="92500" lnSpcReduction="10000"/>
            </a:bodyPr>
            <a:lstStyle/>
            <a:p>
              <a:r>
                <a:rPr lang="en-US" altLang="zh-CN" sz="1600" b="1" dirty="0"/>
                <a:t>Text here</a:t>
              </a:r>
              <a:endParaRPr lang="zh-CN" altLang="en-US" sz="1600" b="1" dirty="0"/>
            </a:p>
          </p:txBody>
        </p:sp>
        <p:sp>
          <p:nvSpPr>
            <p:cNvPr id="40" name="íṩļîḋé">
              <a:extLst>
                <a:ext uri="{FF2B5EF4-FFF2-40B4-BE49-F238E27FC236}">
                  <a16:creationId xmlns:a16="http://schemas.microsoft.com/office/drawing/2014/main" xmlns="" id="{EC5E38A3-58E4-463E-92DD-1681BA7CF26A}"/>
                </a:ext>
              </a:extLst>
            </p:cNvPr>
            <p:cNvSpPr txBox="1"/>
            <p:nvPr/>
          </p:nvSpPr>
          <p:spPr>
            <a:xfrm>
              <a:off x="6905844" y="3564507"/>
              <a:ext cx="3962574" cy="320368"/>
            </a:xfrm>
            <a:prstGeom prst="rect">
              <a:avLst/>
            </a:prstGeom>
          </p:spPr>
          <p:txBody>
            <a:bodyPr vert="horz" wrap="square" lIns="90000" tIns="46800" rIns="90000" bIns="46800" anchor="ctr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050" dirty="0"/>
                <a:t>Copy paste fonts. Choose the only option to retain text.</a:t>
              </a:r>
            </a:p>
          </p:txBody>
        </p:sp>
        <p:sp>
          <p:nvSpPr>
            <p:cNvPr id="41" name="íşļíďé">
              <a:extLst>
                <a:ext uri="{FF2B5EF4-FFF2-40B4-BE49-F238E27FC236}">
                  <a16:creationId xmlns:a16="http://schemas.microsoft.com/office/drawing/2014/main" xmlns="" id="{A731ECAB-3E1F-46B4-93F3-13AC2C98D380}"/>
                </a:ext>
              </a:extLst>
            </p:cNvPr>
            <p:cNvSpPr txBox="1"/>
            <p:nvPr/>
          </p:nvSpPr>
          <p:spPr>
            <a:xfrm>
              <a:off x="6905844" y="2381950"/>
              <a:ext cx="3962574" cy="303981"/>
            </a:xfrm>
            <a:prstGeom prst="rect">
              <a:avLst/>
            </a:prstGeom>
            <a:noFill/>
          </p:spPr>
          <p:txBody>
            <a:bodyPr wrap="none" lIns="90000" tIns="46800" rIns="90000" bIns="46800" anchor="b" anchorCtr="0">
              <a:normAutofit fontScale="92500" lnSpcReduction="10000"/>
            </a:bodyPr>
            <a:lstStyle/>
            <a:p>
              <a:r>
                <a:rPr lang="en-US" altLang="zh-CN" sz="1600" b="1" dirty="0"/>
                <a:t>Text here</a:t>
              </a:r>
              <a:endParaRPr lang="zh-CN" altLang="en-US" sz="1600" b="1" dirty="0"/>
            </a:p>
          </p:txBody>
        </p:sp>
        <p:sp>
          <p:nvSpPr>
            <p:cNvPr id="42" name="ïṩliḋe">
              <a:extLst>
                <a:ext uri="{FF2B5EF4-FFF2-40B4-BE49-F238E27FC236}">
                  <a16:creationId xmlns:a16="http://schemas.microsoft.com/office/drawing/2014/main" xmlns="" id="{47B00F6B-D0EF-42EF-A884-801FDCA0B2EA}"/>
                </a:ext>
              </a:extLst>
            </p:cNvPr>
            <p:cNvSpPr txBox="1"/>
            <p:nvPr/>
          </p:nvSpPr>
          <p:spPr>
            <a:xfrm>
              <a:off x="6905844" y="2685931"/>
              <a:ext cx="3962574" cy="320368"/>
            </a:xfrm>
            <a:prstGeom prst="rect">
              <a:avLst/>
            </a:prstGeom>
          </p:spPr>
          <p:txBody>
            <a:bodyPr vert="horz" wrap="square" lIns="90000" tIns="46800" rIns="90000" bIns="46800" anchor="ctr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050" dirty="0"/>
                <a:t>Copy paste fonts. Choose the only option to retain text.</a:t>
              </a:r>
            </a:p>
          </p:txBody>
        </p:sp>
        <p:sp>
          <p:nvSpPr>
            <p:cNvPr id="43" name="îşļiḓè">
              <a:extLst>
                <a:ext uri="{FF2B5EF4-FFF2-40B4-BE49-F238E27FC236}">
                  <a16:creationId xmlns:a16="http://schemas.microsoft.com/office/drawing/2014/main" xmlns="" id="{18564691-865A-4500-BCA5-4B564B440AAB}"/>
                </a:ext>
              </a:extLst>
            </p:cNvPr>
            <p:cNvSpPr txBox="1"/>
            <p:nvPr/>
          </p:nvSpPr>
          <p:spPr>
            <a:xfrm>
              <a:off x="6905844" y="1503374"/>
              <a:ext cx="3962574" cy="303981"/>
            </a:xfrm>
            <a:prstGeom prst="rect">
              <a:avLst/>
            </a:prstGeom>
            <a:noFill/>
          </p:spPr>
          <p:txBody>
            <a:bodyPr wrap="none" lIns="90000" tIns="46800" rIns="90000" bIns="46800" anchor="b" anchorCtr="0">
              <a:normAutofit fontScale="92500" lnSpcReduction="10000"/>
            </a:bodyPr>
            <a:lstStyle/>
            <a:p>
              <a:r>
                <a:rPr lang="en-US" altLang="zh-CN" sz="1600" b="1" dirty="0"/>
                <a:t>Text here</a:t>
              </a:r>
              <a:endParaRPr lang="zh-CN" altLang="en-US" sz="1600" b="1" dirty="0"/>
            </a:p>
          </p:txBody>
        </p:sp>
        <p:sp>
          <p:nvSpPr>
            <p:cNvPr id="44" name="íṧľiḓê">
              <a:extLst>
                <a:ext uri="{FF2B5EF4-FFF2-40B4-BE49-F238E27FC236}">
                  <a16:creationId xmlns:a16="http://schemas.microsoft.com/office/drawing/2014/main" xmlns="" id="{C204A06B-47E1-43F1-8A94-AFDEEECAB7E1}"/>
                </a:ext>
              </a:extLst>
            </p:cNvPr>
            <p:cNvSpPr txBox="1"/>
            <p:nvPr/>
          </p:nvSpPr>
          <p:spPr>
            <a:xfrm>
              <a:off x="6905844" y="1807355"/>
              <a:ext cx="3962574" cy="320368"/>
            </a:xfrm>
            <a:prstGeom prst="rect">
              <a:avLst/>
            </a:prstGeom>
          </p:spPr>
          <p:txBody>
            <a:bodyPr vert="horz" wrap="square" lIns="90000" tIns="46800" rIns="90000" bIns="46800" anchor="ctr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050" dirty="0"/>
                <a:t>Copy paste fonts. Choose the only option to retain text.</a:t>
              </a:r>
            </a:p>
          </p:txBody>
        </p:sp>
        <p:cxnSp>
          <p:nvCxnSpPr>
            <p:cNvPr id="45" name="直接连接符 44">
              <a:extLst>
                <a:ext uri="{FF2B5EF4-FFF2-40B4-BE49-F238E27FC236}">
                  <a16:creationId xmlns:a16="http://schemas.microsoft.com/office/drawing/2014/main" xmlns="" id="{14EBA2C9-938E-4FA8-B838-1DC2EC557668}"/>
                </a:ext>
              </a:extLst>
            </p:cNvPr>
            <p:cNvCxnSpPr/>
            <p:nvPr/>
          </p:nvCxnSpPr>
          <p:spPr>
            <a:xfrm>
              <a:off x="6951000" y="2214000"/>
              <a:ext cx="456948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接连接符 45">
              <a:extLst>
                <a:ext uri="{FF2B5EF4-FFF2-40B4-BE49-F238E27FC236}">
                  <a16:creationId xmlns:a16="http://schemas.microsoft.com/office/drawing/2014/main" xmlns="" id="{204E16C2-A384-42D0-B182-3034B51AB0F3}"/>
                </a:ext>
              </a:extLst>
            </p:cNvPr>
            <p:cNvCxnSpPr/>
            <p:nvPr/>
          </p:nvCxnSpPr>
          <p:spPr>
            <a:xfrm>
              <a:off x="6951000" y="3137925"/>
              <a:ext cx="456948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直接连接符 46">
              <a:extLst>
                <a:ext uri="{FF2B5EF4-FFF2-40B4-BE49-F238E27FC236}">
                  <a16:creationId xmlns:a16="http://schemas.microsoft.com/office/drawing/2014/main" xmlns="" id="{1BC5378A-3C53-4A65-B503-3057824D2336}"/>
                </a:ext>
              </a:extLst>
            </p:cNvPr>
            <p:cNvCxnSpPr/>
            <p:nvPr/>
          </p:nvCxnSpPr>
          <p:spPr>
            <a:xfrm>
              <a:off x="6951000" y="4061850"/>
              <a:ext cx="456948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直接连接符 47">
              <a:extLst>
                <a:ext uri="{FF2B5EF4-FFF2-40B4-BE49-F238E27FC236}">
                  <a16:creationId xmlns:a16="http://schemas.microsoft.com/office/drawing/2014/main" xmlns="" id="{1F140F56-FC99-4489-B36F-007A2E664BFF}"/>
                </a:ext>
              </a:extLst>
            </p:cNvPr>
            <p:cNvCxnSpPr/>
            <p:nvPr/>
          </p:nvCxnSpPr>
          <p:spPr>
            <a:xfrm>
              <a:off x="6951000" y="4919100"/>
              <a:ext cx="456948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6461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Supporting text here.</a:t>
            </a:r>
          </a:p>
          <a:p>
            <a:pPr lvl="0"/>
            <a:r>
              <a:rPr lang="en-US" altLang="zh-CN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04F69230-F3A6-4586-9371-A858F4763E9F}"/>
              </a:ext>
            </a:extLst>
          </p:cNvPr>
          <p:cNvSpPr txBox="1"/>
          <p:nvPr/>
        </p:nvSpPr>
        <p:spPr>
          <a:xfrm>
            <a:off x="1734177" y="2758582"/>
            <a:ext cx="1985304" cy="1726148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31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6F26FEA5-5343-4CE3-9A6F-735EBDDC1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A0749EBD-FBBA-441B-843F-A96EF003D9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58E2D77C-04B9-4AD2-AAC3-B03FD05116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grpSp>
        <p:nvGrpSpPr>
          <p:cNvPr id="5" name="20643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6B1146A4-D9F6-42C4-8914-9144C8B5A10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526482"/>
            <a:ext cx="10850563" cy="4617143"/>
            <a:chOff x="669925" y="1526482"/>
            <a:chExt cx="10850563" cy="4617143"/>
          </a:xfrm>
        </p:grpSpPr>
        <p:sp>
          <p:nvSpPr>
            <p:cNvPr id="6" name="íṣḻiḓè">
              <a:extLst>
                <a:ext uri="{FF2B5EF4-FFF2-40B4-BE49-F238E27FC236}">
                  <a16:creationId xmlns:a16="http://schemas.microsoft.com/office/drawing/2014/main" xmlns="" id="{D4CF19B5-40B3-41A0-905B-D1DBA4D83675}"/>
                </a:ext>
              </a:extLst>
            </p:cNvPr>
            <p:cNvSpPr/>
            <p:nvPr/>
          </p:nvSpPr>
          <p:spPr>
            <a:xfrm>
              <a:off x="6398975" y="1989773"/>
              <a:ext cx="5121513" cy="4153852"/>
            </a:xfrm>
            <a:custGeom>
              <a:avLst/>
              <a:gdLst>
                <a:gd name="connsiteX0" fmla="*/ 10536452 w 18269244"/>
                <a:gd name="connsiteY0" fmla="*/ 0 h 14817440"/>
                <a:gd name="connsiteX1" fmla="*/ 12313612 w 18269244"/>
                <a:gd name="connsiteY1" fmla="*/ 888174 h 14817440"/>
                <a:gd name="connsiteX2" fmla="*/ 12563364 w 18269244"/>
                <a:gd name="connsiteY2" fmla="*/ 1253404 h 14817440"/>
                <a:gd name="connsiteX3" fmla="*/ 12632468 w 18269244"/>
                <a:gd name="connsiteY3" fmla="*/ 1363551 h 14817440"/>
                <a:gd name="connsiteX4" fmla="*/ 18269244 w 18269244"/>
                <a:gd name="connsiteY4" fmla="*/ 10348462 h 14817440"/>
                <a:gd name="connsiteX5" fmla="*/ 18269244 w 18269244"/>
                <a:gd name="connsiteY5" fmla="*/ 14817440 h 14817440"/>
                <a:gd name="connsiteX6" fmla="*/ 0 w 18269244"/>
                <a:gd name="connsiteY6" fmla="*/ 14817440 h 14817440"/>
                <a:gd name="connsiteX7" fmla="*/ 8440436 w 18269244"/>
                <a:gd name="connsiteY7" fmla="*/ 1363551 h 14817440"/>
                <a:gd name="connsiteX8" fmla="*/ 8509540 w 18269244"/>
                <a:gd name="connsiteY8" fmla="*/ 1253404 h 14817440"/>
                <a:gd name="connsiteX9" fmla="*/ 8759292 w 18269244"/>
                <a:gd name="connsiteY9" fmla="*/ 888174 h 14817440"/>
                <a:gd name="connsiteX10" fmla="*/ 10536452 w 18269244"/>
                <a:gd name="connsiteY10" fmla="*/ 0 h 14817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269244" h="14817440">
                  <a:moveTo>
                    <a:pt x="10536452" y="0"/>
                  </a:moveTo>
                  <a:cubicBezTo>
                    <a:pt x="11230480" y="0"/>
                    <a:pt x="11858800" y="339415"/>
                    <a:pt x="12313612" y="888174"/>
                  </a:cubicBezTo>
                  <a:lnTo>
                    <a:pt x="12563364" y="1253404"/>
                  </a:lnTo>
                  <a:lnTo>
                    <a:pt x="12632468" y="1363551"/>
                  </a:lnTo>
                  <a:lnTo>
                    <a:pt x="18269244" y="10348462"/>
                  </a:lnTo>
                  <a:lnTo>
                    <a:pt x="18269244" y="14817440"/>
                  </a:lnTo>
                  <a:lnTo>
                    <a:pt x="0" y="14817440"/>
                  </a:lnTo>
                  <a:lnTo>
                    <a:pt x="8440436" y="1363551"/>
                  </a:lnTo>
                  <a:lnTo>
                    <a:pt x="8509540" y="1253404"/>
                  </a:lnTo>
                  <a:lnTo>
                    <a:pt x="8759292" y="888174"/>
                  </a:lnTo>
                  <a:cubicBezTo>
                    <a:pt x="9214108" y="339415"/>
                    <a:pt x="9842428" y="0"/>
                    <a:pt x="10536452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/>
            </a:p>
          </p:txBody>
        </p:sp>
        <p:sp>
          <p:nvSpPr>
            <p:cNvPr id="7" name="ïṧḻídê">
              <a:extLst>
                <a:ext uri="{FF2B5EF4-FFF2-40B4-BE49-F238E27FC236}">
                  <a16:creationId xmlns:a16="http://schemas.microsoft.com/office/drawing/2014/main" xmlns="" id="{E8F7AE66-0A30-4F01-AC0E-AE66301584EB}"/>
                </a:ext>
              </a:extLst>
            </p:cNvPr>
            <p:cNvSpPr/>
            <p:nvPr/>
          </p:nvSpPr>
          <p:spPr>
            <a:xfrm>
              <a:off x="4634106" y="2682114"/>
              <a:ext cx="4922363" cy="3461167"/>
            </a:xfrm>
            <a:custGeom>
              <a:avLst/>
              <a:gdLst>
                <a:gd name="connsiteX0" fmla="*/ 1916723 w 3833446"/>
                <a:gd name="connsiteY0" fmla="*/ 0 h 2234041"/>
                <a:gd name="connsiteX1" fmla="*/ 2240012 w 3833446"/>
                <a:gd name="connsiteY1" fmla="*/ 133911 h 2234041"/>
                <a:gd name="connsiteX2" fmla="*/ 2285446 w 3833446"/>
                <a:gd name="connsiteY2" fmla="*/ 188977 h 2234041"/>
                <a:gd name="connsiteX3" fmla="*/ 2298017 w 3833446"/>
                <a:gd name="connsiteY3" fmla="*/ 205584 h 2234041"/>
                <a:gd name="connsiteX4" fmla="*/ 3833446 w 3833446"/>
                <a:gd name="connsiteY4" fmla="*/ 2234041 h 2234041"/>
                <a:gd name="connsiteX5" fmla="*/ 0 w 3833446"/>
                <a:gd name="connsiteY5" fmla="*/ 2234041 h 2234041"/>
                <a:gd name="connsiteX6" fmla="*/ 1535429 w 3833446"/>
                <a:gd name="connsiteY6" fmla="*/ 205584 h 2234041"/>
                <a:gd name="connsiteX7" fmla="*/ 1548000 w 3833446"/>
                <a:gd name="connsiteY7" fmla="*/ 188977 h 2234041"/>
                <a:gd name="connsiteX8" fmla="*/ 1593434 w 3833446"/>
                <a:gd name="connsiteY8" fmla="*/ 133911 h 2234041"/>
                <a:gd name="connsiteX9" fmla="*/ 1916723 w 3833446"/>
                <a:gd name="connsiteY9" fmla="*/ 0 h 2234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33446" h="2234041">
                  <a:moveTo>
                    <a:pt x="1916723" y="0"/>
                  </a:moveTo>
                  <a:cubicBezTo>
                    <a:pt x="2042976" y="0"/>
                    <a:pt x="2157276" y="51174"/>
                    <a:pt x="2240012" y="133911"/>
                  </a:cubicBezTo>
                  <a:lnTo>
                    <a:pt x="2285446" y="188977"/>
                  </a:lnTo>
                  <a:lnTo>
                    <a:pt x="2298017" y="205584"/>
                  </a:lnTo>
                  <a:lnTo>
                    <a:pt x="3833446" y="2234041"/>
                  </a:lnTo>
                  <a:lnTo>
                    <a:pt x="0" y="2234041"/>
                  </a:lnTo>
                  <a:lnTo>
                    <a:pt x="1535429" y="205584"/>
                  </a:lnTo>
                  <a:lnTo>
                    <a:pt x="1548000" y="188977"/>
                  </a:lnTo>
                  <a:lnTo>
                    <a:pt x="1593434" y="133911"/>
                  </a:lnTo>
                  <a:cubicBezTo>
                    <a:pt x="1676171" y="51174"/>
                    <a:pt x="1790471" y="0"/>
                    <a:pt x="191672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ïṣḻiḋè">
              <a:extLst>
                <a:ext uri="{FF2B5EF4-FFF2-40B4-BE49-F238E27FC236}">
                  <a16:creationId xmlns:a16="http://schemas.microsoft.com/office/drawing/2014/main" xmlns="" id="{653AE535-4EC9-4B9E-8F82-4E2E4916257B}"/>
                </a:ext>
              </a:extLst>
            </p:cNvPr>
            <p:cNvSpPr/>
            <p:nvPr/>
          </p:nvSpPr>
          <p:spPr>
            <a:xfrm>
              <a:off x="2975429" y="3255966"/>
              <a:ext cx="4106248" cy="2887315"/>
            </a:xfrm>
            <a:custGeom>
              <a:avLst/>
              <a:gdLst>
                <a:gd name="connsiteX0" fmla="*/ 1916723 w 3833446"/>
                <a:gd name="connsiteY0" fmla="*/ 0 h 2234041"/>
                <a:gd name="connsiteX1" fmla="*/ 2240012 w 3833446"/>
                <a:gd name="connsiteY1" fmla="*/ 133911 h 2234041"/>
                <a:gd name="connsiteX2" fmla="*/ 2285446 w 3833446"/>
                <a:gd name="connsiteY2" fmla="*/ 188977 h 2234041"/>
                <a:gd name="connsiteX3" fmla="*/ 2298017 w 3833446"/>
                <a:gd name="connsiteY3" fmla="*/ 205584 h 2234041"/>
                <a:gd name="connsiteX4" fmla="*/ 3833446 w 3833446"/>
                <a:gd name="connsiteY4" fmla="*/ 2234041 h 2234041"/>
                <a:gd name="connsiteX5" fmla="*/ 0 w 3833446"/>
                <a:gd name="connsiteY5" fmla="*/ 2234041 h 2234041"/>
                <a:gd name="connsiteX6" fmla="*/ 1535429 w 3833446"/>
                <a:gd name="connsiteY6" fmla="*/ 205584 h 2234041"/>
                <a:gd name="connsiteX7" fmla="*/ 1548000 w 3833446"/>
                <a:gd name="connsiteY7" fmla="*/ 188977 h 2234041"/>
                <a:gd name="connsiteX8" fmla="*/ 1593434 w 3833446"/>
                <a:gd name="connsiteY8" fmla="*/ 133911 h 2234041"/>
                <a:gd name="connsiteX9" fmla="*/ 1916723 w 3833446"/>
                <a:gd name="connsiteY9" fmla="*/ 0 h 2234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33446" h="2234041">
                  <a:moveTo>
                    <a:pt x="1916723" y="0"/>
                  </a:moveTo>
                  <a:cubicBezTo>
                    <a:pt x="2042976" y="0"/>
                    <a:pt x="2157276" y="51174"/>
                    <a:pt x="2240012" y="133911"/>
                  </a:cubicBezTo>
                  <a:lnTo>
                    <a:pt x="2285446" y="188977"/>
                  </a:lnTo>
                  <a:lnTo>
                    <a:pt x="2298017" y="205584"/>
                  </a:lnTo>
                  <a:lnTo>
                    <a:pt x="3833446" y="2234041"/>
                  </a:lnTo>
                  <a:lnTo>
                    <a:pt x="0" y="2234041"/>
                  </a:lnTo>
                  <a:lnTo>
                    <a:pt x="1535429" y="205584"/>
                  </a:lnTo>
                  <a:lnTo>
                    <a:pt x="1548000" y="188977"/>
                  </a:lnTo>
                  <a:lnTo>
                    <a:pt x="1593434" y="133911"/>
                  </a:lnTo>
                  <a:cubicBezTo>
                    <a:pt x="1676171" y="51174"/>
                    <a:pt x="1790471" y="0"/>
                    <a:pt x="1916723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/>
            </a:p>
          </p:txBody>
        </p:sp>
        <p:grpSp>
          <p:nvGrpSpPr>
            <p:cNvPr id="9" name="i$ḻïḑé">
              <a:extLst>
                <a:ext uri="{FF2B5EF4-FFF2-40B4-BE49-F238E27FC236}">
                  <a16:creationId xmlns:a16="http://schemas.microsoft.com/office/drawing/2014/main" xmlns="" id="{1CEC2232-4D6D-4974-872A-B3F8063FEAE3}"/>
                </a:ext>
              </a:extLst>
            </p:cNvPr>
            <p:cNvGrpSpPr/>
            <p:nvPr/>
          </p:nvGrpSpPr>
          <p:grpSpPr>
            <a:xfrm>
              <a:off x="669925" y="1526482"/>
              <a:ext cx="3477025" cy="1773518"/>
              <a:chOff x="669925" y="2096444"/>
              <a:chExt cx="3864753" cy="1773518"/>
            </a:xfrm>
          </p:grpSpPr>
          <p:sp>
            <p:nvSpPr>
              <p:cNvPr id="25" name="îṣlide">
                <a:extLst>
                  <a:ext uri="{FF2B5EF4-FFF2-40B4-BE49-F238E27FC236}">
                    <a16:creationId xmlns:a16="http://schemas.microsoft.com/office/drawing/2014/main" xmlns="" id="{0C8A4FF1-188C-4911-B98A-E9F37FD6258B}"/>
                  </a:ext>
                </a:extLst>
              </p:cNvPr>
              <p:cNvSpPr/>
              <p:nvPr/>
            </p:nvSpPr>
            <p:spPr>
              <a:xfrm>
                <a:off x="669925" y="2538249"/>
                <a:ext cx="3864753" cy="13317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Unified fonts make reading more fluent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Adjust the spacing to adapt to Chinese typesetting, use the reference line in PPT.</a:t>
                </a:r>
              </a:p>
            </p:txBody>
          </p:sp>
          <p:sp>
            <p:nvSpPr>
              <p:cNvPr id="26" name="îšḷíḓè">
                <a:extLst>
                  <a:ext uri="{FF2B5EF4-FFF2-40B4-BE49-F238E27FC236}">
                    <a16:creationId xmlns:a16="http://schemas.microsoft.com/office/drawing/2014/main" xmlns="" id="{49AD638F-46F5-46FB-880B-A304C1BAD205}"/>
                  </a:ext>
                </a:extLst>
              </p:cNvPr>
              <p:cNvSpPr txBox="1"/>
              <p:nvPr/>
            </p:nvSpPr>
            <p:spPr bwMode="auto">
              <a:xfrm>
                <a:off x="669925" y="2096444"/>
                <a:ext cx="386475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10" name="í$líḋê">
              <a:extLst>
                <a:ext uri="{FF2B5EF4-FFF2-40B4-BE49-F238E27FC236}">
                  <a16:creationId xmlns:a16="http://schemas.microsoft.com/office/drawing/2014/main" xmlns="" id="{6C19F2B6-10BD-47E0-99F4-98D90255EC5E}"/>
                </a:ext>
              </a:extLst>
            </p:cNvPr>
            <p:cNvGrpSpPr/>
            <p:nvPr/>
          </p:nvGrpSpPr>
          <p:grpSpPr>
            <a:xfrm>
              <a:off x="3977901" y="4768145"/>
              <a:ext cx="2101305" cy="1111889"/>
              <a:chOff x="673100" y="1237334"/>
              <a:chExt cx="3228944" cy="1111889"/>
            </a:xfrm>
          </p:grpSpPr>
          <p:sp>
            <p:nvSpPr>
              <p:cNvPr id="23" name="iSľíďê">
                <a:extLst>
                  <a:ext uri="{FF2B5EF4-FFF2-40B4-BE49-F238E27FC236}">
                    <a16:creationId xmlns:a16="http://schemas.microsoft.com/office/drawing/2014/main" xmlns="" id="{30893A27-4A4D-49EA-9724-8D8D4C363533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4" name="ïšlïḍè">
                <a:extLst>
                  <a:ext uri="{FF2B5EF4-FFF2-40B4-BE49-F238E27FC236}">
                    <a16:creationId xmlns:a16="http://schemas.microsoft.com/office/drawing/2014/main" xmlns="" id="{592EAF4B-2EC0-42B3-85BB-123EEB35B776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11" name="íṣľíḍe">
              <a:extLst>
                <a:ext uri="{FF2B5EF4-FFF2-40B4-BE49-F238E27FC236}">
                  <a16:creationId xmlns:a16="http://schemas.microsoft.com/office/drawing/2014/main" xmlns="" id="{4205411C-504C-4D53-8775-2B1941FE7F5C}"/>
                </a:ext>
              </a:extLst>
            </p:cNvPr>
            <p:cNvGrpSpPr/>
            <p:nvPr/>
          </p:nvGrpSpPr>
          <p:grpSpPr>
            <a:xfrm>
              <a:off x="6044635" y="4018402"/>
              <a:ext cx="2101305" cy="1111889"/>
              <a:chOff x="673100" y="1237334"/>
              <a:chExt cx="3228944" cy="1111889"/>
            </a:xfrm>
          </p:grpSpPr>
          <p:sp>
            <p:nvSpPr>
              <p:cNvPr id="21" name="íṣļïḓê">
                <a:extLst>
                  <a:ext uri="{FF2B5EF4-FFF2-40B4-BE49-F238E27FC236}">
                    <a16:creationId xmlns:a16="http://schemas.microsoft.com/office/drawing/2014/main" xmlns="" id="{3E28379A-485D-4E42-AE06-1E7D9DC3FB27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>
                    <a:solidFill>
                      <a:schemeClr val="bg1"/>
                    </a:solidFill>
                  </a:rPr>
                  <a:t>Copy paste fonts. Choose the only option 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>
                    <a:solidFill>
                      <a:schemeClr val="bg1"/>
                    </a:solidFill>
                  </a:rPr>
                  <a:t>……</a:t>
                </a:r>
              </a:p>
            </p:txBody>
          </p:sp>
          <p:sp>
            <p:nvSpPr>
              <p:cNvPr id="22" name="îSlïdé">
                <a:extLst>
                  <a:ext uri="{FF2B5EF4-FFF2-40B4-BE49-F238E27FC236}">
                    <a16:creationId xmlns:a16="http://schemas.microsoft.com/office/drawing/2014/main" xmlns="" id="{952D07C3-4755-4509-B532-3BA2F6D3DD55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>
                    <a:solidFill>
                      <a:schemeClr val="bg1"/>
                    </a:solidFill>
                  </a:rPr>
                  <a:t>Text here</a:t>
                </a:r>
              </a:p>
            </p:txBody>
          </p:sp>
        </p:grpSp>
        <p:grpSp>
          <p:nvGrpSpPr>
            <p:cNvPr id="12" name="iṩḻïḓè">
              <a:extLst>
                <a:ext uri="{FF2B5EF4-FFF2-40B4-BE49-F238E27FC236}">
                  <a16:creationId xmlns:a16="http://schemas.microsoft.com/office/drawing/2014/main" xmlns="" id="{7F79E123-0716-48C0-B96B-D31EBA1D2BEA}"/>
                </a:ext>
              </a:extLst>
            </p:cNvPr>
            <p:cNvGrpSpPr/>
            <p:nvPr/>
          </p:nvGrpSpPr>
          <p:grpSpPr>
            <a:xfrm>
              <a:off x="8343097" y="3100311"/>
              <a:ext cx="2101305" cy="1111889"/>
              <a:chOff x="673100" y="1237334"/>
              <a:chExt cx="3228944" cy="1111889"/>
            </a:xfrm>
          </p:grpSpPr>
          <p:sp>
            <p:nvSpPr>
              <p:cNvPr id="19" name="îśľîḑê">
                <a:extLst>
                  <a:ext uri="{FF2B5EF4-FFF2-40B4-BE49-F238E27FC236}">
                    <a16:creationId xmlns:a16="http://schemas.microsoft.com/office/drawing/2014/main" xmlns="" id="{94C327DC-CAF9-4368-8B2D-EA7409B7C867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0" name="îṥ1îde">
                <a:extLst>
                  <a:ext uri="{FF2B5EF4-FFF2-40B4-BE49-F238E27FC236}">
                    <a16:creationId xmlns:a16="http://schemas.microsoft.com/office/drawing/2014/main" xmlns="" id="{55658D52-DE4E-4977-A4B4-CABE8C81E72F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sp>
          <p:nvSpPr>
            <p:cNvPr id="13" name="íṥḷiḋè">
              <a:extLst>
                <a:ext uri="{FF2B5EF4-FFF2-40B4-BE49-F238E27FC236}">
                  <a16:creationId xmlns:a16="http://schemas.microsoft.com/office/drawing/2014/main" xmlns="" id="{0432534B-65EA-485B-9046-2CD09CC075DA}"/>
                </a:ext>
              </a:extLst>
            </p:cNvPr>
            <p:cNvSpPr/>
            <p:nvPr/>
          </p:nvSpPr>
          <p:spPr bwMode="auto">
            <a:xfrm flipH="1">
              <a:off x="4778538" y="3960860"/>
              <a:ext cx="500030" cy="481040"/>
            </a:xfrm>
            <a:custGeom>
              <a:avLst/>
              <a:gdLst>
                <a:gd name="connsiteX0" fmla="*/ 195114 w 608814"/>
                <a:gd name="connsiteY0" fmla="*/ 351627 h 585693"/>
                <a:gd name="connsiteX1" fmla="*/ 258290 w 608814"/>
                <a:gd name="connsiteY1" fmla="*/ 351627 h 585693"/>
                <a:gd name="connsiteX2" fmla="*/ 282731 w 608814"/>
                <a:gd name="connsiteY2" fmla="*/ 376018 h 585693"/>
                <a:gd name="connsiteX3" fmla="*/ 282731 w 608814"/>
                <a:gd name="connsiteY3" fmla="*/ 561210 h 585693"/>
                <a:gd name="connsiteX4" fmla="*/ 258290 w 608814"/>
                <a:gd name="connsiteY4" fmla="*/ 585693 h 585693"/>
                <a:gd name="connsiteX5" fmla="*/ 195114 w 608814"/>
                <a:gd name="connsiteY5" fmla="*/ 585693 h 585693"/>
                <a:gd name="connsiteX6" fmla="*/ 170673 w 608814"/>
                <a:gd name="connsiteY6" fmla="*/ 561210 h 585693"/>
                <a:gd name="connsiteX7" fmla="*/ 170673 w 608814"/>
                <a:gd name="connsiteY7" fmla="*/ 376018 h 585693"/>
                <a:gd name="connsiteX8" fmla="*/ 195114 w 608814"/>
                <a:gd name="connsiteY8" fmla="*/ 351627 h 585693"/>
                <a:gd name="connsiteX9" fmla="*/ 358100 w 608814"/>
                <a:gd name="connsiteY9" fmla="*/ 249872 h 585693"/>
                <a:gd name="connsiteX10" fmla="*/ 421316 w 608814"/>
                <a:gd name="connsiteY10" fmla="*/ 249872 h 585693"/>
                <a:gd name="connsiteX11" fmla="*/ 445737 w 608814"/>
                <a:gd name="connsiteY11" fmla="*/ 274267 h 585693"/>
                <a:gd name="connsiteX12" fmla="*/ 445737 w 608814"/>
                <a:gd name="connsiteY12" fmla="*/ 561206 h 585693"/>
                <a:gd name="connsiteX13" fmla="*/ 421316 w 608814"/>
                <a:gd name="connsiteY13" fmla="*/ 585693 h 585693"/>
                <a:gd name="connsiteX14" fmla="*/ 358100 w 608814"/>
                <a:gd name="connsiteY14" fmla="*/ 585693 h 585693"/>
                <a:gd name="connsiteX15" fmla="*/ 333679 w 608814"/>
                <a:gd name="connsiteY15" fmla="*/ 561206 h 585693"/>
                <a:gd name="connsiteX16" fmla="*/ 333679 w 608814"/>
                <a:gd name="connsiteY16" fmla="*/ 274267 h 585693"/>
                <a:gd name="connsiteX17" fmla="*/ 358100 w 608814"/>
                <a:gd name="connsiteY17" fmla="*/ 249872 h 585693"/>
                <a:gd name="connsiteX18" fmla="*/ 140260 w 608814"/>
                <a:gd name="connsiteY18" fmla="*/ 224680 h 585693"/>
                <a:gd name="connsiteX19" fmla="*/ 191844 w 608814"/>
                <a:gd name="connsiteY19" fmla="*/ 276122 h 585693"/>
                <a:gd name="connsiteX20" fmla="*/ 140260 w 608814"/>
                <a:gd name="connsiteY20" fmla="*/ 327564 h 585693"/>
                <a:gd name="connsiteX21" fmla="*/ 88676 w 608814"/>
                <a:gd name="connsiteY21" fmla="*/ 276122 h 585693"/>
                <a:gd name="connsiteX22" fmla="*/ 140260 w 608814"/>
                <a:gd name="connsiteY22" fmla="*/ 224680 h 585693"/>
                <a:gd name="connsiteX23" fmla="*/ 521177 w 608814"/>
                <a:gd name="connsiteY23" fmla="*/ 148117 h 585693"/>
                <a:gd name="connsiteX24" fmla="*/ 584301 w 608814"/>
                <a:gd name="connsiteY24" fmla="*/ 148117 h 585693"/>
                <a:gd name="connsiteX25" fmla="*/ 608814 w 608814"/>
                <a:gd name="connsiteY25" fmla="*/ 172601 h 585693"/>
                <a:gd name="connsiteX26" fmla="*/ 608814 w 608814"/>
                <a:gd name="connsiteY26" fmla="*/ 561209 h 585693"/>
                <a:gd name="connsiteX27" fmla="*/ 584301 w 608814"/>
                <a:gd name="connsiteY27" fmla="*/ 585693 h 585693"/>
                <a:gd name="connsiteX28" fmla="*/ 521177 w 608814"/>
                <a:gd name="connsiteY28" fmla="*/ 585693 h 585693"/>
                <a:gd name="connsiteX29" fmla="*/ 496756 w 608814"/>
                <a:gd name="connsiteY29" fmla="*/ 561209 h 585693"/>
                <a:gd name="connsiteX30" fmla="*/ 496756 w 608814"/>
                <a:gd name="connsiteY30" fmla="*/ 172601 h 585693"/>
                <a:gd name="connsiteX31" fmla="*/ 521177 w 608814"/>
                <a:gd name="connsiteY31" fmla="*/ 148117 h 585693"/>
                <a:gd name="connsiteX32" fmla="*/ 116229 w 608814"/>
                <a:gd name="connsiteY32" fmla="*/ 131322 h 585693"/>
                <a:gd name="connsiteX33" fmla="*/ 164246 w 608814"/>
                <a:gd name="connsiteY33" fmla="*/ 131322 h 585693"/>
                <a:gd name="connsiteX34" fmla="*/ 184061 w 608814"/>
                <a:gd name="connsiteY34" fmla="*/ 151113 h 585693"/>
                <a:gd name="connsiteX35" fmla="*/ 184061 w 608814"/>
                <a:gd name="connsiteY35" fmla="*/ 171457 h 585693"/>
                <a:gd name="connsiteX36" fmla="*/ 208669 w 608814"/>
                <a:gd name="connsiteY36" fmla="*/ 186094 h 585693"/>
                <a:gd name="connsiteX37" fmla="*/ 226641 w 608814"/>
                <a:gd name="connsiteY37" fmla="*/ 175692 h 585693"/>
                <a:gd name="connsiteX38" fmla="*/ 253737 w 608814"/>
                <a:gd name="connsiteY38" fmla="*/ 182964 h 585693"/>
                <a:gd name="connsiteX39" fmla="*/ 277792 w 608814"/>
                <a:gd name="connsiteY39" fmla="*/ 224572 h 585693"/>
                <a:gd name="connsiteX40" fmla="*/ 279727 w 608814"/>
                <a:gd name="connsiteY40" fmla="*/ 239577 h 585693"/>
                <a:gd name="connsiteX41" fmla="*/ 270511 w 608814"/>
                <a:gd name="connsiteY41" fmla="*/ 251544 h 585693"/>
                <a:gd name="connsiteX42" fmla="*/ 252355 w 608814"/>
                <a:gd name="connsiteY42" fmla="*/ 262038 h 585693"/>
                <a:gd name="connsiteX43" fmla="*/ 253829 w 608814"/>
                <a:gd name="connsiteY43" fmla="*/ 276122 h 585693"/>
                <a:gd name="connsiteX44" fmla="*/ 252355 w 608814"/>
                <a:gd name="connsiteY44" fmla="*/ 290206 h 585693"/>
                <a:gd name="connsiteX45" fmla="*/ 270511 w 608814"/>
                <a:gd name="connsiteY45" fmla="*/ 300700 h 585693"/>
                <a:gd name="connsiteX46" fmla="*/ 278714 w 608814"/>
                <a:gd name="connsiteY46" fmla="*/ 325094 h 585693"/>
                <a:gd name="connsiteX47" fmla="*/ 258253 w 608814"/>
                <a:gd name="connsiteY47" fmla="*/ 321136 h 585693"/>
                <a:gd name="connsiteX48" fmla="*/ 195858 w 608814"/>
                <a:gd name="connsiteY48" fmla="*/ 321136 h 585693"/>
                <a:gd name="connsiteX49" fmla="*/ 212171 w 608814"/>
                <a:gd name="connsiteY49" fmla="*/ 276122 h 585693"/>
                <a:gd name="connsiteX50" fmla="*/ 140191 w 608814"/>
                <a:gd name="connsiteY50" fmla="*/ 204320 h 585693"/>
                <a:gd name="connsiteX51" fmla="*/ 68304 w 608814"/>
                <a:gd name="connsiteY51" fmla="*/ 276122 h 585693"/>
                <a:gd name="connsiteX52" fmla="*/ 140191 w 608814"/>
                <a:gd name="connsiteY52" fmla="*/ 348016 h 585693"/>
                <a:gd name="connsiteX53" fmla="*/ 148486 w 608814"/>
                <a:gd name="connsiteY53" fmla="*/ 347095 h 585693"/>
                <a:gd name="connsiteX54" fmla="*/ 140099 w 608814"/>
                <a:gd name="connsiteY54" fmla="*/ 376000 h 585693"/>
                <a:gd name="connsiteX55" fmla="*/ 140099 w 608814"/>
                <a:gd name="connsiteY55" fmla="*/ 420922 h 585693"/>
                <a:gd name="connsiteX56" fmla="*/ 116229 w 608814"/>
                <a:gd name="connsiteY56" fmla="*/ 420922 h 585693"/>
                <a:gd name="connsiteX57" fmla="*/ 96413 w 608814"/>
                <a:gd name="connsiteY57" fmla="*/ 401131 h 585693"/>
                <a:gd name="connsiteX58" fmla="*/ 96413 w 608814"/>
                <a:gd name="connsiteY58" fmla="*/ 380787 h 585693"/>
                <a:gd name="connsiteX59" fmla="*/ 71806 w 608814"/>
                <a:gd name="connsiteY59" fmla="*/ 366150 h 585693"/>
                <a:gd name="connsiteX60" fmla="*/ 53742 w 608814"/>
                <a:gd name="connsiteY60" fmla="*/ 376552 h 585693"/>
                <a:gd name="connsiteX61" fmla="*/ 38719 w 608814"/>
                <a:gd name="connsiteY61" fmla="*/ 378577 h 585693"/>
                <a:gd name="connsiteX62" fmla="*/ 26738 w 608814"/>
                <a:gd name="connsiteY62" fmla="*/ 369372 h 585693"/>
                <a:gd name="connsiteX63" fmla="*/ 2683 w 608814"/>
                <a:gd name="connsiteY63" fmla="*/ 327764 h 585693"/>
                <a:gd name="connsiteX64" fmla="*/ 9872 w 608814"/>
                <a:gd name="connsiteY64" fmla="*/ 300700 h 585693"/>
                <a:gd name="connsiteX65" fmla="*/ 28120 w 608814"/>
                <a:gd name="connsiteY65" fmla="*/ 290206 h 585693"/>
                <a:gd name="connsiteX66" fmla="*/ 26645 w 608814"/>
                <a:gd name="connsiteY66" fmla="*/ 276122 h 585693"/>
                <a:gd name="connsiteX67" fmla="*/ 28120 w 608814"/>
                <a:gd name="connsiteY67" fmla="*/ 262038 h 585693"/>
                <a:gd name="connsiteX68" fmla="*/ 9872 w 608814"/>
                <a:gd name="connsiteY68" fmla="*/ 251544 h 585693"/>
                <a:gd name="connsiteX69" fmla="*/ 2683 w 608814"/>
                <a:gd name="connsiteY69" fmla="*/ 224572 h 585693"/>
                <a:gd name="connsiteX70" fmla="*/ 26738 w 608814"/>
                <a:gd name="connsiteY70" fmla="*/ 182964 h 585693"/>
                <a:gd name="connsiteX71" fmla="*/ 38719 w 608814"/>
                <a:gd name="connsiteY71" fmla="*/ 173759 h 585693"/>
                <a:gd name="connsiteX72" fmla="*/ 53742 w 608814"/>
                <a:gd name="connsiteY72" fmla="*/ 175692 h 585693"/>
                <a:gd name="connsiteX73" fmla="*/ 71806 w 608814"/>
                <a:gd name="connsiteY73" fmla="*/ 186094 h 585693"/>
                <a:gd name="connsiteX74" fmla="*/ 96413 w 608814"/>
                <a:gd name="connsiteY74" fmla="*/ 171457 h 585693"/>
                <a:gd name="connsiteX75" fmla="*/ 96413 w 608814"/>
                <a:gd name="connsiteY75" fmla="*/ 151113 h 585693"/>
                <a:gd name="connsiteX76" fmla="*/ 116229 w 608814"/>
                <a:gd name="connsiteY76" fmla="*/ 131322 h 585693"/>
                <a:gd name="connsiteX77" fmla="*/ 445756 w 608814"/>
                <a:gd name="connsiteY77" fmla="*/ 83476 h 585693"/>
                <a:gd name="connsiteX78" fmla="*/ 414140 w 608814"/>
                <a:gd name="connsiteY78" fmla="*/ 115044 h 585693"/>
                <a:gd name="connsiteX79" fmla="*/ 445756 w 608814"/>
                <a:gd name="connsiteY79" fmla="*/ 146520 h 585693"/>
                <a:gd name="connsiteX80" fmla="*/ 477371 w 608814"/>
                <a:gd name="connsiteY80" fmla="*/ 115044 h 585693"/>
                <a:gd name="connsiteX81" fmla="*/ 445756 w 608814"/>
                <a:gd name="connsiteY81" fmla="*/ 83476 h 585693"/>
                <a:gd name="connsiteX82" fmla="*/ 426676 w 608814"/>
                <a:gd name="connsiteY82" fmla="*/ 0 h 585693"/>
                <a:gd name="connsiteX83" fmla="*/ 464835 w 608814"/>
                <a:gd name="connsiteY83" fmla="*/ 0 h 585693"/>
                <a:gd name="connsiteX84" fmla="*/ 480597 w 608814"/>
                <a:gd name="connsiteY84" fmla="*/ 15738 h 585693"/>
                <a:gd name="connsiteX85" fmla="*/ 480597 w 608814"/>
                <a:gd name="connsiteY85" fmla="*/ 31936 h 585693"/>
                <a:gd name="connsiteX86" fmla="*/ 500138 w 608814"/>
                <a:gd name="connsiteY86" fmla="*/ 43533 h 585693"/>
                <a:gd name="connsiteX87" fmla="*/ 514425 w 608814"/>
                <a:gd name="connsiteY87" fmla="*/ 35249 h 585693"/>
                <a:gd name="connsiteX88" fmla="*/ 535901 w 608814"/>
                <a:gd name="connsiteY88" fmla="*/ 40956 h 585693"/>
                <a:gd name="connsiteX89" fmla="*/ 554981 w 608814"/>
                <a:gd name="connsiteY89" fmla="*/ 73996 h 585693"/>
                <a:gd name="connsiteX90" fmla="*/ 556640 w 608814"/>
                <a:gd name="connsiteY90" fmla="*/ 85961 h 585693"/>
                <a:gd name="connsiteX91" fmla="*/ 549266 w 608814"/>
                <a:gd name="connsiteY91" fmla="*/ 95440 h 585693"/>
                <a:gd name="connsiteX92" fmla="*/ 534887 w 608814"/>
                <a:gd name="connsiteY92" fmla="*/ 103815 h 585693"/>
                <a:gd name="connsiteX93" fmla="*/ 535993 w 608814"/>
                <a:gd name="connsiteY93" fmla="*/ 115044 h 585693"/>
                <a:gd name="connsiteX94" fmla="*/ 535717 w 608814"/>
                <a:gd name="connsiteY94" fmla="*/ 117621 h 585693"/>
                <a:gd name="connsiteX95" fmla="*/ 521153 w 608814"/>
                <a:gd name="connsiteY95" fmla="*/ 117621 h 585693"/>
                <a:gd name="connsiteX96" fmla="*/ 466126 w 608814"/>
                <a:gd name="connsiteY96" fmla="*/ 172565 h 585693"/>
                <a:gd name="connsiteX97" fmla="*/ 466126 w 608814"/>
                <a:gd name="connsiteY97" fmla="*/ 229719 h 585693"/>
                <a:gd name="connsiteX98" fmla="*/ 466126 w 608814"/>
                <a:gd name="connsiteY98" fmla="*/ 242604 h 585693"/>
                <a:gd name="connsiteX99" fmla="*/ 453590 w 608814"/>
                <a:gd name="connsiteY99" fmla="*/ 229995 h 585693"/>
                <a:gd name="connsiteX100" fmla="*/ 421330 w 608814"/>
                <a:gd name="connsiteY100" fmla="*/ 219319 h 585693"/>
                <a:gd name="connsiteX101" fmla="*/ 411928 w 608814"/>
                <a:gd name="connsiteY101" fmla="*/ 219319 h 585693"/>
                <a:gd name="connsiteX102" fmla="*/ 410914 w 608814"/>
                <a:gd name="connsiteY102" fmla="*/ 214257 h 585693"/>
                <a:gd name="connsiteX103" fmla="*/ 410914 w 608814"/>
                <a:gd name="connsiteY103" fmla="*/ 198059 h 585693"/>
                <a:gd name="connsiteX104" fmla="*/ 391373 w 608814"/>
                <a:gd name="connsiteY104" fmla="*/ 186463 h 585693"/>
                <a:gd name="connsiteX105" fmla="*/ 377086 w 608814"/>
                <a:gd name="connsiteY105" fmla="*/ 194746 h 585693"/>
                <a:gd name="connsiteX106" fmla="*/ 365104 w 608814"/>
                <a:gd name="connsiteY106" fmla="*/ 196310 h 585693"/>
                <a:gd name="connsiteX107" fmla="*/ 355610 w 608814"/>
                <a:gd name="connsiteY107" fmla="*/ 189040 h 585693"/>
                <a:gd name="connsiteX108" fmla="*/ 336530 w 608814"/>
                <a:gd name="connsiteY108" fmla="*/ 155999 h 585693"/>
                <a:gd name="connsiteX109" fmla="*/ 342245 w 608814"/>
                <a:gd name="connsiteY109" fmla="*/ 134463 h 585693"/>
                <a:gd name="connsiteX110" fmla="*/ 356716 w 608814"/>
                <a:gd name="connsiteY110" fmla="*/ 126180 h 585693"/>
                <a:gd name="connsiteX111" fmla="*/ 355518 w 608814"/>
                <a:gd name="connsiteY111" fmla="*/ 115044 h 585693"/>
                <a:gd name="connsiteX112" fmla="*/ 356716 w 608814"/>
                <a:gd name="connsiteY112" fmla="*/ 103815 h 585693"/>
                <a:gd name="connsiteX113" fmla="*/ 342245 w 608814"/>
                <a:gd name="connsiteY113" fmla="*/ 95440 h 585693"/>
                <a:gd name="connsiteX114" fmla="*/ 336530 w 608814"/>
                <a:gd name="connsiteY114" fmla="*/ 73996 h 585693"/>
                <a:gd name="connsiteX115" fmla="*/ 355610 w 608814"/>
                <a:gd name="connsiteY115" fmla="*/ 40956 h 585693"/>
                <a:gd name="connsiteX116" fmla="*/ 365104 w 608814"/>
                <a:gd name="connsiteY116" fmla="*/ 33685 h 585693"/>
                <a:gd name="connsiteX117" fmla="*/ 377086 w 608814"/>
                <a:gd name="connsiteY117" fmla="*/ 35249 h 585693"/>
                <a:gd name="connsiteX118" fmla="*/ 391373 w 608814"/>
                <a:gd name="connsiteY118" fmla="*/ 43533 h 585693"/>
                <a:gd name="connsiteX119" fmla="*/ 410914 w 608814"/>
                <a:gd name="connsiteY119" fmla="*/ 31936 h 585693"/>
                <a:gd name="connsiteX120" fmla="*/ 410914 w 608814"/>
                <a:gd name="connsiteY120" fmla="*/ 15738 h 585693"/>
                <a:gd name="connsiteX121" fmla="*/ 426676 w 608814"/>
                <a:gd name="connsiteY121" fmla="*/ 0 h 58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608814" h="585693">
                  <a:moveTo>
                    <a:pt x="195114" y="351627"/>
                  </a:moveTo>
                  <a:lnTo>
                    <a:pt x="258290" y="351627"/>
                  </a:lnTo>
                  <a:cubicBezTo>
                    <a:pt x="271848" y="351627"/>
                    <a:pt x="282731" y="362580"/>
                    <a:pt x="282731" y="376018"/>
                  </a:cubicBezTo>
                  <a:lnTo>
                    <a:pt x="282731" y="561210"/>
                  </a:lnTo>
                  <a:cubicBezTo>
                    <a:pt x="282731" y="574740"/>
                    <a:pt x="271848" y="585693"/>
                    <a:pt x="258290" y="585693"/>
                  </a:cubicBezTo>
                  <a:lnTo>
                    <a:pt x="195114" y="585693"/>
                  </a:lnTo>
                  <a:cubicBezTo>
                    <a:pt x="181556" y="585693"/>
                    <a:pt x="170673" y="574740"/>
                    <a:pt x="170673" y="561210"/>
                  </a:cubicBezTo>
                  <a:lnTo>
                    <a:pt x="170673" y="376018"/>
                  </a:lnTo>
                  <a:cubicBezTo>
                    <a:pt x="170673" y="362580"/>
                    <a:pt x="181556" y="351627"/>
                    <a:pt x="195114" y="351627"/>
                  </a:cubicBezTo>
                  <a:close/>
                  <a:moveTo>
                    <a:pt x="358100" y="249872"/>
                  </a:moveTo>
                  <a:lnTo>
                    <a:pt x="421316" y="249872"/>
                  </a:lnTo>
                  <a:cubicBezTo>
                    <a:pt x="434771" y="249872"/>
                    <a:pt x="445737" y="260735"/>
                    <a:pt x="445737" y="274267"/>
                  </a:cubicBezTo>
                  <a:lnTo>
                    <a:pt x="445737" y="561206"/>
                  </a:lnTo>
                  <a:cubicBezTo>
                    <a:pt x="445737" y="574738"/>
                    <a:pt x="434771" y="585693"/>
                    <a:pt x="421316" y="585693"/>
                  </a:cubicBezTo>
                  <a:lnTo>
                    <a:pt x="358100" y="585693"/>
                  </a:lnTo>
                  <a:cubicBezTo>
                    <a:pt x="344645" y="585693"/>
                    <a:pt x="333679" y="574738"/>
                    <a:pt x="333679" y="561206"/>
                  </a:cubicBezTo>
                  <a:lnTo>
                    <a:pt x="333679" y="274267"/>
                  </a:lnTo>
                  <a:cubicBezTo>
                    <a:pt x="333679" y="260735"/>
                    <a:pt x="344645" y="249872"/>
                    <a:pt x="358100" y="249872"/>
                  </a:cubicBezTo>
                  <a:close/>
                  <a:moveTo>
                    <a:pt x="140260" y="224680"/>
                  </a:moveTo>
                  <a:cubicBezTo>
                    <a:pt x="168749" y="224680"/>
                    <a:pt x="191844" y="247711"/>
                    <a:pt x="191844" y="276122"/>
                  </a:cubicBezTo>
                  <a:cubicBezTo>
                    <a:pt x="191844" y="304533"/>
                    <a:pt x="168749" y="327564"/>
                    <a:pt x="140260" y="327564"/>
                  </a:cubicBezTo>
                  <a:cubicBezTo>
                    <a:pt x="111771" y="327564"/>
                    <a:pt x="88676" y="304533"/>
                    <a:pt x="88676" y="276122"/>
                  </a:cubicBezTo>
                  <a:cubicBezTo>
                    <a:pt x="88676" y="247711"/>
                    <a:pt x="111771" y="224680"/>
                    <a:pt x="140260" y="224680"/>
                  </a:cubicBezTo>
                  <a:close/>
                  <a:moveTo>
                    <a:pt x="521177" y="148117"/>
                  </a:moveTo>
                  <a:lnTo>
                    <a:pt x="584301" y="148117"/>
                  </a:lnTo>
                  <a:cubicBezTo>
                    <a:pt x="597848" y="148117"/>
                    <a:pt x="608814" y="159070"/>
                    <a:pt x="608814" y="172601"/>
                  </a:cubicBezTo>
                  <a:lnTo>
                    <a:pt x="608814" y="561209"/>
                  </a:lnTo>
                  <a:cubicBezTo>
                    <a:pt x="608814" y="574740"/>
                    <a:pt x="597848" y="585693"/>
                    <a:pt x="584301" y="585693"/>
                  </a:cubicBezTo>
                  <a:lnTo>
                    <a:pt x="521177" y="585693"/>
                  </a:lnTo>
                  <a:cubicBezTo>
                    <a:pt x="507722" y="585693"/>
                    <a:pt x="496756" y="574740"/>
                    <a:pt x="496756" y="561209"/>
                  </a:cubicBezTo>
                  <a:lnTo>
                    <a:pt x="496756" y="172601"/>
                  </a:lnTo>
                  <a:cubicBezTo>
                    <a:pt x="496756" y="159070"/>
                    <a:pt x="507722" y="148117"/>
                    <a:pt x="521177" y="148117"/>
                  </a:cubicBezTo>
                  <a:close/>
                  <a:moveTo>
                    <a:pt x="116229" y="131322"/>
                  </a:moveTo>
                  <a:lnTo>
                    <a:pt x="164246" y="131322"/>
                  </a:lnTo>
                  <a:cubicBezTo>
                    <a:pt x="175214" y="131322"/>
                    <a:pt x="184061" y="140159"/>
                    <a:pt x="184061" y="151113"/>
                  </a:cubicBezTo>
                  <a:lnTo>
                    <a:pt x="184061" y="171457"/>
                  </a:lnTo>
                  <a:cubicBezTo>
                    <a:pt x="193001" y="175231"/>
                    <a:pt x="201019" y="180386"/>
                    <a:pt x="208669" y="186094"/>
                  </a:cubicBezTo>
                  <a:lnTo>
                    <a:pt x="226641" y="175692"/>
                  </a:lnTo>
                  <a:cubicBezTo>
                    <a:pt x="236134" y="170261"/>
                    <a:pt x="248300" y="173482"/>
                    <a:pt x="253737" y="182964"/>
                  </a:cubicBezTo>
                  <a:lnTo>
                    <a:pt x="277792" y="224572"/>
                  </a:lnTo>
                  <a:cubicBezTo>
                    <a:pt x="280465" y="229083"/>
                    <a:pt x="281110" y="234514"/>
                    <a:pt x="279727" y="239577"/>
                  </a:cubicBezTo>
                  <a:cubicBezTo>
                    <a:pt x="278437" y="244640"/>
                    <a:pt x="275119" y="248966"/>
                    <a:pt x="270511" y="251544"/>
                  </a:cubicBezTo>
                  <a:lnTo>
                    <a:pt x="252355" y="262038"/>
                  </a:lnTo>
                  <a:cubicBezTo>
                    <a:pt x="253000" y="266733"/>
                    <a:pt x="253829" y="271335"/>
                    <a:pt x="253829" y="276122"/>
                  </a:cubicBezTo>
                  <a:cubicBezTo>
                    <a:pt x="253829" y="281001"/>
                    <a:pt x="253000" y="285604"/>
                    <a:pt x="252355" y="290206"/>
                  </a:cubicBezTo>
                  <a:lnTo>
                    <a:pt x="270511" y="300700"/>
                  </a:lnTo>
                  <a:cubicBezTo>
                    <a:pt x="279174" y="305671"/>
                    <a:pt x="282308" y="316165"/>
                    <a:pt x="278714" y="325094"/>
                  </a:cubicBezTo>
                  <a:cubicBezTo>
                    <a:pt x="272354" y="322609"/>
                    <a:pt x="265442" y="321136"/>
                    <a:pt x="258253" y="321136"/>
                  </a:cubicBezTo>
                  <a:lnTo>
                    <a:pt x="195858" y="321136"/>
                  </a:lnTo>
                  <a:cubicBezTo>
                    <a:pt x="205904" y="308709"/>
                    <a:pt x="212171" y="293244"/>
                    <a:pt x="212171" y="276122"/>
                  </a:cubicBezTo>
                  <a:cubicBezTo>
                    <a:pt x="212171" y="236539"/>
                    <a:pt x="179914" y="204320"/>
                    <a:pt x="140191" y="204320"/>
                  </a:cubicBezTo>
                  <a:cubicBezTo>
                    <a:pt x="100561" y="204320"/>
                    <a:pt x="68304" y="236539"/>
                    <a:pt x="68304" y="276122"/>
                  </a:cubicBezTo>
                  <a:cubicBezTo>
                    <a:pt x="68304" y="315797"/>
                    <a:pt x="100561" y="348016"/>
                    <a:pt x="140191" y="348016"/>
                  </a:cubicBezTo>
                  <a:cubicBezTo>
                    <a:pt x="143048" y="348016"/>
                    <a:pt x="145721" y="347463"/>
                    <a:pt x="148486" y="347095"/>
                  </a:cubicBezTo>
                  <a:cubicBezTo>
                    <a:pt x="143233" y="355564"/>
                    <a:pt x="140099" y="365414"/>
                    <a:pt x="140099" y="376000"/>
                  </a:cubicBezTo>
                  <a:lnTo>
                    <a:pt x="140099" y="420922"/>
                  </a:lnTo>
                  <a:lnTo>
                    <a:pt x="116229" y="420922"/>
                  </a:lnTo>
                  <a:cubicBezTo>
                    <a:pt x="105261" y="420922"/>
                    <a:pt x="96413" y="412085"/>
                    <a:pt x="96413" y="401131"/>
                  </a:cubicBezTo>
                  <a:lnTo>
                    <a:pt x="96413" y="380787"/>
                  </a:lnTo>
                  <a:cubicBezTo>
                    <a:pt x="87474" y="377013"/>
                    <a:pt x="79455" y="371950"/>
                    <a:pt x="71806" y="366150"/>
                  </a:cubicBezTo>
                  <a:lnTo>
                    <a:pt x="53742" y="376552"/>
                  </a:lnTo>
                  <a:cubicBezTo>
                    <a:pt x="49226" y="379222"/>
                    <a:pt x="43788" y="379866"/>
                    <a:pt x="38719" y="378577"/>
                  </a:cubicBezTo>
                  <a:cubicBezTo>
                    <a:pt x="33650" y="377197"/>
                    <a:pt x="29318" y="373883"/>
                    <a:pt x="26738" y="369372"/>
                  </a:cubicBezTo>
                  <a:lnTo>
                    <a:pt x="2683" y="327764"/>
                  </a:lnTo>
                  <a:cubicBezTo>
                    <a:pt x="-2847" y="318282"/>
                    <a:pt x="471" y="306131"/>
                    <a:pt x="9872" y="300700"/>
                  </a:cubicBezTo>
                  <a:lnTo>
                    <a:pt x="28120" y="290206"/>
                  </a:lnTo>
                  <a:cubicBezTo>
                    <a:pt x="27475" y="285604"/>
                    <a:pt x="26645" y="281001"/>
                    <a:pt x="26645" y="276122"/>
                  </a:cubicBezTo>
                  <a:cubicBezTo>
                    <a:pt x="26645" y="271335"/>
                    <a:pt x="27475" y="266733"/>
                    <a:pt x="28120" y="262038"/>
                  </a:cubicBezTo>
                  <a:lnTo>
                    <a:pt x="9872" y="251544"/>
                  </a:lnTo>
                  <a:cubicBezTo>
                    <a:pt x="471" y="246113"/>
                    <a:pt x="-2847" y="233962"/>
                    <a:pt x="2683" y="224572"/>
                  </a:cubicBezTo>
                  <a:lnTo>
                    <a:pt x="26738" y="182964"/>
                  </a:lnTo>
                  <a:cubicBezTo>
                    <a:pt x="29318" y="178361"/>
                    <a:pt x="33650" y="175139"/>
                    <a:pt x="38719" y="173759"/>
                  </a:cubicBezTo>
                  <a:cubicBezTo>
                    <a:pt x="43788" y="172378"/>
                    <a:pt x="49226" y="173114"/>
                    <a:pt x="53742" y="175692"/>
                  </a:cubicBezTo>
                  <a:lnTo>
                    <a:pt x="71806" y="186094"/>
                  </a:lnTo>
                  <a:cubicBezTo>
                    <a:pt x="79455" y="180386"/>
                    <a:pt x="87474" y="175231"/>
                    <a:pt x="96413" y="171457"/>
                  </a:cubicBezTo>
                  <a:lnTo>
                    <a:pt x="96413" y="151113"/>
                  </a:lnTo>
                  <a:cubicBezTo>
                    <a:pt x="96413" y="140159"/>
                    <a:pt x="105261" y="131322"/>
                    <a:pt x="116229" y="131322"/>
                  </a:cubicBezTo>
                  <a:close/>
                  <a:moveTo>
                    <a:pt x="445756" y="83476"/>
                  </a:moveTo>
                  <a:cubicBezTo>
                    <a:pt x="428335" y="83476"/>
                    <a:pt x="414140" y="97557"/>
                    <a:pt x="414140" y="115044"/>
                  </a:cubicBezTo>
                  <a:cubicBezTo>
                    <a:pt x="414140" y="132438"/>
                    <a:pt x="428335" y="146520"/>
                    <a:pt x="445756" y="146520"/>
                  </a:cubicBezTo>
                  <a:cubicBezTo>
                    <a:pt x="463176" y="146520"/>
                    <a:pt x="477371" y="132438"/>
                    <a:pt x="477371" y="115044"/>
                  </a:cubicBezTo>
                  <a:cubicBezTo>
                    <a:pt x="477371" y="97557"/>
                    <a:pt x="463176" y="83476"/>
                    <a:pt x="445756" y="83476"/>
                  </a:cubicBezTo>
                  <a:close/>
                  <a:moveTo>
                    <a:pt x="426676" y="0"/>
                  </a:moveTo>
                  <a:lnTo>
                    <a:pt x="464835" y="0"/>
                  </a:lnTo>
                  <a:cubicBezTo>
                    <a:pt x="473500" y="0"/>
                    <a:pt x="480597" y="7087"/>
                    <a:pt x="480597" y="15738"/>
                  </a:cubicBezTo>
                  <a:lnTo>
                    <a:pt x="480597" y="31936"/>
                  </a:lnTo>
                  <a:cubicBezTo>
                    <a:pt x="487694" y="34881"/>
                    <a:pt x="494054" y="38931"/>
                    <a:pt x="500138" y="43533"/>
                  </a:cubicBezTo>
                  <a:lnTo>
                    <a:pt x="514425" y="35249"/>
                  </a:lnTo>
                  <a:cubicBezTo>
                    <a:pt x="521983" y="30924"/>
                    <a:pt x="531569" y="33501"/>
                    <a:pt x="535901" y="40956"/>
                  </a:cubicBezTo>
                  <a:lnTo>
                    <a:pt x="554981" y="73996"/>
                  </a:lnTo>
                  <a:cubicBezTo>
                    <a:pt x="557101" y="77585"/>
                    <a:pt x="557654" y="81911"/>
                    <a:pt x="556640" y="85961"/>
                  </a:cubicBezTo>
                  <a:cubicBezTo>
                    <a:pt x="555534" y="89918"/>
                    <a:pt x="552861" y="93415"/>
                    <a:pt x="549266" y="95440"/>
                  </a:cubicBezTo>
                  <a:lnTo>
                    <a:pt x="534887" y="103815"/>
                  </a:lnTo>
                  <a:cubicBezTo>
                    <a:pt x="535348" y="107497"/>
                    <a:pt x="535993" y="111178"/>
                    <a:pt x="535993" y="115044"/>
                  </a:cubicBezTo>
                  <a:cubicBezTo>
                    <a:pt x="535993" y="115872"/>
                    <a:pt x="535809" y="116700"/>
                    <a:pt x="535717" y="117621"/>
                  </a:cubicBezTo>
                  <a:lnTo>
                    <a:pt x="521153" y="117621"/>
                  </a:lnTo>
                  <a:cubicBezTo>
                    <a:pt x="490828" y="117621"/>
                    <a:pt x="466126" y="142286"/>
                    <a:pt x="466126" y="172565"/>
                  </a:cubicBezTo>
                  <a:lnTo>
                    <a:pt x="466126" y="229719"/>
                  </a:lnTo>
                  <a:lnTo>
                    <a:pt x="466126" y="242604"/>
                  </a:lnTo>
                  <a:cubicBezTo>
                    <a:pt x="462715" y="237726"/>
                    <a:pt x="458383" y="233493"/>
                    <a:pt x="453590" y="229995"/>
                  </a:cubicBezTo>
                  <a:cubicBezTo>
                    <a:pt x="444465" y="223369"/>
                    <a:pt x="433404" y="219319"/>
                    <a:pt x="421330" y="219319"/>
                  </a:cubicBezTo>
                  <a:lnTo>
                    <a:pt x="411928" y="219319"/>
                  </a:lnTo>
                  <a:cubicBezTo>
                    <a:pt x="411375" y="217755"/>
                    <a:pt x="410914" y="216098"/>
                    <a:pt x="410914" y="214257"/>
                  </a:cubicBezTo>
                  <a:lnTo>
                    <a:pt x="410914" y="198059"/>
                  </a:lnTo>
                  <a:cubicBezTo>
                    <a:pt x="403817" y="195114"/>
                    <a:pt x="397457" y="191064"/>
                    <a:pt x="391373" y="186463"/>
                  </a:cubicBezTo>
                  <a:lnTo>
                    <a:pt x="377086" y="194746"/>
                  </a:lnTo>
                  <a:cubicBezTo>
                    <a:pt x="373492" y="196863"/>
                    <a:pt x="369160" y="197415"/>
                    <a:pt x="365104" y="196310"/>
                  </a:cubicBezTo>
                  <a:cubicBezTo>
                    <a:pt x="361140" y="195206"/>
                    <a:pt x="357638" y="192629"/>
                    <a:pt x="355610" y="189040"/>
                  </a:cubicBezTo>
                  <a:lnTo>
                    <a:pt x="336530" y="155999"/>
                  </a:lnTo>
                  <a:cubicBezTo>
                    <a:pt x="332198" y="148452"/>
                    <a:pt x="334687" y="138881"/>
                    <a:pt x="342245" y="134463"/>
                  </a:cubicBezTo>
                  <a:lnTo>
                    <a:pt x="356716" y="126180"/>
                  </a:lnTo>
                  <a:cubicBezTo>
                    <a:pt x="356163" y="122498"/>
                    <a:pt x="355518" y="118817"/>
                    <a:pt x="355518" y="115044"/>
                  </a:cubicBezTo>
                  <a:cubicBezTo>
                    <a:pt x="355518" y="111178"/>
                    <a:pt x="356163" y="107497"/>
                    <a:pt x="356716" y="103815"/>
                  </a:cubicBezTo>
                  <a:lnTo>
                    <a:pt x="342245" y="95440"/>
                  </a:lnTo>
                  <a:cubicBezTo>
                    <a:pt x="334687" y="91115"/>
                    <a:pt x="332198" y="81543"/>
                    <a:pt x="336530" y="73996"/>
                  </a:cubicBezTo>
                  <a:lnTo>
                    <a:pt x="355610" y="40956"/>
                  </a:lnTo>
                  <a:cubicBezTo>
                    <a:pt x="357638" y="37366"/>
                    <a:pt x="361140" y="34789"/>
                    <a:pt x="365104" y="33685"/>
                  </a:cubicBezTo>
                  <a:cubicBezTo>
                    <a:pt x="369160" y="32580"/>
                    <a:pt x="373492" y="33133"/>
                    <a:pt x="377086" y="35249"/>
                  </a:cubicBezTo>
                  <a:lnTo>
                    <a:pt x="391373" y="43533"/>
                  </a:lnTo>
                  <a:cubicBezTo>
                    <a:pt x="397457" y="38931"/>
                    <a:pt x="403817" y="34881"/>
                    <a:pt x="410914" y="31936"/>
                  </a:cubicBezTo>
                  <a:lnTo>
                    <a:pt x="410914" y="15738"/>
                  </a:lnTo>
                  <a:cubicBezTo>
                    <a:pt x="410914" y="7087"/>
                    <a:pt x="418011" y="0"/>
                    <a:pt x="426676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" name="iṧlïďé">
              <a:extLst>
                <a:ext uri="{FF2B5EF4-FFF2-40B4-BE49-F238E27FC236}">
                  <a16:creationId xmlns:a16="http://schemas.microsoft.com/office/drawing/2014/main" xmlns="" id="{6012C7C2-21FA-4956-8B4E-F0963EFE7C0F}"/>
                </a:ext>
              </a:extLst>
            </p:cNvPr>
            <p:cNvSpPr/>
            <p:nvPr/>
          </p:nvSpPr>
          <p:spPr bwMode="auto">
            <a:xfrm flipH="1">
              <a:off x="9160960" y="2342198"/>
              <a:ext cx="465578" cy="464706"/>
            </a:xfrm>
            <a:custGeom>
              <a:avLst/>
              <a:gdLst>
                <a:gd name="connsiteX0" fmla="*/ 290910 w 605702"/>
                <a:gd name="connsiteY0" fmla="*/ 156336 h 604568"/>
                <a:gd name="connsiteX1" fmla="*/ 335849 w 605702"/>
                <a:gd name="connsiteY1" fmla="*/ 164992 h 604568"/>
                <a:gd name="connsiteX2" fmla="*/ 288310 w 605702"/>
                <a:gd name="connsiteY2" fmla="*/ 212456 h 604568"/>
                <a:gd name="connsiteX3" fmla="*/ 203632 w 605702"/>
                <a:gd name="connsiteY3" fmla="*/ 244717 h 604568"/>
                <a:gd name="connsiteX4" fmla="*/ 203632 w 605702"/>
                <a:gd name="connsiteY4" fmla="*/ 401388 h 604568"/>
                <a:gd name="connsiteX5" fmla="*/ 360547 w 605702"/>
                <a:gd name="connsiteY5" fmla="*/ 401388 h 604568"/>
                <a:gd name="connsiteX6" fmla="*/ 392859 w 605702"/>
                <a:gd name="connsiteY6" fmla="*/ 316749 h 604568"/>
                <a:gd name="connsiteX7" fmla="*/ 440397 w 605702"/>
                <a:gd name="connsiteY7" fmla="*/ 269284 h 604568"/>
                <a:gd name="connsiteX8" fmla="*/ 400287 w 605702"/>
                <a:gd name="connsiteY8" fmla="*/ 441065 h 604568"/>
                <a:gd name="connsiteX9" fmla="*/ 163892 w 605702"/>
                <a:gd name="connsiteY9" fmla="*/ 441065 h 604568"/>
                <a:gd name="connsiteX10" fmla="*/ 163892 w 605702"/>
                <a:gd name="connsiteY10" fmla="*/ 205040 h 604568"/>
                <a:gd name="connsiteX11" fmla="*/ 290910 w 605702"/>
                <a:gd name="connsiteY11" fmla="*/ 156336 h 604568"/>
                <a:gd name="connsiteX12" fmla="*/ 246542 w 605702"/>
                <a:gd name="connsiteY12" fmla="*/ 43775 h 604568"/>
                <a:gd name="connsiteX13" fmla="*/ 422196 w 605702"/>
                <a:gd name="connsiteY13" fmla="*/ 78723 h 604568"/>
                <a:gd name="connsiteX14" fmla="*/ 376794 w 605702"/>
                <a:gd name="connsiteY14" fmla="*/ 124054 h 604568"/>
                <a:gd name="connsiteX15" fmla="*/ 126109 w 605702"/>
                <a:gd name="connsiteY15" fmla="*/ 167345 h 604568"/>
                <a:gd name="connsiteX16" fmla="*/ 126109 w 605702"/>
                <a:gd name="connsiteY16" fmla="*/ 478820 h 604568"/>
                <a:gd name="connsiteX17" fmla="*/ 438073 w 605702"/>
                <a:gd name="connsiteY17" fmla="*/ 478820 h 604568"/>
                <a:gd name="connsiteX18" fmla="*/ 481432 w 605702"/>
                <a:gd name="connsiteY18" fmla="*/ 228527 h 604568"/>
                <a:gd name="connsiteX19" fmla="*/ 526741 w 605702"/>
                <a:gd name="connsiteY19" fmla="*/ 183011 h 604568"/>
                <a:gd name="connsiteX20" fmla="*/ 481432 w 605702"/>
                <a:gd name="connsiteY20" fmla="*/ 522111 h 604568"/>
                <a:gd name="connsiteX21" fmla="*/ 82657 w 605702"/>
                <a:gd name="connsiteY21" fmla="*/ 522111 h 604568"/>
                <a:gd name="connsiteX22" fmla="*/ 82657 w 605702"/>
                <a:gd name="connsiteY22" fmla="*/ 123961 h 604568"/>
                <a:gd name="connsiteX23" fmla="*/ 246542 w 605702"/>
                <a:gd name="connsiteY23" fmla="*/ 43775 h 604568"/>
                <a:gd name="connsiteX24" fmla="*/ 536061 w 605702"/>
                <a:gd name="connsiteY24" fmla="*/ 0 h 604568"/>
                <a:gd name="connsiteX25" fmla="*/ 544232 w 605702"/>
                <a:gd name="connsiteY25" fmla="*/ 61368 h 604568"/>
                <a:gd name="connsiteX26" fmla="*/ 605702 w 605702"/>
                <a:gd name="connsiteY26" fmla="*/ 69526 h 604568"/>
                <a:gd name="connsiteX27" fmla="*/ 524361 w 605702"/>
                <a:gd name="connsiteY27" fmla="*/ 150732 h 604568"/>
                <a:gd name="connsiteX28" fmla="*/ 498361 w 605702"/>
                <a:gd name="connsiteY28" fmla="*/ 147302 h 604568"/>
                <a:gd name="connsiteX29" fmla="*/ 337721 w 605702"/>
                <a:gd name="connsiteY29" fmla="*/ 307767 h 604568"/>
                <a:gd name="connsiteX30" fmla="*/ 339764 w 605702"/>
                <a:gd name="connsiteY30" fmla="*/ 323063 h 604568"/>
                <a:gd name="connsiteX31" fmla="*/ 282101 w 605702"/>
                <a:gd name="connsiteY31" fmla="*/ 380630 h 604568"/>
                <a:gd name="connsiteX32" fmla="*/ 224437 w 605702"/>
                <a:gd name="connsiteY32" fmla="*/ 323063 h 604568"/>
                <a:gd name="connsiteX33" fmla="*/ 282101 w 605702"/>
                <a:gd name="connsiteY33" fmla="*/ 265495 h 604568"/>
                <a:gd name="connsiteX34" fmla="*/ 297422 w 605702"/>
                <a:gd name="connsiteY34" fmla="*/ 267535 h 604568"/>
                <a:gd name="connsiteX35" fmla="*/ 458155 w 605702"/>
                <a:gd name="connsiteY35" fmla="*/ 107162 h 604568"/>
                <a:gd name="connsiteX36" fmla="*/ 454719 w 605702"/>
                <a:gd name="connsiteY36" fmla="*/ 81206 h 60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5702" h="604568">
                  <a:moveTo>
                    <a:pt x="290910" y="156336"/>
                  </a:moveTo>
                  <a:cubicBezTo>
                    <a:pt x="306137" y="157147"/>
                    <a:pt x="321272" y="160032"/>
                    <a:pt x="335849" y="164992"/>
                  </a:cubicBezTo>
                  <a:lnTo>
                    <a:pt x="288310" y="212456"/>
                  </a:lnTo>
                  <a:cubicBezTo>
                    <a:pt x="257856" y="210695"/>
                    <a:pt x="226844" y="221449"/>
                    <a:pt x="203632" y="244717"/>
                  </a:cubicBezTo>
                  <a:cubicBezTo>
                    <a:pt x="160271" y="287918"/>
                    <a:pt x="160271" y="358187"/>
                    <a:pt x="203632" y="401388"/>
                  </a:cubicBezTo>
                  <a:cubicBezTo>
                    <a:pt x="246900" y="444680"/>
                    <a:pt x="317279" y="444680"/>
                    <a:pt x="360547" y="401388"/>
                  </a:cubicBezTo>
                  <a:cubicBezTo>
                    <a:pt x="383852" y="378211"/>
                    <a:pt x="394623" y="347156"/>
                    <a:pt x="392859" y="316749"/>
                  </a:cubicBezTo>
                  <a:lnTo>
                    <a:pt x="440397" y="269284"/>
                  </a:lnTo>
                  <a:cubicBezTo>
                    <a:pt x="460267" y="327595"/>
                    <a:pt x="446897" y="394620"/>
                    <a:pt x="400287" y="441065"/>
                  </a:cubicBezTo>
                  <a:cubicBezTo>
                    <a:pt x="335106" y="506236"/>
                    <a:pt x="229073" y="506236"/>
                    <a:pt x="163892" y="441065"/>
                  </a:cubicBezTo>
                  <a:cubicBezTo>
                    <a:pt x="98619" y="375987"/>
                    <a:pt x="98619" y="270118"/>
                    <a:pt x="163892" y="205040"/>
                  </a:cubicBezTo>
                  <a:cubicBezTo>
                    <a:pt x="198711" y="170137"/>
                    <a:pt x="245228" y="153902"/>
                    <a:pt x="290910" y="156336"/>
                  </a:cubicBezTo>
                  <a:close/>
                  <a:moveTo>
                    <a:pt x="246542" y="43775"/>
                  </a:moveTo>
                  <a:cubicBezTo>
                    <a:pt x="306463" y="36243"/>
                    <a:pt x="368345" y="47900"/>
                    <a:pt x="422196" y="78723"/>
                  </a:cubicBezTo>
                  <a:lnTo>
                    <a:pt x="376794" y="124054"/>
                  </a:lnTo>
                  <a:cubicBezTo>
                    <a:pt x="294811" y="85305"/>
                    <a:pt x="193980" y="99581"/>
                    <a:pt x="126109" y="167345"/>
                  </a:cubicBezTo>
                  <a:cubicBezTo>
                    <a:pt x="39948" y="253371"/>
                    <a:pt x="39948" y="392793"/>
                    <a:pt x="126109" y="478820"/>
                  </a:cubicBezTo>
                  <a:cubicBezTo>
                    <a:pt x="212271" y="564846"/>
                    <a:pt x="351912" y="564846"/>
                    <a:pt x="438073" y="478820"/>
                  </a:cubicBezTo>
                  <a:cubicBezTo>
                    <a:pt x="505944" y="411055"/>
                    <a:pt x="520428" y="310382"/>
                    <a:pt x="481432" y="228527"/>
                  </a:cubicBezTo>
                  <a:lnTo>
                    <a:pt x="526741" y="183011"/>
                  </a:lnTo>
                  <a:cubicBezTo>
                    <a:pt x="588484" y="290544"/>
                    <a:pt x="573350" y="430244"/>
                    <a:pt x="481432" y="522111"/>
                  </a:cubicBezTo>
                  <a:cubicBezTo>
                    <a:pt x="371316" y="632054"/>
                    <a:pt x="192866" y="632054"/>
                    <a:pt x="82657" y="522111"/>
                  </a:cubicBezTo>
                  <a:cubicBezTo>
                    <a:pt x="-27552" y="412168"/>
                    <a:pt x="-27552" y="233997"/>
                    <a:pt x="82657" y="123961"/>
                  </a:cubicBezTo>
                  <a:cubicBezTo>
                    <a:pt x="128662" y="78028"/>
                    <a:pt x="186622" y="51307"/>
                    <a:pt x="246542" y="43775"/>
                  </a:cubicBezTo>
                  <a:close/>
                  <a:moveTo>
                    <a:pt x="536061" y="0"/>
                  </a:moveTo>
                  <a:lnTo>
                    <a:pt x="544232" y="61368"/>
                  </a:lnTo>
                  <a:lnTo>
                    <a:pt x="605702" y="69526"/>
                  </a:lnTo>
                  <a:lnTo>
                    <a:pt x="524361" y="150732"/>
                  </a:lnTo>
                  <a:lnTo>
                    <a:pt x="498361" y="147302"/>
                  </a:lnTo>
                  <a:lnTo>
                    <a:pt x="337721" y="307767"/>
                  </a:lnTo>
                  <a:cubicBezTo>
                    <a:pt x="339021" y="312588"/>
                    <a:pt x="339764" y="317779"/>
                    <a:pt x="339764" y="323063"/>
                  </a:cubicBezTo>
                  <a:cubicBezTo>
                    <a:pt x="339764" y="354859"/>
                    <a:pt x="313950" y="380630"/>
                    <a:pt x="282101" y="380630"/>
                  </a:cubicBezTo>
                  <a:cubicBezTo>
                    <a:pt x="250251" y="380630"/>
                    <a:pt x="224437" y="354859"/>
                    <a:pt x="224437" y="323063"/>
                  </a:cubicBezTo>
                  <a:cubicBezTo>
                    <a:pt x="224437" y="291266"/>
                    <a:pt x="250251" y="265495"/>
                    <a:pt x="282101" y="265495"/>
                  </a:cubicBezTo>
                  <a:cubicBezTo>
                    <a:pt x="287393" y="265495"/>
                    <a:pt x="292500" y="266237"/>
                    <a:pt x="297422" y="267535"/>
                  </a:cubicBezTo>
                  <a:lnTo>
                    <a:pt x="458155" y="107162"/>
                  </a:lnTo>
                  <a:lnTo>
                    <a:pt x="454719" y="8120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/>
            </a:p>
          </p:txBody>
        </p:sp>
        <p:sp>
          <p:nvSpPr>
            <p:cNvPr id="15" name="îŝlïďé">
              <a:extLst>
                <a:ext uri="{FF2B5EF4-FFF2-40B4-BE49-F238E27FC236}">
                  <a16:creationId xmlns:a16="http://schemas.microsoft.com/office/drawing/2014/main" xmlns="" id="{6980EBCD-B426-4B5E-8E55-08BF8B665FCB}"/>
                </a:ext>
              </a:extLst>
            </p:cNvPr>
            <p:cNvSpPr/>
            <p:nvPr/>
          </p:nvSpPr>
          <p:spPr bwMode="auto">
            <a:xfrm flipH="1">
              <a:off x="6867178" y="3239668"/>
              <a:ext cx="456218" cy="438754"/>
            </a:xfrm>
            <a:custGeom>
              <a:avLst/>
              <a:gdLst>
                <a:gd name="connsiteX0" fmla="*/ 61288 w 609549"/>
                <a:gd name="connsiteY0" fmla="*/ 383285 h 586216"/>
                <a:gd name="connsiteX1" fmla="*/ 71162 w 609549"/>
                <a:gd name="connsiteY1" fmla="*/ 387101 h 586216"/>
                <a:gd name="connsiteX2" fmla="*/ 120018 w 609549"/>
                <a:gd name="connsiteY2" fmla="*/ 435892 h 586216"/>
                <a:gd name="connsiteX3" fmla="*/ 120018 w 609549"/>
                <a:gd name="connsiteY3" fmla="*/ 454200 h 586216"/>
                <a:gd name="connsiteX4" fmla="*/ 56639 w 609549"/>
                <a:gd name="connsiteY4" fmla="*/ 517543 h 586216"/>
                <a:gd name="connsiteX5" fmla="*/ 35592 w 609549"/>
                <a:gd name="connsiteY5" fmla="*/ 513644 h 586216"/>
                <a:gd name="connsiteX6" fmla="*/ 51877 w 609549"/>
                <a:gd name="connsiteY6" fmla="*/ 388099 h 586216"/>
                <a:gd name="connsiteX7" fmla="*/ 61288 w 609549"/>
                <a:gd name="connsiteY7" fmla="*/ 383285 h 586216"/>
                <a:gd name="connsiteX8" fmla="*/ 235245 w 609549"/>
                <a:gd name="connsiteY8" fmla="*/ 302810 h 586216"/>
                <a:gd name="connsiteX9" fmla="*/ 306042 w 609549"/>
                <a:gd name="connsiteY9" fmla="*/ 373466 h 586216"/>
                <a:gd name="connsiteX10" fmla="*/ 258717 w 609549"/>
                <a:gd name="connsiteY10" fmla="*/ 420680 h 586216"/>
                <a:gd name="connsiteX11" fmla="*/ 230246 w 609549"/>
                <a:gd name="connsiteY11" fmla="*/ 550152 h 586216"/>
                <a:gd name="connsiteX12" fmla="*/ 92223 w 609549"/>
                <a:gd name="connsiteY12" fmla="*/ 575305 h 586216"/>
                <a:gd name="connsiteX13" fmla="*/ 88748 w 609549"/>
                <a:gd name="connsiteY13" fmla="*/ 556143 h 586216"/>
                <a:gd name="connsiteX14" fmla="*/ 165115 w 609549"/>
                <a:gd name="connsiteY14" fmla="*/ 479877 h 586216"/>
                <a:gd name="connsiteX15" fmla="*/ 165115 w 609549"/>
                <a:gd name="connsiteY15" fmla="*/ 446308 h 586216"/>
                <a:gd name="connsiteX16" fmla="*/ 88700 w 609549"/>
                <a:gd name="connsiteY16" fmla="*/ 369995 h 586216"/>
                <a:gd name="connsiteX17" fmla="*/ 92128 w 609549"/>
                <a:gd name="connsiteY17" fmla="*/ 350976 h 586216"/>
                <a:gd name="connsiteX18" fmla="*/ 189111 w 609549"/>
                <a:gd name="connsiteY18" fmla="*/ 348884 h 586216"/>
                <a:gd name="connsiteX19" fmla="*/ 257958 w 609549"/>
                <a:gd name="connsiteY19" fmla="*/ 161679 h 586216"/>
                <a:gd name="connsiteX20" fmla="*/ 317251 w 609549"/>
                <a:gd name="connsiteY20" fmla="*/ 220879 h 586216"/>
                <a:gd name="connsiteX21" fmla="*/ 388070 w 609549"/>
                <a:gd name="connsiteY21" fmla="*/ 291586 h 586216"/>
                <a:gd name="connsiteX22" fmla="*/ 604906 w 609549"/>
                <a:gd name="connsiteY22" fmla="*/ 508130 h 586216"/>
                <a:gd name="connsiteX23" fmla="*/ 604906 w 609549"/>
                <a:gd name="connsiteY23" fmla="*/ 530526 h 586216"/>
                <a:gd name="connsiteX24" fmla="*/ 556567 w 609549"/>
                <a:gd name="connsiteY24" fmla="*/ 578789 h 586216"/>
                <a:gd name="connsiteX25" fmla="*/ 545327 w 609549"/>
                <a:gd name="connsiteY25" fmla="*/ 583449 h 586216"/>
                <a:gd name="connsiteX26" fmla="*/ 534135 w 609549"/>
                <a:gd name="connsiteY26" fmla="*/ 578789 h 586216"/>
                <a:gd name="connsiteX27" fmla="*/ 317251 w 609549"/>
                <a:gd name="connsiteY27" fmla="*/ 362293 h 586216"/>
                <a:gd name="connsiteX28" fmla="*/ 246481 w 609549"/>
                <a:gd name="connsiteY28" fmla="*/ 291586 h 586216"/>
                <a:gd name="connsiteX29" fmla="*/ 187140 w 609549"/>
                <a:gd name="connsiteY29" fmla="*/ 232339 h 586216"/>
                <a:gd name="connsiteX30" fmla="*/ 58606 w 609549"/>
                <a:gd name="connsiteY30" fmla="*/ 160814 h 586216"/>
                <a:gd name="connsiteX31" fmla="*/ 126401 w 609549"/>
                <a:gd name="connsiteY31" fmla="*/ 228498 h 586216"/>
                <a:gd name="connsiteX32" fmla="*/ 111975 w 609549"/>
                <a:gd name="connsiteY32" fmla="*/ 242899 h 586216"/>
                <a:gd name="connsiteX33" fmla="*/ 119307 w 609549"/>
                <a:gd name="connsiteY33" fmla="*/ 250219 h 586216"/>
                <a:gd name="connsiteX34" fmla="*/ 119307 w 609549"/>
                <a:gd name="connsiteY34" fmla="*/ 277692 h 586216"/>
                <a:gd name="connsiteX35" fmla="*/ 115641 w 609549"/>
                <a:gd name="connsiteY35" fmla="*/ 281352 h 586216"/>
                <a:gd name="connsiteX36" fmla="*/ 88123 w 609549"/>
                <a:gd name="connsiteY36" fmla="*/ 281352 h 586216"/>
                <a:gd name="connsiteX37" fmla="*/ 5712 w 609549"/>
                <a:gd name="connsiteY37" fmla="*/ 199029 h 586216"/>
                <a:gd name="connsiteX38" fmla="*/ 5712 w 609549"/>
                <a:gd name="connsiteY38" fmla="*/ 171604 h 586216"/>
                <a:gd name="connsiteX39" fmla="*/ 9378 w 609549"/>
                <a:gd name="connsiteY39" fmla="*/ 167944 h 586216"/>
                <a:gd name="connsiteX40" fmla="*/ 36849 w 609549"/>
                <a:gd name="connsiteY40" fmla="*/ 167944 h 586216"/>
                <a:gd name="connsiteX41" fmla="*/ 44180 w 609549"/>
                <a:gd name="connsiteY41" fmla="*/ 175264 h 586216"/>
                <a:gd name="connsiteX42" fmla="*/ 585775 w 609549"/>
                <a:gd name="connsiteY42" fmla="*/ 66370 h 586216"/>
                <a:gd name="connsiteX43" fmla="*/ 595263 w 609549"/>
                <a:gd name="connsiteY43" fmla="*/ 73839 h 586216"/>
                <a:gd name="connsiteX44" fmla="*/ 578978 w 609549"/>
                <a:gd name="connsiteY44" fmla="*/ 199341 h 586216"/>
                <a:gd name="connsiteX45" fmla="*/ 559693 w 609549"/>
                <a:gd name="connsiteY45" fmla="*/ 200387 h 586216"/>
                <a:gd name="connsiteX46" fmla="*/ 510789 w 609549"/>
                <a:gd name="connsiteY46" fmla="*/ 151612 h 586216"/>
                <a:gd name="connsiteX47" fmla="*/ 510789 w 609549"/>
                <a:gd name="connsiteY47" fmla="*/ 133262 h 586216"/>
                <a:gd name="connsiteX48" fmla="*/ 574216 w 609549"/>
                <a:gd name="connsiteY48" fmla="*/ 69988 h 586216"/>
                <a:gd name="connsiteX49" fmla="*/ 585775 w 609549"/>
                <a:gd name="connsiteY49" fmla="*/ 66370 h 586216"/>
                <a:gd name="connsiteX50" fmla="*/ 158702 w 609549"/>
                <a:gd name="connsiteY50" fmla="*/ 26758 h 586216"/>
                <a:gd name="connsiteX51" fmla="*/ 172463 w 609549"/>
                <a:gd name="connsiteY51" fmla="*/ 32464 h 586216"/>
                <a:gd name="connsiteX52" fmla="*/ 179701 w 609549"/>
                <a:gd name="connsiteY52" fmla="*/ 39691 h 586216"/>
                <a:gd name="connsiteX53" fmla="*/ 246935 w 609549"/>
                <a:gd name="connsiteY53" fmla="*/ 106831 h 586216"/>
                <a:gd name="connsiteX54" fmla="*/ 254886 w 609549"/>
                <a:gd name="connsiteY54" fmla="*/ 114819 h 586216"/>
                <a:gd name="connsiteX55" fmla="*/ 257600 w 609549"/>
                <a:gd name="connsiteY55" fmla="*/ 138879 h 586216"/>
                <a:gd name="connsiteX56" fmla="*/ 254886 w 609549"/>
                <a:gd name="connsiteY56" fmla="*/ 142255 h 586216"/>
                <a:gd name="connsiteX57" fmla="*/ 252315 w 609549"/>
                <a:gd name="connsiteY57" fmla="*/ 144823 h 586216"/>
                <a:gd name="connsiteX58" fmla="*/ 246696 w 609549"/>
                <a:gd name="connsiteY58" fmla="*/ 150434 h 586216"/>
                <a:gd name="connsiteX59" fmla="*/ 175892 w 609549"/>
                <a:gd name="connsiteY59" fmla="*/ 221140 h 586216"/>
                <a:gd name="connsiteX60" fmla="*/ 172463 w 609549"/>
                <a:gd name="connsiteY60" fmla="*/ 224611 h 586216"/>
                <a:gd name="connsiteX61" fmla="*/ 170130 w 609549"/>
                <a:gd name="connsiteY61" fmla="*/ 226560 h 586216"/>
                <a:gd name="connsiteX62" fmla="*/ 162274 w 609549"/>
                <a:gd name="connsiteY62" fmla="*/ 229936 h 586216"/>
                <a:gd name="connsiteX63" fmla="*/ 158702 w 609549"/>
                <a:gd name="connsiteY63" fmla="*/ 230269 h 586216"/>
                <a:gd name="connsiteX64" fmla="*/ 144942 w 609549"/>
                <a:gd name="connsiteY64" fmla="*/ 224611 h 586216"/>
                <a:gd name="connsiteX65" fmla="*/ 137609 w 609549"/>
                <a:gd name="connsiteY65" fmla="*/ 217288 h 586216"/>
                <a:gd name="connsiteX66" fmla="*/ 69804 w 609549"/>
                <a:gd name="connsiteY66" fmla="*/ 149578 h 586216"/>
                <a:gd name="connsiteX67" fmla="*/ 62519 w 609549"/>
                <a:gd name="connsiteY67" fmla="*/ 142255 h 586216"/>
                <a:gd name="connsiteX68" fmla="*/ 62519 w 609549"/>
                <a:gd name="connsiteY68" fmla="*/ 114819 h 586216"/>
                <a:gd name="connsiteX69" fmla="*/ 144942 w 609549"/>
                <a:gd name="connsiteY69" fmla="*/ 32464 h 586216"/>
                <a:gd name="connsiteX70" fmla="*/ 158702 w 609549"/>
                <a:gd name="connsiteY70" fmla="*/ 26758 h 586216"/>
                <a:gd name="connsiteX71" fmla="*/ 254809 w 609549"/>
                <a:gd name="connsiteY71" fmla="*/ 6542 h 586216"/>
                <a:gd name="connsiteX72" fmla="*/ 321015 w 609549"/>
                <a:gd name="connsiteY72" fmla="*/ 29913 h 586216"/>
                <a:gd name="connsiteX73" fmla="*/ 260017 w 609549"/>
                <a:gd name="connsiteY73" fmla="*/ 97465 h 586216"/>
                <a:gd name="connsiteX74" fmla="*/ 193067 w 609549"/>
                <a:gd name="connsiteY74" fmla="*/ 30626 h 586216"/>
                <a:gd name="connsiteX75" fmla="*/ 254809 w 609549"/>
                <a:gd name="connsiteY75" fmla="*/ 6542 h 586216"/>
                <a:gd name="connsiteX76" fmla="*/ 503105 w 609549"/>
                <a:gd name="connsiteY76" fmla="*/ 953 h 586216"/>
                <a:gd name="connsiteX77" fmla="*/ 538560 w 609549"/>
                <a:gd name="connsiteY77" fmla="*/ 10911 h 586216"/>
                <a:gd name="connsiteX78" fmla="*/ 542083 w 609549"/>
                <a:gd name="connsiteY78" fmla="*/ 30073 h 586216"/>
                <a:gd name="connsiteX79" fmla="*/ 465709 w 609549"/>
                <a:gd name="connsiteY79" fmla="*/ 106341 h 586216"/>
                <a:gd name="connsiteX80" fmla="*/ 465709 w 609549"/>
                <a:gd name="connsiteY80" fmla="*/ 139911 h 586216"/>
                <a:gd name="connsiteX81" fmla="*/ 542131 w 609549"/>
                <a:gd name="connsiteY81" fmla="*/ 216227 h 586216"/>
                <a:gd name="connsiteX82" fmla="*/ 538655 w 609549"/>
                <a:gd name="connsiteY82" fmla="*/ 235246 h 586216"/>
                <a:gd name="connsiteX83" fmla="*/ 442187 w 609549"/>
                <a:gd name="connsiteY83" fmla="*/ 237528 h 586216"/>
                <a:gd name="connsiteX84" fmla="*/ 399238 w 609549"/>
                <a:gd name="connsiteY84" fmla="*/ 280370 h 586216"/>
                <a:gd name="connsiteX85" fmla="*/ 328482 w 609549"/>
                <a:gd name="connsiteY85" fmla="*/ 209712 h 586216"/>
                <a:gd name="connsiteX86" fmla="*/ 372240 w 609549"/>
                <a:gd name="connsiteY86" fmla="*/ 166015 h 586216"/>
                <a:gd name="connsiteX87" fmla="*/ 400571 w 609549"/>
                <a:gd name="connsiteY87" fmla="*/ 36064 h 586216"/>
                <a:gd name="connsiteX88" fmla="*/ 503105 w 609549"/>
                <a:gd name="connsiteY88" fmla="*/ 953 h 58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609549" h="586216">
                  <a:moveTo>
                    <a:pt x="61288" y="383285"/>
                  </a:moveTo>
                  <a:cubicBezTo>
                    <a:pt x="64829" y="383106"/>
                    <a:pt x="68448" y="384367"/>
                    <a:pt x="71162" y="387101"/>
                  </a:cubicBezTo>
                  <a:lnTo>
                    <a:pt x="120018" y="435892"/>
                  </a:lnTo>
                  <a:cubicBezTo>
                    <a:pt x="125113" y="440933"/>
                    <a:pt x="125113" y="449160"/>
                    <a:pt x="120018" y="454200"/>
                  </a:cubicBezTo>
                  <a:lnTo>
                    <a:pt x="56639" y="517543"/>
                  </a:lnTo>
                  <a:cubicBezTo>
                    <a:pt x="50211" y="523963"/>
                    <a:pt x="39211" y="522013"/>
                    <a:pt x="35592" y="513644"/>
                  </a:cubicBezTo>
                  <a:cubicBezTo>
                    <a:pt x="17783" y="472794"/>
                    <a:pt x="23211" y="424288"/>
                    <a:pt x="51877" y="388099"/>
                  </a:cubicBezTo>
                  <a:cubicBezTo>
                    <a:pt x="54282" y="385079"/>
                    <a:pt x="57746" y="383463"/>
                    <a:pt x="61288" y="383285"/>
                  </a:cubicBezTo>
                  <a:close/>
                  <a:moveTo>
                    <a:pt x="235245" y="302810"/>
                  </a:moveTo>
                  <a:lnTo>
                    <a:pt x="306042" y="373466"/>
                  </a:lnTo>
                  <a:lnTo>
                    <a:pt x="258717" y="420680"/>
                  </a:lnTo>
                  <a:cubicBezTo>
                    <a:pt x="274667" y="464329"/>
                    <a:pt x="265192" y="515300"/>
                    <a:pt x="230246" y="550152"/>
                  </a:cubicBezTo>
                  <a:cubicBezTo>
                    <a:pt x="192919" y="587430"/>
                    <a:pt x="137644" y="595798"/>
                    <a:pt x="92223" y="575305"/>
                  </a:cubicBezTo>
                  <a:cubicBezTo>
                    <a:pt x="84701" y="571882"/>
                    <a:pt x="82892" y="561992"/>
                    <a:pt x="88748" y="556143"/>
                  </a:cubicBezTo>
                  <a:lnTo>
                    <a:pt x="165115" y="479877"/>
                  </a:lnTo>
                  <a:cubicBezTo>
                    <a:pt x="174399" y="470605"/>
                    <a:pt x="174399" y="455580"/>
                    <a:pt x="165115" y="446308"/>
                  </a:cubicBezTo>
                  <a:lnTo>
                    <a:pt x="88700" y="369995"/>
                  </a:lnTo>
                  <a:cubicBezTo>
                    <a:pt x="82844" y="364194"/>
                    <a:pt x="84653" y="354399"/>
                    <a:pt x="92128" y="350976"/>
                  </a:cubicBezTo>
                  <a:cubicBezTo>
                    <a:pt x="122789" y="337092"/>
                    <a:pt x="157973" y="336379"/>
                    <a:pt x="189111" y="348884"/>
                  </a:cubicBezTo>
                  <a:close/>
                  <a:moveTo>
                    <a:pt x="257958" y="161679"/>
                  </a:moveTo>
                  <a:lnTo>
                    <a:pt x="317251" y="220879"/>
                  </a:lnTo>
                  <a:lnTo>
                    <a:pt x="388070" y="291586"/>
                  </a:lnTo>
                  <a:lnTo>
                    <a:pt x="604906" y="508130"/>
                  </a:lnTo>
                  <a:cubicBezTo>
                    <a:pt x="611097" y="514311"/>
                    <a:pt x="611097" y="524344"/>
                    <a:pt x="604906" y="530526"/>
                  </a:cubicBezTo>
                  <a:lnTo>
                    <a:pt x="556567" y="578789"/>
                  </a:lnTo>
                  <a:cubicBezTo>
                    <a:pt x="553471" y="581880"/>
                    <a:pt x="549423" y="583449"/>
                    <a:pt x="545327" y="583449"/>
                  </a:cubicBezTo>
                  <a:cubicBezTo>
                    <a:pt x="541279" y="583449"/>
                    <a:pt x="537231" y="581880"/>
                    <a:pt x="534135" y="578789"/>
                  </a:cubicBezTo>
                  <a:lnTo>
                    <a:pt x="317251" y="362293"/>
                  </a:lnTo>
                  <a:lnTo>
                    <a:pt x="246481" y="291586"/>
                  </a:lnTo>
                  <a:lnTo>
                    <a:pt x="187140" y="232339"/>
                  </a:lnTo>
                  <a:close/>
                  <a:moveTo>
                    <a:pt x="58606" y="160814"/>
                  </a:moveTo>
                  <a:lnTo>
                    <a:pt x="126401" y="228498"/>
                  </a:lnTo>
                  <a:lnTo>
                    <a:pt x="111975" y="242899"/>
                  </a:lnTo>
                  <a:lnTo>
                    <a:pt x="119307" y="250219"/>
                  </a:lnTo>
                  <a:cubicBezTo>
                    <a:pt x="126877" y="257824"/>
                    <a:pt x="126877" y="270087"/>
                    <a:pt x="119307" y="277692"/>
                  </a:cubicBezTo>
                  <a:lnTo>
                    <a:pt x="115641" y="281352"/>
                  </a:lnTo>
                  <a:cubicBezTo>
                    <a:pt x="108024" y="288909"/>
                    <a:pt x="95741" y="288909"/>
                    <a:pt x="88123" y="281352"/>
                  </a:cubicBezTo>
                  <a:lnTo>
                    <a:pt x="5712" y="199029"/>
                  </a:lnTo>
                  <a:cubicBezTo>
                    <a:pt x="-1905" y="191424"/>
                    <a:pt x="-1905" y="179161"/>
                    <a:pt x="5712" y="171604"/>
                  </a:cubicBezTo>
                  <a:lnTo>
                    <a:pt x="9378" y="167944"/>
                  </a:lnTo>
                  <a:cubicBezTo>
                    <a:pt x="16948" y="160339"/>
                    <a:pt x="29231" y="160339"/>
                    <a:pt x="36849" y="167944"/>
                  </a:cubicBezTo>
                  <a:lnTo>
                    <a:pt x="44180" y="175264"/>
                  </a:lnTo>
                  <a:close/>
                  <a:moveTo>
                    <a:pt x="585775" y="66370"/>
                  </a:moveTo>
                  <a:cubicBezTo>
                    <a:pt x="589775" y="67101"/>
                    <a:pt x="593430" y="69680"/>
                    <a:pt x="595263" y="73839"/>
                  </a:cubicBezTo>
                  <a:cubicBezTo>
                    <a:pt x="613072" y="114675"/>
                    <a:pt x="607644" y="163212"/>
                    <a:pt x="578978" y="199341"/>
                  </a:cubicBezTo>
                  <a:cubicBezTo>
                    <a:pt x="574168" y="205379"/>
                    <a:pt x="565121" y="205854"/>
                    <a:pt x="559693" y="200387"/>
                  </a:cubicBezTo>
                  <a:lnTo>
                    <a:pt x="510789" y="151612"/>
                  </a:lnTo>
                  <a:cubicBezTo>
                    <a:pt x="505742" y="146526"/>
                    <a:pt x="505742" y="138349"/>
                    <a:pt x="510789" y="133262"/>
                  </a:cubicBezTo>
                  <a:lnTo>
                    <a:pt x="574216" y="69988"/>
                  </a:lnTo>
                  <a:cubicBezTo>
                    <a:pt x="577430" y="66756"/>
                    <a:pt x="581775" y="65639"/>
                    <a:pt x="585775" y="66370"/>
                  </a:cubicBezTo>
                  <a:close/>
                  <a:moveTo>
                    <a:pt x="158702" y="26758"/>
                  </a:moveTo>
                  <a:cubicBezTo>
                    <a:pt x="163655" y="26758"/>
                    <a:pt x="168654" y="28660"/>
                    <a:pt x="172463" y="32464"/>
                  </a:cubicBezTo>
                  <a:lnTo>
                    <a:pt x="179701" y="39691"/>
                  </a:lnTo>
                  <a:lnTo>
                    <a:pt x="246935" y="106831"/>
                  </a:lnTo>
                  <a:lnTo>
                    <a:pt x="254886" y="114819"/>
                  </a:lnTo>
                  <a:cubicBezTo>
                    <a:pt x="261457" y="121334"/>
                    <a:pt x="262362" y="131414"/>
                    <a:pt x="257600" y="138879"/>
                  </a:cubicBezTo>
                  <a:cubicBezTo>
                    <a:pt x="256839" y="140068"/>
                    <a:pt x="255934" y="141209"/>
                    <a:pt x="254886" y="142255"/>
                  </a:cubicBezTo>
                  <a:lnTo>
                    <a:pt x="252315" y="144823"/>
                  </a:lnTo>
                  <a:lnTo>
                    <a:pt x="246696" y="150434"/>
                  </a:lnTo>
                  <a:lnTo>
                    <a:pt x="175892" y="221140"/>
                  </a:lnTo>
                  <a:lnTo>
                    <a:pt x="172463" y="224611"/>
                  </a:lnTo>
                  <a:cubicBezTo>
                    <a:pt x="171702" y="225324"/>
                    <a:pt x="170940" y="225990"/>
                    <a:pt x="170130" y="226560"/>
                  </a:cubicBezTo>
                  <a:cubicBezTo>
                    <a:pt x="167749" y="228319"/>
                    <a:pt x="165083" y="229413"/>
                    <a:pt x="162274" y="229936"/>
                  </a:cubicBezTo>
                  <a:cubicBezTo>
                    <a:pt x="161083" y="230174"/>
                    <a:pt x="159893" y="230269"/>
                    <a:pt x="158702" y="230269"/>
                  </a:cubicBezTo>
                  <a:cubicBezTo>
                    <a:pt x="153703" y="230269"/>
                    <a:pt x="148751" y="228367"/>
                    <a:pt x="144942" y="224611"/>
                  </a:cubicBezTo>
                  <a:lnTo>
                    <a:pt x="137609" y="217288"/>
                  </a:lnTo>
                  <a:lnTo>
                    <a:pt x="69804" y="149578"/>
                  </a:lnTo>
                  <a:lnTo>
                    <a:pt x="62519" y="142255"/>
                  </a:lnTo>
                  <a:cubicBezTo>
                    <a:pt x="54900" y="134647"/>
                    <a:pt x="54900" y="122380"/>
                    <a:pt x="62519" y="114819"/>
                  </a:cubicBezTo>
                  <a:lnTo>
                    <a:pt x="144942" y="32464"/>
                  </a:lnTo>
                  <a:cubicBezTo>
                    <a:pt x="148751" y="28660"/>
                    <a:pt x="153750" y="26758"/>
                    <a:pt x="158702" y="26758"/>
                  </a:cubicBezTo>
                  <a:close/>
                  <a:moveTo>
                    <a:pt x="254809" y="6542"/>
                  </a:moveTo>
                  <a:cubicBezTo>
                    <a:pt x="277279" y="4029"/>
                    <a:pt x="300492" y="9424"/>
                    <a:pt x="321015" y="29913"/>
                  </a:cubicBezTo>
                  <a:cubicBezTo>
                    <a:pt x="380347" y="89193"/>
                    <a:pt x="337205" y="46124"/>
                    <a:pt x="260017" y="97465"/>
                  </a:cubicBezTo>
                  <a:lnTo>
                    <a:pt x="193067" y="30626"/>
                  </a:lnTo>
                  <a:cubicBezTo>
                    <a:pt x="210614" y="19479"/>
                    <a:pt x="232340" y="9056"/>
                    <a:pt x="254809" y="6542"/>
                  </a:cubicBezTo>
                  <a:close/>
                  <a:moveTo>
                    <a:pt x="503105" y="953"/>
                  </a:moveTo>
                  <a:cubicBezTo>
                    <a:pt x="515252" y="2468"/>
                    <a:pt x="527216" y="5788"/>
                    <a:pt x="538560" y="10911"/>
                  </a:cubicBezTo>
                  <a:cubicBezTo>
                    <a:pt x="546131" y="14334"/>
                    <a:pt x="547940" y="24224"/>
                    <a:pt x="542083" y="30073"/>
                  </a:cubicBezTo>
                  <a:lnTo>
                    <a:pt x="465709" y="106341"/>
                  </a:lnTo>
                  <a:cubicBezTo>
                    <a:pt x="456424" y="115613"/>
                    <a:pt x="456424" y="130639"/>
                    <a:pt x="465709" y="139911"/>
                  </a:cubicBezTo>
                  <a:lnTo>
                    <a:pt x="542131" y="216227"/>
                  </a:lnTo>
                  <a:cubicBezTo>
                    <a:pt x="547940" y="222028"/>
                    <a:pt x="546178" y="231823"/>
                    <a:pt x="538655" y="235246"/>
                  </a:cubicBezTo>
                  <a:cubicBezTo>
                    <a:pt x="508181" y="249035"/>
                    <a:pt x="473184" y="249844"/>
                    <a:pt x="442187" y="237528"/>
                  </a:cubicBezTo>
                  <a:lnTo>
                    <a:pt x="399238" y="280370"/>
                  </a:lnTo>
                  <a:lnTo>
                    <a:pt x="328482" y="209712"/>
                  </a:lnTo>
                  <a:lnTo>
                    <a:pt x="372240" y="166015"/>
                  </a:lnTo>
                  <a:cubicBezTo>
                    <a:pt x="356051" y="122270"/>
                    <a:pt x="365527" y="71060"/>
                    <a:pt x="400571" y="36064"/>
                  </a:cubicBezTo>
                  <a:cubicBezTo>
                    <a:pt x="428569" y="8106"/>
                    <a:pt x="466664" y="-3592"/>
                    <a:pt x="503105" y="95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xmlns="" id="{268A753C-C6A9-485E-B571-B7B16D0ECDE8}"/>
                </a:ext>
              </a:extLst>
            </p:cNvPr>
            <p:cNvCxnSpPr>
              <a:cxnSpLocks/>
            </p:cNvCxnSpPr>
            <p:nvPr/>
          </p:nvCxnSpPr>
          <p:spPr>
            <a:xfrm>
              <a:off x="4146553" y="4682420"/>
              <a:ext cx="176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xmlns="" id="{E56506BF-984F-4F1B-A5BE-AD6FCDC48816}"/>
                </a:ext>
              </a:extLst>
            </p:cNvPr>
            <p:cNvCxnSpPr>
              <a:cxnSpLocks/>
            </p:cNvCxnSpPr>
            <p:nvPr/>
          </p:nvCxnSpPr>
          <p:spPr>
            <a:xfrm>
              <a:off x="6213287" y="3932677"/>
              <a:ext cx="176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xmlns="" id="{44560FF2-69C4-4406-8DEB-8A43D14E9778}"/>
                </a:ext>
              </a:extLst>
            </p:cNvPr>
            <p:cNvCxnSpPr>
              <a:cxnSpLocks/>
            </p:cNvCxnSpPr>
            <p:nvPr/>
          </p:nvCxnSpPr>
          <p:spPr>
            <a:xfrm>
              <a:off x="8511749" y="3014586"/>
              <a:ext cx="176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49531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0ADBC0BD-1BD1-486D-AA76-F7FFEC138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382E31B1-F335-4A46-AF0D-5F1558915E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5F66CF9D-3BB1-4A36-81CA-1632963C1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grpSp>
        <p:nvGrpSpPr>
          <p:cNvPr id="5" name="20755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CD20D32B-3078-4C8B-8F35-714B84A4DF7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399" y="1130299"/>
            <a:ext cx="10858501" cy="5003802"/>
            <a:chOff x="660399" y="1130300"/>
            <a:chExt cx="10858501" cy="5003802"/>
          </a:xfrm>
        </p:grpSpPr>
        <p:grpSp>
          <p:nvGrpSpPr>
            <p:cNvPr id="6" name="îṡļiḑe">
              <a:extLst>
                <a:ext uri="{FF2B5EF4-FFF2-40B4-BE49-F238E27FC236}">
                  <a16:creationId xmlns:a16="http://schemas.microsoft.com/office/drawing/2014/main" xmlns="" id="{DF866168-3ABF-4127-BF9E-CDEC2B194035}"/>
                </a:ext>
              </a:extLst>
            </p:cNvPr>
            <p:cNvGrpSpPr/>
            <p:nvPr/>
          </p:nvGrpSpPr>
          <p:grpSpPr>
            <a:xfrm>
              <a:off x="4002083" y="2625351"/>
              <a:ext cx="4187822" cy="3508751"/>
              <a:chOff x="3962995" y="1641872"/>
              <a:chExt cx="4266009" cy="3574256"/>
            </a:xfrm>
          </p:grpSpPr>
          <p:sp>
            <p:nvSpPr>
              <p:cNvPr id="15" name="îSļíḑê">
                <a:extLst>
                  <a:ext uri="{FF2B5EF4-FFF2-40B4-BE49-F238E27FC236}">
                    <a16:creationId xmlns:a16="http://schemas.microsoft.com/office/drawing/2014/main" xmlns="" id="{2D873CB5-25D3-4952-96BC-2829BBAB9348}"/>
                  </a:ext>
                </a:extLst>
              </p:cNvPr>
              <p:cNvSpPr/>
              <p:nvPr/>
            </p:nvSpPr>
            <p:spPr bwMode="auto">
              <a:xfrm>
                <a:off x="4521052" y="2945938"/>
                <a:ext cx="525758" cy="655702"/>
              </a:xfrm>
              <a:custGeom>
                <a:avLst/>
                <a:gdLst>
                  <a:gd name="connsiteX0" fmla="*/ 247416 w 525758"/>
                  <a:gd name="connsiteY0" fmla="*/ 280530 h 655702"/>
                  <a:gd name="connsiteX1" fmla="*/ 247416 w 525758"/>
                  <a:gd name="connsiteY1" fmla="*/ 317737 h 655702"/>
                  <a:gd name="connsiteX2" fmla="*/ 182469 w 525758"/>
                  <a:gd name="connsiteY2" fmla="*/ 373548 h 655702"/>
                  <a:gd name="connsiteX3" fmla="*/ 247416 w 525758"/>
                  <a:gd name="connsiteY3" fmla="*/ 435560 h 655702"/>
                  <a:gd name="connsiteX4" fmla="*/ 284528 w 525758"/>
                  <a:gd name="connsiteY4" fmla="*/ 460365 h 655702"/>
                  <a:gd name="connsiteX5" fmla="*/ 250508 w 525758"/>
                  <a:gd name="connsiteY5" fmla="*/ 475868 h 655702"/>
                  <a:gd name="connsiteX6" fmla="*/ 191747 w 525758"/>
                  <a:gd name="connsiteY6" fmla="*/ 460365 h 655702"/>
                  <a:gd name="connsiteX7" fmla="*/ 179377 w 525758"/>
                  <a:gd name="connsiteY7" fmla="*/ 500672 h 655702"/>
                  <a:gd name="connsiteX8" fmla="*/ 244323 w 525758"/>
                  <a:gd name="connsiteY8" fmla="*/ 519276 h 655702"/>
                  <a:gd name="connsiteX9" fmla="*/ 244323 w 525758"/>
                  <a:gd name="connsiteY9" fmla="*/ 553383 h 655702"/>
                  <a:gd name="connsiteX10" fmla="*/ 281435 w 525758"/>
                  <a:gd name="connsiteY10" fmla="*/ 553383 h 655702"/>
                  <a:gd name="connsiteX11" fmla="*/ 281435 w 525758"/>
                  <a:gd name="connsiteY11" fmla="*/ 516175 h 655702"/>
                  <a:gd name="connsiteX12" fmla="*/ 346382 w 525758"/>
                  <a:gd name="connsiteY12" fmla="*/ 457264 h 655702"/>
                  <a:gd name="connsiteX13" fmla="*/ 284528 w 525758"/>
                  <a:gd name="connsiteY13" fmla="*/ 395252 h 655702"/>
                  <a:gd name="connsiteX14" fmla="*/ 247416 w 525758"/>
                  <a:gd name="connsiteY14" fmla="*/ 370447 h 655702"/>
                  <a:gd name="connsiteX15" fmla="*/ 275250 w 525758"/>
                  <a:gd name="connsiteY15" fmla="*/ 358045 h 655702"/>
                  <a:gd name="connsiteX16" fmla="*/ 324733 w 525758"/>
                  <a:gd name="connsiteY16" fmla="*/ 370447 h 655702"/>
                  <a:gd name="connsiteX17" fmla="*/ 337104 w 525758"/>
                  <a:gd name="connsiteY17" fmla="*/ 330140 h 655702"/>
                  <a:gd name="connsiteX18" fmla="*/ 284528 w 525758"/>
                  <a:gd name="connsiteY18" fmla="*/ 317737 h 655702"/>
                  <a:gd name="connsiteX19" fmla="*/ 284528 w 525758"/>
                  <a:gd name="connsiteY19" fmla="*/ 280530 h 655702"/>
                  <a:gd name="connsiteX20" fmla="*/ 247416 w 525758"/>
                  <a:gd name="connsiteY20" fmla="*/ 280530 h 655702"/>
                  <a:gd name="connsiteX21" fmla="*/ 117523 w 525758"/>
                  <a:gd name="connsiteY21" fmla="*/ 203015 h 655702"/>
                  <a:gd name="connsiteX22" fmla="*/ 408236 w 525758"/>
                  <a:gd name="connsiteY22" fmla="*/ 203015 h 655702"/>
                  <a:gd name="connsiteX23" fmla="*/ 525758 w 525758"/>
                  <a:gd name="connsiteY23" fmla="*/ 407655 h 655702"/>
                  <a:gd name="connsiteX24" fmla="*/ 510295 w 525758"/>
                  <a:gd name="connsiteY24" fmla="*/ 497572 h 655702"/>
                  <a:gd name="connsiteX25" fmla="*/ 501017 w 525758"/>
                  <a:gd name="connsiteY25" fmla="*/ 516175 h 655702"/>
                  <a:gd name="connsiteX26" fmla="*/ 488646 w 525758"/>
                  <a:gd name="connsiteY26" fmla="*/ 559584 h 655702"/>
                  <a:gd name="connsiteX27" fmla="*/ 494831 w 525758"/>
                  <a:gd name="connsiteY27" fmla="*/ 624696 h 655702"/>
                  <a:gd name="connsiteX28" fmla="*/ 392772 w 525758"/>
                  <a:gd name="connsiteY28" fmla="*/ 643300 h 655702"/>
                  <a:gd name="connsiteX29" fmla="*/ 340197 w 525758"/>
                  <a:gd name="connsiteY29" fmla="*/ 643300 h 655702"/>
                  <a:gd name="connsiteX30" fmla="*/ 262879 w 525758"/>
                  <a:gd name="connsiteY30" fmla="*/ 655702 h 655702"/>
                  <a:gd name="connsiteX31" fmla="*/ 188655 w 525758"/>
                  <a:gd name="connsiteY31" fmla="*/ 643300 h 655702"/>
                  <a:gd name="connsiteX32" fmla="*/ 132986 w 525758"/>
                  <a:gd name="connsiteY32" fmla="*/ 643300 h 655702"/>
                  <a:gd name="connsiteX33" fmla="*/ 30927 w 525758"/>
                  <a:gd name="connsiteY33" fmla="*/ 624696 h 655702"/>
                  <a:gd name="connsiteX34" fmla="*/ 37113 w 525758"/>
                  <a:gd name="connsiteY34" fmla="*/ 556483 h 655702"/>
                  <a:gd name="connsiteX35" fmla="*/ 27834 w 525758"/>
                  <a:gd name="connsiteY35" fmla="*/ 516175 h 655702"/>
                  <a:gd name="connsiteX36" fmla="*/ 0 w 525758"/>
                  <a:gd name="connsiteY36" fmla="*/ 407655 h 655702"/>
                  <a:gd name="connsiteX37" fmla="*/ 117523 w 525758"/>
                  <a:gd name="connsiteY37" fmla="*/ 203015 h 655702"/>
                  <a:gd name="connsiteX38" fmla="*/ 262879 w 525758"/>
                  <a:gd name="connsiteY38" fmla="*/ 0 h 655702"/>
                  <a:gd name="connsiteX39" fmla="*/ 334096 w 525758"/>
                  <a:gd name="connsiteY39" fmla="*/ 68823 h 655702"/>
                  <a:gd name="connsiteX40" fmla="*/ 423891 w 525758"/>
                  <a:gd name="connsiteY40" fmla="*/ 53181 h 655702"/>
                  <a:gd name="connsiteX41" fmla="*/ 386734 w 525758"/>
                  <a:gd name="connsiteY41" fmla="*/ 162672 h 655702"/>
                  <a:gd name="connsiteX42" fmla="*/ 139023 w 525758"/>
                  <a:gd name="connsiteY42" fmla="*/ 162672 h 655702"/>
                  <a:gd name="connsiteX43" fmla="*/ 104963 w 525758"/>
                  <a:gd name="connsiteY43" fmla="*/ 53181 h 655702"/>
                  <a:gd name="connsiteX44" fmla="*/ 191662 w 525758"/>
                  <a:gd name="connsiteY44" fmla="*/ 68823 h 655702"/>
                  <a:gd name="connsiteX45" fmla="*/ 262879 w 525758"/>
                  <a:gd name="connsiteY45" fmla="*/ 0 h 655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525758" h="655702">
                    <a:moveTo>
                      <a:pt x="247416" y="280530"/>
                    </a:moveTo>
                    <a:cubicBezTo>
                      <a:pt x="247416" y="280530"/>
                      <a:pt x="247416" y="280530"/>
                      <a:pt x="247416" y="317737"/>
                    </a:cubicBezTo>
                    <a:cubicBezTo>
                      <a:pt x="207211" y="323938"/>
                      <a:pt x="182469" y="345643"/>
                      <a:pt x="182469" y="373548"/>
                    </a:cubicBezTo>
                    <a:cubicBezTo>
                      <a:pt x="182469" y="404554"/>
                      <a:pt x="201025" y="420057"/>
                      <a:pt x="247416" y="435560"/>
                    </a:cubicBezTo>
                    <a:cubicBezTo>
                      <a:pt x="278343" y="444862"/>
                      <a:pt x="284528" y="451063"/>
                      <a:pt x="284528" y="460365"/>
                    </a:cubicBezTo>
                    <a:cubicBezTo>
                      <a:pt x="284528" y="469667"/>
                      <a:pt x="269065" y="475868"/>
                      <a:pt x="250508" y="475868"/>
                    </a:cubicBezTo>
                    <a:cubicBezTo>
                      <a:pt x="231952" y="475868"/>
                      <a:pt x="204118" y="466566"/>
                      <a:pt x="191747" y="460365"/>
                    </a:cubicBezTo>
                    <a:cubicBezTo>
                      <a:pt x="191747" y="460365"/>
                      <a:pt x="191747" y="460365"/>
                      <a:pt x="179377" y="500672"/>
                    </a:cubicBezTo>
                    <a:cubicBezTo>
                      <a:pt x="194840" y="509974"/>
                      <a:pt x="219582" y="516175"/>
                      <a:pt x="244323" y="519276"/>
                    </a:cubicBezTo>
                    <a:cubicBezTo>
                      <a:pt x="244323" y="519276"/>
                      <a:pt x="244323" y="519276"/>
                      <a:pt x="244323" y="553383"/>
                    </a:cubicBezTo>
                    <a:cubicBezTo>
                      <a:pt x="244323" y="553383"/>
                      <a:pt x="244323" y="553383"/>
                      <a:pt x="281435" y="553383"/>
                    </a:cubicBezTo>
                    <a:lnTo>
                      <a:pt x="281435" y="516175"/>
                    </a:lnTo>
                    <a:cubicBezTo>
                      <a:pt x="324733" y="509974"/>
                      <a:pt x="346382" y="485169"/>
                      <a:pt x="346382" y="457264"/>
                    </a:cubicBezTo>
                    <a:cubicBezTo>
                      <a:pt x="346382" y="429359"/>
                      <a:pt x="330919" y="410755"/>
                      <a:pt x="284528" y="395252"/>
                    </a:cubicBezTo>
                    <a:cubicBezTo>
                      <a:pt x="250508" y="385950"/>
                      <a:pt x="247416" y="379749"/>
                      <a:pt x="247416" y="370447"/>
                    </a:cubicBezTo>
                    <a:cubicBezTo>
                      <a:pt x="247416" y="361146"/>
                      <a:pt x="259787" y="358045"/>
                      <a:pt x="275250" y="358045"/>
                    </a:cubicBezTo>
                    <a:cubicBezTo>
                      <a:pt x="296899" y="358045"/>
                      <a:pt x="315455" y="364246"/>
                      <a:pt x="324733" y="370447"/>
                    </a:cubicBezTo>
                    <a:cubicBezTo>
                      <a:pt x="324733" y="370447"/>
                      <a:pt x="324733" y="370447"/>
                      <a:pt x="337104" y="330140"/>
                    </a:cubicBezTo>
                    <a:cubicBezTo>
                      <a:pt x="327826" y="323938"/>
                      <a:pt x="306177" y="317737"/>
                      <a:pt x="284528" y="317737"/>
                    </a:cubicBezTo>
                    <a:cubicBezTo>
                      <a:pt x="284528" y="317737"/>
                      <a:pt x="284528" y="317737"/>
                      <a:pt x="284528" y="280530"/>
                    </a:cubicBezTo>
                    <a:cubicBezTo>
                      <a:pt x="284528" y="280530"/>
                      <a:pt x="284528" y="280530"/>
                      <a:pt x="247416" y="280530"/>
                    </a:cubicBezTo>
                    <a:close/>
                    <a:moveTo>
                      <a:pt x="117523" y="203015"/>
                    </a:moveTo>
                    <a:cubicBezTo>
                      <a:pt x="117523" y="203015"/>
                      <a:pt x="117523" y="203015"/>
                      <a:pt x="408236" y="203015"/>
                    </a:cubicBezTo>
                    <a:cubicBezTo>
                      <a:pt x="479368" y="246423"/>
                      <a:pt x="525758" y="323938"/>
                      <a:pt x="525758" y="407655"/>
                    </a:cubicBezTo>
                    <a:cubicBezTo>
                      <a:pt x="525758" y="438661"/>
                      <a:pt x="519573" y="469667"/>
                      <a:pt x="510295" y="497572"/>
                    </a:cubicBezTo>
                    <a:cubicBezTo>
                      <a:pt x="510295" y="497572"/>
                      <a:pt x="504109" y="509974"/>
                      <a:pt x="501017" y="516175"/>
                    </a:cubicBezTo>
                    <a:cubicBezTo>
                      <a:pt x="494831" y="531678"/>
                      <a:pt x="485553" y="553383"/>
                      <a:pt x="488646" y="559584"/>
                    </a:cubicBezTo>
                    <a:cubicBezTo>
                      <a:pt x="504109" y="581288"/>
                      <a:pt x="504109" y="606093"/>
                      <a:pt x="494831" y="624696"/>
                    </a:cubicBezTo>
                    <a:cubicBezTo>
                      <a:pt x="476275" y="655702"/>
                      <a:pt x="432977" y="665004"/>
                      <a:pt x="392772" y="643300"/>
                    </a:cubicBezTo>
                    <a:cubicBezTo>
                      <a:pt x="386587" y="640199"/>
                      <a:pt x="368031" y="637099"/>
                      <a:pt x="340197" y="643300"/>
                    </a:cubicBezTo>
                    <a:cubicBezTo>
                      <a:pt x="315455" y="649501"/>
                      <a:pt x="290713" y="655702"/>
                      <a:pt x="262879" y="655702"/>
                    </a:cubicBezTo>
                    <a:cubicBezTo>
                      <a:pt x="238138" y="655702"/>
                      <a:pt x="213396" y="649501"/>
                      <a:pt x="188655" y="643300"/>
                    </a:cubicBezTo>
                    <a:cubicBezTo>
                      <a:pt x="154635" y="633998"/>
                      <a:pt x="132986" y="643300"/>
                      <a:pt x="132986" y="643300"/>
                    </a:cubicBezTo>
                    <a:cubicBezTo>
                      <a:pt x="92781" y="661904"/>
                      <a:pt x="49483" y="655702"/>
                      <a:pt x="30927" y="624696"/>
                    </a:cubicBezTo>
                    <a:cubicBezTo>
                      <a:pt x="21649" y="602992"/>
                      <a:pt x="24742" y="578187"/>
                      <a:pt x="37113" y="556483"/>
                    </a:cubicBezTo>
                    <a:cubicBezTo>
                      <a:pt x="40205" y="550282"/>
                      <a:pt x="34020" y="531678"/>
                      <a:pt x="27834" y="516175"/>
                    </a:cubicBezTo>
                    <a:cubicBezTo>
                      <a:pt x="9278" y="485169"/>
                      <a:pt x="0" y="447962"/>
                      <a:pt x="0" y="407655"/>
                    </a:cubicBezTo>
                    <a:cubicBezTo>
                      <a:pt x="0" y="323938"/>
                      <a:pt x="46391" y="246423"/>
                      <a:pt x="117523" y="203015"/>
                    </a:cubicBezTo>
                    <a:close/>
                    <a:moveTo>
                      <a:pt x="262879" y="0"/>
                    </a:moveTo>
                    <a:cubicBezTo>
                      <a:pt x="296939" y="0"/>
                      <a:pt x="324807" y="28155"/>
                      <a:pt x="334096" y="68823"/>
                    </a:cubicBezTo>
                    <a:cubicBezTo>
                      <a:pt x="371252" y="43796"/>
                      <a:pt x="405313" y="37540"/>
                      <a:pt x="423891" y="53181"/>
                    </a:cubicBezTo>
                    <a:cubicBezTo>
                      <a:pt x="442469" y="75079"/>
                      <a:pt x="426987" y="125132"/>
                      <a:pt x="386734" y="162672"/>
                    </a:cubicBezTo>
                    <a:lnTo>
                      <a:pt x="139023" y="162672"/>
                    </a:lnTo>
                    <a:cubicBezTo>
                      <a:pt x="98770" y="125132"/>
                      <a:pt x="83288" y="75079"/>
                      <a:pt x="104963" y="53181"/>
                    </a:cubicBezTo>
                    <a:cubicBezTo>
                      <a:pt x="120445" y="37540"/>
                      <a:pt x="157602" y="43796"/>
                      <a:pt x="191662" y="68823"/>
                    </a:cubicBezTo>
                    <a:cubicBezTo>
                      <a:pt x="200951" y="28155"/>
                      <a:pt x="228818" y="0"/>
                      <a:pt x="26287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/>
              </a:p>
            </p:txBody>
          </p:sp>
          <p:sp>
            <p:nvSpPr>
              <p:cNvPr id="16" name="ïSļîďè">
                <a:extLst>
                  <a:ext uri="{FF2B5EF4-FFF2-40B4-BE49-F238E27FC236}">
                    <a16:creationId xmlns:a16="http://schemas.microsoft.com/office/drawing/2014/main" xmlns="" id="{21755582-FD67-43F4-8FD6-476C4EE53267}"/>
                  </a:ext>
                </a:extLst>
              </p:cNvPr>
              <p:cNvSpPr/>
              <p:nvPr/>
            </p:nvSpPr>
            <p:spPr bwMode="auto">
              <a:xfrm>
                <a:off x="7146379" y="2945938"/>
                <a:ext cx="525758" cy="655702"/>
              </a:xfrm>
              <a:custGeom>
                <a:avLst/>
                <a:gdLst>
                  <a:gd name="connsiteX0" fmla="*/ 428337 w 755109"/>
                  <a:gd name="connsiteY0" fmla="*/ 408261 h 937065"/>
                  <a:gd name="connsiteX1" fmla="*/ 309109 w 755109"/>
                  <a:gd name="connsiteY1" fmla="*/ 461586 h 937065"/>
                  <a:gd name="connsiteX2" fmla="*/ 269367 w 755109"/>
                  <a:gd name="connsiteY2" fmla="*/ 532685 h 937065"/>
                  <a:gd name="connsiteX3" fmla="*/ 238456 w 755109"/>
                  <a:gd name="connsiteY3" fmla="*/ 532685 h 937065"/>
                  <a:gd name="connsiteX4" fmla="*/ 238456 w 755109"/>
                  <a:gd name="connsiteY4" fmla="*/ 572679 h 937065"/>
                  <a:gd name="connsiteX5" fmla="*/ 264951 w 755109"/>
                  <a:gd name="connsiteY5" fmla="*/ 572679 h 937065"/>
                  <a:gd name="connsiteX6" fmla="*/ 264951 w 755109"/>
                  <a:gd name="connsiteY6" fmla="*/ 586010 h 937065"/>
                  <a:gd name="connsiteX7" fmla="*/ 264951 w 755109"/>
                  <a:gd name="connsiteY7" fmla="*/ 594898 h 937065"/>
                  <a:gd name="connsiteX8" fmla="*/ 238456 w 755109"/>
                  <a:gd name="connsiteY8" fmla="*/ 594898 h 937065"/>
                  <a:gd name="connsiteX9" fmla="*/ 238456 w 755109"/>
                  <a:gd name="connsiteY9" fmla="*/ 634891 h 937065"/>
                  <a:gd name="connsiteX10" fmla="*/ 269367 w 755109"/>
                  <a:gd name="connsiteY10" fmla="*/ 634891 h 937065"/>
                  <a:gd name="connsiteX11" fmla="*/ 300277 w 755109"/>
                  <a:gd name="connsiteY11" fmla="*/ 701547 h 937065"/>
                  <a:gd name="connsiteX12" fmla="*/ 428337 w 755109"/>
                  <a:gd name="connsiteY12" fmla="*/ 759316 h 937065"/>
                  <a:gd name="connsiteX13" fmla="*/ 507822 w 755109"/>
                  <a:gd name="connsiteY13" fmla="*/ 741541 h 937065"/>
                  <a:gd name="connsiteX14" fmla="*/ 494575 w 755109"/>
                  <a:gd name="connsiteY14" fmla="*/ 683772 h 937065"/>
                  <a:gd name="connsiteX15" fmla="*/ 437169 w 755109"/>
                  <a:gd name="connsiteY15" fmla="*/ 697103 h 937065"/>
                  <a:gd name="connsiteX16" fmla="*/ 370931 w 755109"/>
                  <a:gd name="connsiteY16" fmla="*/ 670441 h 937065"/>
                  <a:gd name="connsiteX17" fmla="*/ 353268 w 755109"/>
                  <a:gd name="connsiteY17" fmla="*/ 634891 h 937065"/>
                  <a:gd name="connsiteX18" fmla="*/ 481327 w 755109"/>
                  <a:gd name="connsiteY18" fmla="*/ 634891 h 937065"/>
                  <a:gd name="connsiteX19" fmla="*/ 481327 w 755109"/>
                  <a:gd name="connsiteY19" fmla="*/ 594898 h 937065"/>
                  <a:gd name="connsiteX20" fmla="*/ 344436 w 755109"/>
                  <a:gd name="connsiteY20" fmla="*/ 594898 h 937065"/>
                  <a:gd name="connsiteX21" fmla="*/ 344436 w 755109"/>
                  <a:gd name="connsiteY21" fmla="*/ 586010 h 937065"/>
                  <a:gd name="connsiteX22" fmla="*/ 344436 w 755109"/>
                  <a:gd name="connsiteY22" fmla="*/ 572679 h 937065"/>
                  <a:gd name="connsiteX23" fmla="*/ 481327 w 755109"/>
                  <a:gd name="connsiteY23" fmla="*/ 572679 h 937065"/>
                  <a:gd name="connsiteX24" fmla="*/ 481327 w 755109"/>
                  <a:gd name="connsiteY24" fmla="*/ 532685 h 937065"/>
                  <a:gd name="connsiteX25" fmla="*/ 353268 w 755109"/>
                  <a:gd name="connsiteY25" fmla="*/ 532685 h 937065"/>
                  <a:gd name="connsiteX26" fmla="*/ 370931 w 755109"/>
                  <a:gd name="connsiteY26" fmla="*/ 501579 h 937065"/>
                  <a:gd name="connsiteX27" fmla="*/ 432753 w 755109"/>
                  <a:gd name="connsiteY27" fmla="*/ 470473 h 937065"/>
                  <a:gd name="connsiteX28" fmla="*/ 490159 w 755109"/>
                  <a:gd name="connsiteY28" fmla="*/ 483804 h 937065"/>
                  <a:gd name="connsiteX29" fmla="*/ 507822 w 755109"/>
                  <a:gd name="connsiteY29" fmla="*/ 426036 h 937065"/>
                  <a:gd name="connsiteX30" fmla="*/ 428337 w 755109"/>
                  <a:gd name="connsiteY30" fmla="*/ 408261 h 937065"/>
                  <a:gd name="connsiteX31" fmla="*/ 167802 w 755109"/>
                  <a:gd name="connsiteY31" fmla="*/ 288280 h 937065"/>
                  <a:gd name="connsiteX32" fmla="*/ 587307 w 755109"/>
                  <a:gd name="connsiteY32" fmla="*/ 288280 h 937065"/>
                  <a:gd name="connsiteX33" fmla="*/ 755109 w 755109"/>
                  <a:gd name="connsiteY33" fmla="*/ 581566 h 937065"/>
                  <a:gd name="connsiteX34" fmla="*/ 728614 w 755109"/>
                  <a:gd name="connsiteY34" fmla="*/ 710435 h 937065"/>
                  <a:gd name="connsiteX35" fmla="*/ 715367 w 755109"/>
                  <a:gd name="connsiteY35" fmla="*/ 737097 h 937065"/>
                  <a:gd name="connsiteX36" fmla="*/ 702119 w 755109"/>
                  <a:gd name="connsiteY36" fmla="*/ 799309 h 937065"/>
                  <a:gd name="connsiteX37" fmla="*/ 706535 w 755109"/>
                  <a:gd name="connsiteY37" fmla="*/ 892628 h 937065"/>
                  <a:gd name="connsiteX38" fmla="*/ 560812 w 755109"/>
                  <a:gd name="connsiteY38" fmla="*/ 919290 h 937065"/>
                  <a:gd name="connsiteX39" fmla="*/ 485743 w 755109"/>
                  <a:gd name="connsiteY39" fmla="*/ 919290 h 937065"/>
                  <a:gd name="connsiteX40" fmla="*/ 379763 w 755109"/>
                  <a:gd name="connsiteY40" fmla="*/ 937065 h 937065"/>
                  <a:gd name="connsiteX41" fmla="*/ 269367 w 755109"/>
                  <a:gd name="connsiteY41" fmla="*/ 919290 h 937065"/>
                  <a:gd name="connsiteX42" fmla="*/ 189881 w 755109"/>
                  <a:gd name="connsiteY42" fmla="*/ 919290 h 937065"/>
                  <a:gd name="connsiteX43" fmla="*/ 48574 w 755109"/>
                  <a:gd name="connsiteY43" fmla="*/ 892628 h 937065"/>
                  <a:gd name="connsiteX44" fmla="*/ 57406 w 755109"/>
                  <a:gd name="connsiteY44" fmla="*/ 794866 h 937065"/>
                  <a:gd name="connsiteX45" fmla="*/ 39742 w 755109"/>
                  <a:gd name="connsiteY45" fmla="*/ 737097 h 937065"/>
                  <a:gd name="connsiteX46" fmla="*/ 0 w 755109"/>
                  <a:gd name="connsiteY46" fmla="*/ 581566 h 937065"/>
                  <a:gd name="connsiteX47" fmla="*/ 167802 w 755109"/>
                  <a:gd name="connsiteY47" fmla="*/ 288280 h 937065"/>
                  <a:gd name="connsiteX48" fmla="*/ 380344 w 755109"/>
                  <a:gd name="connsiteY48" fmla="*/ 0 h 937065"/>
                  <a:gd name="connsiteX49" fmla="*/ 481755 w 755109"/>
                  <a:gd name="connsiteY49" fmla="*/ 97572 h 937065"/>
                  <a:gd name="connsiteX50" fmla="*/ 605212 w 755109"/>
                  <a:gd name="connsiteY50" fmla="*/ 75397 h 937065"/>
                  <a:gd name="connsiteX51" fmla="*/ 556711 w 755109"/>
                  <a:gd name="connsiteY51" fmla="*/ 230625 h 937065"/>
                  <a:gd name="connsiteX52" fmla="*/ 199567 w 755109"/>
                  <a:gd name="connsiteY52" fmla="*/ 230625 h 937065"/>
                  <a:gd name="connsiteX53" fmla="*/ 151066 w 755109"/>
                  <a:gd name="connsiteY53" fmla="*/ 75397 h 937065"/>
                  <a:gd name="connsiteX54" fmla="*/ 278933 w 755109"/>
                  <a:gd name="connsiteY54" fmla="*/ 97572 h 937065"/>
                  <a:gd name="connsiteX55" fmla="*/ 380344 w 755109"/>
                  <a:gd name="connsiteY55" fmla="*/ 0 h 937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755109" h="937065">
                    <a:moveTo>
                      <a:pt x="428337" y="408261"/>
                    </a:moveTo>
                    <a:cubicBezTo>
                      <a:pt x="379763" y="408261"/>
                      <a:pt x="335604" y="426036"/>
                      <a:pt x="309109" y="461586"/>
                    </a:cubicBezTo>
                    <a:cubicBezTo>
                      <a:pt x="291446" y="479361"/>
                      <a:pt x="278198" y="506023"/>
                      <a:pt x="269367" y="532685"/>
                    </a:cubicBezTo>
                    <a:cubicBezTo>
                      <a:pt x="269367" y="532685"/>
                      <a:pt x="269367" y="532685"/>
                      <a:pt x="238456" y="532685"/>
                    </a:cubicBezTo>
                    <a:cubicBezTo>
                      <a:pt x="238456" y="532685"/>
                      <a:pt x="238456" y="532685"/>
                      <a:pt x="238456" y="572679"/>
                    </a:cubicBezTo>
                    <a:cubicBezTo>
                      <a:pt x="238456" y="572679"/>
                      <a:pt x="238456" y="572679"/>
                      <a:pt x="264951" y="572679"/>
                    </a:cubicBezTo>
                    <a:cubicBezTo>
                      <a:pt x="264951" y="577123"/>
                      <a:pt x="264951" y="581566"/>
                      <a:pt x="264951" y="586010"/>
                    </a:cubicBezTo>
                    <a:cubicBezTo>
                      <a:pt x="264951" y="590454"/>
                      <a:pt x="264951" y="594898"/>
                      <a:pt x="264951" y="594898"/>
                    </a:cubicBezTo>
                    <a:cubicBezTo>
                      <a:pt x="264951" y="594898"/>
                      <a:pt x="264951" y="594898"/>
                      <a:pt x="238456" y="594898"/>
                    </a:cubicBezTo>
                    <a:cubicBezTo>
                      <a:pt x="238456" y="594898"/>
                      <a:pt x="238456" y="594898"/>
                      <a:pt x="238456" y="634891"/>
                    </a:cubicBezTo>
                    <a:cubicBezTo>
                      <a:pt x="238456" y="634891"/>
                      <a:pt x="238456" y="634891"/>
                      <a:pt x="269367" y="634891"/>
                    </a:cubicBezTo>
                    <a:cubicBezTo>
                      <a:pt x="273782" y="661554"/>
                      <a:pt x="287030" y="683772"/>
                      <a:pt x="300277" y="701547"/>
                    </a:cubicBezTo>
                    <a:cubicBezTo>
                      <a:pt x="326773" y="741541"/>
                      <a:pt x="375347" y="759316"/>
                      <a:pt x="428337" y="759316"/>
                    </a:cubicBezTo>
                    <a:cubicBezTo>
                      <a:pt x="459248" y="759316"/>
                      <a:pt x="490159" y="750428"/>
                      <a:pt x="507822" y="741541"/>
                    </a:cubicBezTo>
                    <a:cubicBezTo>
                      <a:pt x="507822" y="741541"/>
                      <a:pt x="507822" y="741541"/>
                      <a:pt x="494575" y="683772"/>
                    </a:cubicBezTo>
                    <a:cubicBezTo>
                      <a:pt x="485743" y="688216"/>
                      <a:pt x="459248" y="697103"/>
                      <a:pt x="437169" y="697103"/>
                    </a:cubicBezTo>
                    <a:cubicBezTo>
                      <a:pt x="410674" y="697103"/>
                      <a:pt x="384178" y="688216"/>
                      <a:pt x="370931" y="670441"/>
                    </a:cubicBezTo>
                    <a:cubicBezTo>
                      <a:pt x="362099" y="661554"/>
                      <a:pt x="353268" y="648222"/>
                      <a:pt x="353268" y="634891"/>
                    </a:cubicBezTo>
                    <a:cubicBezTo>
                      <a:pt x="353268" y="634891"/>
                      <a:pt x="353268" y="634891"/>
                      <a:pt x="481327" y="634891"/>
                    </a:cubicBezTo>
                    <a:cubicBezTo>
                      <a:pt x="481327" y="634891"/>
                      <a:pt x="481327" y="634891"/>
                      <a:pt x="481327" y="594898"/>
                    </a:cubicBezTo>
                    <a:cubicBezTo>
                      <a:pt x="481327" y="594898"/>
                      <a:pt x="481327" y="594898"/>
                      <a:pt x="344436" y="594898"/>
                    </a:cubicBezTo>
                    <a:cubicBezTo>
                      <a:pt x="344436" y="594898"/>
                      <a:pt x="344436" y="590454"/>
                      <a:pt x="344436" y="586010"/>
                    </a:cubicBezTo>
                    <a:cubicBezTo>
                      <a:pt x="344436" y="581566"/>
                      <a:pt x="344436" y="577123"/>
                      <a:pt x="344436" y="572679"/>
                    </a:cubicBezTo>
                    <a:cubicBezTo>
                      <a:pt x="344436" y="572679"/>
                      <a:pt x="344436" y="572679"/>
                      <a:pt x="481327" y="572679"/>
                    </a:cubicBezTo>
                    <a:cubicBezTo>
                      <a:pt x="481327" y="572679"/>
                      <a:pt x="481327" y="572679"/>
                      <a:pt x="481327" y="532685"/>
                    </a:cubicBezTo>
                    <a:cubicBezTo>
                      <a:pt x="481327" y="532685"/>
                      <a:pt x="481327" y="532685"/>
                      <a:pt x="353268" y="532685"/>
                    </a:cubicBezTo>
                    <a:cubicBezTo>
                      <a:pt x="357683" y="519354"/>
                      <a:pt x="362099" y="506023"/>
                      <a:pt x="370931" y="501579"/>
                    </a:cubicBezTo>
                    <a:cubicBezTo>
                      <a:pt x="384178" y="479361"/>
                      <a:pt x="410674" y="470473"/>
                      <a:pt x="432753" y="470473"/>
                    </a:cubicBezTo>
                    <a:cubicBezTo>
                      <a:pt x="454832" y="470473"/>
                      <a:pt x="476911" y="479361"/>
                      <a:pt x="490159" y="483804"/>
                    </a:cubicBezTo>
                    <a:cubicBezTo>
                      <a:pt x="490159" y="483804"/>
                      <a:pt x="490159" y="483804"/>
                      <a:pt x="507822" y="426036"/>
                    </a:cubicBezTo>
                    <a:cubicBezTo>
                      <a:pt x="485743" y="417148"/>
                      <a:pt x="459248" y="408261"/>
                      <a:pt x="428337" y="408261"/>
                    </a:cubicBezTo>
                    <a:close/>
                    <a:moveTo>
                      <a:pt x="167802" y="288280"/>
                    </a:moveTo>
                    <a:cubicBezTo>
                      <a:pt x="167802" y="288280"/>
                      <a:pt x="167802" y="288280"/>
                      <a:pt x="587307" y="288280"/>
                    </a:cubicBezTo>
                    <a:cubicBezTo>
                      <a:pt x="688872" y="350492"/>
                      <a:pt x="755109" y="461586"/>
                      <a:pt x="755109" y="581566"/>
                    </a:cubicBezTo>
                    <a:cubicBezTo>
                      <a:pt x="755109" y="626004"/>
                      <a:pt x="746278" y="670441"/>
                      <a:pt x="728614" y="710435"/>
                    </a:cubicBezTo>
                    <a:cubicBezTo>
                      <a:pt x="728614" y="710435"/>
                      <a:pt x="719782" y="728210"/>
                      <a:pt x="715367" y="737097"/>
                    </a:cubicBezTo>
                    <a:cubicBezTo>
                      <a:pt x="706535" y="759316"/>
                      <a:pt x="697703" y="790422"/>
                      <a:pt x="702119" y="799309"/>
                    </a:cubicBezTo>
                    <a:cubicBezTo>
                      <a:pt x="719782" y="830415"/>
                      <a:pt x="724198" y="865965"/>
                      <a:pt x="706535" y="892628"/>
                    </a:cubicBezTo>
                    <a:cubicBezTo>
                      <a:pt x="684456" y="937065"/>
                      <a:pt x="618218" y="950396"/>
                      <a:pt x="560812" y="919290"/>
                    </a:cubicBezTo>
                    <a:cubicBezTo>
                      <a:pt x="551980" y="914846"/>
                      <a:pt x="525485" y="910403"/>
                      <a:pt x="485743" y="919290"/>
                    </a:cubicBezTo>
                    <a:cubicBezTo>
                      <a:pt x="450416" y="928177"/>
                      <a:pt x="415089" y="937065"/>
                      <a:pt x="379763" y="937065"/>
                    </a:cubicBezTo>
                    <a:cubicBezTo>
                      <a:pt x="340020" y="937065"/>
                      <a:pt x="304693" y="928177"/>
                      <a:pt x="269367" y="919290"/>
                    </a:cubicBezTo>
                    <a:cubicBezTo>
                      <a:pt x="220792" y="905959"/>
                      <a:pt x="189881" y="919290"/>
                      <a:pt x="189881" y="919290"/>
                    </a:cubicBezTo>
                    <a:cubicBezTo>
                      <a:pt x="136891" y="945952"/>
                      <a:pt x="70653" y="937065"/>
                      <a:pt x="48574" y="892628"/>
                    </a:cubicBezTo>
                    <a:cubicBezTo>
                      <a:pt x="30911" y="861522"/>
                      <a:pt x="35326" y="825972"/>
                      <a:pt x="57406" y="794866"/>
                    </a:cubicBezTo>
                    <a:cubicBezTo>
                      <a:pt x="57406" y="785978"/>
                      <a:pt x="48574" y="759316"/>
                      <a:pt x="39742" y="737097"/>
                    </a:cubicBezTo>
                    <a:cubicBezTo>
                      <a:pt x="17663" y="692660"/>
                      <a:pt x="0" y="639335"/>
                      <a:pt x="0" y="581566"/>
                    </a:cubicBezTo>
                    <a:cubicBezTo>
                      <a:pt x="0" y="461586"/>
                      <a:pt x="70653" y="350492"/>
                      <a:pt x="167802" y="288280"/>
                    </a:cubicBezTo>
                    <a:close/>
                    <a:moveTo>
                      <a:pt x="380344" y="0"/>
                    </a:moveTo>
                    <a:cubicBezTo>
                      <a:pt x="424436" y="0"/>
                      <a:pt x="468527" y="39916"/>
                      <a:pt x="481755" y="97572"/>
                    </a:cubicBezTo>
                    <a:cubicBezTo>
                      <a:pt x="530256" y="62091"/>
                      <a:pt x="583166" y="53221"/>
                      <a:pt x="605212" y="75397"/>
                    </a:cubicBezTo>
                    <a:cubicBezTo>
                      <a:pt x="636076" y="106442"/>
                      <a:pt x="614030" y="177404"/>
                      <a:pt x="556711" y="230625"/>
                    </a:cubicBezTo>
                    <a:lnTo>
                      <a:pt x="199567" y="230625"/>
                    </a:lnTo>
                    <a:cubicBezTo>
                      <a:pt x="146657" y="177404"/>
                      <a:pt x="124611" y="106442"/>
                      <a:pt x="151066" y="75397"/>
                    </a:cubicBezTo>
                    <a:cubicBezTo>
                      <a:pt x="177521" y="53221"/>
                      <a:pt x="226022" y="62091"/>
                      <a:pt x="278933" y="97572"/>
                    </a:cubicBezTo>
                    <a:cubicBezTo>
                      <a:pt x="292160" y="39916"/>
                      <a:pt x="331843" y="0"/>
                      <a:pt x="380344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/>
              </a:p>
            </p:txBody>
          </p:sp>
          <p:sp>
            <p:nvSpPr>
              <p:cNvPr id="17" name="ïsḷîḋè">
                <a:extLst>
                  <a:ext uri="{FF2B5EF4-FFF2-40B4-BE49-F238E27FC236}">
                    <a16:creationId xmlns:a16="http://schemas.microsoft.com/office/drawing/2014/main" xmlns="" id="{6DF72BAD-FF46-4EFE-921A-430545E88F2C}"/>
                  </a:ext>
                </a:extLst>
              </p:cNvPr>
              <p:cNvSpPr/>
              <p:nvPr/>
            </p:nvSpPr>
            <p:spPr bwMode="auto">
              <a:xfrm>
                <a:off x="6589513" y="2066925"/>
                <a:ext cx="1639491" cy="2115740"/>
              </a:xfrm>
              <a:custGeom>
                <a:avLst/>
                <a:gdLst>
                  <a:gd name="T0" fmla="*/ 417 w 471"/>
                  <a:gd name="T1" fmla="*/ 440 h 608"/>
                  <a:gd name="T2" fmla="*/ 258 w 471"/>
                  <a:gd name="T3" fmla="*/ 18 h 608"/>
                  <a:gd name="T4" fmla="*/ 213 w 471"/>
                  <a:gd name="T5" fmla="*/ 18 h 608"/>
                  <a:gd name="T6" fmla="*/ 54 w 471"/>
                  <a:gd name="T7" fmla="*/ 440 h 608"/>
                  <a:gd name="T8" fmla="*/ 0 w 471"/>
                  <a:gd name="T9" fmla="*/ 440 h 608"/>
                  <a:gd name="T10" fmla="*/ 235 w 471"/>
                  <a:gd name="T11" fmla="*/ 608 h 608"/>
                  <a:gd name="T12" fmla="*/ 471 w 471"/>
                  <a:gd name="T13" fmla="*/ 440 h 608"/>
                  <a:gd name="T14" fmla="*/ 417 w 471"/>
                  <a:gd name="T15" fmla="*/ 440 h 608"/>
                  <a:gd name="T16" fmla="*/ 104 w 471"/>
                  <a:gd name="T17" fmla="*/ 440 h 608"/>
                  <a:gd name="T18" fmla="*/ 235 w 471"/>
                  <a:gd name="T19" fmla="*/ 93 h 608"/>
                  <a:gd name="T20" fmla="*/ 366 w 471"/>
                  <a:gd name="T21" fmla="*/ 440 h 608"/>
                  <a:gd name="T22" fmla="*/ 104 w 471"/>
                  <a:gd name="T23" fmla="*/ 440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1" h="608">
                    <a:moveTo>
                      <a:pt x="417" y="440"/>
                    </a:moveTo>
                    <a:cubicBezTo>
                      <a:pt x="258" y="18"/>
                      <a:pt x="258" y="18"/>
                      <a:pt x="258" y="18"/>
                    </a:cubicBezTo>
                    <a:cubicBezTo>
                      <a:pt x="251" y="0"/>
                      <a:pt x="220" y="0"/>
                      <a:pt x="213" y="18"/>
                    </a:cubicBezTo>
                    <a:cubicBezTo>
                      <a:pt x="54" y="440"/>
                      <a:pt x="54" y="440"/>
                      <a:pt x="54" y="440"/>
                    </a:cubicBezTo>
                    <a:cubicBezTo>
                      <a:pt x="0" y="440"/>
                      <a:pt x="0" y="440"/>
                      <a:pt x="0" y="440"/>
                    </a:cubicBezTo>
                    <a:cubicBezTo>
                      <a:pt x="34" y="538"/>
                      <a:pt x="126" y="608"/>
                      <a:pt x="235" y="608"/>
                    </a:cubicBezTo>
                    <a:cubicBezTo>
                      <a:pt x="345" y="608"/>
                      <a:pt x="437" y="538"/>
                      <a:pt x="471" y="440"/>
                    </a:cubicBezTo>
                    <a:lnTo>
                      <a:pt x="417" y="440"/>
                    </a:lnTo>
                    <a:close/>
                    <a:moveTo>
                      <a:pt x="104" y="440"/>
                    </a:moveTo>
                    <a:cubicBezTo>
                      <a:pt x="235" y="93"/>
                      <a:pt x="235" y="93"/>
                      <a:pt x="235" y="93"/>
                    </a:cubicBezTo>
                    <a:cubicBezTo>
                      <a:pt x="366" y="440"/>
                      <a:pt x="366" y="440"/>
                      <a:pt x="366" y="440"/>
                    </a:cubicBezTo>
                    <a:lnTo>
                      <a:pt x="104" y="44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/>
              </a:p>
            </p:txBody>
          </p:sp>
          <p:sp>
            <p:nvSpPr>
              <p:cNvPr id="18" name="ïṥlíďé">
                <a:extLst>
                  <a:ext uri="{FF2B5EF4-FFF2-40B4-BE49-F238E27FC236}">
                    <a16:creationId xmlns:a16="http://schemas.microsoft.com/office/drawing/2014/main" xmlns="" id="{972B7E69-8319-4089-9068-DF833B3D2F75}"/>
                  </a:ext>
                </a:extLst>
              </p:cNvPr>
              <p:cNvSpPr/>
              <p:nvPr/>
            </p:nvSpPr>
            <p:spPr bwMode="auto">
              <a:xfrm>
                <a:off x="3962995" y="2066925"/>
                <a:ext cx="1641872" cy="2115740"/>
              </a:xfrm>
              <a:custGeom>
                <a:avLst/>
                <a:gdLst>
                  <a:gd name="T0" fmla="*/ 417 w 472"/>
                  <a:gd name="T1" fmla="*/ 440 h 608"/>
                  <a:gd name="T2" fmla="*/ 258 w 472"/>
                  <a:gd name="T3" fmla="*/ 18 h 608"/>
                  <a:gd name="T4" fmla="*/ 214 w 472"/>
                  <a:gd name="T5" fmla="*/ 18 h 608"/>
                  <a:gd name="T6" fmla="*/ 54 w 472"/>
                  <a:gd name="T7" fmla="*/ 440 h 608"/>
                  <a:gd name="T8" fmla="*/ 0 w 472"/>
                  <a:gd name="T9" fmla="*/ 440 h 608"/>
                  <a:gd name="T10" fmla="*/ 236 w 472"/>
                  <a:gd name="T11" fmla="*/ 608 h 608"/>
                  <a:gd name="T12" fmla="*/ 472 w 472"/>
                  <a:gd name="T13" fmla="*/ 440 h 608"/>
                  <a:gd name="T14" fmla="*/ 417 w 472"/>
                  <a:gd name="T15" fmla="*/ 440 h 608"/>
                  <a:gd name="T16" fmla="*/ 105 w 472"/>
                  <a:gd name="T17" fmla="*/ 440 h 608"/>
                  <a:gd name="T18" fmla="*/ 236 w 472"/>
                  <a:gd name="T19" fmla="*/ 93 h 608"/>
                  <a:gd name="T20" fmla="*/ 367 w 472"/>
                  <a:gd name="T21" fmla="*/ 440 h 608"/>
                  <a:gd name="T22" fmla="*/ 105 w 472"/>
                  <a:gd name="T23" fmla="*/ 440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2" h="608">
                    <a:moveTo>
                      <a:pt x="417" y="440"/>
                    </a:moveTo>
                    <a:cubicBezTo>
                      <a:pt x="258" y="18"/>
                      <a:pt x="258" y="18"/>
                      <a:pt x="258" y="18"/>
                    </a:cubicBezTo>
                    <a:cubicBezTo>
                      <a:pt x="251" y="0"/>
                      <a:pt x="221" y="0"/>
                      <a:pt x="214" y="18"/>
                    </a:cubicBezTo>
                    <a:cubicBezTo>
                      <a:pt x="54" y="440"/>
                      <a:pt x="54" y="440"/>
                      <a:pt x="54" y="440"/>
                    </a:cubicBezTo>
                    <a:cubicBezTo>
                      <a:pt x="0" y="440"/>
                      <a:pt x="0" y="440"/>
                      <a:pt x="0" y="440"/>
                    </a:cubicBezTo>
                    <a:cubicBezTo>
                      <a:pt x="35" y="538"/>
                      <a:pt x="127" y="608"/>
                      <a:pt x="236" y="608"/>
                    </a:cubicBezTo>
                    <a:cubicBezTo>
                      <a:pt x="345" y="608"/>
                      <a:pt x="437" y="538"/>
                      <a:pt x="472" y="440"/>
                    </a:cubicBezTo>
                    <a:lnTo>
                      <a:pt x="417" y="440"/>
                    </a:lnTo>
                    <a:close/>
                    <a:moveTo>
                      <a:pt x="105" y="440"/>
                    </a:moveTo>
                    <a:cubicBezTo>
                      <a:pt x="236" y="93"/>
                      <a:pt x="236" y="93"/>
                      <a:pt x="236" y="93"/>
                    </a:cubicBezTo>
                    <a:cubicBezTo>
                      <a:pt x="367" y="440"/>
                      <a:pt x="367" y="440"/>
                      <a:pt x="367" y="440"/>
                    </a:cubicBezTo>
                    <a:lnTo>
                      <a:pt x="105" y="44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/>
              </a:p>
            </p:txBody>
          </p:sp>
          <p:sp>
            <p:nvSpPr>
              <p:cNvPr id="19" name="îSḻiďè">
                <a:extLst>
                  <a:ext uri="{FF2B5EF4-FFF2-40B4-BE49-F238E27FC236}">
                    <a16:creationId xmlns:a16="http://schemas.microsoft.com/office/drawing/2014/main" xmlns="" id="{FE15F319-CFEF-4E62-91B6-77F28D047150}"/>
                  </a:ext>
                </a:extLst>
              </p:cNvPr>
              <p:cNvSpPr/>
              <p:nvPr/>
            </p:nvSpPr>
            <p:spPr bwMode="auto">
              <a:xfrm>
                <a:off x="5231009" y="3782616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/>
              </a:p>
            </p:txBody>
          </p:sp>
          <p:sp>
            <p:nvSpPr>
              <p:cNvPr id="20" name="iSlîḋe">
                <a:extLst>
                  <a:ext uri="{FF2B5EF4-FFF2-40B4-BE49-F238E27FC236}">
                    <a16:creationId xmlns:a16="http://schemas.microsoft.com/office/drawing/2014/main" xmlns="" id="{356345F4-A6E0-4DF6-939D-CC06DF9D99A5}"/>
                  </a:ext>
                </a:extLst>
              </p:cNvPr>
              <p:cNvSpPr/>
              <p:nvPr/>
            </p:nvSpPr>
            <p:spPr bwMode="auto">
              <a:xfrm>
                <a:off x="5231009" y="3782616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/>
              </a:p>
            </p:txBody>
          </p:sp>
          <p:sp>
            <p:nvSpPr>
              <p:cNvPr id="21" name="íṣḻíḓê">
                <a:extLst>
                  <a:ext uri="{FF2B5EF4-FFF2-40B4-BE49-F238E27FC236}">
                    <a16:creationId xmlns:a16="http://schemas.microsoft.com/office/drawing/2014/main" xmlns="" id="{D53A06AF-8B78-4443-B085-D0B225B25781}"/>
                  </a:ext>
                </a:extLst>
              </p:cNvPr>
              <p:cNvSpPr/>
              <p:nvPr/>
            </p:nvSpPr>
            <p:spPr bwMode="auto">
              <a:xfrm>
                <a:off x="5110757" y="2128838"/>
                <a:ext cx="1969294" cy="3087290"/>
              </a:xfrm>
              <a:custGeom>
                <a:avLst/>
                <a:gdLst>
                  <a:gd name="T0" fmla="*/ 519 w 566"/>
                  <a:gd name="T1" fmla="*/ 793 h 887"/>
                  <a:gd name="T2" fmla="*/ 424 w 566"/>
                  <a:gd name="T3" fmla="*/ 793 h 887"/>
                  <a:gd name="T4" fmla="*/ 330 w 566"/>
                  <a:gd name="T5" fmla="*/ 666 h 887"/>
                  <a:gd name="T6" fmla="*/ 330 w 566"/>
                  <a:gd name="T7" fmla="*/ 0 h 887"/>
                  <a:gd name="T8" fmla="*/ 236 w 566"/>
                  <a:gd name="T9" fmla="*/ 2 h 887"/>
                  <a:gd name="T10" fmla="*/ 236 w 566"/>
                  <a:gd name="T11" fmla="*/ 666 h 887"/>
                  <a:gd name="T12" fmla="*/ 142 w 566"/>
                  <a:gd name="T13" fmla="*/ 793 h 887"/>
                  <a:gd name="T14" fmla="*/ 47 w 566"/>
                  <a:gd name="T15" fmla="*/ 793 h 887"/>
                  <a:gd name="T16" fmla="*/ 0 w 566"/>
                  <a:gd name="T17" fmla="*/ 840 h 887"/>
                  <a:gd name="T18" fmla="*/ 0 w 566"/>
                  <a:gd name="T19" fmla="*/ 887 h 887"/>
                  <a:gd name="T20" fmla="*/ 566 w 566"/>
                  <a:gd name="T21" fmla="*/ 887 h 887"/>
                  <a:gd name="T22" fmla="*/ 566 w 566"/>
                  <a:gd name="T23" fmla="*/ 840 h 887"/>
                  <a:gd name="T24" fmla="*/ 519 w 566"/>
                  <a:gd name="T25" fmla="*/ 793 h 8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66" h="887">
                    <a:moveTo>
                      <a:pt x="519" y="793"/>
                    </a:moveTo>
                    <a:cubicBezTo>
                      <a:pt x="424" y="793"/>
                      <a:pt x="424" y="793"/>
                      <a:pt x="424" y="793"/>
                    </a:cubicBezTo>
                    <a:cubicBezTo>
                      <a:pt x="421" y="734"/>
                      <a:pt x="383" y="685"/>
                      <a:pt x="330" y="666"/>
                    </a:cubicBezTo>
                    <a:cubicBezTo>
                      <a:pt x="330" y="0"/>
                      <a:pt x="330" y="0"/>
                      <a:pt x="330" y="0"/>
                    </a:cubicBezTo>
                    <a:cubicBezTo>
                      <a:pt x="236" y="2"/>
                      <a:pt x="236" y="2"/>
                      <a:pt x="236" y="2"/>
                    </a:cubicBezTo>
                    <a:cubicBezTo>
                      <a:pt x="236" y="666"/>
                      <a:pt x="236" y="666"/>
                      <a:pt x="236" y="666"/>
                    </a:cubicBezTo>
                    <a:cubicBezTo>
                      <a:pt x="183" y="685"/>
                      <a:pt x="145" y="734"/>
                      <a:pt x="142" y="793"/>
                    </a:cubicBezTo>
                    <a:cubicBezTo>
                      <a:pt x="47" y="793"/>
                      <a:pt x="47" y="793"/>
                      <a:pt x="47" y="793"/>
                    </a:cubicBezTo>
                    <a:cubicBezTo>
                      <a:pt x="21" y="793"/>
                      <a:pt x="0" y="814"/>
                      <a:pt x="0" y="840"/>
                    </a:cubicBezTo>
                    <a:cubicBezTo>
                      <a:pt x="0" y="887"/>
                      <a:pt x="0" y="887"/>
                      <a:pt x="0" y="887"/>
                    </a:cubicBezTo>
                    <a:cubicBezTo>
                      <a:pt x="566" y="887"/>
                      <a:pt x="566" y="887"/>
                      <a:pt x="566" y="887"/>
                    </a:cubicBezTo>
                    <a:cubicBezTo>
                      <a:pt x="566" y="840"/>
                      <a:pt x="566" y="840"/>
                      <a:pt x="566" y="840"/>
                    </a:cubicBezTo>
                    <a:cubicBezTo>
                      <a:pt x="566" y="814"/>
                      <a:pt x="545" y="793"/>
                      <a:pt x="519" y="79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/>
              </a:p>
            </p:txBody>
          </p:sp>
          <p:sp>
            <p:nvSpPr>
              <p:cNvPr id="22" name="ïśļiḑé">
                <a:extLst>
                  <a:ext uri="{FF2B5EF4-FFF2-40B4-BE49-F238E27FC236}">
                    <a16:creationId xmlns:a16="http://schemas.microsoft.com/office/drawing/2014/main" xmlns="" id="{B88101C2-2A27-4219-A4C0-180BF9B54121}"/>
                  </a:ext>
                </a:extLst>
              </p:cNvPr>
              <p:cNvSpPr/>
              <p:nvPr/>
            </p:nvSpPr>
            <p:spPr bwMode="auto">
              <a:xfrm>
                <a:off x="4630934" y="1641872"/>
                <a:ext cx="2957513" cy="689372"/>
              </a:xfrm>
              <a:custGeom>
                <a:avLst/>
                <a:gdLst>
                  <a:gd name="T0" fmla="*/ 802 w 850"/>
                  <a:gd name="T1" fmla="*/ 65 h 198"/>
                  <a:gd name="T2" fmla="*/ 768 w 850"/>
                  <a:gd name="T3" fmla="*/ 80 h 198"/>
                  <a:gd name="T4" fmla="*/ 731 w 850"/>
                  <a:gd name="T5" fmla="*/ 62 h 198"/>
                  <a:gd name="T6" fmla="*/ 590 w 850"/>
                  <a:gd name="T7" fmla="*/ 18 h 198"/>
                  <a:gd name="T8" fmla="*/ 506 w 850"/>
                  <a:gd name="T9" fmla="*/ 42 h 198"/>
                  <a:gd name="T10" fmla="*/ 425 w 850"/>
                  <a:gd name="T11" fmla="*/ 0 h 198"/>
                  <a:gd name="T12" fmla="*/ 344 w 850"/>
                  <a:gd name="T13" fmla="*/ 42 h 198"/>
                  <a:gd name="T14" fmla="*/ 260 w 850"/>
                  <a:gd name="T15" fmla="*/ 18 h 198"/>
                  <a:gd name="T16" fmla="*/ 119 w 850"/>
                  <a:gd name="T17" fmla="*/ 62 h 198"/>
                  <a:gd name="T18" fmla="*/ 82 w 850"/>
                  <a:gd name="T19" fmla="*/ 80 h 198"/>
                  <a:gd name="T20" fmla="*/ 48 w 850"/>
                  <a:gd name="T21" fmla="*/ 65 h 198"/>
                  <a:gd name="T22" fmla="*/ 0 w 850"/>
                  <a:gd name="T23" fmla="*/ 113 h 198"/>
                  <a:gd name="T24" fmla="*/ 48 w 850"/>
                  <a:gd name="T25" fmla="*/ 160 h 198"/>
                  <a:gd name="T26" fmla="*/ 93 w 850"/>
                  <a:gd name="T27" fmla="*/ 127 h 198"/>
                  <a:gd name="T28" fmla="*/ 141 w 850"/>
                  <a:gd name="T29" fmla="*/ 105 h 198"/>
                  <a:gd name="T30" fmla="*/ 260 w 850"/>
                  <a:gd name="T31" fmla="*/ 66 h 198"/>
                  <a:gd name="T32" fmla="*/ 327 w 850"/>
                  <a:gd name="T33" fmla="*/ 88 h 198"/>
                  <a:gd name="T34" fmla="*/ 326 w 850"/>
                  <a:gd name="T35" fmla="*/ 99 h 198"/>
                  <a:gd name="T36" fmla="*/ 407 w 850"/>
                  <a:gd name="T37" fmla="*/ 196 h 198"/>
                  <a:gd name="T38" fmla="*/ 409 w 850"/>
                  <a:gd name="T39" fmla="*/ 197 h 198"/>
                  <a:gd name="T40" fmla="*/ 411 w 850"/>
                  <a:gd name="T41" fmla="*/ 197 h 198"/>
                  <a:gd name="T42" fmla="*/ 425 w 850"/>
                  <a:gd name="T43" fmla="*/ 198 h 198"/>
                  <a:gd name="T44" fmla="*/ 437 w 850"/>
                  <a:gd name="T45" fmla="*/ 197 h 198"/>
                  <a:gd name="T46" fmla="*/ 524 w 850"/>
                  <a:gd name="T47" fmla="*/ 99 h 198"/>
                  <a:gd name="T48" fmla="*/ 523 w 850"/>
                  <a:gd name="T49" fmla="*/ 87 h 198"/>
                  <a:gd name="T50" fmla="*/ 590 w 850"/>
                  <a:gd name="T51" fmla="*/ 66 h 198"/>
                  <a:gd name="T52" fmla="*/ 710 w 850"/>
                  <a:gd name="T53" fmla="*/ 105 h 198"/>
                  <a:gd name="T54" fmla="*/ 757 w 850"/>
                  <a:gd name="T55" fmla="*/ 127 h 198"/>
                  <a:gd name="T56" fmla="*/ 802 w 850"/>
                  <a:gd name="T57" fmla="*/ 160 h 198"/>
                  <a:gd name="T58" fmla="*/ 850 w 850"/>
                  <a:gd name="T59" fmla="*/ 113 h 198"/>
                  <a:gd name="T60" fmla="*/ 802 w 850"/>
                  <a:gd name="T61" fmla="*/ 65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50" h="198">
                    <a:moveTo>
                      <a:pt x="802" y="65"/>
                    </a:moveTo>
                    <a:cubicBezTo>
                      <a:pt x="789" y="65"/>
                      <a:pt x="777" y="71"/>
                      <a:pt x="768" y="80"/>
                    </a:cubicBezTo>
                    <a:cubicBezTo>
                      <a:pt x="756" y="75"/>
                      <a:pt x="744" y="69"/>
                      <a:pt x="731" y="62"/>
                    </a:cubicBezTo>
                    <a:cubicBezTo>
                      <a:pt x="690" y="42"/>
                      <a:pt x="644" y="18"/>
                      <a:pt x="590" y="18"/>
                    </a:cubicBezTo>
                    <a:cubicBezTo>
                      <a:pt x="554" y="18"/>
                      <a:pt x="527" y="29"/>
                      <a:pt x="506" y="42"/>
                    </a:cubicBezTo>
                    <a:cubicBezTo>
                      <a:pt x="488" y="17"/>
                      <a:pt x="459" y="0"/>
                      <a:pt x="425" y="0"/>
                    </a:cubicBezTo>
                    <a:cubicBezTo>
                      <a:pt x="392" y="0"/>
                      <a:pt x="362" y="17"/>
                      <a:pt x="344" y="42"/>
                    </a:cubicBezTo>
                    <a:cubicBezTo>
                      <a:pt x="323" y="29"/>
                      <a:pt x="296" y="18"/>
                      <a:pt x="260" y="18"/>
                    </a:cubicBezTo>
                    <a:cubicBezTo>
                      <a:pt x="206" y="18"/>
                      <a:pt x="160" y="42"/>
                      <a:pt x="119" y="62"/>
                    </a:cubicBezTo>
                    <a:cubicBezTo>
                      <a:pt x="106" y="69"/>
                      <a:pt x="94" y="75"/>
                      <a:pt x="82" y="80"/>
                    </a:cubicBezTo>
                    <a:cubicBezTo>
                      <a:pt x="74" y="71"/>
                      <a:pt x="61" y="65"/>
                      <a:pt x="48" y="65"/>
                    </a:cubicBezTo>
                    <a:cubicBezTo>
                      <a:pt x="22" y="65"/>
                      <a:pt x="0" y="86"/>
                      <a:pt x="0" y="113"/>
                    </a:cubicBezTo>
                    <a:cubicBezTo>
                      <a:pt x="0" y="139"/>
                      <a:pt x="22" y="160"/>
                      <a:pt x="48" y="160"/>
                    </a:cubicBezTo>
                    <a:cubicBezTo>
                      <a:pt x="69" y="160"/>
                      <a:pt x="86" y="146"/>
                      <a:pt x="93" y="127"/>
                    </a:cubicBezTo>
                    <a:cubicBezTo>
                      <a:pt x="108" y="121"/>
                      <a:pt x="124" y="113"/>
                      <a:pt x="141" y="105"/>
                    </a:cubicBezTo>
                    <a:cubicBezTo>
                      <a:pt x="177" y="86"/>
                      <a:pt x="217" y="66"/>
                      <a:pt x="260" y="66"/>
                    </a:cubicBezTo>
                    <a:cubicBezTo>
                      <a:pt x="290" y="66"/>
                      <a:pt x="312" y="76"/>
                      <a:pt x="327" y="88"/>
                    </a:cubicBezTo>
                    <a:cubicBezTo>
                      <a:pt x="326" y="91"/>
                      <a:pt x="326" y="95"/>
                      <a:pt x="326" y="99"/>
                    </a:cubicBezTo>
                    <a:cubicBezTo>
                      <a:pt x="326" y="148"/>
                      <a:pt x="361" y="188"/>
                      <a:pt x="407" y="196"/>
                    </a:cubicBezTo>
                    <a:cubicBezTo>
                      <a:pt x="408" y="196"/>
                      <a:pt x="408" y="197"/>
                      <a:pt x="409" y="197"/>
                    </a:cubicBezTo>
                    <a:cubicBezTo>
                      <a:pt x="410" y="197"/>
                      <a:pt x="410" y="197"/>
                      <a:pt x="411" y="197"/>
                    </a:cubicBezTo>
                    <a:cubicBezTo>
                      <a:pt x="416" y="198"/>
                      <a:pt x="420" y="198"/>
                      <a:pt x="425" y="198"/>
                    </a:cubicBezTo>
                    <a:cubicBezTo>
                      <a:pt x="429" y="198"/>
                      <a:pt x="433" y="198"/>
                      <a:pt x="437" y="197"/>
                    </a:cubicBezTo>
                    <a:cubicBezTo>
                      <a:pt x="486" y="191"/>
                      <a:pt x="524" y="150"/>
                      <a:pt x="524" y="99"/>
                    </a:cubicBezTo>
                    <a:cubicBezTo>
                      <a:pt x="524" y="95"/>
                      <a:pt x="524" y="91"/>
                      <a:pt x="523" y="87"/>
                    </a:cubicBezTo>
                    <a:cubicBezTo>
                      <a:pt x="539" y="76"/>
                      <a:pt x="560" y="66"/>
                      <a:pt x="590" y="66"/>
                    </a:cubicBezTo>
                    <a:cubicBezTo>
                      <a:pt x="633" y="66"/>
                      <a:pt x="673" y="86"/>
                      <a:pt x="710" y="105"/>
                    </a:cubicBezTo>
                    <a:cubicBezTo>
                      <a:pt x="726" y="113"/>
                      <a:pt x="742" y="121"/>
                      <a:pt x="757" y="127"/>
                    </a:cubicBezTo>
                    <a:cubicBezTo>
                      <a:pt x="763" y="146"/>
                      <a:pt x="781" y="160"/>
                      <a:pt x="802" y="160"/>
                    </a:cubicBezTo>
                    <a:cubicBezTo>
                      <a:pt x="829" y="160"/>
                      <a:pt x="850" y="139"/>
                      <a:pt x="850" y="113"/>
                    </a:cubicBezTo>
                    <a:cubicBezTo>
                      <a:pt x="850" y="86"/>
                      <a:pt x="829" y="65"/>
                      <a:pt x="802" y="65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/>
              </a:p>
            </p:txBody>
          </p:sp>
        </p:grpSp>
        <p:sp>
          <p:nvSpPr>
            <p:cNvPr id="7" name="iṩḻîḍe">
              <a:extLst>
                <a:ext uri="{FF2B5EF4-FFF2-40B4-BE49-F238E27FC236}">
                  <a16:creationId xmlns:a16="http://schemas.microsoft.com/office/drawing/2014/main" xmlns="" id="{20D91F36-11C4-4E0D-B6D7-44410E55FF62}"/>
                </a:ext>
              </a:extLst>
            </p:cNvPr>
            <p:cNvSpPr txBox="1"/>
            <p:nvPr/>
          </p:nvSpPr>
          <p:spPr>
            <a:xfrm>
              <a:off x="660400" y="1130300"/>
              <a:ext cx="10858500" cy="5819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ctr">
                <a:buSzPct val="25000"/>
              </a:pPr>
              <a:r>
                <a:rPr lang="en-US" sz="2800" dirty="0">
                  <a:solidFill>
                    <a:srgbClr val="3A3838"/>
                  </a:solidFill>
                </a:rPr>
                <a:t>Unified fonts make reading more fluent.</a:t>
              </a:r>
            </a:p>
          </p:txBody>
        </p:sp>
        <p:sp>
          <p:nvSpPr>
            <p:cNvPr id="8" name="ï$lïḓé">
              <a:extLst>
                <a:ext uri="{FF2B5EF4-FFF2-40B4-BE49-F238E27FC236}">
                  <a16:creationId xmlns:a16="http://schemas.microsoft.com/office/drawing/2014/main" xmlns="" id="{F0D4D57A-E7A2-4329-9BF4-B99EBCCD9CA8}"/>
                </a:ext>
              </a:extLst>
            </p:cNvPr>
            <p:cNvSpPr txBox="1"/>
            <p:nvPr/>
          </p:nvSpPr>
          <p:spPr>
            <a:xfrm>
              <a:off x="660402" y="1712227"/>
              <a:ext cx="10858495" cy="7769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  <a:buSzPct val="25000"/>
              </a:pPr>
              <a:r>
                <a:rPr lang="en-US" sz="1100" dirty="0"/>
                <a:t>Theme color makes PPT more convenient to change.</a:t>
              </a:r>
            </a:p>
            <a:p>
              <a:pPr algn="ctr">
                <a:lnSpc>
                  <a:spcPct val="150000"/>
                </a:lnSpc>
                <a:buSzPct val="25000"/>
              </a:pPr>
              <a:r>
                <a:rPr lang="en-US" sz="1100" dirty="0"/>
                <a:t>Adjust the spacing to adapt to Chinese typesetting, use the reference line in PPT.</a:t>
              </a:r>
            </a:p>
          </p:txBody>
        </p:sp>
        <p:grpSp>
          <p:nvGrpSpPr>
            <p:cNvPr id="9" name="ïṡḻíḍe">
              <a:extLst>
                <a:ext uri="{FF2B5EF4-FFF2-40B4-BE49-F238E27FC236}">
                  <a16:creationId xmlns:a16="http://schemas.microsoft.com/office/drawing/2014/main" xmlns="" id="{DA00ED09-C86F-4945-90F6-C830552C48C3}"/>
                </a:ext>
              </a:extLst>
            </p:cNvPr>
            <p:cNvGrpSpPr/>
            <p:nvPr/>
          </p:nvGrpSpPr>
          <p:grpSpPr>
            <a:xfrm>
              <a:off x="660399" y="3671413"/>
              <a:ext cx="3276575" cy="1111889"/>
              <a:chOff x="673100" y="1237334"/>
              <a:chExt cx="3228944" cy="1111889"/>
            </a:xfrm>
          </p:grpSpPr>
          <p:sp>
            <p:nvSpPr>
              <p:cNvPr id="13" name="ïṣliḑê">
                <a:extLst>
                  <a:ext uri="{FF2B5EF4-FFF2-40B4-BE49-F238E27FC236}">
                    <a16:creationId xmlns:a16="http://schemas.microsoft.com/office/drawing/2014/main" xmlns="" id="{3318F282-4050-49AF-8075-052325758E5E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4" name="iṡḷîḋé">
                <a:extLst>
                  <a:ext uri="{FF2B5EF4-FFF2-40B4-BE49-F238E27FC236}">
                    <a16:creationId xmlns:a16="http://schemas.microsoft.com/office/drawing/2014/main" xmlns="" id="{41894DC0-7BF5-423F-9682-9A1E2426141F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10" name="îṧļîďe">
              <a:extLst>
                <a:ext uri="{FF2B5EF4-FFF2-40B4-BE49-F238E27FC236}">
                  <a16:creationId xmlns:a16="http://schemas.microsoft.com/office/drawing/2014/main" xmlns="" id="{D8FA191A-D2D3-43D1-BC56-33930CC8984F}"/>
                </a:ext>
              </a:extLst>
            </p:cNvPr>
            <p:cNvGrpSpPr/>
            <p:nvPr/>
          </p:nvGrpSpPr>
          <p:grpSpPr>
            <a:xfrm>
              <a:off x="8242322" y="3671413"/>
              <a:ext cx="3276575" cy="1111889"/>
              <a:chOff x="673100" y="1237334"/>
              <a:chExt cx="3228944" cy="1111889"/>
            </a:xfrm>
          </p:grpSpPr>
          <p:sp>
            <p:nvSpPr>
              <p:cNvPr id="11" name="íṩḷíḍé">
                <a:extLst>
                  <a:ext uri="{FF2B5EF4-FFF2-40B4-BE49-F238E27FC236}">
                    <a16:creationId xmlns:a16="http://schemas.microsoft.com/office/drawing/2014/main" xmlns="" id="{A7D51C07-7480-4472-996A-9806EA450BCE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2" name="ïṥľíďè">
                <a:extLst>
                  <a:ext uri="{FF2B5EF4-FFF2-40B4-BE49-F238E27FC236}">
                    <a16:creationId xmlns:a16="http://schemas.microsoft.com/office/drawing/2014/main" xmlns="" id="{191C20C1-AB56-452F-8DB8-146F5E13AB5A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4068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6389E4F8-21C9-42D9-84E1-1B813A1C4B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93D3B360-FCF1-4233-9E29-EFAD8F38BA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3A8D3763-2B34-4062-A5CC-67B93962C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grpSp>
        <p:nvGrpSpPr>
          <p:cNvPr id="5" name="23476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4FA3E997-5168-4C6F-8EDC-81BEB03E48EE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0719" y="1123950"/>
            <a:ext cx="10850563" cy="4976132"/>
            <a:chOff x="670719" y="1123950"/>
            <a:chExt cx="10850563" cy="4976132"/>
          </a:xfrm>
        </p:grpSpPr>
        <p:sp>
          <p:nvSpPr>
            <p:cNvPr id="6" name="ïṧ1ïďè">
              <a:extLst>
                <a:ext uri="{FF2B5EF4-FFF2-40B4-BE49-F238E27FC236}">
                  <a16:creationId xmlns:a16="http://schemas.microsoft.com/office/drawing/2014/main" xmlns="" id="{92EF8B0F-2BA7-4C18-8F3A-A61308563686}"/>
                </a:ext>
              </a:extLst>
            </p:cNvPr>
            <p:cNvSpPr/>
            <p:nvPr/>
          </p:nvSpPr>
          <p:spPr>
            <a:xfrm>
              <a:off x="670719" y="2259742"/>
              <a:ext cx="10850563" cy="15170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grpSp>
          <p:nvGrpSpPr>
            <p:cNvPr id="7" name="ïṣḻídè">
              <a:extLst>
                <a:ext uri="{FF2B5EF4-FFF2-40B4-BE49-F238E27FC236}">
                  <a16:creationId xmlns:a16="http://schemas.microsoft.com/office/drawing/2014/main" xmlns="" id="{7BF564A6-D88D-498B-B293-38D9B40C4DCF}"/>
                </a:ext>
              </a:extLst>
            </p:cNvPr>
            <p:cNvGrpSpPr/>
            <p:nvPr/>
          </p:nvGrpSpPr>
          <p:grpSpPr>
            <a:xfrm>
              <a:off x="1104344" y="2427061"/>
              <a:ext cx="2623276" cy="1182450"/>
              <a:chOff x="3484154" y="2143530"/>
              <a:chExt cx="3003732" cy="1182450"/>
            </a:xfrm>
          </p:grpSpPr>
          <p:sp>
            <p:nvSpPr>
              <p:cNvPr id="21" name="ïṣḻîḓè">
                <a:extLst>
                  <a:ext uri="{FF2B5EF4-FFF2-40B4-BE49-F238E27FC236}">
                    <a16:creationId xmlns:a16="http://schemas.microsoft.com/office/drawing/2014/main" xmlns="" id="{5FB57F6C-C762-48EB-B131-E9D73F0340AA}"/>
                  </a:ext>
                </a:extLst>
              </p:cNvPr>
              <p:cNvSpPr txBox="1"/>
              <p:nvPr/>
            </p:nvSpPr>
            <p:spPr>
              <a:xfrm>
                <a:off x="3484154" y="2556539"/>
                <a:ext cx="3003732" cy="76944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>
                <a:normAutofit fontScale="92500" lnSpcReduction="10000"/>
              </a:bodyPr>
              <a:lstStyle/>
              <a:p>
                <a:pPr algn="ctr"/>
                <a:r>
                  <a:rPr lang="en-US" sz="5000" b="1" cap="all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$42.2m</a:t>
                </a:r>
              </a:p>
            </p:txBody>
          </p:sp>
          <p:sp>
            <p:nvSpPr>
              <p:cNvPr id="22" name="íṡļiḋê">
                <a:extLst>
                  <a:ext uri="{FF2B5EF4-FFF2-40B4-BE49-F238E27FC236}">
                    <a16:creationId xmlns:a16="http://schemas.microsoft.com/office/drawing/2014/main" xmlns="" id="{320F3BBD-8869-4BFC-BC94-F62F6C79798F}"/>
                  </a:ext>
                </a:extLst>
              </p:cNvPr>
              <p:cNvSpPr txBox="1"/>
              <p:nvPr/>
            </p:nvSpPr>
            <p:spPr>
              <a:xfrm>
                <a:off x="3488193" y="2143530"/>
                <a:ext cx="2995656" cy="27699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>
                <a:normAutofit fontScale="85000" lnSpcReduction="20000"/>
              </a:bodyPr>
              <a:lstStyle/>
              <a:p>
                <a:pPr algn="ctr"/>
                <a:r>
                  <a:rPr lang="en-US" i="1" dirty="0"/>
                  <a:t>In 2016</a:t>
                </a:r>
              </a:p>
            </p:txBody>
          </p:sp>
        </p:grpSp>
        <p:grpSp>
          <p:nvGrpSpPr>
            <p:cNvPr id="8" name="íṡ1íḍê">
              <a:extLst>
                <a:ext uri="{FF2B5EF4-FFF2-40B4-BE49-F238E27FC236}">
                  <a16:creationId xmlns:a16="http://schemas.microsoft.com/office/drawing/2014/main" xmlns="" id="{BCD7530F-154A-48AF-8425-816FE1DE77BE}"/>
                </a:ext>
              </a:extLst>
            </p:cNvPr>
            <p:cNvGrpSpPr/>
            <p:nvPr/>
          </p:nvGrpSpPr>
          <p:grpSpPr>
            <a:xfrm>
              <a:off x="4785156" y="2427061"/>
              <a:ext cx="2623276" cy="1182450"/>
              <a:chOff x="3484154" y="2143530"/>
              <a:chExt cx="3003732" cy="1182450"/>
            </a:xfrm>
          </p:grpSpPr>
          <p:sp>
            <p:nvSpPr>
              <p:cNvPr id="19" name="ïṡļîḍè">
                <a:extLst>
                  <a:ext uri="{FF2B5EF4-FFF2-40B4-BE49-F238E27FC236}">
                    <a16:creationId xmlns:a16="http://schemas.microsoft.com/office/drawing/2014/main" xmlns="" id="{FA0B9CB7-8A50-4B17-9F2C-60B8ECC7D67F}"/>
                  </a:ext>
                </a:extLst>
              </p:cNvPr>
              <p:cNvSpPr txBox="1"/>
              <p:nvPr/>
            </p:nvSpPr>
            <p:spPr>
              <a:xfrm>
                <a:off x="3484154" y="2556539"/>
                <a:ext cx="3003732" cy="76944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>
                <a:normAutofit fontScale="92500" lnSpcReduction="10000"/>
              </a:bodyPr>
              <a:lstStyle/>
              <a:p>
                <a:pPr algn="ctr"/>
                <a:r>
                  <a:rPr lang="en-US" sz="5000" b="1" cap="all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$56.8m</a:t>
                </a:r>
              </a:p>
            </p:txBody>
          </p:sp>
          <p:sp>
            <p:nvSpPr>
              <p:cNvPr id="20" name="îśļîḑê">
                <a:extLst>
                  <a:ext uri="{FF2B5EF4-FFF2-40B4-BE49-F238E27FC236}">
                    <a16:creationId xmlns:a16="http://schemas.microsoft.com/office/drawing/2014/main" xmlns="" id="{BF89B107-57C6-4696-863A-48A7A62CDA73}"/>
                  </a:ext>
                </a:extLst>
              </p:cNvPr>
              <p:cNvSpPr txBox="1"/>
              <p:nvPr/>
            </p:nvSpPr>
            <p:spPr>
              <a:xfrm>
                <a:off x="3488193" y="2143530"/>
                <a:ext cx="2995656" cy="27699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>
                <a:normAutofit fontScale="85000" lnSpcReduction="20000"/>
              </a:bodyPr>
              <a:lstStyle/>
              <a:p>
                <a:pPr algn="ctr"/>
                <a:r>
                  <a:rPr lang="en-US" i="1" dirty="0"/>
                  <a:t>In 2017</a:t>
                </a:r>
              </a:p>
            </p:txBody>
          </p:sp>
        </p:grpSp>
        <p:grpSp>
          <p:nvGrpSpPr>
            <p:cNvPr id="9" name="îŝlïďè">
              <a:extLst>
                <a:ext uri="{FF2B5EF4-FFF2-40B4-BE49-F238E27FC236}">
                  <a16:creationId xmlns:a16="http://schemas.microsoft.com/office/drawing/2014/main" xmlns="" id="{2E424367-D2F9-414D-9DDE-C8D8A7FA2080}"/>
                </a:ext>
              </a:extLst>
            </p:cNvPr>
            <p:cNvGrpSpPr/>
            <p:nvPr/>
          </p:nvGrpSpPr>
          <p:grpSpPr>
            <a:xfrm>
              <a:off x="8465968" y="2427061"/>
              <a:ext cx="2623276" cy="1182450"/>
              <a:chOff x="3484154" y="2143530"/>
              <a:chExt cx="3003732" cy="1182450"/>
            </a:xfrm>
          </p:grpSpPr>
          <p:sp>
            <p:nvSpPr>
              <p:cNvPr id="17" name="íṩḻîḑé">
                <a:extLst>
                  <a:ext uri="{FF2B5EF4-FFF2-40B4-BE49-F238E27FC236}">
                    <a16:creationId xmlns:a16="http://schemas.microsoft.com/office/drawing/2014/main" xmlns="" id="{AF983F80-1B28-45A6-A99C-803C2C242C69}"/>
                  </a:ext>
                </a:extLst>
              </p:cNvPr>
              <p:cNvSpPr txBox="1"/>
              <p:nvPr/>
            </p:nvSpPr>
            <p:spPr>
              <a:xfrm>
                <a:off x="3484154" y="2556539"/>
                <a:ext cx="3003732" cy="76944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>
                <a:normAutofit fontScale="92500" lnSpcReduction="10000"/>
              </a:bodyPr>
              <a:lstStyle/>
              <a:p>
                <a:pPr algn="ctr"/>
                <a:r>
                  <a:rPr lang="en-US" sz="5000" b="1" cap="all" dirty="0">
                    <a:solidFill>
                      <a:schemeClr val="accent1"/>
                    </a:solidFill>
                  </a:rPr>
                  <a:t>$66.6m</a:t>
                </a:r>
              </a:p>
            </p:txBody>
          </p:sp>
          <p:sp>
            <p:nvSpPr>
              <p:cNvPr id="18" name="iṡḻidè">
                <a:extLst>
                  <a:ext uri="{FF2B5EF4-FFF2-40B4-BE49-F238E27FC236}">
                    <a16:creationId xmlns:a16="http://schemas.microsoft.com/office/drawing/2014/main" xmlns="" id="{7CA4EC1F-DC61-4BAD-B3DC-C9F68F5A0470}"/>
                  </a:ext>
                </a:extLst>
              </p:cNvPr>
              <p:cNvSpPr txBox="1"/>
              <p:nvPr/>
            </p:nvSpPr>
            <p:spPr>
              <a:xfrm>
                <a:off x="3488193" y="2143530"/>
                <a:ext cx="2995656" cy="27699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>
                <a:normAutofit fontScale="85000" lnSpcReduction="20000"/>
              </a:bodyPr>
              <a:lstStyle/>
              <a:p>
                <a:pPr algn="ctr"/>
                <a:r>
                  <a:rPr lang="en-US" i="1" dirty="0"/>
                  <a:t>In 2018</a:t>
                </a:r>
              </a:p>
            </p:txBody>
          </p:sp>
        </p:grpSp>
        <p:sp>
          <p:nvSpPr>
            <p:cNvPr id="10" name="ïṡḻíde">
              <a:extLst>
                <a:ext uri="{FF2B5EF4-FFF2-40B4-BE49-F238E27FC236}">
                  <a16:creationId xmlns:a16="http://schemas.microsoft.com/office/drawing/2014/main" xmlns="" id="{9751BB5A-BA24-440E-B6AE-632B823EAB9A}"/>
                </a:ext>
              </a:extLst>
            </p:cNvPr>
            <p:cNvSpPr txBox="1"/>
            <p:nvPr/>
          </p:nvSpPr>
          <p:spPr>
            <a:xfrm>
              <a:off x="673099" y="1123950"/>
              <a:ext cx="10845800" cy="81537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Unified fonts make reading more fluent.</a:t>
              </a:r>
            </a:p>
          </p:txBody>
        </p:sp>
        <p:sp>
          <p:nvSpPr>
            <p:cNvPr id="11" name="îṧḷïḑè">
              <a:extLst>
                <a:ext uri="{FF2B5EF4-FFF2-40B4-BE49-F238E27FC236}">
                  <a16:creationId xmlns:a16="http://schemas.microsoft.com/office/drawing/2014/main" xmlns="" id="{DAC8D05F-3FAF-4500-AAD8-B816C3029318}"/>
                </a:ext>
              </a:extLst>
            </p:cNvPr>
            <p:cNvSpPr/>
            <p:nvPr/>
          </p:nvSpPr>
          <p:spPr bwMode="auto">
            <a:xfrm>
              <a:off x="1208386" y="4015168"/>
              <a:ext cx="2415193" cy="904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2" name="îśľïḋé">
              <a:extLst>
                <a:ext uri="{FF2B5EF4-FFF2-40B4-BE49-F238E27FC236}">
                  <a16:creationId xmlns:a16="http://schemas.microsoft.com/office/drawing/2014/main" xmlns="" id="{FBFC0224-FCC3-418E-AC01-DC270A5E1B6C}"/>
                </a:ext>
              </a:extLst>
            </p:cNvPr>
            <p:cNvSpPr/>
            <p:nvPr/>
          </p:nvSpPr>
          <p:spPr bwMode="auto">
            <a:xfrm>
              <a:off x="1208386" y="5195692"/>
              <a:ext cx="2415193" cy="904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3" name="î$ḻide">
              <a:extLst>
                <a:ext uri="{FF2B5EF4-FFF2-40B4-BE49-F238E27FC236}">
                  <a16:creationId xmlns:a16="http://schemas.microsoft.com/office/drawing/2014/main" xmlns="" id="{C94843A2-BBFB-4AEE-B836-B77D2B2950C0}"/>
                </a:ext>
              </a:extLst>
            </p:cNvPr>
            <p:cNvSpPr/>
            <p:nvPr/>
          </p:nvSpPr>
          <p:spPr bwMode="auto">
            <a:xfrm>
              <a:off x="4889198" y="4015168"/>
              <a:ext cx="2415193" cy="904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4" name="íṧḷïdê">
              <a:extLst>
                <a:ext uri="{FF2B5EF4-FFF2-40B4-BE49-F238E27FC236}">
                  <a16:creationId xmlns:a16="http://schemas.microsoft.com/office/drawing/2014/main" xmlns="" id="{F33613FB-FEE2-4029-92EA-E3470CCDAE9F}"/>
                </a:ext>
              </a:extLst>
            </p:cNvPr>
            <p:cNvSpPr/>
            <p:nvPr/>
          </p:nvSpPr>
          <p:spPr bwMode="auto">
            <a:xfrm>
              <a:off x="4889198" y="5195692"/>
              <a:ext cx="2415193" cy="904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5" name="iṧliḑê">
              <a:extLst>
                <a:ext uri="{FF2B5EF4-FFF2-40B4-BE49-F238E27FC236}">
                  <a16:creationId xmlns:a16="http://schemas.microsoft.com/office/drawing/2014/main" xmlns="" id="{7C001052-3C73-495E-A751-BFED8D193216}"/>
                </a:ext>
              </a:extLst>
            </p:cNvPr>
            <p:cNvSpPr/>
            <p:nvPr/>
          </p:nvSpPr>
          <p:spPr bwMode="auto">
            <a:xfrm>
              <a:off x="8570010" y="4015168"/>
              <a:ext cx="2415193" cy="904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6" name="íslîdê">
              <a:extLst>
                <a:ext uri="{FF2B5EF4-FFF2-40B4-BE49-F238E27FC236}">
                  <a16:creationId xmlns:a16="http://schemas.microsoft.com/office/drawing/2014/main" xmlns="" id="{27CA7D18-2CE7-4F95-A422-48ACEF72833C}"/>
                </a:ext>
              </a:extLst>
            </p:cNvPr>
            <p:cNvSpPr/>
            <p:nvPr/>
          </p:nvSpPr>
          <p:spPr bwMode="auto">
            <a:xfrm>
              <a:off x="8570010" y="5195692"/>
              <a:ext cx="2415193" cy="904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23667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E79EEBE1-19D9-4CD8-8440-76A858444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53A28877-B04F-449B-A768-2C3374DE0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18BA6142-994F-46CE-BE45-32337AE963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grpSp>
        <p:nvGrpSpPr>
          <p:cNvPr id="5" name="362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560E8E38-8C6C-462A-AEB4-BB131C0ABABE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28291" y="1216150"/>
            <a:ext cx="10744572" cy="4468507"/>
            <a:chOff x="728291" y="1216150"/>
            <a:chExt cx="10744572" cy="4468507"/>
          </a:xfrm>
        </p:grpSpPr>
        <p:sp>
          <p:nvSpPr>
            <p:cNvPr id="6" name="îśļïdé">
              <a:extLst>
                <a:ext uri="{FF2B5EF4-FFF2-40B4-BE49-F238E27FC236}">
                  <a16:creationId xmlns:a16="http://schemas.microsoft.com/office/drawing/2014/main" xmlns="" id="{E2543986-DBC1-4FAD-B0C6-7EFC4319EC1F}"/>
                </a:ext>
              </a:extLst>
            </p:cNvPr>
            <p:cNvSpPr/>
            <p:nvPr/>
          </p:nvSpPr>
          <p:spPr bwMode="auto">
            <a:xfrm>
              <a:off x="4092055" y="1216150"/>
              <a:ext cx="3997173" cy="40204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7" name="iṣ1îďê">
              <a:extLst>
                <a:ext uri="{FF2B5EF4-FFF2-40B4-BE49-F238E27FC236}">
                  <a16:creationId xmlns:a16="http://schemas.microsoft.com/office/drawing/2014/main" xmlns="" id="{77CBF5D3-A366-432A-B5D3-D650C29604E7}"/>
                </a:ext>
              </a:extLst>
            </p:cNvPr>
            <p:cNvSpPr/>
            <p:nvPr/>
          </p:nvSpPr>
          <p:spPr bwMode="auto">
            <a:xfrm>
              <a:off x="6125617" y="2908287"/>
              <a:ext cx="907691" cy="1172504"/>
            </a:xfrm>
            <a:custGeom>
              <a:avLst/>
              <a:gdLst/>
              <a:ahLst/>
              <a:cxnLst>
                <a:cxn ang="0">
                  <a:pos x="222" y="0"/>
                </a:cxn>
                <a:cxn ang="0">
                  <a:pos x="0" y="223"/>
                </a:cxn>
                <a:cxn ang="0">
                  <a:pos x="222" y="446"/>
                </a:cxn>
                <a:cxn ang="0">
                  <a:pos x="222" y="0"/>
                </a:cxn>
              </a:cxnLst>
              <a:rect l="0" t="0" r="r" b="b"/>
              <a:pathLst>
                <a:path w="345" h="446">
                  <a:moveTo>
                    <a:pt x="222" y="0"/>
                  </a:moveTo>
                  <a:cubicBezTo>
                    <a:pt x="0" y="223"/>
                    <a:pt x="0" y="223"/>
                    <a:pt x="0" y="223"/>
                  </a:cubicBezTo>
                  <a:cubicBezTo>
                    <a:pt x="222" y="446"/>
                    <a:pt x="222" y="446"/>
                    <a:pt x="222" y="446"/>
                  </a:cubicBezTo>
                  <a:cubicBezTo>
                    <a:pt x="345" y="323"/>
                    <a:pt x="345" y="123"/>
                    <a:pt x="222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dirty="0"/>
                <a:t>02</a:t>
              </a:r>
              <a:endParaRPr dirty="0"/>
            </a:p>
          </p:txBody>
        </p:sp>
        <p:sp>
          <p:nvSpPr>
            <p:cNvPr id="8" name="í$ḻïḍe">
              <a:extLst>
                <a:ext uri="{FF2B5EF4-FFF2-40B4-BE49-F238E27FC236}">
                  <a16:creationId xmlns:a16="http://schemas.microsoft.com/office/drawing/2014/main" xmlns="" id="{AC7FD8A8-78A0-4521-AA17-BDF08884F70F}"/>
                </a:ext>
              </a:extLst>
            </p:cNvPr>
            <p:cNvSpPr/>
            <p:nvPr/>
          </p:nvSpPr>
          <p:spPr bwMode="auto">
            <a:xfrm>
              <a:off x="5501058" y="3546169"/>
              <a:ext cx="1169173" cy="909357"/>
            </a:xfrm>
            <a:custGeom>
              <a:avLst/>
              <a:gdLst/>
              <a:ahLst/>
              <a:cxnLst>
                <a:cxn ang="0">
                  <a:pos x="445" y="223"/>
                </a:cxn>
                <a:cxn ang="0">
                  <a:pos x="222" y="0"/>
                </a:cxn>
                <a:cxn ang="0">
                  <a:pos x="0" y="223"/>
                </a:cxn>
                <a:cxn ang="0">
                  <a:pos x="445" y="223"/>
                </a:cxn>
              </a:cxnLst>
              <a:rect l="0" t="0" r="r" b="b"/>
              <a:pathLst>
                <a:path w="445" h="346">
                  <a:moveTo>
                    <a:pt x="445" y="223"/>
                  </a:moveTo>
                  <a:cubicBezTo>
                    <a:pt x="222" y="0"/>
                    <a:pt x="222" y="0"/>
                    <a:pt x="222" y="0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123" y="346"/>
                    <a:pt x="322" y="346"/>
                    <a:pt x="445" y="22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dirty="0"/>
                <a:t>03</a:t>
              </a:r>
              <a:endParaRPr dirty="0"/>
            </a:p>
          </p:txBody>
        </p:sp>
        <p:sp>
          <p:nvSpPr>
            <p:cNvPr id="9" name="íṣḻiďe">
              <a:extLst>
                <a:ext uri="{FF2B5EF4-FFF2-40B4-BE49-F238E27FC236}">
                  <a16:creationId xmlns:a16="http://schemas.microsoft.com/office/drawing/2014/main" xmlns="" id="{D2DB48A5-6E7D-4E32-BB46-7126C8A92910}"/>
                </a:ext>
              </a:extLst>
            </p:cNvPr>
            <p:cNvSpPr/>
            <p:nvPr/>
          </p:nvSpPr>
          <p:spPr bwMode="auto">
            <a:xfrm>
              <a:off x="5141313" y="2908287"/>
              <a:ext cx="909357" cy="1172504"/>
            </a:xfrm>
            <a:custGeom>
              <a:avLst/>
              <a:gdLst/>
              <a:ahLst/>
              <a:cxnLst>
                <a:cxn ang="0">
                  <a:pos x="123" y="446"/>
                </a:cxn>
                <a:cxn ang="0">
                  <a:pos x="346" y="223"/>
                </a:cxn>
                <a:cxn ang="0">
                  <a:pos x="123" y="0"/>
                </a:cxn>
                <a:cxn ang="0">
                  <a:pos x="123" y="446"/>
                </a:cxn>
              </a:cxnLst>
              <a:rect l="0" t="0" r="r" b="b"/>
              <a:pathLst>
                <a:path w="346" h="446">
                  <a:moveTo>
                    <a:pt x="123" y="446"/>
                  </a:moveTo>
                  <a:cubicBezTo>
                    <a:pt x="346" y="223"/>
                    <a:pt x="346" y="223"/>
                    <a:pt x="346" y="223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0" y="123"/>
                    <a:pt x="0" y="323"/>
                    <a:pt x="123" y="446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dirty="0"/>
                <a:t>04</a:t>
              </a:r>
              <a:endParaRPr dirty="0"/>
            </a:p>
          </p:txBody>
        </p:sp>
        <p:sp>
          <p:nvSpPr>
            <p:cNvPr id="10" name="íṩḷïďé">
              <a:extLst>
                <a:ext uri="{FF2B5EF4-FFF2-40B4-BE49-F238E27FC236}">
                  <a16:creationId xmlns:a16="http://schemas.microsoft.com/office/drawing/2014/main" xmlns="" id="{7E55EB43-24FB-4BD4-910B-45F3E55D81A3}"/>
                </a:ext>
              </a:extLst>
            </p:cNvPr>
            <p:cNvSpPr/>
            <p:nvPr/>
          </p:nvSpPr>
          <p:spPr bwMode="auto">
            <a:xfrm>
              <a:off x="5501058" y="2531886"/>
              <a:ext cx="1169173" cy="909357"/>
            </a:xfrm>
            <a:custGeom>
              <a:avLst/>
              <a:gdLst/>
              <a:ahLst/>
              <a:cxnLst>
                <a:cxn ang="0">
                  <a:pos x="0" y="123"/>
                </a:cxn>
                <a:cxn ang="0">
                  <a:pos x="222" y="346"/>
                </a:cxn>
                <a:cxn ang="0">
                  <a:pos x="445" y="123"/>
                </a:cxn>
                <a:cxn ang="0">
                  <a:pos x="0" y="123"/>
                </a:cxn>
              </a:cxnLst>
              <a:rect l="0" t="0" r="r" b="b"/>
              <a:pathLst>
                <a:path w="445" h="346">
                  <a:moveTo>
                    <a:pt x="0" y="123"/>
                  </a:moveTo>
                  <a:cubicBezTo>
                    <a:pt x="222" y="346"/>
                    <a:pt x="222" y="346"/>
                    <a:pt x="222" y="346"/>
                  </a:cubicBezTo>
                  <a:cubicBezTo>
                    <a:pt x="445" y="123"/>
                    <a:pt x="445" y="123"/>
                    <a:pt x="445" y="123"/>
                  </a:cubicBezTo>
                  <a:cubicBezTo>
                    <a:pt x="322" y="0"/>
                    <a:pt x="123" y="0"/>
                    <a:pt x="0" y="12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dirty="0"/>
                <a:t>01</a:t>
              </a:r>
              <a:endParaRPr dirty="0"/>
            </a:p>
          </p:txBody>
        </p:sp>
        <p:sp>
          <p:nvSpPr>
            <p:cNvPr id="11" name="iśľíḋé">
              <a:extLst>
                <a:ext uri="{FF2B5EF4-FFF2-40B4-BE49-F238E27FC236}">
                  <a16:creationId xmlns:a16="http://schemas.microsoft.com/office/drawing/2014/main" xmlns="" id="{F7F870A6-E420-4D27-8154-77DB4AEE6608}"/>
                </a:ext>
              </a:extLst>
            </p:cNvPr>
            <p:cNvSpPr/>
            <p:nvPr/>
          </p:nvSpPr>
          <p:spPr bwMode="auto">
            <a:xfrm>
              <a:off x="7562934" y="3068174"/>
              <a:ext cx="299788" cy="299788"/>
            </a:xfrm>
            <a:custGeom>
              <a:avLst/>
              <a:gdLst/>
              <a:ahLst/>
              <a:cxnLst>
                <a:cxn ang="0">
                  <a:pos x="107" y="67"/>
                </a:cxn>
                <a:cxn ang="0">
                  <a:pos x="114" y="59"/>
                </a:cxn>
                <a:cxn ang="0">
                  <a:pos x="114" y="54"/>
                </a:cxn>
                <a:cxn ang="0">
                  <a:pos x="107" y="47"/>
                </a:cxn>
                <a:cxn ang="0">
                  <a:pos x="106" y="47"/>
                </a:cxn>
                <a:cxn ang="0">
                  <a:pos x="97" y="42"/>
                </a:cxn>
                <a:cxn ang="0">
                  <a:pos x="99" y="29"/>
                </a:cxn>
                <a:cxn ang="0">
                  <a:pos x="99" y="29"/>
                </a:cxn>
                <a:cxn ang="0">
                  <a:pos x="99" y="18"/>
                </a:cxn>
                <a:cxn ang="0">
                  <a:pos x="96" y="15"/>
                </a:cxn>
                <a:cxn ang="0">
                  <a:pos x="85" y="15"/>
                </a:cxn>
                <a:cxn ang="0">
                  <a:pos x="85" y="15"/>
                </a:cxn>
                <a:cxn ang="0">
                  <a:pos x="75" y="18"/>
                </a:cxn>
                <a:cxn ang="0">
                  <a:pos x="67" y="8"/>
                </a:cxn>
                <a:cxn ang="0">
                  <a:pos x="67" y="7"/>
                </a:cxn>
                <a:cxn ang="0">
                  <a:pos x="60" y="0"/>
                </a:cxn>
                <a:cxn ang="0">
                  <a:pos x="55" y="0"/>
                </a:cxn>
                <a:cxn ang="0">
                  <a:pos x="47" y="7"/>
                </a:cxn>
                <a:cxn ang="0">
                  <a:pos x="47" y="8"/>
                </a:cxn>
                <a:cxn ang="0">
                  <a:pos x="43" y="17"/>
                </a:cxn>
                <a:cxn ang="0">
                  <a:pos x="29" y="15"/>
                </a:cxn>
                <a:cxn ang="0">
                  <a:pos x="29" y="15"/>
                </a:cxn>
                <a:cxn ang="0">
                  <a:pos x="18" y="15"/>
                </a:cxn>
                <a:cxn ang="0">
                  <a:pos x="15" y="18"/>
                </a:cxn>
                <a:cxn ang="0">
                  <a:pos x="15" y="29"/>
                </a:cxn>
                <a:cxn ang="0">
                  <a:pos x="15" y="29"/>
                </a:cxn>
                <a:cxn ang="0">
                  <a:pos x="19" y="38"/>
                </a:cxn>
                <a:cxn ang="0">
                  <a:pos x="8" y="47"/>
                </a:cxn>
                <a:cxn ang="0">
                  <a:pos x="8" y="47"/>
                </a:cxn>
                <a:cxn ang="0">
                  <a:pos x="0" y="54"/>
                </a:cxn>
                <a:cxn ang="0">
                  <a:pos x="0" y="59"/>
                </a:cxn>
                <a:cxn ang="0">
                  <a:pos x="8" y="67"/>
                </a:cxn>
                <a:cxn ang="0">
                  <a:pos x="8" y="67"/>
                </a:cxn>
                <a:cxn ang="0">
                  <a:pos x="17" y="71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15" y="95"/>
                </a:cxn>
                <a:cxn ang="0">
                  <a:pos x="18" y="99"/>
                </a:cxn>
                <a:cxn ang="0">
                  <a:pos x="29" y="99"/>
                </a:cxn>
                <a:cxn ang="0">
                  <a:pos x="29" y="99"/>
                </a:cxn>
                <a:cxn ang="0">
                  <a:pos x="39" y="95"/>
                </a:cxn>
                <a:cxn ang="0">
                  <a:pos x="47" y="106"/>
                </a:cxn>
                <a:cxn ang="0">
                  <a:pos x="47" y="106"/>
                </a:cxn>
                <a:cxn ang="0">
                  <a:pos x="55" y="114"/>
                </a:cxn>
                <a:cxn ang="0">
                  <a:pos x="60" y="114"/>
                </a:cxn>
                <a:cxn ang="0">
                  <a:pos x="67" y="106"/>
                </a:cxn>
                <a:cxn ang="0">
                  <a:pos x="67" y="106"/>
                </a:cxn>
                <a:cxn ang="0">
                  <a:pos x="71" y="97"/>
                </a:cxn>
                <a:cxn ang="0">
                  <a:pos x="85" y="99"/>
                </a:cxn>
                <a:cxn ang="0">
                  <a:pos x="85" y="99"/>
                </a:cxn>
                <a:cxn ang="0">
                  <a:pos x="96" y="99"/>
                </a:cxn>
                <a:cxn ang="0">
                  <a:pos x="99" y="95"/>
                </a:cxn>
                <a:cxn ang="0">
                  <a:pos x="99" y="85"/>
                </a:cxn>
                <a:cxn ang="0">
                  <a:pos x="99" y="85"/>
                </a:cxn>
                <a:cxn ang="0">
                  <a:pos x="96" y="75"/>
                </a:cxn>
                <a:cxn ang="0">
                  <a:pos x="106" y="67"/>
                </a:cxn>
                <a:cxn ang="0">
                  <a:pos x="107" y="67"/>
                </a:cxn>
                <a:cxn ang="0">
                  <a:pos x="57" y="85"/>
                </a:cxn>
                <a:cxn ang="0">
                  <a:pos x="29" y="57"/>
                </a:cxn>
                <a:cxn ang="0">
                  <a:pos x="57" y="28"/>
                </a:cxn>
                <a:cxn ang="0">
                  <a:pos x="86" y="57"/>
                </a:cxn>
                <a:cxn ang="0">
                  <a:pos x="57" y="85"/>
                </a:cxn>
              </a:cxnLst>
              <a:rect l="0" t="0" r="r" b="b"/>
              <a:pathLst>
                <a:path w="114" h="114">
                  <a:moveTo>
                    <a:pt x="107" y="67"/>
                  </a:moveTo>
                  <a:cubicBezTo>
                    <a:pt x="111" y="67"/>
                    <a:pt x="114" y="63"/>
                    <a:pt x="114" y="59"/>
                  </a:cubicBezTo>
                  <a:cubicBezTo>
                    <a:pt x="114" y="54"/>
                    <a:pt x="114" y="54"/>
                    <a:pt x="114" y="54"/>
                  </a:cubicBezTo>
                  <a:cubicBezTo>
                    <a:pt x="114" y="50"/>
                    <a:pt x="111" y="47"/>
                    <a:pt x="107" y="47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02" y="47"/>
                    <a:pt x="98" y="45"/>
                    <a:pt x="97" y="42"/>
                  </a:cubicBezTo>
                  <a:cubicBezTo>
                    <a:pt x="97" y="40"/>
                    <a:pt x="96" y="32"/>
                    <a:pt x="99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102" y="26"/>
                    <a:pt x="102" y="21"/>
                    <a:pt x="99" y="18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3" y="12"/>
                    <a:pt x="88" y="12"/>
                    <a:pt x="85" y="15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2" y="18"/>
                    <a:pt x="78" y="19"/>
                    <a:pt x="75" y="18"/>
                  </a:cubicBezTo>
                  <a:cubicBezTo>
                    <a:pt x="73" y="17"/>
                    <a:pt x="67" y="12"/>
                    <a:pt x="67" y="8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7" y="3"/>
                    <a:pt x="64" y="0"/>
                    <a:pt x="60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1" y="0"/>
                    <a:pt x="47" y="3"/>
                    <a:pt x="47" y="7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7" y="12"/>
                    <a:pt x="45" y="16"/>
                    <a:pt x="43" y="17"/>
                  </a:cubicBezTo>
                  <a:cubicBezTo>
                    <a:pt x="40" y="17"/>
                    <a:pt x="32" y="18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6" y="12"/>
                    <a:pt x="21" y="12"/>
                    <a:pt x="18" y="15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2" y="21"/>
                    <a:pt x="12" y="26"/>
                    <a:pt x="15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8" y="32"/>
                    <a:pt x="20" y="36"/>
                    <a:pt x="19" y="38"/>
                  </a:cubicBezTo>
                  <a:cubicBezTo>
                    <a:pt x="17" y="41"/>
                    <a:pt x="12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3" y="47"/>
                    <a:pt x="0" y="50"/>
                    <a:pt x="0" y="54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3"/>
                    <a:pt x="3" y="67"/>
                    <a:pt x="8" y="67"/>
                  </a:cubicBezTo>
                  <a:cubicBezTo>
                    <a:pt x="8" y="67"/>
                    <a:pt x="8" y="67"/>
                    <a:pt x="8" y="67"/>
                  </a:cubicBezTo>
                  <a:cubicBezTo>
                    <a:pt x="12" y="67"/>
                    <a:pt x="16" y="69"/>
                    <a:pt x="17" y="71"/>
                  </a:cubicBezTo>
                  <a:cubicBezTo>
                    <a:pt x="18" y="73"/>
                    <a:pt x="18" y="82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2" y="88"/>
                    <a:pt x="12" y="93"/>
                    <a:pt x="15" y="95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21" y="102"/>
                    <a:pt x="26" y="102"/>
                    <a:pt x="29" y="99"/>
                  </a:cubicBezTo>
                  <a:cubicBezTo>
                    <a:pt x="29" y="99"/>
                    <a:pt x="29" y="99"/>
                    <a:pt x="29" y="99"/>
                  </a:cubicBezTo>
                  <a:cubicBezTo>
                    <a:pt x="32" y="96"/>
                    <a:pt x="37" y="94"/>
                    <a:pt x="39" y="95"/>
                  </a:cubicBezTo>
                  <a:cubicBezTo>
                    <a:pt x="41" y="96"/>
                    <a:pt x="47" y="102"/>
                    <a:pt x="47" y="10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7" y="110"/>
                    <a:pt x="51" y="114"/>
                    <a:pt x="55" y="114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4" y="114"/>
                    <a:pt x="67" y="110"/>
                    <a:pt x="67" y="106"/>
                  </a:cubicBezTo>
                  <a:cubicBezTo>
                    <a:pt x="67" y="106"/>
                    <a:pt x="67" y="106"/>
                    <a:pt x="67" y="106"/>
                  </a:cubicBezTo>
                  <a:cubicBezTo>
                    <a:pt x="67" y="102"/>
                    <a:pt x="69" y="98"/>
                    <a:pt x="71" y="97"/>
                  </a:cubicBezTo>
                  <a:cubicBezTo>
                    <a:pt x="74" y="96"/>
                    <a:pt x="82" y="96"/>
                    <a:pt x="85" y="99"/>
                  </a:cubicBezTo>
                  <a:cubicBezTo>
                    <a:pt x="85" y="99"/>
                    <a:pt x="85" y="99"/>
                    <a:pt x="85" y="99"/>
                  </a:cubicBezTo>
                  <a:cubicBezTo>
                    <a:pt x="88" y="102"/>
                    <a:pt x="93" y="102"/>
                    <a:pt x="96" y="99"/>
                  </a:cubicBezTo>
                  <a:cubicBezTo>
                    <a:pt x="99" y="95"/>
                    <a:pt x="99" y="95"/>
                    <a:pt x="99" y="95"/>
                  </a:cubicBezTo>
                  <a:cubicBezTo>
                    <a:pt x="102" y="93"/>
                    <a:pt x="102" y="88"/>
                    <a:pt x="99" y="85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96" y="82"/>
                    <a:pt x="95" y="77"/>
                    <a:pt x="96" y="75"/>
                  </a:cubicBezTo>
                  <a:cubicBezTo>
                    <a:pt x="97" y="73"/>
                    <a:pt x="102" y="67"/>
                    <a:pt x="106" y="67"/>
                  </a:cubicBezTo>
                  <a:lnTo>
                    <a:pt x="107" y="67"/>
                  </a:lnTo>
                  <a:close/>
                  <a:moveTo>
                    <a:pt x="57" y="85"/>
                  </a:moveTo>
                  <a:cubicBezTo>
                    <a:pt x="41" y="85"/>
                    <a:pt x="29" y="73"/>
                    <a:pt x="29" y="57"/>
                  </a:cubicBezTo>
                  <a:cubicBezTo>
                    <a:pt x="29" y="41"/>
                    <a:pt x="41" y="28"/>
                    <a:pt x="57" y="28"/>
                  </a:cubicBezTo>
                  <a:cubicBezTo>
                    <a:pt x="73" y="28"/>
                    <a:pt x="86" y="41"/>
                    <a:pt x="86" y="57"/>
                  </a:cubicBezTo>
                  <a:cubicBezTo>
                    <a:pt x="86" y="73"/>
                    <a:pt x="73" y="85"/>
                    <a:pt x="57" y="85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12" name="íṩlïďè">
              <a:extLst>
                <a:ext uri="{FF2B5EF4-FFF2-40B4-BE49-F238E27FC236}">
                  <a16:creationId xmlns:a16="http://schemas.microsoft.com/office/drawing/2014/main" xmlns="" id="{D359DFD8-0B3D-4CD7-ADC5-EAAF18D58556}"/>
                </a:ext>
              </a:extLst>
            </p:cNvPr>
            <p:cNvSpPr/>
            <p:nvPr/>
          </p:nvSpPr>
          <p:spPr bwMode="auto">
            <a:xfrm>
              <a:off x="7837739" y="2944927"/>
              <a:ext cx="243161" cy="244827"/>
            </a:xfrm>
            <a:custGeom>
              <a:avLst/>
              <a:gdLst/>
              <a:ahLst/>
              <a:cxnLst>
                <a:cxn ang="0">
                  <a:pos x="87" y="55"/>
                </a:cxn>
                <a:cxn ang="0">
                  <a:pos x="93" y="47"/>
                </a:cxn>
                <a:cxn ang="0">
                  <a:pos x="93" y="46"/>
                </a:cxn>
                <a:cxn ang="0">
                  <a:pos x="87" y="39"/>
                </a:cxn>
                <a:cxn ang="0">
                  <a:pos x="79" y="35"/>
                </a:cxn>
                <a:cxn ang="0">
                  <a:pos x="81" y="24"/>
                </a:cxn>
                <a:cxn ang="0">
                  <a:pos x="80" y="14"/>
                </a:cxn>
                <a:cxn ang="0">
                  <a:pos x="79" y="13"/>
                </a:cxn>
                <a:cxn ang="0">
                  <a:pos x="69" y="12"/>
                </a:cxn>
                <a:cxn ang="0">
                  <a:pos x="62" y="15"/>
                </a:cxn>
                <a:cxn ang="0">
                  <a:pos x="55" y="6"/>
                </a:cxn>
                <a:cxn ang="0">
                  <a:pos x="47" y="0"/>
                </a:cxn>
                <a:cxn ang="0">
                  <a:pos x="46" y="0"/>
                </a:cxn>
                <a:cxn ang="0">
                  <a:pos x="38" y="6"/>
                </a:cxn>
                <a:cxn ang="0">
                  <a:pos x="35" y="14"/>
                </a:cxn>
                <a:cxn ang="0">
                  <a:pos x="24" y="12"/>
                </a:cxn>
                <a:cxn ang="0">
                  <a:pos x="14" y="13"/>
                </a:cxn>
                <a:cxn ang="0">
                  <a:pos x="13" y="14"/>
                </a:cxn>
                <a:cxn ang="0">
                  <a:pos x="12" y="24"/>
                </a:cxn>
                <a:cxn ang="0">
                  <a:pos x="15" y="32"/>
                </a:cxn>
                <a:cxn ang="0">
                  <a:pos x="6" y="39"/>
                </a:cxn>
                <a:cxn ang="0">
                  <a:pos x="0" y="46"/>
                </a:cxn>
                <a:cxn ang="0">
                  <a:pos x="0" y="47"/>
                </a:cxn>
                <a:cxn ang="0">
                  <a:pos x="6" y="55"/>
                </a:cxn>
                <a:cxn ang="0">
                  <a:pos x="14" y="58"/>
                </a:cxn>
                <a:cxn ang="0">
                  <a:pos x="12" y="69"/>
                </a:cxn>
                <a:cxn ang="0">
                  <a:pos x="13" y="79"/>
                </a:cxn>
                <a:cxn ang="0">
                  <a:pos x="14" y="80"/>
                </a:cxn>
                <a:cxn ang="0">
                  <a:pos x="24" y="81"/>
                </a:cxn>
                <a:cxn ang="0">
                  <a:pos x="31" y="78"/>
                </a:cxn>
                <a:cxn ang="0">
                  <a:pos x="38" y="87"/>
                </a:cxn>
                <a:cxn ang="0">
                  <a:pos x="46" y="93"/>
                </a:cxn>
                <a:cxn ang="0">
                  <a:pos x="47" y="93"/>
                </a:cxn>
                <a:cxn ang="0">
                  <a:pos x="55" y="87"/>
                </a:cxn>
                <a:cxn ang="0">
                  <a:pos x="58" y="80"/>
                </a:cxn>
                <a:cxn ang="0">
                  <a:pos x="69" y="81"/>
                </a:cxn>
                <a:cxn ang="0">
                  <a:pos x="79" y="80"/>
                </a:cxn>
                <a:cxn ang="0">
                  <a:pos x="80" y="79"/>
                </a:cxn>
                <a:cxn ang="0">
                  <a:pos x="81" y="69"/>
                </a:cxn>
                <a:cxn ang="0">
                  <a:pos x="78" y="62"/>
                </a:cxn>
                <a:cxn ang="0">
                  <a:pos x="87" y="55"/>
                </a:cxn>
                <a:cxn ang="0">
                  <a:pos x="47" y="70"/>
                </a:cxn>
                <a:cxn ang="0">
                  <a:pos x="23" y="47"/>
                </a:cxn>
                <a:cxn ang="0">
                  <a:pos x="47" y="23"/>
                </a:cxn>
                <a:cxn ang="0">
                  <a:pos x="70" y="47"/>
                </a:cxn>
                <a:cxn ang="0">
                  <a:pos x="47" y="70"/>
                </a:cxn>
              </a:cxnLst>
              <a:rect l="0" t="0" r="r" b="b"/>
              <a:pathLst>
                <a:path w="93" h="93">
                  <a:moveTo>
                    <a:pt x="87" y="55"/>
                  </a:moveTo>
                  <a:cubicBezTo>
                    <a:pt x="90" y="55"/>
                    <a:pt x="93" y="51"/>
                    <a:pt x="93" y="47"/>
                  </a:cubicBezTo>
                  <a:cubicBezTo>
                    <a:pt x="93" y="46"/>
                    <a:pt x="93" y="46"/>
                    <a:pt x="93" y="46"/>
                  </a:cubicBezTo>
                  <a:cubicBezTo>
                    <a:pt x="93" y="42"/>
                    <a:pt x="90" y="39"/>
                    <a:pt x="87" y="39"/>
                  </a:cubicBezTo>
                  <a:cubicBezTo>
                    <a:pt x="83" y="39"/>
                    <a:pt x="80" y="37"/>
                    <a:pt x="79" y="35"/>
                  </a:cubicBezTo>
                  <a:cubicBezTo>
                    <a:pt x="79" y="33"/>
                    <a:pt x="78" y="26"/>
                    <a:pt x="81" y="24"/>
                  </a:cubicBezTo>
                  <a:cubicBezTo>
                    <a:pt x="83" y="21"/>
                    <a:pt x="83" y="17"/>
                    <a:pt x="80" y="14"/>
                  </a:cubicBezTo>
                  <a:cubicBezTo>
                    <a:pt x="79" y="13"/>
                    <a:pt x="79" y="13"/>
                    <a:pt x="79" y="13"/>
                  </a:cubicBezTo>
                  <a:cubicBezTo>
                    <a:pt x="76" y="10"/>
                    <a:pt x="72" y="10"/>
                    <a:pt x="69" y="12"/>
                  </a:cubicBezTo>
                  <a:cubicBezTo>
                    <a:pt x="67" y="15"/>
                    <a:pt x="63" y="16"/>
                    <a:pt x="62" y="15"/>
                  </a:cubicBezTo>
                  <a:cubicBezTo>
                    <a:pt x="60" y="14"/>
                    <a:pt x="55" y="10"/>
                    <a:pt x="55" y="6"/>
                  </a:cubicBezTo>
                  <a:cubicBezTo>
                    <a:pt x="55" y="3"/>
                    <a:pt x="51" y="0"/>
                    <a:pt x="47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2" y="0"/>
                    <a:pt x="38" y="3"/>
                    <a:pt x="38" y="6"/>
                  </a:cubicBezTo>
                  <a:cubicBezTo>
                    <a:pt x="38" y="10"/>
                    <a:pt x="37" y="13"/>
                    <a:pt x="35" y="14"/>
                  </a:cubicBezTo>
                  <a:cubicBezTo>
                    <a:pt x="33" y="14"/>
                    <a:pt x="26" y="15"/>
                    <a:pt x="24" y="12"/>
                  </a:cubicBezTo>
                  <a:cubicBezTo>
                    <a:pt x="21" y="10"/>
                    <a:pt x="17" y="10"/>
                    <a:pt x="14" y="13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0" y="17"/>
                    <a:pt x="10" y="21"/>
                    <a:pt x="12" y="24"/>
                  </a:cubicBezTo>
                  <a:cubicBezTo>
                    <a:pt x="15" y="26"/>
                    <a:pt x="16" y="30"/>
                    <a:pt x="15" y="32"/>
                  </a:cubicBezTo>
                  <a:cubicBezTo>
                    <a:pt x="14" y="33"/>
                    <a:pt x="10" y="39"/>
                    <a:pt x="6" y="39"/>
                  </a:cubicBezTo>
                  <a:cubicBezTo>
                    <a:pt x="3" y="39"/>
                    <a:pt x="0" y="42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1"/>
                    <a:pt x="3" y="55"/>
                    <a:pt x="6" y="55"/>
                  </a:cubicBezTo>
                  <a:cubicBezTo>
                    <a:pt x="10" y="55"/>
                    <a:pt x="13" y="56"/>
                    <a:pt x="14" y="58"/>
                  </a:cubicBezTo>
                  <a:cubicBezTo>
                    <a:pt x="14" y="60"/>
                    <a:pt x="15" y="67"/>
                    <a:pt x="12" y="69"/>
                  </a:cubicBezTo>
                  <a:cubicBezTo>
                    <a:pt x="10" y="72"/>
                    <a:pt x="10" y="76"/>
                    <a:pt x="13" y="79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7" y="83"/>
                    <a:pt x="21" y="83"/>
                    <a:pt x="24" y="81"/>
                  </a:cubicBezTo>
                  <a:cubicBezTo>
                    <a:pt x="26" y="79"/>
                    <a:pt x="30" y="77"/>
                    <a:pt x="31" y="78"/>
                  </a:cubicBezTo>
                  <a:cubicBezTo>
                    <a:pt x="33" y="79"/>
                    <a:pt x="38" y="84"/>
                    <a:pt x="38" y="87"/>
                  </a:cubicBezTo>
                  <a:cubicBezTo>
                    <a:pt x="38" y="91"/>
                    <a:pt x="42" y="93"/>
                    <a:pt x="46" y="93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51" y="93"/>
                    <a:pt x="55" y="91"/>
                    <a:pt x="55" y="87"/>
                  </a:cubicBezTo>
                  <a:cubicBezTo>
                    <a:pt x="55" y="84"/>
                    <a:pt x="56" y="80"/>
                    <a:pt x="58" y="80"/>
                  </a:cubicBezTo>
                  <a:cubicBezTo>
                    <a:pt x="60" y="79"/>
                    <a:pt x="67" y="79"/>
                    <a:pt x="69" y="81"/>
                  </a:cubicBezTo>
                  <a:cubicBezTo>
                    <a:pt x="72" y="83"/>
                    <a:pt x="76" y="83"/>
                    <a:pt x="79" y="80"/>
                  </a:cubicBezTo>
                  <a:cubicBezTo>
                    <a:pt x="80" y="79"/>
                    <a:pt x="80" y="79"/>
                    <a:pt x="80" y="79"/>
                  </a:cubicBezTo>
                  <a:cubicBezTo>
                    <a:pt x="83" y="76"/>
                    <a:pt x="83" y="72"/>
                    <a:pt x="81" y="69"/>
                  </a:cubicBezTo>
                  <a:cubicBezTo>
                    <a:pt x="78" y="67"/>
                    <a:pt x="77" y="64"/>
                    <a:pt x="78" y="62"/>
                  </a:cubicBezTo>
                  <a:cubicBezTo>
                    <a:pt x="79" y="60"/>
                    <a:pt x="83" y="55"/>
                    <a:pt x="87" y="55"/>
                  </a:cubicBezTo>
                  <a:close/>
                  <a:moveTo>
                    <a:pt x="47" y="70"/>
                  </a:moveTo>
                  <a:cubicBezTo>
                    <a:pt x="34" y="70"/>
                    <a:pt x="23" y="60"/>
                    <a:pt x="23" y="47"/>
                  </a:cubicBezTo>
                  <a:cubicBezTo>
                    <a:pt x="23" y="34"/>
                    <a:pt x="34" y="23"/>
                    <a:pt x="47" y="23"/>
                  </a:cubicBezTo>
                  <a:cubicBezTo>
                    <a:pt x="59" y="23"/>
                    <a:pt x="70" y="34"/>
                    <a:pt x="70" y="47"/>
                  </a:cubicBezTo>
                  <a:cubicBezTo>
                    <a:pt x="70" y="60"/>
                    <a:pt x="59" y="70"/>
                    <a:pt x="47" y="7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13" name="ïṩļîḓè">
              <a:extLst>
                <a:ext uri="{FF2B5EF4-FFF2-40B4-BE49-F238E27FC236}">
                  <a16:creationId xmlns:a16="http://schemas.microsoft.com/office/drawing/2014/main" xmlns="" id="{A138D2E1-DA35-4F32-AF2B-8BF9D9E447B1}"/>
                </a:ext>
              </a:extLst>
            </p:cNvPr>
            <p:cNvSpPr/>
            <p:nvPr/>
          </p:nvSpPr>
          <p:spPr bwMode="auto">
            <a:xfrm>
              <a:off x="7862722" y="3218068"/>
              <a:ext cx="191531" cy="189866"/>
            </a:xfrm>
            <a:custGeom>
              <a:avLst/>
              <a:gdLst/>
              <a:ahLst/>
              <a:cxnLst>
                <a:cxn ang="0">
                  <a:pos x="68" y="42"/>
                </a:cxn>
                <a:cxn ang="0">
                  <a:pos x="73" y="36"/>
                </a:cxn>
                <a:cxn ang="0">
                  <a:pos x="68" y="30"/>
                </a:cxn>
                <a:cxn ang="0">
                  <a:pos x="62" y="27"/>
                </a:cxn>
                <a:cxn ang="0">
                  <a:pos x="63" y="18"/>
                </a:cxn>
                <a:cxn ang="0">
                  <a:pos x="62" y="10"/>
                </a:cxn>
                <a:cxn ang="0">
                  <a:pos x="54" y="9"/>
                </a:cxn>
                <a:cxn ang="0">
                  <a:pos x="48" y="12"/>
                </a:cxn>
                <a:cxn ang="0">
                  <a:pos x="43" y="5"/>
                </a:cxn>
                <a:cxn ang="0">
                  <a:pos x="37" y="0"/>
                </a:cxn>
                <a:cxn ang="0">
                  <a:pos x="30" y="5"/>
                </a:cxn>
                <a:cxn ang="0">
                  <a:pos x="27" y="11"/>
                </a:cxn>
                <a:cxn ang="0">
                  <a:pos x="19" y="9"/>
                </a:cxn>
                <a:cxn ang="0">
                  <a:pos x="11" y="10"/>
                </a:cxn>
                <a:cxn ang="0">
                  <a:pos x="10" y="18"/>
                </a:cxn>
                <a:cxn ang="0">
                  <a:pos x="12" y="24"/>
                </a:cxn>
                <a:cxn ang="0">
                  <a:pos x="5" y="30"/>
                </a:cxn>
                <a:cxn ang="0">
                  <a:pos x="0" y="36"/>
                </a:cxn>
                <a:cxn ang="0">
                  <a:pos x="5" y="42"/>
                </a:cxn>
                <a:cxn ang="0">
                  <a:pos x="11" y="45"/>
                </a:cxn>
                <a:cxn ang="0">
                  <a:pos x="10" y="54"/>
                </a:cxn>
                <a:cxn ang="0">
                  <a:pos x="11" y="62"/>
                </a:cxn>
                <a:cxn ang="0">
                  <a:pos x="19" y="63"/>
                </a:cxn>
                <a:cxn ang="0">
                  <a:pos x="25" y="61"/>
                </a:cxn>
                <a:cxn ang="0">
                  <a:pos x="30" y="68"/>
                </a:cxn>
                <a:cxn ang="0">
                  <a:pos x="37" y="72"/>
                </a:cxn>
                <a:cxn ang="0">
                  <a:pos x="43" y="68"/>
                </a:cxn>
                <a:cxn ang="0">
                  <a:pos x="46" y="62"/>
                </a:cxn>
                <a:cxn ang="0">
                  <a:pos x="54" y="63"/>
                </a:cxn>
                <a:cxn ang="0">
                  <a:pos x="62" y="62"/>
                </a:cxn>
                <a:cxn ang="0">
                  <a:pos x="63" y="54"/>
                </a:cxn>
                <a:cxn ang="0">
                  <a:pos x="61" y="48"/>
                </a:cxn>
                <a:cxn ang="0">
                  <a:pos x="68" y="42"/>
                </a:cxn>
                <a:cxn ang="0">
                  <a:pos x="37" y="54"/>
                </a:cxn>
                <a:cxn ang="0">
                  <a:pos x="18" y="36"/>
                </a:cxn>
                <a:cxn ang="0">
                  <a:pos x="37" y="18"/>
                </a:cxn>
                <a:cxn ang="0">
                  <a:pos x="55" y="36"/>
                </a:cxn>
                <a:cxn ang="0">
                  <a:pos x="37" y="54"/>
                </a:cxn>
              </a:cxnLst>
              <a:rect l="0" t="0" r="r" b="b"/>
              <a:pathLst>
                <a:path w="73" h="72">
                  <a:moveTo>
                    <a:pt x="68" y="42"/>
                  </a:moveTo>
                  <a:cubicBezTo>
                    <a:pt x="71" y="42"/>
                    <a:pt x="73" y="40"/>
                    <a:pt x="73" y="36"/>
                  </a:cubicBezTo>
                  <a:cubicBezTo>
                    <a:pt x="73" y="33"/>
                    <a:pt x="71" y="30"/>
                    <a:pt x="68" y="30"/>
                  </a:cubicBezTo>
                  <a:cubicBezTo>
                    <a:pt x="65" y="30"/>
                    <a:pt x="63" y="29"/>
                    <a:pt x="62" y="27"/>
                  </a:cubicBezTo>
                  <a:cubicBezTo>
                    <a:pt x="62" y="26"/>
                    <a:pt x="61" y="20"/>
                    <a:pt x="63" y="18"/>
                  </a:cubicBezTo>
                  <a:cubicBezTo>
                    <a:pt x="65" y="16"/>
                    <a:pt x="65" y="13"/>
                    <a:pt x="62" y="10"/>
                  </a:cubicBezTo>
                  <a:cubicBezTo>
                    <a:pt x="60" y="8"/>
                    <a:pt x="56" y="7"/>
                    <a:pt x="54" y="9"/>
                  </a:cubicBezTo>
                  <a:cubicBezTo>
                    <a:pt x="52" y="11"/>
                    <a:pt x="50" y="12"/>
                    <a:pt x="48" y="12"/>
                  </a:cubicBezTo>
                  <a:cubicBezTo>
                    <a:pt x="47" y="11"/>
                    <a:pt x="43" y="7"/>
                    <a:pt x="43" y="5"/>
                  </a:cubicBezTo>
                  <a:cubicBezTo>
                    <a:pt x="43" y="2"/>
                    <a:pt x="40" y="0"/>
                    <a:pt x="37" y="0"/>
                  </a:cubicBezTo>
                  <a:cubicBezTo>
                    <a:pt x="33" y="0"/>
                    <a:pt x="30" y="2"/>
                    <a:pt x="30" y="5"/>
                  </a:cubicBezTo>
                  <a:cubicBezTo>
                    <a:pt x="30" y="7"/>
                    <a:pt x="29" y="10"/>
                    <a:pt x="27" y="11"/>
                  </a:cubicBezTo>
                  <a:cubicBezTo>
                    <a:pt x="26" y="11"/>
                    <a:pt x="21" y="11"/>
                    <a:pt x="19" y="9"/>
                  </a:cubicBezTo>
                  <a:cubicBezTo>
                    <a:pt x="17" y="7"/>
                    <a:pt x="13" y="8"/>
                    <a:pt x="11" y="10"/>
                  </a:cubicBezTo>
                  <a:cubicBezTo>
                    <a:pt x="8" y="13"/>
                    <a:pt x="8" y="16"/>
                    <a:pt x="10" y="18"/>
                  </a:cubicBezTo>
                  <a:cubicBezTo>
                    <a:pt x="12" y="20"/>
                    <a:pt x="13" y="23"/>
                    <a:pt x="12" y="24"/>
                  </a:cubicBezTo>
                  <a:cubicBezTo>
                    <a:pt x="11" y="26"/>
                    <a:pt x="8" y="30"/>
                    <a:pt x="5" y="30"/>
                  </a:cubicBezTo>
                  <a:cubicBezTo>
                    <a:pt x="2" y="30"/>
                    <a:pt x="0" y="33"/>
                    <a:pt x="0" y="36"/>
                  </a:cubicBezTo>
                  <a:cubicBezTo>
                    <a:pt x="0" y="40"/>
                    <a:pt x="2" y="42"/>
                    <a:pt x="5" y="42"/>
                  </a:cubicBezTo>
                  <a:cubicBezTo>
                    <a:pt x="8" y="42"/>
                    <a:pt x="10" y="44"/>
                    <a:pt x="11" y="45"/>
                  </a:cubicBezTo>
                  <a:cubicBezTo>
                    <a:pt x="11" y="47"/>
                    <a:pt x="12" y="52"/>
                    <a:pt x="10" y="54"/>
                  </a:cubicBezTo>
                  <a:cubicBezTo>
                    <a:pt x="8" y="56"/>
                    <a:pt x="8" y="59"/>
                    <a:pt x="11" y="62"/>
                  </a:cubicBezTo>
                  <a:cubicBezTo>
                    <a:pt x="13" y="64"/>
                    <a:pt x="17" y="65"/>
                    <a:pt x="19" y="63"/>
                  </a:cubicBezTo>
                  <a:cubicBezTo>
                    <a:pt x="21" y="61"/>
                    <a:pt x="23" y="60"/>
                    <a:pt x="25" y="61"/>
                  </a:cubicBezTo>
                  <a:cubicBezTo>
                    <a:pt x="26" y="61"/>
                    <a:pt x="30" y="65"/>
                    <a:pt x="30" y="68"/>
                  </a:cubicBezTo>
                  <a:cubicBezTo>
                    <a:pt x="30" y="70"/>
                    <a:pt x="33" y="72"/>
                    <a:pt x="37" y="72"/>
                  </a:cubicBezTo>
                  <a:cubicBezTo>
                    <a:pt x="40" y="72"/>
                    <a:pt x="43" y="70"/>
                    <a:pt x="43" y="68"/>
                  </a:cubicBezTo>
                  <a:cubicBezTo>
                    <a:pt x="43" y="65"/>
                    <a:pt x="44" y="62"/>
                    <a:pt x="46" y="62"/>
                  </a:cubicBezTo>
                  <a:cubicBezTo>
                    <a:pt x="47" y="61"/>
                    <a:pt x="52" y="61"/>
                    <a:pt x="54" y="63"/>
                  </a:cubicBezTo>
                  <a:cubicBezTo>
                    <a:pt x="56" y="65"/>
                    <a:pt x="60" y="64"/>
                    <a:pt x="62" y="62"/>
                  </a:cubicBezTo>
                  <a:cubicBezTo>
                    <a:pt x="65" y="59"/>
                    <a:pt x="65" y="56"/>
                    <a:pt x="63" y="54"/>
                  </a:cubicBezTo>
                  <a:cubicBezTo>
                    <a:pt x="61" y="52"/>
                    <a:pt x="60" y="49"/>
                    <a:pt x="61" y="48"/>
                  </a:cubicBezTo>
                  <a:cubicBezTo>
                    <a:pt x="62" y="46"/>
                    <a:pt x="65" y="42"/>
                    <a:pt x="68" y="42"/>
                  </a:cubicBezTo>
                  <a:close/>
                  <a:moveTo>
                    <a:pt x="37" y="54"/>
                  </a:moveTo>
                  <a:cubicBezTo>
                    <a:pt x="26" y="54"/>
                    <a:pt x="18" y="46"/>
                    <a:pt x="18" y="36"/>
                  </a:cubicBezTo>
                  <a:cubicBezTo>
                    <a:pt x="18" y="26"/>
                    <a:pt x="26" y="18"/>
                    <a:pt x="37" y="18"/>
                  </a:cubicBezTo>
                  <a:cubicBezTo>
                    <a:pt x="47" y="18"/>
                    <a:pt x="55" y="26"/>
                    <a:pt x="55" y="36"/>
                  </a:cubicBezTo>
                  <a:cubicBezTo>
                    <a:pt x="55" y="46"/>
                    <a:pt x="47" y="54"/>
                    <a:pt x="37" y="54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14" name="iṧḻîdé">
              <a:extLst>
                <a:ext uri="{FF2B5EF4-FFF2-40B4-BE49-F238E27FC236}">
                  <a16:creationId xmlns:a16="http://schemas.microsoft.com/office/drawing/2014/main" xmlns="" id="{FDC6F640-370B-4A15-A0DE-29405194E542}"/>
                </a:ext>
              </a:extLst>
            </p:cNvPr>
            <p:cNvSpPr/>
            <p:nvPr/>
          </p:nvSpPr>
          <p:spPr bwMode="auto">
            <a:xfrm>
              <a:off x="7844401" y="2953255"/>
              <a:ext cx="244827" cy="244827"/>
            </a:xfrm>
            <a:custGeom>
              <a:avLst/>
              <a:gdLst/>
              <a:ahLst/>
              <a:cxnLst>
                <a:cxn ang="0">
                  <a:pos x="87" y="54"/>
                </a:cxn>
                <a:cxn ang="0">
                  <a:pos x="93" y="47"/>
                </a:cxn>
                <a:cxn ang="0">
                  <a:pos x="93" y="46"/>
                </a:cxn>
                <a:cxn ang="0">
                  <a:pos x="87" y="38"/>
                </a:cxn>
                <a:cxn ang="0">
                  <a:pos x="79" y="35"/>
                </a:cxn>
                <a:cxn ang="0">
                  <a:pos x="81" y="24"/>
                </a:cxn>
                <a:cxn ang="0">
                  <a:pos x="80" y="14"/>
                </a:cxn>
                <a:cxn ang="0">
                  <a:pos x="79" y="13"/>
                </a:cxn>
                <a:cxn ang="0">
                  <a:pos x="69" y="12"/>
                </a:cxn>
                <a:cxn ang="0">
                  <a:pos x="61" y="15"/>
                </a:cxn>
                <a:cxn ang="0">
                  <a:pos x="54" y="6"/>
                </a:cxn>
                <a:cxn ang="0">
                  <a:pos x="47" y="0"/>
                </a:cxn>
                <a:cxn ang="0">
                  <a:pos x="46" y="0"/>
                </a:cxn>
                <a:cxn ang="0">
                  <a:pos x="38" y="6"/>
                </a:cxn>
                <a:cxn ang="0">
                  <a:pos x="35" y="13"/>
                </a:cxn>
                <a:cxn ang="0">
                  <a:pos x="24" y="12"/>
                </a:cxn>
                <a:cxn ang="0">
                  <a:pos x="14" y="13"/>
                </a:cxn>
                <a:cxn ang="0">
                  <a:pos x="13" y="14"/>
                </a:cxn>
                <a:cxn ang="0">
                  <a:pos x="12" y="24"/>
                </a:cxn>
                <a:cxn ang="0">
                  <a:pos x="15" y="31"/>
                </a:cxn>
                <a:cxn ang="0">
                  <a:pos x="6" y="38"/>
                </a:cxn>
                <a:cxn ang="0">
                  <a:pos x="0" y="46"/>
                </a:cxn>
                <a:cxn ang="0">
                  <a:pos x="0" y="47"/>
                </a:cxn>
                <a:cxn ang="0">
                  <a:pos x="6" y="54"/>
                </a:cxn>
                <a:cxn ang="0">
                  <a:pos x="13" y="58"/>
                </a:cxn>
                <a:cxn ang="0">
                  <a:pos x="12" y="69"/>
                </a:cxn>
                <a:cxn ang="0">
                  <a:pos x="13" y="79"/>
                </a:cxn>
                <a:cxn ang="0">
                  <a:pos x="14" y="80"/>
                </a:cxn>
                <a:cxn ang="0">
                  <a:pos x="24" y="81"/>
                </a:cxn>
                <a:cxn ang="0">
                  <a:pos x="31" y="78"/>
                </a:cxn>
                <a:cxn ang="0">
                  <a:pos x="38" y="87"/>
                </a:cxn>
                <a:cxn ang="0">
                  <a:pos x="46" y="93"/>
                </a:cxn>
                <a:cxn ang="0">
                  <a:pos x="47" y="93"/>
                </a:cxn>
                <a:cxn ang="0">
                  <a:pos x="54" y="87"/>
                </a:cxn>
                <a:cxn ang="0">
                  <a:pos x="58" y="79"/>
                </a:cxn>
                <a:cxn ang="0">
                  <a:pos x="69" y="81"/>
                </a:cxn>
                <a:cxn ang="0">
                  <a:pos x="79" y="80"/>
                </a:cxn>
                <a:cxn ang="0">
                  <a:pos x="80" y="79"/>
                </a:cxn>
                <a:cxn ang="0">
                  <a:pos x="81" y="69"/>
                </a:cxn>
                <a:cxn ang="0">
                  <a:pos x="78" y="61"/>
                </a:cxn>
                <a:cxn ang="0">
                  <a:pos x="87" y="54"/>
                </a:cxn>
                <a:cxn ang="0">
                  <a:pos x="46" y="70"/>
                </a:cxn>
                <a:cxn ang="0">
                  <a:pos x="23" y="46"/>
                </a:cxn>
                <a:cxn ang="0">
                  <a:pos x="46" y="23"/>
                </a:cxn>
                <a:cxn ang="0">
                  <a:pos x="70" y="46"/>
                </a:cxn>
                <a:cxn ang="0">
                  <a:pos x="46" y="70"/>
                </a:cxn>
              </a:cxnLst>
              <a:rect l="0" t="0" r="r" b="b"/>
              <a:pathLst>
                <a:path w="93" h="93">
                  <a:moveTo>
                    <a:pt x="87" y="54"/>
                  </a:moveTo>
                  <a:cubicBezTo>
                    <a:pt x="90" y="54"/>
                    <a:pt x="93" y="51"/>
                    <a:pt x="93" y="47"/>
                  </a:cubicBezTo>
                  <a:cubicBezTo>
                    <a:pt x="93" y="46"/>
                    <a:pt x="93" y="46"/>
                    <a:pt x="93" y="46"/>
                  </a:cubicBezTo>
                  <a:cubicBezTo>
                    <a:pt x="93" y="42"/>
                    <a:pt x="90" y="38"/>
                    <a:pt x="87" y="38"/>
                  </a:cubicBezTo>
                  <a:cubicBezTo>
                    <a:pt x="83" y="38"/>
                    <a:pt x="80" y="37"/>
                    <a:pt x="79" y="35"/>
                  </a:cubicBezTo>
                  <a:cubicBezTo>
                    <a:pt x="79" y="33"/>
                    <a:pt x="78" y="26"/>
                    <a:pt x="81" y="24"/>
                  </a:cubicBezTo>
                  <a:cubicBezTo>
                    <a:pt x="83" y="21"/>
                    <a:pt x="83" y="17"/>
                    <a:pt x="80" y="14"/>
                  </a:cubicBezTo>
                  <a:cubicBezTo>
                    <a:pt x="79" y="13"/>
                    <a:pt x="79" y="13"/>
                    <a:pt x="79" y="13"/>
                  </a:cubicBezTo>
                  <a:cubicBezTo>
                    <a:pt x="76" y="10"/>
                    <a:pt x="72" y="10"/>
                    <a:pt x="69" y="12"/>
                  </a:cubicBezTo>
                  <a:cubicBezTo>
                    <a:pt x="67" y="14"/>
                    <a:pt x="63" y="16"/>
                    <a:pt x="61" y="15"/>
                  </a:cubicBezTo>
                  <a:cubicBezTo>
                    <a:pt x="60" y="14"/>
                    <a:pt x="54" y="9"/>
                    <a:pt x="54" y="6"/>
                  </a:cubicBezTo>
                  <a:cubicBezTo>
                    <a:pt x="54" y="2"/>
                    <a:pt x="51" y="0"/>
                    <a:pt x="47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2" y="0"/>
                    <a:pt x="38" y="2"/>
                    <a:pt x="38" y="6"/>
                  </a:cubicBezTo>
                  <a:cubicBezTo>
                    <a:pt x="38" y="9"/>
                    <a:pt x="37" y="13"/>
                    <a:pt x="35" y="13"/>
                  </a:cubicBezTo>
                  <a:cubicBezTo>
                    <a:pt x="33" y="14"/>
                    <a:pt x="26" y="14"/>
                    <a:pt x="24" y="12"/>
                  </a:cubicBezTo>
                  <a:cubicBezTo>
                    <a:pt x="21" y="10"/>
                    <a:pt x="17" y="10"/>
                    <a:pt x="14" y="13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0" y="17"/>
                    <a:pt x="9" y="21"/>
                    <a:pt x="12" y="24"/>
                  </a:cubicBezTo>
                  <a:cubicBezTo>
                    <a:pt x="14" y="26"/>
                    <a:pt x="16" y="29"/>
                    <a:pt x="15" y="31"/>
                  </a:cubicBezTo>
                  <a:cubicBezTo>
                    <a:pt x="14" y="33"/>
                    <a:pt x="9" y="38"/>
                    <a:pt x="6" y="38"/>
                  </a:cubicBezTo>
                  <a:cubicBezTo>
                    <a:pt x="2" y="38"/>
                    <a:pt x="0" y="42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51"/>
                    <a:pt x="2" y="54"/>
                    <a:pt x="6" y="54"/>
                  </a:cubicBezTo>
                  <a:cubicBezTo>
                    <a:pt x="9" y="54"/>
                    <a:pt x="13" y="56"/>
                    <a:pt x="13" y="58"/>
                  </a:cubicBezTo>
                  <a:cubicBezTo>
                    <a:pt x="14" y="60"/>
                    <a:pt x="14" y="67"/>
                    <a:pt x="12" y="69"/>
                  </a:cubicBezTo>
                  <a:cubicBezTo>
                    <a:pt x="9" y="72"/>
                    <a:pt x="10" y="76"/>
                    <a:pt x="13" y="79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7" y="83"/>
                    <a:pt x="21" y="83"/>
                    <a:pt x="24" y="81"/>
                  </a:cubicBezTo>
                  <a:cubicBezTo>
                    <a:pt x="26" y="78"/>
                    <a:pt x="29" y="77"/>
                    <a:pt x="31" y="78"/>
                  </a:cubicBezTo>
                  <a:cubicBezTo>
                    <a:pt x="33" y="79"/>
                    <a:pt x="38" y="83"/>
                    <a:pt x="38" y="87"/>
                  </a:cubicBezTo>
                  <a:cubicBezTo>
                    <a:pt x="38" y="90"/>
                    <a:pt x="42" y="93"/>
                    <a:pt x="46" y="93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51" y="93"/>
                    <a:pt x="54" y="90"/>
                    <a:pt x="54" y="87"/>
                  </a:cubicBezTo>
                  <a:cubicBezTo>
                    <a:pt x="54" y="83"/>
                    <a:pt x="56" y="80"/>
                    <a:pt x="58" y="79"/>
                  </a:cubicBezTo>
                  <a:cubicBezTo>
                    <a:pt x="60" y="79"/>
                    <a:pt x="67" y="78"/>
                    <a:pt x="69" y="81"/>
                  </a:cubicBezTo>
                  <a:cubicBezTo>
                    <a:pt x="72" y="83"/>
                    <a:pt x="76" y="83"/>
                    <a:pt x="79" y="80"/>
                  </a:cubicBezTo>
                  <a:cubicBezTo>
                    <a:pt x="80" y="79"/>
                    <a:pt x="80" y="79"/>
                    <a:pt x="80" y="79"/>
                  </a:cubicBezTo>
                  <a:cubicBezTo>
                    <a:pt x="83" y="76"/>
                    <a:pt x="83" y="72"/>
                    <a:pt x="81" y="69"/>
                  </a:cubicBezTo>
                  <a:cubicBezTo>
                    <a:pt x="78" y="67"/>
                    <a:pt x="77" y="63"/>
                    <a:pt x="78" y="61"/>
                  </a:cubicBezTo>
                  <a:cubicBezTo>
                    <a:pt x="79" y="60"/>
                    <a:pt x="83" y="54"/>
                    <a:pt x="87" y="54"/>
                  </a:cubicBezTo>
                  <a:close/>
                  <a:moveTo>
                    <a:pt x="46" y="70"/>
                  </a:moveTo>
                  <a:cubicBezTo>
                    <a:pt x="33" y="70"/>
                    <a:pt x="23" y="59"/>
                    <a:pt x="23" y="46"/>
                  </a:cubicBezTo>
                  <a:cubicBezTo>
                    <a:pt x="23" y="33"/>
                    <a:pt x="33" y="23"/>
                    <a:pt x="46" y="23"/>
                  </a:cubicBezTo>
                  <a:cubicBezTo>
                    <a:pt x="59" y="23"/>
                    <a:pt x="70" y="33"/>
                    <a:pt x="70" y="46"/>
                  </a:cubicBezTo>
                  <a:cubicBezTo>
                    <a:pt x="70" y="59"/>
                    <a:pt x="59" y="70"/>
                    <a:pt x="46" y="7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15" name="íṡľîḍé">
              <a:extLst>
                <a:ext uri="{FF2B5EF4-FFF2-40B4-BE49-F238E27FC236}">
                  <a16:creationId xmlns:a16="http://schemas.microsoft.com/office/drawing/2014/main" xmlns="" id="{7486AE52-2670-4D35-9596-4E168B366BF0}"/>
                </a:ext>
              </a:extLst>
            </p:cNvPr>
            <p:cNvSpPr/>
            <p:nvPr/>
          </p:nvSpPr>
          <p:spPr bwMode="auto">
            <a:xfrm>
              <a:off x="7871049" y="3223064"/>
              <a:ext cx="191531" cy="193197"/>
            </a:xfrm>
            <a:custGeom>
              <a:avLst/>
              <a:gdLst/>
              <a:ahLst/>
              <a:cxnLst>
                <a:cxn ang="0">
                  <a:pos x="68" y="43"/>
                </a:cxn>
                <a:cxn ang="0">
                  <a:pos x="73" y="37"/>
                </a:cxn>
                <a:cxn ang="0">
                  <a:pos x="68" y="30"/>
                </a:cxn>
                <a:cxn ang="0">
                  <a:pos x="62" y="28"/>
                </a:cxn>
                <a:cxn ang="0">
                  <a:pos x="63" y="19"/>
                </a:cxn>
                <a:cxn ang="0">
                  <a:pos x="62" y="11"/>
                </a:cxn>
                <a:cxn ang="0">
                  <a:pos x="54" y="10"/>
                </a:cxn>
                <a:cxn ang="0">
                  <a:pos x="48" y="12"/>
                </a:cxn>
                <a:cxn ang="0">
                  <a:pos x="43" y="5"/>
                </a:cxn>
                <a:cxn ang="0">
                  <a:pos x="36" y="0"/>
                </a:cxn>
                <a:cxn ang="0">
                  <a:pos x="30" y="5"/>
                </a:cxn>
                <a:cxn ang="0">
                  <a:pos x="27" y="11"/>
                </a:cxn>
                <a:cxn ang="0">
                  <a:pos x="19" y="10"/>
                </a:cxn>
                <a:cxn ang="0">
                  <a:pos x="11" y="11"/>
                </a:cxn>
                <a:cxn ang="0">
                  <a:pos x="10" y="19"/>
                </a:cxn>
                <a:cxn ang="0">
                  <a:pos x="12" y="25"/>
                </a:cxn>
                <a:cxn ang="0">
                  <a:pos x="5" y="30"/>
                </a:cxn>
                <a:cxn ang="0">
                  <a:pos x="0" y="37"/>
                </a:cxn>
                <a:cxn ang="0">
                  <a:pos x="5" y="43"/>
                </a:cxn>
                <a:cxn ang="0">
                  <a:pos x="11" y="46"/>
                </a:cxn>
                <a:cxn ang="0">
                  <a:pos x="10" y="54"/>
                </a:cxn>
                <a:cxn ang="0">
                  <a:pos x="11" y="62"/>
                </a:cxn>
                <a:cxn ang="0">
                  <a:pos x="19" y="63"/>
                </a:cxn>
                <a:cxn ang="0">
                  <a:pos x="25" y="61"/>
                </a:cxn>
                <a:cxn ang="0">
                  <a:pos x="30" y="68"/>
                </a:cxn>
                <a:cxn ang="0">
                  <a:pos x="36" y="73"/>
                </a:cxn>
                <a:cxn ang="0">
                  <a:pos x="43" y="68"/>
                </a:cxn>
                <a:cxn ang="0">
                  <a:pos x="45" y="62"/>
                </a:cxn>
                <a:cxn ang="0">
                  <a:pos x="54" y="63"/>
                </a:cxn>
                <a:cxn ang="0">
                  <a:pos x="62" y="62"/>
                </a:cxn>
                <a:cxn ang="0">
                  <a:pos x="63" y="54"/>
                </a:cxn>
                <a:cxn ang="0">
                  <a:pos x="61" y="48"/>
                </a:cxn>
                <a:cxn ang="0">
                  <a:pos x="68" y="43"/>
                </a:cxn>
                <a:cxn ang="0">
                  <a:pos x="36" y="55"/>
                </a:cxn>
                <a:cxn ang="0">
                  <a:pos x="18" y="37"/>
                </a:cxn>
                <a:cxn ang="0">
                  <a:pos x="36" y="19"/>
                </a:cxn>
                <a:cxn ang="0">
                  <a:pos x="54" y="37"/>
                </a:cxn>
                <a:cxn ang="0">
                  <a:pos x="36" y="55"/>
                </a:cxn>
              </a:cxnLst>
              <a:rect l="0" t="0" r="r" b="b"/>
              <a:pathLst>
                <a:path w="73" h="73">
                  <a:moveTo>
                    <a:pt x="68" y="43"/>
                  </a:moveTo>
                  <a:cubicBezTo>
                    <a:pt x="70" y="43"/>
                    <a:pt x="73" y="40"/>
                    <a:pt x="73" y="37"/>
                  </a:cubicBezTo>
                  <a:cubicBezTo>
                    <a:pt x="73" y="33"/>
                    <a:pt x="70" y="30"/>
                    <a:pt x="68" y="30"/>
                  </a:cubicBezTo>
                  <a:cubicBezTo>
                    <a:pt x="65" y="30"/>
                    <a:pt x="62" y="29"/>
                    <a:pt x="62" y="28"/>
                  </a:cubicBezTo>
                  <a:cubicBezTo>
                    <a:pt x="61" y="26"/>
                    <a:pt x="61" y="21"/>
                    <a:pt x="63" y="19"/>
                  </a:cubicBezTo>
                  <a:cubicBezTo>
                    <a:pt x="65" y="17"/>
                    <a:pt x="64" y="14"/>
                    <a:pt x="62" y="11"/>
                  </a:cubicBezTo>
                  <a:cubicBezTo>
                    <a:pt x="60" y="9"/>
                    <a:pt x="56" y="8"/>
                    <a:pt x="54" y="10"/>
                  </a:cubicBezTo>
                  <a:cubicBezTo>
                    <a:pt x="52" y="12"/>
                    <a:pt x="49" y="13"/>
                    <a:pt x="48" y="12"/>
                  </a:cubicBezTo>
                  <a:cubicBezTo>
                    <a:pt x="47" y="12"/>
                    <a:pt x="43" y="8"/>
                    <a:pt x="43" y="5"/>
                  </a:cubicBezTo>
                  <a:cubicBezTo>
                    <a:pt x="43" y="3"/>
                    <a:pt x="40" y="0"/>
                    <a:pt x="36" y="0"/>
                  </a:cubicBezTo>
                  <a:cubicBezTo>
                    <a:pt x="33" y="0"/>
                    <a:pt x="30" y="3"/>
                    <a:pt x="30" y="5"/>
                  </a:cubicBezTo>
                  <a:cubicBezTo>
                    <a:pt x="30" y="8"/>
                    <a:pt x="29" y="11"/>
                    <a:pt x="27" y="11"/>
                  </a:cubicBezTo>
                  <a:cubicBezTo>
                    <a:pt x="26" y="12"/>
                    <a:pt x="20" y="12"/>
                    <a:pt x="19" y="10"/>
                  </a:cubicBezTo>
                  <a:cubicBezTo>
                    <a:pt x="17" y="8"/>
                    <a:pt x="13" y="9"/>
                    <a:pt x="11" y="11"/>
                  </a:cubicBezTo>
                  <a:cubicBezTo>
                    <a:pt x="8" y="14"/>
                    <a:pt x="8" y="17"/>
                    <a:pt x="10" y="19"/>
                  </a:cubicBezTo>
                  <a:cubicBezTo>
                    <a:pt x="11" y="21"/>
                    <a:pt x="12" y="24"/>
                    <a:pt x="12" y="25"/>
                  </a:cubicBezTo>
                  <a:cubicBezTo>
                    <a:pt x="11" y="26"/>
                    <a:pt x="8" y="30"/>
                    <a:pt x="5" y="30"/>
                  </a:cubicBezTo>
                  <a:cubicBezTo>
                    <a:pt x="2" y="30"/>
                    <a:pt x="0" y="33"/>
                    <a:pt x="0" y="37"/>
                  </a:cubicBezTo>
                  <a:cubicBezTo>
                    <a:pt x="0" y="40"/>
                    <a:pt x="2" y="43"/>
                    <a:pt x="5" y="43"/>
                  </a:cubicBezTo>
                  <a:cubicBezTo>
                    <a:pt x="8" y="43"/>
                    <a:pt x="10" y="44"/>
                    <a:pt x="11" y="46"/>
                  </a:cubicBezTo>
                  <a:cubicBezTo>
                    <a:pt x="11" y="47"/>
                    <a:pt x="11" y="53"/>
                    <a:pt x="10" y="54"/>
                  </a:cubicBezTo>
                  <a:cubicBezTo>
                    <a:pt x="8" y="56"/>
                    <a:pt x="8" y="60"/>
                    <a:pt x="11" y="62"/>
                  </a:cubicBezTo>
                  <a:cubicBezTo>
                    <a:pt x="13" y="65"/>
                    <a:pt x="17" y="65"/>
                    <a:pt x="19" y="63"/>
                  </a:cubicBezTo>
                  <a:cubicBezTo>
                    <a:pt x="20" y="62"/>
                    <a:pt x="23" y="61"/>
                    <a:pt x="25" y="61"/>
                  </a:cubicBezTo>
                  <a:cubicBezTo>
                    <a:pt x="26" y="62"/>
                    <a:pt x="30" y="65"/>
                    <a:pt x="30" y="68"/>
                  </a:cubicBezTo>
                  <a:cubicBezTo>
                    <a:pt x="30" y="71"/>
                    <a:pt x="33" y="73"/>
                    <a:pt x="36" y="73"/>
                  </a:cubicBezTo>
                  <a:cubicBezTo>
                    <a:pt x="40" y="73"/>
                    <a:pt x="43" y="71"/>
                    <a:pt x="43" y="68"/>
                  </a:cubicBezTo>
                  <a:cubicBezTo>
                    <a:pt x="43" y="65"/>
                    <a:pt x="44" y="63"/>
                    <a:pt x="45" y="62"/>
                  </a:cubicBezTo>
                  <a:cubicBezTo>
                    <a:pt x="47" y="62"/>
                    <a:pt x="52" y="62"/>
                    <a:pt x="54" y="63"/>
                  </a:cubicBezTo>
                  <a:cubicBezTo>
                    <a:pt x="56" y="65"/>
                    <a:pt x="60" y="65"/>
                    <a:pt x="62" y="62"/>
                  </a:cubicBezTo>
                  <a:cubicBezTo>
                    <a:pt x="64" y="60"/>
                    <a:pt x="65" y="56"/>
                    <a:pt x="63" y="54"/>
                  </a:cubicBezTo>
                  <a:cubicBezTo>
                    <a:pt x="61" y="53"/>
                    <a:pt x="60" y="50"/>
                    <a:pt x="61" y="48"/>
                  </a:cubicBezTo>
                  <a:cubicBezTo>
                    <a:pt x="62" y="47"/>
                    <a:pt x="65" y="43"/>
                    <a:pt x="68" y="43"/>
                  </a:cubicBezTo>
                  <a:close/>
                  <a:moveTo>
                    <a:pt x="36" y="55"/>
                  </a:moveTo>
                  <a:cubicBezTo>
                    <a:pt x="26" y="55"/>
                    <a:pt x="18" y="47"/>
                    <a:pt x="18" y="37"/>
                  </a:cubicBezTo>
                  <a:cubicBezTo>
                    <a:pt x="18" y="27"/>
                    <a:pt x="26" y="19"/>
                    <a:pt x="36" y="19"/>
                  </a:cubicBezTo>
                  <a:cubicBezTo>
                    <a:pt x="46" y="19"/>
                    <a:pt x="54" y="27"/>
                    <a:pt x="54" y="37"/>
                  </a:cubicBezTo>
                  <a:cubicBezTo>
                    <a:pt x="54" y="47"/>
                    <a:pt x="46" y="55"/>
                    <a:pt x="36" y="55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16" name="ïśļîḍé">
              <a:extLst>
                <a:ext uri="{FF2B5EF4-FFF2-40B4-BE49-F238E27FC236}">
                  <a16:creationId xmlns:a16="http://schemas.microsoft.com/office/drawing/2014/main" xmlns="" id="{C08281C9-0A21-4131-81BB-1817B0D4EA89}"/>
                </a:ext>
              </a:extLst>
            </p:cNvPr>
            <p:cNvSpPr/>
            <p:nvPr/>
          </p:nvSpPr>
          <p:spPr bwMode="auto">
            <a:xfrm>
              <a:off x="7562934" y="3068174"/>
              <a:ext cx="299788" cy="299788"/>
            </a:xfrm>
            <a:custGeom>
              <a:avLst/>
              <a:gdLst/>
              <a:ahLst/>
              <a:cxnLst>
                <a:cxn ang="0">
                  <a:pos x="107" y="67"/>
                </a:cxn>
                <a:cxn ang="0">
                  <a:pos x="114" y="59"/>
                </a:cxn>
                <a:cxn ang="0">
                  <a:pos x="114" y="54"/>
                </a:cxn>
                <a:cxn ang="0">
                  <a:pos x="107" y="47"/>
                </a:cxn>
                <a:cxn ang="0">
                  <a:pos x="106" y="47"/>
                </a:cxn>
                <a:cxn ang="0">
                  <a:pos x="97" y="42"/>
                </a:cxn>
                <a:cxn ang="0">
                  <a:pos x="99" y="29"/>
                </a:cxn>
                <a:cxn ang="0">
                  <a:pos x="99" y="29"/>
                </a:cxn>
                <a:cxn ang="0">
                  <a:pos x="99" y="18"/>
                </a:cxn>
                <a:cxn ang="0">
                  <a:pos x="96" y="15"/>
                </a:cxn>
                <a:cxn ang="0">
                  <a:pos x="85" y="15"/>
                </a:cxn>
                <a:cxn ang="0">
                  <a:pos x="85" y="15"/>
                </a:cxn>
                <a:cxn ang="0">
                  <a:pos x="75" y="18"/>
                </a:cxn>
                <a:cxn ang="0">
                  <a:pos x="67" y="8"/>
                </a:cxn>
                <a:cxn ang="0">
                  <a:pos x="67" y="7"/>
                </a:cxn>
                <a:cxn ang="0">
                  <a:pos x="60" y="0"/>
                </a:cxn>
                <a:cxn ang="0">
                  <a:pos x="55" y="0"/>
                </a:cxn>
                <a:cxn ang="0">
                  <a:pos x="47" y="7"/>
                </a:cxn>
                <a:cxn ang="0">
                  <a:pos x="47" y="8"/>
                </a:cxn>
                <a:cxn ang="0">
                  <a:pos x="43" y="17"/>
                </a:cxn>
                <a:cxn ang="0">
                  <a:pos x="29" y="15"/>
                </a:cxn>
                <a:cxn ang="0">
                  <a:pos x="29" y="15"/>
                </a:cxn>
                <a:cxn ang="0">
                  <a:pos x="18" y="15"/>
                </a:cxn>
                <a:cxn ang="0">
                  <a:pos x="15" y="18"/>
                </a:cxn>
                <a:cxn ang="0">
                  <a:pos x="15" y="29"/>
                </a:cxn>
                <a:cxn ang="0">
                  <a:pos x="15" y="29"/>
                </a:cxn>
                <a:cxn ang="0">
                  <a:pos x="19" y="38"/>
                </a:cxn>
                <a:cxn ang="0">
                  <a:pos x="8" y="47"/>
                </a:cxn>
                <a:cxn ang="0">
                  <a:pos x="8" y="47"/>
                </a:cxn>
                <a:cxn ang="0">
                  <a:pos x="0" y="54"/>
                </a:cxn>
                <a:cxn ang="0">
                  <a:pos x="0" y="59"/>
                </a:cxn>
                <a:cxn ang="0">
                  <a:pos x="8" y="67"/>
                </a:cxn>
                <a:cxn ang="0">
                  <a:pos x="8" y="67"/>
                </a:cxn>
                <a:cxn ang="0">
                  <a:pos x="17" y="71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15" y="95"/>
                </a:cxn>
                <a:cxn ang="0">
                  <a:pos x="18" y="99"/>
                </a:cxn>
                <a:cxn ang="0">
                  <a:pos x="29" y="99"/>
                </a:cxn>
                <a:cxn ang="0">
                  <a:pos x="29" y="99"/>
                </a:cxn>
                <a:cxn ang="0">
                  <a:pos x="39" y="95"/>
                </a:cxn>
                <a:cxn ang="0">
                  <a:pos x="47" y="106"/>
                </a:cxn>
                <a:cxn ang="0">
                  <a:pos x="47" y="106"/>
                </a:cxn>
                <a:cxn ang="0">
                  <a:pos x="55" y="114"/>
                </a:cxn>
                <a:cxn ang="0">
                  <a:pos x="60" y="114"/>
                </a:cxn>
                <a:cxn ang="0">
                  <a:pos x="67" y="106"/>
                </a:cxn>
                <a:cxn ang="0">
                  <a:pos x="67" y="106"/>
                </a:cxn>
                <a:cxn ang="0">
                  <a:pos x="71" y="97"/>
                </a:cxn>
                <a:cxn ang="0">
                  <a:pos x="85" y="99"/>
                </a:cxn>
                <a:cxn ang="0">
                  <a:pos x="85" y="99"/>
                </a:cxn>
                <a:cxn ang="0">
                  <a:pos x="96" y="99"/>
                </a:cxn>
                <a:cxn ang="0">
                  <a:pos x="99" y="95"/>
                </a:cxn>
                <a:cxn ang="0">
                  <a:pos x="99" y="85"/>
                </a:cxn>
                <a:cxn ang="0">
                  <a:pos x="99" y="85"/>
                </a:cxn>
                <a:cxn ang="0">
                  <a:pos x="96" y="75"/>
                </a:cxn>
                <a:cxn ang="0">
                  <a:pos x="106" y="67"/>
                </a:cxn>
                <a:cxn ang="0">
                  <a:pos x="107" y="67"/>
                </a:cxn>
                <a:cxn ang="0">
                  <a:pos x="57" y="85"/>
                </a:cxn>
                <a:cxn ang="0">
                  <a:pos x="29" y="57"/>
                </a:cxn>
                <a:cxn ang="0">
                  <a:pos x="57" y="28"/>
                </a:cxn>
                <a:cxn ang="0">
                  <a:pos x="86" y="57"/>
                </a:cxn>
                <a:cxn ang="0">
                  <a:pos x="57" y="85"/>
                </a:cxn>
              </a:cxnLst>
              <a:rect l="0" t="0" r="r" b="b"/>
              <a:pathLst>
                <a:path w="114" h="114">
                  <a:moveTo>
                    <a:pt x="107" y="67"/>
                  </a:moveTo>
                  <a:cubicBezTo>
                    <a:pt x="111" y="67"/>
                    <a:pt x="114" y="63"/>
                    <a:pt x="114" y="59"/>
                  </a:cubicBezTo>
                  <a:cubicBezTo>
                    <a:pt x="114" y="54"/>
                    <a:pt x="114" y="54"/>
                    <a:pt x="114" y="54"/>
                  </a:cubicBezTo>
                  <a:cubicBezTo>
                    <a:pt x="114" y="50"/>
                    <a:pt x="111" y="47"/>
                    <a:pt x="107" y="47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02" y="47"/>
                    <a:pt x="98" y="45"/>
                    <a:pt x="97" y="42"/>
                  </a:cubicBezTo>
                  <a:cubicBezTo>
                    <a:pt x="97" y="40"/>
                    <a:pt x="96" y="32"/>
                    <a:pt x="99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102" y="26"/>
                    <a:pt x="102" y="21"/>
                    <a:pt x="99" y="18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3" y="12"/>
                    <a:pt x="88" y="12"/>
                    <a:pt x="85" y="15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2" y="18"/>
                    <a:pt x="78" y="19"/>
                    <a:pt x="75" y="18"/>
                  </a:cubicBezTo>
                  <a:cubicBezTo>
                    <a:pt x="73" y="17"/>
                    <a:pt x="67" y="12"/>
                    <a:pt x="67" y="8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7" y="3"/>
                    <a:pt x="64" y="0"/>
                    <a:pt x="60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1" y="0"/>
                    <a:pt x="47" y="3"/>
                    <a:pt x="47" y="7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7" y="12"/>
                    <a:pt x="45" y="16"/>
                    <a:pt x="43" y="17"/>
                  </a:cubicBezTo>
                  <a:cubicBezTo>
                    <a:pt x="40" y="17"/>
                    <a:pt x="32" y="18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6" y="12"/>
                    <a:pt x="21" y="12"/>
                    <a:pt x="18" y="15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2" y="21"/>
                    <a:pt x="12" y="26"/>
                    <a:pt x="15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8" y="32"/>
                    <a:pt x="20" y="36"/>
                    <a:pt x="19" y="38"/>
                  </a:cubicBezTo>
                  <a:cubicBezTo>
                    <a:pt x="17" y="41"/>
                    <a:pt x="12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3" y="47"/>
                    <a:pt x="0" y="50"/>
                    <a:pt x="0" y="54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3"/>
                    <a:pt x="3" y="67"/>
                    <a:pt x="8" y="67"/>
                  </a:cubicBezTo>
                  <a:cubicBezTo>
                    <a:pt x="8" y="67"/>
                    <a:pt x="8" y="67"/>
                    <a:pt x="8" y="67"/>
                  </a:cubicBezTo>
                  <a:cubicBezTo>
                    <a:pt x="12" y="67"/>
                    <a:pt x="16" y="69"/>
                    <a:pt x="17" y="71"/>
                  </a:cubicBezTo>
                  <a:cubicBezTo>
                    <a:pt x="18" y="73"/>
                    <a:pt x="18" y="82"/>
                    <a:pt x="15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2" y="88"/>
                    <a:pt x="12" y="93"/>
                    <a:pt x="15" y="95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21" y="102"/>
                    <a:pt x="26" y="102"/>
                    <a:pt x="29" y="99"/>
                  </a:cubicBezTo>
                  <a:cubicBezTo>
                    <a:pt x="29" y="99"/>
                    <a:pt x="29" y="99"/>
                    <a:pt x="29" y="99"/>
                  </a:cubicBezTo>
                  <a:cubicBezTo>
                    <a:pt x="32" y="96"/>
                    <a:pt x="37" y="94"/>
                    <a:pt x="39" y="95"/>
                  </a:cubicBezTo>
                  <a:cubicBezTo>
                    <a:pt x="41" y="96"/>
                    <a:pt x="47" y="102"/>
                    <a:pt x="47" y="10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7" y="110"/>
                    <a:pt x="51" y="114"/>
                    <a:pt x="55" y="114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4" y="114"/>
                    <a:pt x="67" y="110"/>
                    <a:pt x="67" y="106"/>
                  </a:cubicBezTo>
                  <a:cubicBezTo>
                    <a:pt x="67" y="106"/>
                    <a:pt x="67" y="106"/>
                    <a:pt x="67" y="106"/>
                  </a:cubicBezTo>
                  <a:cubicBezTo>
                    <a:pt x="67" y="102"/>
                    <a:pt x="69" y="98"/>
                    <a:pt x="71" y="97"/>
                  </a:cubicBezTo>
                  <a:cubicBezTo>
                    <a:pt x="74" y="96"/>
                    <a:pt x="82" y="96"/>
                    <a:pt x="85" y="99"/>
                  </a:cubicBezTo>
                  <a:cubicBezTo>
                    <a:pt x="85" y="99"/>
                    <a:pt x="85" y="99"/>
                    <a:pt x="85" y="99"/>
                  </a:cubicBezTo>
                  <a:cubicBezTo>
                    <a:pt x="88" y="102"/>
                    <a:pt x="93" y="102"/>
                    <a:pt x="96" y="99"/>
                  </a:cubicBezTo>
                  <a:cubicBezTo>
                    <a:pt x="99" y="95"/>
                    <a:pt x="99" y="95"/>
                    <a:pt x="99" y="95"/>
                  </a:cubicBezTo>
                  <a:cubicBezTo>
                    <a:pt x="102" y="93"/>
                    <a:pt x="102" y="88"/>
                    <a:pt x="99" y="85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96" y="82"/>
                    <a:pt x="95" y="77"/>
                    <a:pt x="96" y="75"/>
                  </a:cubicBezTo>
                  <a:cubicBezTo>
                    <a:pt x="97" y="73"/>
                    <a:pt x="102" y="67"/>
                    <a:pt x="106" y="67"/>
                  </a:cubicBezTo>
                  <a:lnTo>
                    <a:pt x="107" y="67"/>
                  </a:lnTo>
                  <a:close/>
                  <a:moveTo>
                    <a:pt x="57" y="85"/>
                  </a:moveTo>
                  <a:cubicBezTo>
                    <a:pt x="41" y="85"/>
                    <a:pt x="29" y="73"/>
                    <a:pt x="29" y="57"/>
                  </a:cubicBezTo>
                  <a:cubicBezTo>
                    <a:pt x="29" y="41"/>
                    <a:pt x="41" y="28"/>
                    <a:pt x="57" y="28"/>
                  </a:cubicBezTo>
                  <a:cubicBezTo>
                    <a:pt x="73" y="28"/>
                    <a:pt x="86" y="41"/>
                    <a:pt x="86" y="57"/>
                  </a:cubicBezTo>
                  <a:cubicBezTo>
                    <a:pt x="86" y="73"/>
                    <a:pt x="73" y="85"/>
                    <a:pt x="57" y="85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17" name="íSḻiḍê">
              <a:extLst>
                <a:ext uri="{FF2B5EF4-FFF2-40B4-BE49-F238E27FC236}">
                  <a16:creationId xmlns:a16="http://schemas.microsoft.com/office/drawing/2014/main" xmlns="" id="{7A70E583-B159-49FD-B02E-D866517B5748}"/>
                </a:ext>
              </a:extLst>
            </p:cNvPr>
            <p:cNvSpPr/>
            <p:nvPr/>
          </p:nvSpPr>
          <p:spPr bwMode="auto">
            <a:xfrm>
              <a:off x="7571261" y="2944927"/>
              <a:ext cx="509639" cy="463007"/>
            </a:xfrm>
            <a:custGeom>
              <a:avLst/>
              <a:gdLst>
                <a:gd name="connsiteX0" fmla="*/ 388539 w 509639"/>
                <a:gd name="connsiteY0" fmla="*/ 320608 h 463007"/>
                <a:gd name="connsiteX1" fmla="*/ 338688 w 509639"/>
                <a:gd name="connsiteY1" fmla="*/ 368074 h 463007"/>
                <a:gd name="connsiteX2" fmla="*/ 388539 w 509639"/>
                <a:gd name="connsiteY2" fmla="*/ 415541 h 463007"/>
                <a:gd name="connsiteX3" fmla="*/ 435765 w 509639"/>
                <a:gd name="connsiteY3" fmla="*/ 368074 h 463007"/>
                <a:gd name="connsiteX4" fmla="*/ 388539 w 509639"/>
                <a:gd name="connsiteY4" fmla="*/ 320608 h 463007"/>
                <a:gd name="connsiteX5" fmla="*/ 388539 w 509639"/>
                <a:gd name="connsiteY5" fmla="*/ 273141 h 463007"/>
                <a:gd name="connsiteX6" fmla="*/ 404281 w 509639"/>
                <a:gd name="connsiteY6" fmla="*/ 286326 h 463007"/>
                <a:gd name="connsiteX7" fmla="*/ 417399 w 509639"/>
                <a:gd name="connsiteY7" fmla="*/ 304785 h 463007"/>
                <a:gd name="connsiteX8" fmla="*/ 433142 w 509639"/>
                <a:gd name="connsiteY8" fmla="*/ 296874 h 463007"/>
                <a:gd name="connsiteX9" fmla="*/ 454131 w 509639"/>
                <a:gd name="connsiteY9" fmla="*/ 299511 h 463007"/>
                <a:gd name="connsiteX10" fmla="*/ 456755 w 509639"/>
                <a:gd name="connsiteY10" fmla="*/ 320608 h 463007"/>
                <a:gd name="connsiteX11" fmla="*/ 454131 w 509639"/>
                <a:gd name="connsiteY11" fmla="*/ 344341 h 463007"/>
                <a:gd name="connsiteX12" fmla="*/ 469874 w 509639"/>
                <a:gd name="connsiteY12" fmla="*/ 352252 h 463007"/>
                <a:gd name="connsiteX13" fmla="*/ 482992 w 509639"/>
                <a:gd name="connsiteY13" fmla="*/ 368074 h 463007"/>
                <a:gd name="connsiteX14" fmla="*/ 469874 w 509639"/>
                <a:gd name="connsiteY14" fmla="*/ 383896 h 463007"/>
                <a:gd name="connsiteX15" fmla="*/ 451508 w 509639"/>
                <a:gd name="connsiteY15" fmla="*/ 399718 h 463007"/>
                <a:gd name="connsiteX16" fmla="*/ 456755 w 509639"/>
                <a:gd name="connsiteY16" fmla="*/ 415541 h 463007"/>
                <a:gd name="connsiteX17" fmla="*/ 454131 w 509639"/>
                <a:gd name="connsiteY17" fmla="*/ 436637 h 463007"/>
                <a:gd name="connsiteX18" fmla="*/ 433142 w 509639"/>
                <a:gd name="connsiteY18" fmla="*/ 439274 h 463007"/>
                <a:gd name="connsiteX19" fmla="*/ 412152 w 509639"/>
                <a:gd name="connsiteY19" fmla="*/ 436637 h 463007"/>
                <a:gd name="connsiteX20" fmla="*/ 404281 w 509639"/>
                <a:gd name="connsiteY20" fmla="*/ 452459 h 463007"/>
                <a:gd name="connsiteX21" fmla="*/ 388539 w 509639"/>
                <a:gd name="connsiteY21" fmla="*/ 463007 h 463007"/>
                <a:gd name="connsiteX22" fmla="*/ 370173 w 509639"/>
                <a:gd name="connsiteY22" fmla="*/ 452459 h 463007"/>
                <a:gd name="connsiteX23" fmla="*/ 357054 w 509639"/>
                <a:gd name="connsiteY23" fmla="*/ 434000 h 463007"/>
                <a:gd name="connsiteX24" fmla="*/ 341312 w 509639"/>
                <a:gd name="connsiteY24" fmla="*/ 439274 h 463007"/>
                <a:gd name="connsiteX25" fmla="*/ 320322 w 509639"/>
                <a:gd name="connsiteY25" fmla="*/ 436637 h 463007"/>
                <a:gd name="connsiteX26" fmla="*/ 317698 w 509639"/>
                <a:gd name="connsiteY26" fmla="*/ 415541 h 463007"/>
                <a:gd name="connsiteX27" fmla="*/ 320322 w 509639"/>
                <a:gd name="connsiteY27" fmla="*/ 391807 h 463007"/>
                <a:gd name="connsiteX28" fmla="*/ 304580 w 509639"/>
                <a:gd name="connsiteY28" fmla="*/ 383896 h 463007"/>
                <a:gd name="connsiteX29" fmla="*/ 291461 w 509639"/>
                <a:gd name="connsiteY29" fmla="*/ 368074 h 463007"/>
                <a:gd name="connsiteX30" fmla="*/ 304580 w 509639"/>
                <a:gd name="connsiteY30" fmla="*/ 352252 h 463007"/>
                <a:gd name="connsiteX31" fmla="*/ 322946 w 509639"/>
                <a:gd name="connsiteY31" fmla="*/ 336430 h 463007"/>
                <a:gd name="connsiteX32" fmla="*/ 317698 w 509639"/>
                <a:gd name="connsiteY32" fmla="*/ 320608 h 463007"/>
                <a:gd name="connsiteX33" fmla="*/ 320322 w 509639"/>
                <a:gd name="connsiteY33" fmla="*/ 299511 h 463007"/>
                <a:gd name="connsiteX34" fmla="*/ 341312 w 509639"/>
                <a:gd name="connsiteY34" fmla="*/ 296874 h 463007"/>
                <a:gd name="connsiteX35" fmla="*/ 362301 w 509639"/>
                <a:gd name="connsiteY35" fmla="*/ 302148 h 463007"/>
                <a:gd name="connsiteX36" fmla="*/ 370173 w 509639"/>
                <a:gd name="connsiteY36" fmla="*/ 286326 h 463007"/>
                <a:gd name="connsiteX37" fmla="*/ 388539 w 509639"/>
                <a:gd name="connsiteY37" fmla="*/ 273141 h 463007"/>
                <a:gd name="connsiteX38" fmla="*/ 149894 w 509639"/>
                <a:gd name="connsiteY38" fmla="*/ 204682 h 463007"/>
                <a:gd name="connsiteX39" fmla="*/ 73632 w 509639"/>
                <a:gd name="connsiteY39" fmla="*/ 278485 h 463007"/>
                <a:gd name="connsiteX40" fmla="*/ 149894 w 509639"/>
                <a:gd name="connsiteY40" fmla="*/ 354923 h 463007"/>
                <a:gd name="connsiteX41" fmla="*/ 223526 w 509639"/>
                <a:gd name="connsiteY41" fmla="*/ 278485 h 463007"/>
                <a:gd name="connsiteX42" fmla="*/ 149894 w 509639"/>
                <a:gd name="connsiteY42" fmla="*/ 204682 h 463007"/>
                <a:gd name="connsiteX43" fmla="*/ 142005 w 509639"/>
                <a:gd name="connsiteY43" fmla="*/ 128243 h 463007"/>
                <a:gd name="connsiteX44" fmla="*/ 155154 w 509639"/>
                <a:gd name="connsiteY44" fmla="*/ 128243 h 463007"/>
                <a:gd name="connsiteX45" fmla="*/ 176191 w 509639"/>
                <a:gd name="connsiteY45" fmla="*/ 149330 h 463007"/>
                <a:gd name="connsiteX46" fmla="*/ 197229 w 509639"/>
                <a:gd name="connsiteY46" fmla="*/ 178324 h 463007"/>
                <a:gd name="connsiteX47" fmla="*/ 223526 w 509639"/>
                <a:gd name="connsiteY47" fmla="*/ 170416 h 463007"/>
                <a:gd name="connsiteX48" fmla="*/ 223526 w 509639"/>
                <a:gd name="connsiteY48" fmla="*/ 167780 h 463007"/>
                <a:gd name="connsiteX49" fmla="*/ 252453 w 509639"/>
                <a:gd name="connsiteY49" fmla="*/ 167780 h 463007"/>
                <a:gd name="connsiteX50" fmla="*/ 260342 w 509639"/>
                <a:gd name="connsiteY50" fmla="*/ 178324 h 463007"/>
                <a:gd name="connsiteX51" fmla="*/ 260342 w 509639"/>
                <a:gd name="connsiteY51" fmla="*/ 204682 h 463007"/>
                <a:gd name="connsiteX52" fmla="*/ 260342 w 509639"/>
                <a:gd name="connsiteY52" fmla="*/ 207318 h 463007"/>
                <a:gd name="connsiteX53" fmla="*/ 255083 w 509639"/>
                <a:gd name="connsiteY53" fmla="*/ 241583 h 463007"/>
                <a:gd name="connsiteX54" fmla="*/ 278750 w 509639"/>
                <a:gd name="connsiteY54" fmla="*/ 252127 h 463007"/>
                <a:gd name="connsiteX55" fmla="*/ 299788 w 509639"/>
                <a:gd name="connsiteY55" fmla="*/ 273213 h 463007"/>
                <a:gd name="connsiteX56" fmla="*/ 299788 w 509639"/>
                <a:gd name="connsiteY56" fmla="*/ 286392 h 463007"/>
                <a:gd name="connsiteX57" fmla="*/ 278750 w 509639"/>
                <a:gd name="connsiteY57" fmla="*/ 304843 h 463007"/>
                <a:gd name="connsiteX58" fmla="*/ 249824 w 509639"/>
                <a:gd name="connsiteY58" fmla="*/ 328565 h 463007"/>
                <a:gd name="connsiteX59" fmla="*/ 260342 w 509639"/>
                <a:gd name="connsiteY59" fmla="*/ 352288 h 463007"/>
                <a:gd name="connsiteX60" fmla="*/ 260342 w 509639"/>
                <a:gd name="connsiteY60" fmla="*/ 381282 h 463007"/>
                <a:gd name="connsiteX61" fmla="*/ 252453 w 509639"/>
                <a:gd name="connsiteY61" fmla="*/ 391825 h 463007"/>
                <a:gd name="connsiteX62" fmla="*/ 223526 w 509639"/>
                <a:gd name="connsiteY62" fmla="*/ 389189 h 463007"/>
                <a:gd name="connsiteX63" fmla="*/ 186710 w 509639"/>
                <a:gd name="connsiteY63" fmla="*/ 386553 h 463007"/>
                <a:gd name="connsiteX64" fmla="*/ 176191 w 509639"/>
                <a:gd name="connsiteY64" fmla="*/ 410276 h 463007"/>
                <a:gd name="connsiteX65" fmla="*/ 155154 w 509639"/>
                <a:gd name="connsiteY65" fmla="*/ 431362 h 463007"/>
                <a:gd name="connsiteX66" fmla="*/ 142005 w 509639"/>
                <a:gd name="connsiteY66" fmla="*/ 431362 h 463007"/>
                <a:gd name="connsiteX67" fmla="*/ 123597 w 509639"/>
                <a:gd name="connsiteY67" fmla="*/ 410276 h 463007"/>
                <a:gd name="connsiteX68" fmla="*/ 99930 w 509639"/>
                <a:gd name="connsiteY68" fmla="*/ 381282 h 463007"/>
                <a:gd name="connsiteX69" fmla="*/ 76262 w 509639"/>
                <a:gd name="connsiteY69" fmla="*/ 389189 h 463007"/>
                <a:gd name="connsiteX70" fmla="*/ 76262 w 509639"/>
                <a:gd name="connsiteY70" fmla="*/ 391825 h 463007"/>
                <a:gd name="connsiteX71" fmla="*/ 47335 w 509639"/>
                <a:gd name="connsiteY71" fmla="*/ 389189 h 463007"/>
                <a:gd name="connsiteX72" fmla="*/ 39446 w 509639"/>
                <a:gd name="connsiteY72" fmla="*/ 381282 h 463007"/>
                <a:gd name="connsiteX73" fmla="*/ 39446 w 509639"/>
                <a:gd name="connsiteY73" fmla="*/ 352288 h 463007"/>
                <a:gd name="connsiteX74" fmla="*/ 44705 w 509639"/>
                <a:gd name="connsiteY74" fmla="*/ 318022 h 463007"/>
                <a:gd name="connsiteX75" fmla="*/ 21038 w 509639"/>
                <a:gd name="connsiteY75" fmla="*/ 304843 h 463007"/>
                <a:gd name="connsiteX76" fmla="*/ 18408 w 509639"/>
                <a:gd name="connsiteY76" fmla="*/ 304843 h 463007"/>
                <a:gd name="connsiteX77" fmla="*/ 0 w 509639"/>
                <a:gd name="connsiteY77" fmla="*/ 286392 h 463007"/>
                <a:gd name="connsiteX78" fmla="*/ 0 w 509639"/>
                <a:gd name="connsiteY78" fmla="*/ 273213 h 463007"/>
                <a:gd name="connsiteX79" fmla="*/ 18408 w 509639"/>
                <a:gd name="connsiteY79" fmla="*/ 252127 h 463007"/>
                <a:gd name="connsiteX80" fmla="*/ 21038 w 509639"/>
                <a:gd name="connsiteY80" fmla="*/ 252127 h 463007"/>
                <a:gd name="connsiteX81" fmla="*/ 47335 w 509639"/>
                <a:gd name="connsiteY81" fmla="*/ 231040 h 463007"/>
                <a:gd name="connsiteX82" fmla="*/ 39446 w 509639"/>
                <a:gd name="connsiteY82" fmla="*/ 207318 h 463007"/>
                <a:gd name="connsiteX83" fmla="*/ 39446 w 509639"/>
                <a:gd name="connsiteY83" fmla="*/ 204682 h 463007"/>
                <a:gd name="connsiteX84" fmla="*/ 39446 w 509639"/>
                <a:gd name="connsiteY84" fmla="*/ 178324 h 463007"/>
                <a:gd name="connsiteX85" fmla="*/ 47335 w 509639"/>
                <a:gd name="connsiteY85" fmla="*/ 167780 h 463007"/>
                <a:gd name="connsiteX86" fmla="*/ 76262 w 509639"/>
                <a:gd name="connsiteY86" fmla="*/ 167780 h 463007"/>
                <a:gd name="connsiteX87" fmla="*/ 76262 w 509639"/>
                <a:gd name="connsiteY87" fmla="*/ 170416 h 463007"/>
                <a:gd name="connsiteX88" fmla="*/ 113078 w 509639"/>
                <a:gd name="connsiteY88" fmla="*/ 173052 h 463007"/>
                <a:gd name="connsiteX89" fmla="*/ 123597 w 509639"/>
                <a:gd name="connsiteY89" fmla="*/ 149330 h 463007"/>
                <a:gd name="connsiteX90" fmla="*/ 142005 w 509639"/>
                <a:gd name="connsiteY90" fmla="*/ 128243 h 463007"/>
                <a:gd name="connsiteX91" fmla="*/ 389366 w 509639"/>
                <a:gd name="connsiteY91" fmla="*/ 60548 h 463007"/>
                <a:gd name="connsiteX92" fmla="*/ 326615 w 509639"/>
                <a:gd name="connsiteY92" fmla="*/ 123730 h 463007"/>
                <a:gd name="connsiteX93" fmla="*/ 389366 w 509639"/>
                <a:gd name="connsiteY93" fmla="*/ 184279 h 463007"/>
                <a:gd name="connsiteX94" fmla="*/ 449503 w 509639"/>
                <a:gd name="connsiteY94" fmla="*/ 123730 h 463007"/>
                <a:gd name="connsiteX95" fmla="*/ 389366 w 509639"/>
                <a:gd name="connsiteY95" fmla="*/ 60548 h 463007"/>
                <a:gd name="connsiteX96" fmla="*/ 386751 w 509639"/>
                <a:gd name="connsiteY96" fmla="*/ 0 h 463007"/>
                <a:gd name="connsiteX97" fmla="*/ 389366 w 509639"/>
                <a:gd name="connsiteY97" fmla="*/ 0 h 463007"/>
                <a:gd name="connsiteX98" fmla="*/ 410283 w 509639"/>
                <a:gd name="connsiteY98" fmla="*/ 15795 h 463007"/>
                <a:gd name="connsiteX99" fmla="*/ 428586 w 509639"/>
                <a:gd name="connsiteY99" fmla="*/ 39488 h 463007"/>
                <a:gd name="connsiteX100" fmla="*/ 446888 w 509639"/>
                <a:gd name="connsiteY100" fmla="*/ 31590 h 463007"/>
                <a:gd name="connsiteX101" fmla="*/ 473034 w 509639"/>
                <a:gd name="connsiteY101" fmla="*/ 34223 h 463007"/>
                <a:gd name="connsiteX102" fmla="*/ 475649 w 509639"/>
                <a:gd name="connsiteY102" fmla="*/ 36856 h 463007"/>
                <a:gd name="connsiteX103" fmla="*/ 478264 w 509639"/>
                <a:gd name="connsiteY103" fmla="*/ 63181 h 463007"/>
                <a:gd name="connsiteX104" fmla="*/ 473034 w 509639"/>
                <a:gd name="connsiteY104" fmla="*/ 92139 h 463007"/>
                <a:gd name="connsiteX105" fmla="*/ 493951 w 509639"/>
                <a:gd name="connsiteY105" fmla="*/ 102669 h 463007"/>
                <a:gd name="connsiteX106" fmla="*/ 509639 w 509639"/>
                <a:gd name="connsiteY106" fmla="*/ 121097 h 463007"/>
                <a:gd name="connsiteX107" fmla="*/ 509639 w 509639"/>
                <a:gd name="connsiteY107" fmla="*/ 123730 h 463007"/>
                <a:gd name="connsiteX108" fmla="*/ 493951 w 509639"/>
                <a:gd name="connsiteY108" fmla="*/ 144790 h 463007"/>
                <a:gd name="connsiteX109" fmla="*/ 470420 w 509639"/>
                <a:gd name="connsiteY109" fmla="*/ 163218 h 463007"/>
                <a:gd name="connsiteX110" fmla="*/ 478264 w 509639"/>
                <a:gd name="connsiteY110" fmla="*/ 181646 h 463007"/>
                <a:gd name="connsiteX111" fmla="*/ 475649 w 509639"/>
                <a:gd name="connsiteY111" fmla="*/ 207971 h 463007"/>
                <a:gd name="connsiteX112" fmla="*/ 473034 w 509639"/>
                <a:gd name="connsiteY112" fmla="*/ 210604 h 463007"/>
                <a:gd name="connsiteX113" fmla="*/ 446888 w 509639"/>
                <a:gd name="connsiteY113" fmla="*/ 213237 h 463007"/>
                <a:gd name="connsiteX114" fmla="*/ 418127 w 509639"/>
                <a:gd name="connsiteY114" fmla="*/ 210604 h 463007"/>
                <a:gd name="connsiteX115" fmla="*/ 410283 w 509639"/>
                <a:gd name="connsiteY115" fmla="*/ 229032 h 463007"/>
                <a:gd name="connsiteX116" fmla="*/ 389366 w 509639"/>
                <a:gd name="connsiteY116" fmla="*/ 244827 h 463007"/>
                <a:gd name="connsiteX117" fmla="*/ 386751 w 509639"/>
                <a:gd name="connsiteY117" fmla="*/ 244827 h 463007"/>
                <a:gd name="connsiteX118" fmla="*/ 365834 w 509639"/>
                <a:gd name="connsiteY118" fmla="*/ 229032 h 463007"/>
                <a:gd name="connsiteX119" fmla="*/ 347532 w 509639"/>
                <a:gd name="connsiteY119" fmla="*/ 205339 h 463007"/>
                <a:gd name="connsiteX120" fmla="*/ 329229 w 509639"/>
                <a:gd name="connsiteY120" fmla="*/ 213237 h 463007"/>
                <a:gd name="connsiteX121" fmla="*/ 303083 w 509639"/>
                <a:gd name="connsiteY121" fmla="*/ 210604 h 463007"/>
                <a:gd name="connsiteX122" fmla="*/ 300468 w 509639"/>
                <a:gd name="connsiteY122" fmla="*/ 207971 h 463007"/>
                <a:gd name="connsiteX123" fmla="*/ 297854 w 509639"/>
                <a:gd name="connsiteY123" fmla="*/ 181646 h 463007"/>
                <a:gd name="connsiteX124" fmla="*/ 303083 w 509639"/>
                <a:gd name="connsiteY124" fmla="*/ 152688 h 463007"/>
                <a:gd name="connsiteX125" fmla="*/ 282166 w 509639"/>
                <a:gd name="connsiteY125" fmla="*/ 144790 h 463007"/>
                <a:gd name="connsiteX126" fmla="*/ 266478 w 509639"/>
                <a:gd name="connsiteY126" fmla="*/ 123730 h 463007"/>
                <a:gd name="connsiteX127" fmla="*/ 266478 w 509639"/>
                <a:gd name="connsiteY127" fmla="*/ 121097 h 463007"/>
                <a:gd name="connsiteX128" fmla="*/ 282166 w 509639"/>
                <a:gd name="connsiteY128" fmla="*/ 102669 h 463007"/>
                <a:gd name="connsiteX129" fmla="*/ 305698 w 509639"/>
                <a:gd name="connsiteY129" fmla="*/ 84241 h 463007"/>
                <a:gd name="connsiteX130" fmla="*/ 297854 w 509639"/>
                <a:gd name="connsiteY130" fmla="*/ 63181 h 463007"/>
                <a:gd name="connsiteX131" fmla="*/ 300468 w 509639"/>
                <a:gd name="connsiteY131" fmla="*/ 36856 h 463007"/>
                <a:gd name="connsiteX132" fmla="*/ 303083 w 509639"/>
                <a:gd name="connsiteY132" fmla="*/ 34223 h 463007"/>
                <a:gd name="connsiteX133" fmla="*/ 329229 w 509639"/>
                <a:gd name="connsiteY133" fmla="*/ 31590 h 463007"/>
                <a:gd name="connsiteX134" fmla="*/ 357990 w 509639"/>
                <a:gd name="connsiteY134" fmla="*/ 36856 h 463007"/>
                <a:gd name="connsiteX135" fmla="*/ 365834 w 509639"/>
                <a:gd name="connsiteY135" fmla="*/ 15795 h 463007"/>
                <a:gd name="connsiteX136" fmla="*/ 386751 w 509639"/>
                <a:gd name="connsiteY136" fmla="*/ 0 h 463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</a:cxnLst>
              <a:rect l="l" t="t" r="r" b="b"/>
              <a:pathLst>
                <a:path w="509639" h="463007">
                  <a:moveTo>
                    <a:pt x="388539" y="320608"/>
                  </a:moveTo>
                  <a:cubicBezTo>
                    <a:pt x="359678" y="320608"/>
                    <a:pt x="338688" y="341704"/>
                    <a:pt x="338688" y="368074"/>
                  </a:cubicBezTo>
                  <a:cubicBezTo>
                    <a:pt x="338688" y="394444"/>
                    <a:pt x="359678" y="415541"/>
                    <a:pt x="388539" y="415541"/>
                  </a:cubicBezTo>
                  <a:cubicBezTo>
                    <a:pt x="414776" y="415541"/>
                    <a:pt x="435765" y="394444"/>
                    <a:pt x="435765" y="368074"/>
                  </a:cubicBezTo>
                  <a:cubicBezTo>
                    <a:pt x="435765" y="341704"/>
                    <a:pt x="414776" y="320608"/>
                    <a:pt x="388539" y="320608"/>
                  </a:cubicBezTo>
                  <a:close/>
                  <a:moveTo>
                    <a:pt x="388539" y="273141"/>
                  </a:moveTo>
                  <a:cubicBezTo>
                    <a:pt x="396410" y="273141"/>
                    <a:pt x="404281" y="278415"/>
                    <a:pt x="404281" y="286326"/>
                  </a:cubicBezTo>
                  <a:cubicBezTo>
                    <a:pt x="404281" y="291600"/>
                    <a:pt x="414776" y="302148"/>
                    <a:pt x="417399" y="304785"/>
                  </a:cubicBezTo>
                  <a:cubicBezTo>
                    <a:pt x="422647" y="304785"/>
                    <a:pt x="427894" y="302148"/>
                    <a:pt x="433142" y="296874"/>
                  </a:cubicBezTo>
                  <a:cubicBezTo>
                    <a:pt x="438389" y="291600"/>
                    <a:pt x="448884" y="294237"/>
                    <a:pt x="454131" y="299511"/>
                  </a:cubicBezTo>
                  <a:cubicBezTo>
                    <a:pt x="462003" y="307422"/>
                    <a:pt x="462003" y="315334"/>
                    <a:pt x="456755" y="320608"/>
                  </a:cubicBezTo>
                  <a:cubicBezTo>
                    <a:pt x="451508" y="325882"/>
                    <a:pt x="454131" y="341704"/>
                    <a:pt x="454131" y="344341"/>
                  </a:cubicBezTo>
                  <a:cubicBezTo>
                    <a:pt x="456755" y="349615"/>
                    <a:pt x="462003" y="352252"/>
                    <a:pt x="469874" y="352252"/>
                  </a:cubicBezTo>
                  <a:cubicBezTo>
                    <a:pt x="477745" y="352252"/>
                    <a:pt x="482992" y="360163"/>
                    <a:pt x="482992" y="368074"/>
                  </a:cubicBezTo>
                  <a:cubicBezTo>
                    <a:pt x="482992" y="378622"/>
                    <a:pt x="477745" y="383896"/>
                    <a:pt x="469874" y="383896"/>
                  </a:cubicBezTo>
                  <a:cubicBezTo>
                    <a:pt x="462003" y="383896"/>
                    <a:pt x="454131" y="394444"/>
                    <a:pt x="451508" y="399718"/>
                  </a:cubicBezTo>
                  <a:cubicBezTo>
                    <a:pt x="448884" y="402355"/>
                    <a:pt x="451508" y="410267"/>
                    <a:pt x="456755" y="415541"/>
                  </a:cubicBezTo>
                  <a:cubicBezTo>
                    <a:pt x="462003" y="420815"/>
                    <a:pt x="462003" y="428726"/>
                    <a:pt x="454131" y="436637"/>
                  </a:cubicBezTo>
                  <a:cubicBezTo>
                    <a:pt x="448884" y="441911"/>
                    <a:pt x="438389" y="444548"/>
                    <a:pt x="433142" y="439274"/>
                  </a:cubicBezTo>
                  <a:cubicBezTo>
                    <a:pt x="427894" y="434000"/>
                    <a:pt x="414776" y="434000"/>
                    <a:pt x="412152" y="436637"/>
                  </a:cubicBezTo>
                  <a:cubicBezTo>
                    <a:pt x="406905" y="436637"/>
                    <a:pt x="404281" y="444548"/>
                    <a:pt x="404281" y="452459"/>
                  </a:cubicBezTo>
                  <a:cubicBezTo>
                    <a:pt x="404281" y="457733"/>
                    <a:pt x="396410" y="463007"/>
                    <a:pt x="388539" y="463007"/>
                  </a:cubicBezTo>
                  <a:cubicBezTo>
                    <a:pt x="378044" y="463007"/>
                    <a:pt x="370173" y="457733"/>
                    <a:pt x="370173" y="452459"/>
                  </a:cubicBezTo>
                  <a:cubicBezTo>
                    <a:pt x="370173" y="444548"/>
                    <a:pt x="359678" y="434000"/>
                    <a:pt x="357054" y="434000"/>
                  </a:cubicBezTo>
                  <a:cubicBezTo>
                    <a:pt x="351807" y="431363"/>
                    <a:pt x="346559" y="434000"/>
                    <a:pt x="341312" y="439274"/>
                  </a:cubicBezTo>
                  <a:cubicBezTo>
                    <a:pt x="336064" y="444548"/>
                    <a:pt x="325570" y="441911"/>
                    <a:pt x="320322" y="436637"/>
                  </a:cubicBezTo>
                  <a:cubicBezTo>
                    <a:pt x="312451" y="428726"/>
                    <a:pt x="312451" y="420815"/>
                    <a:pt x="317698" y="415541"/>
                  </a:cubicBezTo>
                  <a:cubicBezTo>
                    <a:pt x="322946" y="410267"/>
                    <a:pt x="320322" y="397081"/>
                    <a:pt x="320322" y="391807"/>
                  </a:cubicBezTo>
                  <a:cubicBezTo>
                    <a:pt x="317698" y="389170"/>
                    <a:pt x="312451" y="383896"/>
                    <a:pt x="304580" y="383896"/>
                  </a:cubicBezTo>
                  <a:cubicBezTo>
                    <a:pt x="296709" y="383896"/>
                    <a:pt x="291461" y="378622"/>
                    <a:pt x="291461" y="368074"/>
                  </a:cubicBezTo>
                  <a:cubicBezTo>
                    <a:pt x="291461" y="360163"/>
                    <a:pt x="296709" y="352252"/>
                    <a:pt x="304580" y="352252"/>
                  </a:cubicBezTo>
                  <a:cubicBezTo>
                    <a:pt x="312451" y="352252"/>
                    <a:pt x="320322" y="341704"/>
                    <a:pt x="322946" y="336430"/>
                  </a:cubicBezTo>
                  <a:cubicBezTo>
                    <a:pt x="325570" y="333793"/>
                    <a:pt x="322946" y="325882"/>
                    <a:pt x="317698" y="320608"/>
                  </a:cubicBezTo>
                  <a:cubicBezTo>
                    <a:pt x="312451" y="315334"/>
                    <a:pt x="312451" y="307422"/>
                    <a:pt x="320322" y="299511"/>
                  </a:cubicBezTo>
                  <a:cubicBezTo>
                    <a:pt x="325570" y="294237"/>
                    <a:pt x="336064" y="291600"/>
                    <a:pt x="341312" y="296874"/>
                  </a:cubicBezTo>
                  <a:cubicBezTo>
                    <a:pt x="346559" y="302148"/>
                    <a:pt x="359678" y="302148"/>
                    <a:pt x="362301" y="302148"/>
                  </a:cubicBezTo>
                  <a:cubicBezTo>
                    <a:pt x="367549" y="299511"/>
                    <a:pt x="370173" y="291600"/>
                    <a:pt x="370173" y="286326"/>
                  </a:cubicBezTo>
                  <a:cubicBezTo>
                    <a:pt x="370173" y="278415"/>
                    <a:pt x="378044" y="273141"/>
                    <a:pt x="388539" y="273141"/>
                  </a:cubicBezTo>
                  <a:close/>
                  <a:moveTo>
                    <a:pt x="149894" y="204682"/>
                  </a:moveTo>
                  <a:cubicBezTo>
                    <a:pt x="107819" y="204682"/>
                    <a:pt x="73632" y="238947"/>
                    <a:pt x="73632" y="278485"/>
                  </a:cubicBezTo>
                  <a:cubicBezTo>
                    <a:pt x="73632" y="320658"/>
                    <a:pt x="107819" y="354923"/>
                    <a:pt x="149894" y="354923"/>
                  </a:cubicBezTo>
                  <a:cubicBezTo>
                    <a:pt x="191970" y="354923"/>
                    <a:pt x="223526" y="320658"/>
                    <a:pt x="223526" y="278485"/>
                  </a:cubicBezTo>
                  <a:cubicBezTo>
                    <a:pt x="223526" y="238947"/>
                    <a:pt x="191970" y="204682"/>
                    <a:pt x="149894" y="204682"/>
                  </a:cubicBezTo>
                  <a:close/>
                  <a:moveTo>
                    <a:pt x="142005" y="128243"/>
                  </a:moveTo>
                  <a:cubicBezTo>
                    <a:pt x="142005" y="128243"/>
                    <a:pt x="142005" y="128243"/>
                    <a:pt x="155154" y="128243"/>
                  </a:cubicBezTo>
                  <a:cubicBezTo>
                    <a:pt x="165673" y="128243"/>
                    <a:pt x="176191" y="138786"/>
                    <a:pt x="176191" y="149330"/>
                  </a:cubicBezTo>
                  <a:cubicBezTo>
                    <a:pt x="176191" y="159873"/>
                    <a:pt x="191970" y="175688"/>
                    <a:pt x="197229" y="178324"/>
                  </a:cubicBezTo>
                  <a:cubicBezTo>
                    <a:pt x="202489" y="180959"/>
                    <a:pt x="215637" y="175688"/>
                    <a:pt x="223526" y="170416"/>
                  </a:cubicBezTo>
                  <a:cubicBezTo>
                    <a:pt x="223526" y="170416"/>
                    <a:pt x="223526" y="170416"/>
                    <a:pt x="223526" y="167780"/>
                  </a:cubicBezTo>
                  <a:cubicBezTo>
                    <a:pt x="231416" y="159873"/>
                    <a:pt x="244564" y="159873"/>
                    <a:pt x="252453" y="167780"/>
                  </a:cubicBezTo>
                  <a:cubicBezTo>
                    <a:pt x="252453" y="167780"/>
                    <a:pt x="252453" y="167780"/>
                    <a:pt x="260342" y="178324"/>
                  </a:cubicBezTo>
                  <a:cubicBezTo>
                    <a:pt x="268232" y="186231"/>
                    <a:pt x="268232" y="199410"/>
                    <a:pt x="260342" y="204682"/>
                  </a:cubicBezTo>
                  <a:cubicBezTo>
                    <a:pt x="260342" y="204682"/>
                    <a:pt x="260342" y="204682"/>
                    <a:pt x="260342" y="207318"/>
                  </a:cubicBezTo>
                  <a:cubicBezTo>
                    <a:pt x="252453" y="215225"/>
                    <a:pt x="252453" y="236312"/>
                    <a:pt x="255083" y="241583"/>
                  </a:cubicBezTo>
                  <a:cubicBezTo>
                    <a:pt x="257713" y="246855"/>
                    <a:pt x="268232" y="252127"/>
                    <a:pt x="278750" y="252127"/>
                  </a:cubicBezTo>
                  <a:cubicBezTo>
                    <a:pt x="291899" y="252127"/>
                    <a:pt x="299788" y="262670"/>
                    <a:pt x="299788" y="273213"/>
                  </a:cubicBezTo>
                  <a:cubicBezTo>
                    <a:pt x="299788" y="273213"/>
                    <a:pt x="299788" y="273213"/>
                    <a:pt x="299788" y="286392"/>
                  </a:cubicBezTo>
                  <a:cubicBezTo>
                    <a:pt x="299788" y="296935"/>
                    <a:pt x="291899" y="304843"/>
                    <a:pt x="278750" y="304843"/>
                  </a:cubicBezTo>
                  <a:cubicBezTo>
                    <a:pt x="268232" y="304843"/>
                    <a:pt x="255083" y="323294"/>
                    <a:pt x="249824" y="328565"/>
                  </a:cubicBezTo>
                  <a:cubicBezTo>
                    <a:pt x="247194" y="333837"/>
                    <a:pt x="252453" y="344380"/>
                    <a:pt x="260342" y="352288"/>
                  </a:cubicBezTo>
                  <a:cubicBezTo>
                    <a:pt x="268232" y="360195"/>
                    <a:pt x="268232" y="373374"/>
                    <a:pt x="260342" y="381282"/>
                  </a:cubicBezTo>
                  <a:cubicBezTo>
                    <a:pt x="260342" y="381282"/>
                    <a:pt x="260342" y="381282"/>
                    <a:pt x="252453" y="391825"/>
                  </a:cubicBezTo>
                  <a:cubicBezTo>
                    <a:pt x="244564" y="397097"/>
                    <a:pt x="231416" y="397097"/>
                    <a:pt x="223526" y="389189"/>
                  </a:cubicBezTo>
                  <a:cubicBezTo>
                    <a:pt x="215637" y="381282"/>
                    <a:pt x="194599" y="383917"/>
                    <a:pt x="186710" y="386553"/>
                  </a:cubicBezTo>
                  <a:cubicBezTo>
                    <a:pt x="181451" y="386553"/>
                    <a:pt x="176191" y="397097"/>
                    <a:pt x="176191" y="410276"/>
                  </a:cubicBezTo>
                  <a:cubicBezTo>
                    <a:pt x="176191" y="420819"/>
                    <a:pt x="165673" y="431362"/>
                    <a:pt x="155154" y="431362"/>
                  </a:cubicBezTo>
                  <a:cubicBezTo>
                    <a:pt x="155154" y="431362"/>
                    <a:pt x="155154" y="431362"/>
                    <a:pt x="142005" y="431362"/>
                  </a:cubicBezTo>
                  <a:cubicBezTo>
                    <a:pt x="131486" y="431362"/>
                    <a:pt x="123597" y="420819"/>
                    <a:pt x="123597" y="410276"/>
                  </a:cubicBezTo>
                  <a:cubicBezTo>
                    <a:pt x="123597" y="397097"/>
                    <a:pt x="107819" y="383917"/>
                    <a:pt x="99930" y="381282"/>
                  </a:cubicBezTo>
                  <a:cubicBezTo>
                    <a:pt x="94670" y="378646"/>
                    <a:pt x="84151" y="381282"/>
                    <a:pt x="76262" y="389189"/>
                  </a:cubicBezTo>
                  <a:cubicBezTo>
                    <a:pt x="76262" y="389189"/>
                    <a:pt x="76262" y="389189"/>
                    <a:pt x="76262" y="391825"/>
                  </a:cubicBezTo>
                  <a:cubicBezTo>
                    <a:pt x="68373" y="397097"/>
                    <a:pt x="55224" y="397097"/>
                    <a:pt x="47335" y="389189"/>
                  </a:cubicBezTo>
                  <a:cubicBezTo>
                    <a:pt x="47335" y="389189"/>
                    <a:pt x="47335" y="389189"/>
                    <a:pt x="39446" y="381282"/>
                  </a:cubicBezTo>
                  <a:cubicBezTo>
                    <a:pt x="31557" y="373374"/>
                    <a:pt x="31557" y="360195"/>
                    <a:pt x="39446" y="352288"/>
                  </a:cubicBezTo>
                  <a:cubicBezTo>
                    <a:pt x="47335" y="344380"/>
                    <a:pt x="44705" y="323294"/>
                    <a:pt x="44705" y="318022"/>
                  </a:cubicBezTo>
                  <a:cubicBezTo>
                    <a:pt x="42076" y="310115"/>
                    <a:pt x="31557" y="304843"/>
                    <a:pt x="21038" y="304843"/>
                  </a:cubicBezTo>
                  <a:cubicBezTo>
                    <a:pt x="21038" y="304843"/>
                    <a:pt x="21038" y="304843"/>
                    <a:pt x="18408" y="304843"/>
                  </a:cubicBezTo>
                  <a:cubicBezTo>
                    <a:pt x="7889" y="304843"/>
                    <a:pt x="0" y="296935"/>
                    <a:pt x="0" y="286392"/>
                  </a:cubicBezTo>
                  <a:cubicBezTo>
                    <a:pt x="0" y="286392"/>
                    <a:pt x="0" y="286392"/>
                    <a:pt x="0" y="273213"/>
                  </a:cubicBezTo>
                  <a:cubicBezTo>
                    <a:pt x="0" y="262670"/>
                    <a:pt x="7889" y="252127"/>
                    <a:pt x="18408" y="252127"/>
                  </a:cubicBezTo>
                  <a:cubicBezTo>
                    <a:pt x="18408" y="252127"/>
                    <a:pt x="18408" y="252127"/>
                    <a:pt x="21038" y="252127"/>
                  </a:cubicBezTo>
                  <a:cubicBezTo>
                    <a:pt x="31557" y="252127"/>
                    <a:pt x="44705" y="236312"/>
                    <a:pt x="47335" y="231040"/>
                  </a:cubicBezTo>
                  <a:cubicBezTo>
                    <a:pt x="49965" y="225768"/>
                    <a:pt x="47335" y="215225"/>
                    <a:pt x="39446" y="207318"/>
                  </a:cubicBezTo>
                  <a:cubicBezTo>
                    <a:pt x="39446" y="207318"/>
                    <a:pt x="39446" y="207318"/>
                    <a:pt x="39446" y="204682"/>
                  </a:cubicBezTo>
                  <a:cubicBezTo>
                    <a:pt x="31557" y="199410"/>
                    <a:pt x="31557" y="186231"/>
                    <a:pt x="39446" y="178324"/>
                  </a:cubicBezTo>
                  <a:cubicBezTo>
                    <a:pt x="39446" y="178324"/>
                    <a:pt x="39446" y="178324"/>
                    <a:pt x="47335" y="167780"/>
                  </a:cubicBezTo>
                  <a:cubicBezTo>
                    <a:pt x="55224" y="159873"/>
                    <a:pt x="68373" y="159873"/>
                    <a:pt x="76262" y="167780"/>
                  </a:cubicBezTo>
                  <a:cubicBezTo>
                    <a:pt x="76262" y="167780"/>
                    <a:pt x="76262" y="167780"/>
                    <a:pt x="76262" y="170416"/>
                  </a:cubicBezTo>
                  <a:cubicBezTo>
                    <a:pt x="84151" y="175688"/>
                    <a:pt x="105189" y="175688"/>
                    <a:pt x="113078" y="173052"/>
                  </a:cubicBezTo>
                  <a:cubicBezTo>
                    <a:pt x="118338" y="170416"/>
                    <a:pt x="123597" y="159873"/>
                    <a:pt x="123597" y="149330"/>
                  </a:cubicBezTo>
                  <a:cubicBezTo>
                    <a:pt x="123597" y="138786"/>
                    <a:pt x="131486" y="128243"/>
                    <a:pt x="142005" y="128243"/>
                  </a:cubicBezTo>
                  <a:close/>
                  <a:moveTo>
                    <a:pt x="389366" y="60548"/>
                  </a:moveTo>
                  <a:cubicBezTo>
                    <a:pt x="355376" y="60548"/>
                    <a:pt x="326615" y="89507"/>
                    <a:pt x="326615" y="123730"/>
                  </a:cubicBezTo>
                  <a:cubicBezTo>
                    <a:pt x="326615" y="157953"/>
                    <a:pt x="355376" y="184279"/>
                    <a:pt x="389366" y="184279"/>
                  </a:cubicBezTo>
                  <a:cubicBezTo>
                    <a:pt x="420742" y="184279"/>
                    <a:pt x="449503" y="157953"/>
                    <a:pt x="449503" y="123730"/>
                  </a:cubicBezTo>
                  <a:cubicBezTo>
                    <a:pt x="449503" y="89507"/>
                    <a:pt x="420742" y="60548"/>
                    <a:pt x="389366" y="60548"/>
                  </a:cubicBezTo>
                  <a:close/>
                  <a:moveTo>
                    <a:pt x="386751" y="0"/>
                  </a:moveTo>
                  <a:cubicBezTo>
                    <a:pt x="386751" y="0"/>
                    <a:pt x="386751" y="0"/>
                    <a:pt x="389366" y="0"/>
                  </a:cubicBezTo>
                  <a:cubicBezTo>
                    <a:pt x="399825" y="0"/>
                    <a:pt x="410283" y="7898"/>
                    <a:pt x="410283" y="15795"/>
                  </a:cubicBezTo>
                  <a:cubicBezTo>
                    <a:pt x="410283" y="26325"/>
                    <a:pt x="423356" y="36856"/>
                    <a:pt x="428586" y="39488"/>
                  </a:cubicBezTo>
                  <a:cubicBezTo>
                    <a:pt x="431200" y="42121"/>
                    <a:pt x="441659" y="39488"/>
                    <a:pt x="446888" y="31590"/>
                  </a:cubicBezTo>
                  <a:cubicBezTo>
                    <a:pt x="454732" y="26325"/>
                    <a:pt x="465190" y="26325"/>
                    <a:pt x="473034" y="34223"/>
                  </a:cubicBezTo>
                  <a:cubicBezTo>
                    <a:pt x="473034" y="34223"/>
                    <a:pt x="473034" y="34223"/>
                    <a:pt x="475649" y="36856"/>
                  </a:cubicBezTo>
                  <a:cubicBezTo>
                    <a:pt x="483493" y="44753"/>
                    <a:pt x="483493" y="55283"/>
                    <a:pt x="478264" y="63181"/>
                  </a:cubicBezTo>
                  <a:cubicBezTo>
                    <a:pt x="470420" y="68446"/>
                    <a:pt x="473034" y="86874"/>
                    <a:pt x="473034" y="92139"/>
                  </a:cubicBezTo>
                  <a:cubicBezTo>
                    <a:pt x="475649" y="97404"/>
                    <a:pt x="483493" y="102669"/>
                    <a:pt x="493951" y="102669"/>
                  </a:cubicBezTo>
                  <a:cubicBezTo>
                    <a:pt x="501795" y="102669"/>
                    <a:pt x="509639" y="110567"/>
                    <a:pt x="509639" y="121097"/>
                  </a:cubicBezTo>
                  <a:cubicBezTo>
                    <a:pt x="509639" y="121097"/>
                    <a:pt x="509639" y="121097"/>
                    <a:pt x="509639" y="123730"/>
                  </a:cubicBezTo>
                  <a:cubicBezTo>
                    <a:pt x="509639" y="134260"/>
                    <a:pt x="501795" y="144790"/>
                    <a:pt x="493951" y="144790"/>
                  </a:cubicBezTo>
                  <a:cubicBezTo>
                    <a:pt x="483493" y="144790"/>
                    <a:pt x="473034" y="157953"/>
                    <a:pt x="470420" y="163218"/>
                  </a:cubicBezTo>
                  <a:cubicBezTo>
                    <a:pt x="467805" y="168483"/>
                    <a:pt x="470420" y="176381"/>
                    <a:pt x="478264" y="181646"/>
                  </a:cubicBezTo>
                  <a:cubicBezTo>
                    <a:pt x="483493" y="189544"/>
                    <a:pt x="483493" y="200074"/>
                    <a:pt x="475649" y="207971"/>
                  </a:cubicBezTo>
                  <a:cubicBezTo>
                    <a:pt x="475649" y="207971"/>
                    <a:pt x="475649" y="207971"/>
                    <a:pt x="473034" y="210604"/>
                  </a:cubicBezTo>
                  <a:cubicBezTo>
                    <a:pt x="465190" y="218502"/>
                    <a:pt x="454732" y="218502"/>
                    <a:pt x="446888" y="213237"/>
                  </a:cubicBezTo>
                  <a:cubicBezTo>
                    <a:pt x="441659" y="207971"/>
                    <a:pt x="423356" y="207971"/>
                    <a:pt x="418127" y="210604"/>
                  </a:cubicBezTo>
                  <a:cubicBezTo>
                    <a:pt x="412898" y="210604"/>
                    <a:pt x="410283" y="221134"/>
                    <a:pt x="410283" y="229032"/>
                  </a:cubicBezTo>
                  <a:cubicBezTo>
                    <a:pt x="410283" y="239562"/>
                    <a:pt x="399825" y="244827"/>
                    <a:pt x="389366" y="244827"/>
                  </a:cubicBezTo>
                  <a:cubicBezTo>
                    <a:pt x="389366" y="244827"/>
                    <a:pt x="389366" y="244827"/>
                    <a:pt x="386751" y="244827"/>
                  </a:cubicBezTo>
                  <a:cubicBezTo>
                    <a:pt x="376293" y="244827"/>
                    <a:pt x="365834" y="239562"/>
                    <a:pt x="365834" y="229032"/>
                  </a:cubicBezTo>
                  <a:cubicBezTo>
                    <a:pt x="365834" y="221134"/>
                    <a:pt x="352761" y="207971"/>
                    <a:pt x="347532" y="205339"/>
                  </a:cubicBezTo>
                  <a:cubicBezTo>
                    <a:pt x="344917" y="202706"/>
                    <a:pt x="334459" y="207971"/>
                    <a:pt x="329229" y="213237"/>
                  </a:cubicBezTo>
                  <a:cubicBezTo>
                    <a:pt x="321386" y="218502"/>
                    <a:pt x="310927" y="218502"/>
                    <a:pt x="303083" y="210604"/>
                  </a:cubicBezTo>
                  <a:cubicBezTo>
                    <a:pt x="303083" y="210604"/>
                    <a:pt x="303083" y="210604"/>
                    <a:pt x="300468" y="207971"/>
                  </a:cubicBezTo>
                  <a:cubicBezTo>
                    <a:pt x="292625" y="200074"/>
                    <a:pt x="292625" y="189544"/>
                    <a:pt x="297854" y="181646"/>
                  </a:cubicBezTo>
                  <a:cubicBezTo>
                    <a:pt x="305698" y="176381"/>
                    <a:pt x="303083" y="157953"/>
                    <a:pt x="303083" y="152688"/>
                  </a:cubicBezTo>
                  <a:cubicBezTo>
                    <a:pt x="300468" y="147423"/>
                    <a:pt x="292625" y="144790"/>
                    <a:pt x="282166" y="144790"/>
                  </a:cubicBezTo>
                  <a:cubicBezTo>
                    <a:pt x="274322" y="144790"/>
                    <a:pt x="266478" y="134260"/>
                    <a:pt x="266478" y="123730"/>
                  </a:cubicBezTo>
                  <a:cubicBezTo>
                    <a:pt x="266478" y="123730"/>
                    <a:pt x="266478" y="123730"/>
                    <a:pt x="266478" y="121097"/>
                  </a:cubicBezTo>
                  <a:cubicBezTo>
                    <a:pt x="266478" y="110567"/>
                    <a:pt x="274322" y="102669"/>
                    <a:pt x="282166" y="102669"/>
                  </a:cubicBezTo>
                  <a:cubicBezTo>
                    <a:pt x="292625" y="102669"/>
                    <a:pt x="303083" y="86874"/>
                    <a:pt x="305698" y="84241"/>
                  </a:cubicBezTo>
                  <a:cubicBezTo>
                    <a:pt x="308312" y="78976"/>
                    <a:pt x="305698" y="68446"/>
                    <a:pt x="297854" y="63181"/>
                  </a:cubicBezTo>
                  <a:cubicBezTo>
                    <a:pt x="292625" y="55283"/>
                    <a:pt x="292625" y="44753"/>
                    <a:pt x="300468" y="36856"/>
                  </a:cubicBezTo>
                  <a:cubicBezTo>
                    <a:pt x="300468" y="36856"/>
                    <a:pt x="300468" y="36856"/>
                    <a:pt x="303083" y="34223"/>
                  </a:cubicBezTo>
                  <a:cubicBezTo>
                    <a:pt x="310927" y="26325"/>
                    <a:pt x="321386" y="26325"/>
                    <a:pt x="329229" y="31590"/>
                  </a:cubicBezTo>
                  <a:cubicBezTo>
                    <a:pt x="334459" y="39488"/>
                    <a:pt x="352761" y="36856"/>
                    <a:pt x="357990" y="36856"/>
                  </a:cubicBezTo>
                  <a:cubicBezTo>
                    <a:pt x="363220" y="34223"/>
                    <a:pt x="365834" y="26325"/>
                    <a:pt x="365834" y="15795"/>
                  </a:cubicBezTo>
                  <a:cubicBezTo>
                    <a:pt x="365834" y="7898"/>
                    <a:pt x="376293" y="0"/>
                    <a:pt x="386751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18" name="îṣḷíḍè">
              <a:extLst>
                <a:ext uri="{FF2B5EF4-FFF2-40B4-BE49-F238E27FC236}">
                  <a16:creationId xmlns:a16="http://schemas.microsoft.com/office/drawing/2014/main" xmlns="" id="{038BE8CF-FA04-46F5-A352-D0B6B9A9FEC3}"/>
                </a:ext>
              </a:extLst>
            </p:cNvPr>
            <p:cNvSpPr/>
            <p:nvPr/>
          </p:nvSpPr>
          <p:spPr bwMode="auto">
            <a:xfrm>
              <a:off x="5820832" y="1217815"/>
              <a:ext cx="458009" cy="363077"/>
            </a:xfrm>
            <a:custGeom>
              <a:avLst/>
              <a:gdLst/>
              <a:ahLst/>
              <a:cxnLst>
                <a:cxn ang="0">
                  <a:pos x="87" y="0"/>
                </a:cxn>
                <a:cxn ang="0">
                  <a:pos x="0" y="67"/>
                </a:cxn>
                <a:cxn ang="0">
                  <a:pos x="31" y="118"/>
                </a:cxn>
                <a:cxn ang="0">
                  <a:pos x="9" y="138"/>
                </a:cxn>
                <a:cxn ang="0">
                  <a:pos x="48" y="127"/>
                </a:cxn>
                <a:cxn ang="0">
                  <a:pos x="87" y="134"/>
                </a:cxn>
                <a:cxn ang="0">
                  <a:pos x="174" y="67"/>
                </a:cxn>
                <a:cxn ang="0">
                  <a:pos x="87" y="0"/>
                </a:cxn>
              </a:cxnLst>
              <a:rect l="0" t="0" r="r" b="b"/>
              <a:pathLst>
                <a:path w="174" h="138">
                  <a:moveTo>
                    <a:pt x="87" y="0"/>
                  </a:moveTo>
                  <a:cubicBezTo>
                    <a:pt x="39" y="0"/>
                    <a:pt x="0" y="30"/>
                    <a:pt x="0" y="67"/>
                  </a:cubicBezTo>
                  <a:cubicBezTo>
                    <a:pt x="0" y="88"/>
                    <a:pt x="12" y="106"/>
                    <a:pt x="31" y="118"/>
                  </a:cubicBezTo>
                  <a:cubicBezTo>
                    <a:pt x="21" y="133"/>
                    <a:pt x="9" y="138"/>
                    <a:pt x="9" y="138"/>
                  </a:cubicBezTo>
                  <a:cubicBezTo>
                    <a:pt x="25" y="135"/>
                    <a:pt x="38" y="131"/>
                    <a:pt x="48" y="127"/>
                  </a:cubicBezTo>
                  <a:cubicBezTo>
                    <a:pt x="59" y="132"/>
                    <a:pt x="73" y="134"/>
                    <a:pt x="87" y="134"/>
                  </a:cubicBezTo>
                  <a:cubicBezTo>
                    <a:pt x="135" y="134"/>
                    <a:pt x="174" y="104"/>
                    <a:pt x="174" y="67"/>
                  </a:cubicBezTo>
                  <a:cubicBezTo>
                    <a:pt x="174" y="30"/>
                    <a:pt x="135" y="0"/>
                    <a:pt x="87" y="0"/>
                  </a:cubicBezTo>
                  <a:close/>
                </a:path>
              </a:pathLst>
            </a:custGeom>
            <a:solidFill>
              <a:srgbClr val="A5A8AB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/>
            </a:p>
          </p:txBody>
        </p:sp>
        <p:sp>
          <p:nvSpPr>
            <p:cNvPr id="19" name="îšļîḑe">
              <a:extLst>
                <a:ext uri="{FF2B5EF4-FFF2-40B4-BE49-F238E27FC236}">
                  <a16:creationId xmlns:a16="http://schemas.microsoft.com/office/drawing/2014/main" xmlns="" id="{2C6B2D13-3C2D-4A95-A62D-6089A579B706}"/>
                </a:ext>
              </a:extLst>
            </p:cNvPr>
            <p:cNvSpPr/>
            <p:nvPr/>
          </p:nvSpPr>
          <p:spPr bwMode="auto">
            <a:xfrm>
              <a:off x="6175581" y="1411012"/>
              <a:ext cx="289795" cy="238165"/>
            </a:xfrm>
            <a:custGeom>
              <a:avLst/>
              <a:gdLst/>
              <a:ahLst/>
              <a:cxnLst>
                <a:cxn ang="0">
                  <a:pos x="89" y="78"/>
                </a:cxn>
                <a:cxn ang="0">
                  <a:pos x="110" y="44"/>
                </a:cxn>
                <a:cxn ang="0">
                  <a:pos x="53" y="0"/>
                </a:cxn>
                <a:cxn ang="0">
                  <a:pos x="50" y="0"/>
                </a:cxn>
                <a:cxn ang="0">
                  <a:pos x="0" y="62"/>
                </a:cxn>
                <a:cxn ang="0">
                  <a:pos x="53" y="88"/>
                </a:cxn>
                <a:cxn ang="0">
                  <a:pos x="78" y="84"/>
                </a:cxn>
                <a:cxn ang="0">
                  <a:pos x="104" y="91"/>
                </a:cxn>
                <a:cxn ang="0">
                  <a:pos x="89" y="78"/>
                </a:cxn>
              </a:cxnLst>
              <a:rect l="0" t="0" r="r" b="b"/>
              <a:pathLst>
                <a:path w="110" h="91">
                  <a:moveTo>
                    <a:pt x="89" y="78"/>
                  </a:moveTo>
                  <a:cubicBezTo>
                    <a:pt x="102" y="70"/>
                    <a:pt x="110" y="58"/>
                    <a:pt x="110" y="44"/>
                  </a:cubicBezTo>
                  <a:cubicBezTo>
                    <a:pt x="110" y="20"/>
                    <a:pt x="84" y="0"/>
                    <a:pt x="53" y="0"/>
                  </a:cubicBezTo>
                  <a:cubicBezTo>
                    <a:pt x="52" y="0"/>
                    <a:pt x="51" y="0"/>
                    <a:pt x="50" y="0"/>
                  </a:cubicBezTo>
                  <a:cubicBezTo>
                    <a:pt x="47" y="27"/>
                    <a:pt x="28" y="49"/>
                    <a:pt x="0" y="62"/>
                  </a:cubicBezTo>
                  <a:cubicBezTo>
                    <a:pt x="9" y="77"/>
                    <a:pt x="29" y="88"/>
                    <a:pt x="53" y="88"/>
                  </a:cubicBezTo>
                  <a:cubicBezTo>
                    <a:pt x="62" y="88"/>
                    <a:pt x="71" y="87"/>
                    <a:pt x="78" y="84"/>
                  </a:cubicBezTo>
                  <a:cubicBezTo>
                    <a:pt x="85" y="86"/>
                    <a:pt x="93" y="89"/>
                    <a:pt x="104" y="91"/>
                  </a:cubicBezTo>
                  <a:cubicBezTo>
                    <a:pt x="104" y="91"/>
                    <a:pt x="96" y="87"/>
                    <a:pt x="89" y="78"/>
                  </a:cubicBezTo>
                  <a:close/>
                </a:path>
              </a:pathLst>
            </a:custGeom>
            <a:solidFill>
              <a:srgbClr val="A5A8AB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20" name="îṣlïďê">
              <a:extLst>
                <a:ext uri="{FF2B5EF4-FFF2-40B4-BE49-F238E27FC236}">
                  <a16:creationId xmlns:a16="http://schemas.microsoft.com/office/drawing/2014/main" xmlns="" id="{40EC146B-3CE7-48EB-B617-2AF1CEF607BB}"/>
                </a:ext>
              </a:extLst>
            </p:cNvPr>
            <p:cNvSpPr/>
            <p:nvPr/>
          </p:nvSpPr>
          <p:spPr bwMode="auto">
            <a:xfrm>
              <a:off x="5825829" y="1226143"/>
              <a:ext cx="461340" cy="363077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0" y="67"/>
                </a:cxn>
                <a:cxn ang="0">
                  <a:pos x="31" y="118"/>
                </a:cxn>
                <a:cxn ang="0">
                  <a:pos x="10" y="138"/>
                </a:cxn>
                <a:cxn ang="0">
                  <a:pos x="48" y="127"/>
                </a:cxn>
                <a:cxn ang="0">
                  <a:pos x="88" y="134"/>
                </a:cxn>
                <a:cxn ang="0">
                  <a:pos x="175" y="67"/>
                </a:cxn>
                <a:cxn ang="0">
                  <a:pos x="88" y="0"/>
                </a:cxn>
              </a:cxnLst>
              <a:rect l="0" t="0" r="r" b="b"/>
              <a:pathLst>
                <a:path w="175" h="138">
                  <a:moveTo>
                    <a:pt x="88" y="0"/>
                  </a:moveTo>
                  <a:cubicBezTo>
                    <a:pt x="39" y="0"/>
                    <a:pt x="0" y="30"/>
                    <a:pt x="0" y="67"/>
                  </a:cubicBezTo>
                  <a:cubicBezTo>
                    <a:pt x="0" y="87"/>
                    <a:pt x="12" y="106"/>
                    <a:pt x="31" y="118"/>
                  </a:cubicBezTo>
                  <a:cubicBezTo>
                    <a:pt x="21" y="133"/>
                    <a:pt x="10" y="138"/>
                    <a:pt x="10" y="138"/>
                  </a:cubicBezTo>
                  <a:cubicBezTo>
                    <a:pt x="26" y="135"/>
                    <a:pt x="38" y="131"/>
                    <a:pt x="48" y="127"/>
                  </a:cubicBezTo>
                  <a:cubicBezTo>
                    <a:pt x="60" y="131"/>
                    <a:pt x="74" y="134"/>
                    <a:pt x="88" y="134"/>
                  </a:cubicBezTo>
                  <a:cubicBezTo>
                    <a:pt x="136" y="134"/>
                    <a:pt x="175" y="104"/>
                    <a:pt x="175" y="67"/>
                  </a:cubicBezTo>
                  <a:cubicBezTo>
                    <a:pt x="175" y="30"/>
                    <a:pt x="136" y="0"/>
                    <a:pt x="88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/>
            </a:p>
          </p:txBody>
        </p:sp>
        <p:sp>
          <p:nvSpPr>
            <p:cNvPr id="21" name="íš1îďé">
              <a:extLst>
                <a:ext uri="{FF2B5EF4-FFF2-40B4-BE49-F238E27FC236}">
                  <a16:creationId xmlns:a16="http://schemas.microsoft.com/office/drawing/2014/main" xmlns="" id="{0EFA914D-963F-47B3-AB07-DCDC0E1C2FAB}"/>
                </a:ext>
              </a:extLst>
            </p:cNvPr>
            <p:cNvSpPr/>
            <p:nvPr/>
          </p:nvSpPr>
          <p:spPr bwMode="auto">
            <a:xfrm>
              <a:off x="6183909" y="1417674"/>
              <a:ext cx="289795" cy="239830"/>
            </a:xfrm>
            <a:custGeom>
              <a:avLst/>
              <a:gdLst/>
              <a:ahLst/>
              <a:cxnLst>
                <a:cxn ang="0">
                  <a:pos x="89" y="78"/>
                </a:cxn>
                <a:cxn ang="0">
                  <a:pos x="110" y="44"/>
                </a:cxn>
                <a:cxn ang="0">
                  <a:pos x="52" y="0"/>
                </a:cxn>
                <a:cxn ang="0">
                  <a:pos x="49" y="0"/>
                </a:cxn>
                <a:cxn ang="0">
                  <a:pos x="0" y="62"/>
                </a:cxn>
                <a:cxn ang="0">
                  <a:pos x="52" y="88"/>
                </a:cxn>
                <a:cxn ang="0">
                  <a:pos x="78" y="83"/>
                </a:cxn>
                <a:cxn ang="0">
                  <a:pos x="103" y="91"/>
                </a:cxn>
                <a:cxn ang="0">
                  <a:pos x="89" y="78"/>
                </a:cxn>
              </a:cxnLst>
              <a:rect l="0" t="0" r="r" b="b"/>
              <a:pathLst>
                <a:path w="110" h="91">
                  <a:moveTo>
                    <a:pt x="89" y="78"/>
                  </a:moveTo>
                  <a:cubicBezTo>
                    <a:pt x="102" y="70"/>
                    <a:pt x="110" y="58"/>
                    <a:pt x="110" y="44"/>
                  </a:cubicBezTo>
                  <a:cubicBezTo>
                    <a:pt x="110" y="20"/>
                    <a:pt x="84" y="0"/>
                    <a:pt x="52" y="0"/>
                  </a:cubicBezTo>
                  <a:cubicBezTo>
                    <a:pt x="51" y="0"/>
                    <a:pt x="50" y="0"/>
                    <a:pt x="49" y="0"/>
                  </a:cubicBezTo>
                  <a:cubicBezTo>
                    <a:pt x="47" y="27"/>
                    <a:pt x="27" y="49"/>
                    <a:pt x="0" y="62"/>
                  </a:cubicBezTo>
                  <a:cubicBezTo>
                    <a:pt x="9" y="77"/>
                    <a:pt x="29" y="88"/>
                    <a:pt x="52" y="88"/>
                  </a:cubicBezTo>
                  <a:cubicBezTo>
                    <a:pt x="62" y="88"/>
                    <a:pt x="70" y="86"/>
                    <a:pt x="78" y="83"/>
                  </a:cubicBezTo>
                  <a:cubicBezTo>
                    <a:pt x="85" y="86"/>
                    <a:pt x="93" y="89"/>
                    <a:pt x="103" y="91"/>
                  </a:cubicBezTo>
                  <a:cubicBezTo>
                    <a:pt x="103" y="91"/>
                    <a:pt x="96" y="87"/>
                    <a:pt x="89" y="7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22" name="ï$ḻidé">
              <a:extLst>
                <a:ext uri="{FF2B5EF4-FFF2-40B4-BE49-F238E27FC236}">
                  <a16:creationId xmlns:a16="http://schemas.microsoft.com/office/drawing/2014/main" xmlns="" id="{580F5AA2-4DC5-42E7-8315-C9872BF46220}"/>
                </a:ext>
              </a:extLst>
            </p:cNvPr>
            <p:cNvSpPr/>
            <p:nvPr/>
          </p:nvSpPr>
          <p:spPr bwMode="auto">
            <a:xfrm>
              <a:off x="5808341" y="1217814"/>
              <a:ext cx="644544" cy="431362"/>
            </a:xfrm>
            <a:custGeom>
              <a:avLst/>
              <a:gdLst>
                <a:gd name="connsiteX0" fmla="*/ 486474 w 644544"/>
                <a:gd name="connsiteY0" fmla="*/ 193197 h 431362"/>
                <a:gd name="connsiteX1" fmla="*/ 494378 w 644544"/>
                <a:gd name="connsiteY1" fmla="*/ 193197 h 431362"/>
                <a:gd name="connsiteX2" fmla="*/ 644544 w 644544"/>
                <a:gd name="connsiteY2" fmla="*/ 308354 h 431362"/>
                <a:gd name="connsiteX3" fmla="*/ 589220 w 644544"/>
                <a:gd name="connsiteY3" fmla="*/ 397338 h 431362"/>
                <a:gd name="connsiteX4" fmla="*/ 628737 w 644544"/>
                <a:gd name="connsiteY4" fmla="*/ 431362 h 431362"/>
                <a:gd name="connsiteX5" fmla="*/ 560240 w 644544"/>
                <a:gd name="connsiteY5" fmla="*/ 413042 h 431362"/>
                <a:gd name="connsiteX6" fmla="*/ 494378 w 644544"/>
                <a:gd name="connsiteY6" fmla="*/ 423510 h 431362"/>
                <a:gd name="connsiteX7" fmla="*/ 354749 w 644544"/>
                <a:gd name="connsiteY7" fmla="*/ 355463 h 431362"/>
                <a:gd name="connsiteX8" fmla="*/ 486474 w 644544"/>
                <a:gd name="connsiteY8" fmla="*/ 193197 h 431362"/>
                <a:gd name="connsiteX9" fmla="*/ 229005 w 644544"/>
                <a:gd name="connsiteY9" fmla="*/ 0 h 431362"/>
                <a:gd name="connsiteX10" fmla="*/ 458009 w 644544"/>
                <a:gd name="connsiteY10" fmla="*/ 176277 h 431362"/>
                <a:gd name="connsiteX11" fmla="*/ 229005 w 644544"/>
                <a:gd name="connsiteY11" fmla="*/ 352553 h 431362"/>
                <a:gd name="connsiteX12" fmla="*/ 126348 w 644544"/>
                <a:gd name="connsiteY12" fmla="*/ 334136 h 431362"/>
                <a:gd name="connsiteX13" fmla="*/ 23690 w 644544"/>
                <a:gd name="connsiteY13" fmla="*/ 363077 h 431362"/>
                <a:gd name="connsiteX14" fmla="*/ 81600 w 644544"/>
                <a:gd name="connsiteY14" fmla="*/ 310457 h 431362"/>
                <a:gd name="connsiteX15" fmla="*/ 0 w 644544"/>
                <a:gd name="connsiteY15" fmla="*/ 176277 h 431362"/>
                <a:gd name="connsiteX16" fmla="*/ 229005 w 644544"/>
                <a:gd name="connsiteY16" fmla="*/ 0 h 431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44544" h="431362">
                  <a:moveTo>
                    <a:pt x="486474" y="193197"/>
                  </a:moveTo>
                  <a:cubicBezTo>
                    <a:pt x="489109" y="193197"/>
                    <a:pt x="491743" y="193197"/>
                    <a:pt x="494378" y="193197"/>
                  </a:cubicBezTo>
                  <a:cubicBezTo>
                    <a:pt x="576047" y="193197"/>
                    <a:pt x="644544" y="245541"/>
                    <a:pt x="644544" y="308354"/>
                  </a:cubicBezTo>
                  <a:cubicBezTo>
                    <a:pt x="644544" y="344995"/>
                    <a:pt x="623468" y="376401"/>
                    <a:pt x="589220" y="397338"/>
                  </a:cubicBezTo>
                  <a:cubicBezTo>
                    <a:pt x="607661" y="420893"/>
                    <a:pt x="628737" y="431362"/>
                    <a:pt x="628737" y="431362"/>
                  </a:cubicBezTo>
                  <a:cubicBezTo>
                    <a:pt x="599758" y="426128"/>
                    <a:pt x="578682" y="418276"/>
                    <a:pt x="560240" y="413042"/>
                  </a:cubicBezTo>
                  <a:cubicBezTo>
                    <a:pt x="541799" y="420893"/>
                    <a:pt x="518088" y="423510"/>
                    <a:pt x="494378" y="423510"/>
                  </a:cubicBezTo>
                  <a:cubicBezTo>
                    <a:pt x="431150" y="423510"/>
                    <a:pt x="378460" y="394721"/>
                    <a:pt x="354749" y="355463"/>
                  </a:cubicBezTo>
                  <a:cubicBezTo>
                    <a:pt x="428515" y="321440"/>
                    <a:pt x="478571" y="263861"/>
                    <a:pt x="486474" y="193197"/>
                  </a:cubicBezTo>
                  <a:close/>
                  <a:moveTo>
                    <a:pt x="229005" y="0"/>
                  </a:moveTo>
                  <a:cubicBezTo>
                    <a:pt x="355352" y="0"/>
                    <a:pt x="458009" y="78930"/>
                    <a:pt x="458009" y="176277"/>
                  </a:cubicBezTo>
                  <a:cubicBezTo>
                    <a:pt x="458009" y="273623"/>
                    <a:pt x="355352" y="352553"/>
                    <a:pt x="229005" y="352553"/>
                  </a:cubicBezTo>
                  <a:cubicBezTo>
                    <a:pt x="192153" y="352553"/>
                    <a:pt x="155302" y="347291"/>
                    <a:pt x="126348" y="334136"/>
                  </a:cubicBezTo>
                  <a:cubicBezTo>
                    <a:pt x="100025" y="344660"/>
                    <a:pt x="65806" y="355184"/>
                    <a:pt x="23690" y="363077"/>
                  </a:cubicBezTo>
                  <a:cubicBezTo>
                    <a:pt x="23690" y="363077"/>
                    <a:pt x="55277" y="349922"/>
                    <a:pt x="81600" y="310457"/>
                  </a:cubicBezTo>
                  <a:cubicBezTo>
                    <a:pt x="31587" y="278885"/>
                    <a:pt x="0" y="231527"/>
                    <a:pt x="0" y="176277"/>
                  </a:cubicBezTo>
                  <a:cubicBezTo>
                    <a:pt x="0" y="78930"/>
                    <a:pt x="102657" y="0"/>
                    <a:pt x="229005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23" name="íšľiďé">
              <a:extLst>
                <a:ext uri="{FF2B5EF4-FFF2-40B4-BE49-F238E27FC236}">
                  <a16:creationId xmlns:a16="http://schemas.microsoft.com/office/drawing/2014/main" xmlns="" id="{C64227B8-8CE3-4448-B5AC-32A2EDCDD4A5}"/>
                </a:ext>
              </a:extLst>
            </p:cNvPr>
            <p:cNvSpPr/>
            <p:nvPr/>
          </p:nvSpPr>
          <p:spPr bwMode="auto">
            <a:xfrm>
              <a:off x="4092055" y="2916614"/>
              <a:ext cx="458009" cy="456344"/>
            </a:xfrm>
            <a:custGeom>
              <a:avLst/>
              <a:gdLst/>
              <a:ahLst/>
              <a:cxnLst>
                <a:cxn ang="0">
                  <a:pos x="163" y="88"/>
                </a:cxn>
                <a:cxn ang="0">
                  <a:pos x="155" y="92"/>
                </a:cxn>
                <a:cxn ang="0">
                  <a:pos x="144" y="92"/>
                </a:cxn>
                <a:cxn ang="0">
                  <a:pos x="137" y="73"/>
                </a:cxn>
                <a:cxn ang="0">
                  <a:pos x="130" y="76"/>
                </a:cxn>
                <a:cxn ang="0">
                  <a:pos x="124" y="81"/>
                </a:cxn>
                <a:cxn ang="0">
                  <a:pos x="121" y="82"/>
                </a:cxn>
                <a:cxn ang="0">
                  <a:pos x="128" y="99"/>
                </a:cxn>
                <a:cxn ang="0">
                  <a:pos x="122" y="116"/>
                </a:cxn>
                <a:cxn ang="0">
                  <a:pos x="116" y="127"/>
                </a:cxn>
                <a:cxn ang="0">
                  <a:pos x="107" y="123"/>
                </a:cxn>
                <a:cxn ang="0">
                  <a:pos x="101" y="107"/>
                </a:cxn>
                <a:cxn ang="0">
                  <a:pos x="91" y="95"/>
                </a:cxn>
                <a:cxn ang="0">
                  <a:pos x="79" y="83"/>
                </a:cxn>
                <a:cxn ang="0">
                  <a:pos x="91" y="77"/>
                </a:cxn>
                <a:cxn ang="0">
                  <a:pos x="114" y="65"/>
                </a:cxn>
                <a:cxn ang="0">
                  <a:pos x="95" y="65"/>
                </a:cxn>
                <a:cxn ang="0">
                  <a:pos x="76" y="63"/>
                </a:cxn>
                <a:cxn ang="0">
                  <a:pos x="95" y="46"/>
                </a:cxn>
                <a:cxn ang="0">
                  <a:pos x="112" y="30"/>
                </a:cxn>
                <a:cxn ang="0">
                  <a:pos x="132" y="29"/>
                </a:cxn>
                <a:cxn ang="0">
                  <a:pos x="152" y="29"/>
                </a:cxn>
                <a:cxn ang="0">
                  <a:pos x="24" y="27"/>
                </a:cxn>
                <a:cxn ang="0">
                  <a:pos x="49" y="27"/>
                </a:cxn>
                <a:cxn ang="0">
                  <a:pos x="64" y="38"/>
                </a:cxn>
                <a:cxn ang="0">
                  <a:pos x="60" y="58"/>
                </a:cxn>
                <a:cxn ang="0">
                  <a:pos x="49" y="79"/>
                </a:cxn>
                <a:cxn ang="0">
                  <a:pos x="74" y="94"/>
                </a:cxn>
                <a:cxn ang="0">
                  <a:pos x="83" y="105"/>
                </a:cxn>
                <a:cxn ang="0">
                  <a:pos x="70" y="120"/>
                </a:cxn>
                <a:cxn ang="0">
                  <a:pos x="61" y="133"/>
                </a:cxn>
                <a:cxn ang="0">
                  <a:pos x="63" y="148"/>
                </a:cxn>
                <a:cxn ang="0">
                  <a:pos x="55" y="149"/>
                </a:cxn>
                <a:cxn ang="0">
                  <a:pos x="50" y="128"/>
                </a:cxn>
                <a:cxn ang="0">
                  <a:pos x="39" y="111"/>
                </a:cxn>
                <a:cxn ang="0">
                  <a:pos x="31" y="87"/>
                </a:cxn>
                <a:cxn ang="0">
                  <a:pos x="19" y="83"/>
                </a:cxn>
                <a:cxn ang="0">
                  <a:pos x="14" y="59"/>
                </a:cxn>
                <a:cxn ang="0">
                  <a:pos x="13" y="46"/>
                </a:cxn>
                <a:cxn ang="0">
                  <a:pos x="0" y="87"/>
                </a:cxn>
                <a:cxn ang="0">
                  <a:pos x="174" y="89"/>
                </a:cxn>
                <a:cxn ang="0">
                  <a:pos x="73" y="53"/>
                </a:cxn>
                <a:cxn ang="0">
                  <a:pos x="69" y="42"/>
                </a:cxn>
                <a:cxn ang="0">
                  <a:pos x="85" y="34"/>
                </a:cxn>
                <a:cxn ang="0">
                  <a:pos x="85" y="45"/>
                </a:cxn>
                <a:cxn ang="0">
                  <a:pos x="73" y="53"/>
                </a:cxn>
              </a:cxnLst>
              <a:rect l="0" t="0" r="r" b="b"/>
              <a:pathLst>
                <a:path w="174" h="174">
                  <a:moveTo>
                    <a:pt x="167" y="92"/>
                  </a:moveTo>
                  <a:cubicBezTo>
                    <a:pt x="165" y="92"/>
                    <a:pt x="163" y="90"/>
                    <a:pt x="163" y="88"/>
                  </a:cubicBezTo>
                  <a:cubicBezTo>
                    <a:pt x="163" y="86"/>
                    <a:pt x="161" y="84"/>
                    <a:pt x="159" y="84"/>
                  </a:cubicBezTo>
                  <a:cubicBezTo>
                    <a:pt x="157" y="84"/>
                    <a:pt x="155" y="88"/>
                    <a:pt x="155" y="92"/>
                  </a:cubicBezTo>
                  <a:cubicBezTo>
                    <a:pt x="155" y="97"/>
                    <a:pt x="155" y="100"/>
                    <a:pt x="147" y="100"/>
                  </a:cubicBezTo>
                  <a:cubicBezTo>
                    <a:pt x="139" y="100"/>
                    <a:pt x="144" y="92"/>
                    <a:pt x="144" y="92"/>
                  </a:cubicBezTo>
                  <a:cubicBezTo>
                    <a:pt x="146" y="88"/>
                    <a:pt x="145" y="82"/>
                    <a:pt x="142" y="79"/>
                  </a:cubicBezTo>
                  <a:cubicBezTo>
                    <a:pt x="140" y="77"/>
                    <a:pt x="138" y="75"/>
                    <a:pt x="137" y="73"/>
                  </a:cubicBezTo>
                  <a:cubicBezTo>
                    <a:pt x="134" y="70"/>
                    <a:pt x="130" y="69"/>
                    <a:pt x="129" y="70"/>
                  </a:cubicBezTo>
                  <a:cubicBezTo>
                    <a:pt x="128" y="71"/>
                    <a:pt x="129" y="74"/>
                    <a:pt x="130" y="76"/>
                  </a:cubicBezTo>
                  <a:cubicBezTo>
                    <a:pt x="132" y="77"/>
                    <a:pt x="133" y="80"/>
                    <a:pt x="133" y="82"/>
                  </a:cubicBezTo>
                  <a:cubicBezTo>
                    <a:pt x="132" y="83"/>
                    <a:pt x="128" y="83"/>
                    <a:pt x="124" y="81"/>
                  </a:cubicBezTo>
                  <a:cubicBezTo>
                    <a:pt x="123" y="80"/>
                    <a:pt x="123" y="80"/>
                    <a:pt x="122" y="80"/>
                  </a:cubicBezTo>
                  <a:cubicBezTo>
                    <a:pt x="118" y="78"/>
                    <a:pt x="118" y="79"/>
                    <a:pt x="121" y="82"/>
                  </a:cubicBezTo>
                  <a:cubicBezTo>
                    <a:pt x="122" y="84"/>
                    <a:pt x="124" y="85"/>
                    <a:pt x="125" y="87"/>
                  </a:cubicBezTo>
                  <a:cubicBezTo>
                    <a:pt x="129" y="90"/>
                    <a:pt x="130" y="96"/>
                    <a:pt x="128" y="99"/>
                  </a:cubicBezTo>
                  <a:cubicBezTo>
                    <a:pt x="128" y="100"/>
                    <a:pt x="127" y="101"/>
                    <a:pt x="127" y="101"/>
                  </a:cubicBezTo>
                  <a:cubicBezTo>
                    <a:pt x="125" y="105"/>
                    <a:pt x="123" y="112"/>
                    <a:pt x="122" y="116"/>
                  </a:cubicBezTo>
                  <a:cubicBezTo>
                    <a:pt x="122" y="116"/>
                    <a:pt x="121" y="116"/>
                    <a:pt x="121" y="117"/>
                  </a:cubicBezTo>
                  <a:cubicBezTo>
                    <a:pt x="120" y="121"/>
                    <a:pt x="118" y="126"/>
                    <a:pt x="116" y="127"/>
                  </a:cubicBezTo>
                  <a:cubicBezTo>
                    <a:pt x="114" y="129"/>
                    <a:pt x="112" y="129"/>
                    <a:pt x="111" y="127"/>
                  </a:cubicBezTo>
                  <a:cubicBezTo>
                    <a:pt x="111" y="125"/>
                    <a:pt x="109" y="123"/>
                    <a:pt x="107" y="123"/>
                  </a:cubicBezTo>
                  <a:cubicBezTo>
                    <a:pt x="105" y="122"/>
                    <a:pt x="103" y="119"/>
                    <a:pt x="102" y="115"/>
                  </a:cubicBezTo>
                  <a:cubicBezTo>
                    <a:pt x="102" y="112"/>
                    <a:pt x="102" y="110"/>
                    <a:pt x="101" y="107"/>
                  </a:cubicBezTo>
                  <a:cubicBezTo>
                    <a:pt x="101" y="103"/>
                    <a:pt x="97" y="98"/>
                    <a:pt x="93" y="96"/>
                  </a:cubicBezTo>
                  <a:cubicBezTo>
                    <a:pt x="93" y="95"/>
                    <a:pt x="92" y="95"/>
                    <a:pt x="91" y="95"/>
                  </a:cubicBezTo>
                  <a:cubicBezTo>
                    <a:pt x="87" y="93"/>
                    <a:pt x="82" y="88"/>
                    <a:pt x="79" y="85"/>
                  </a:cubicBezTo>
                  <a:cubicBezTo>
                    <a:pt x="79" y="84"/>
                    <a:pt x="79" y="84"/>
                    <a:pt x="79" y="83"/>
                  </a:cubicBezTo>
                  <a:cubicBezTo>
                    <a:pt x="76" y="80"/>
                    <a:pt x="78" y="77"/>
                    <a:pt x="83" y="77"/>
                  </a:cubicBezTo>
                  <a:cubicBezTo>
                    <a:pt x="86" y="77"/>
                    <a:pt x="88" y="77"/>
                    <a:pt x="91" y="77"/>
                  </a:cubicBezTo>
                  <a:cubicBezTo>
                    <a:pt x="95" y="77"/>
                    <a:pt x="102" y="76"/>
                    <a:pt x="107" y="74"/>
                  </a:cubicBezTo>
                  <a:cubicBezTo>
                    <a:pt x="111" y="73"/>
                    <a:pt x="114" y="69"/>
                    <a:pt x="114" y="65"/>
                  </a:cubicBezTo>
                  <a:cubicBezTo>
                    <a:pt x="115" y="61"/>
                    <a:pt x="111" y="59"/>
                    <a:pt x="107" y="60"/>
                  </a:cubicBezTo>
                  <a:cubicBezTo>
                    <a:pt x="103" y="61"/>
                    <a:pt x="98" y="63"/>
                    <a:pt x="95" y="65"/>
                  </a:cubicBezTo>
                  <a:cubicBezTo>
                    <a:pt x="93" y="67"/>
                    <a:pt x="88" y="69"/>
                    <a:pt x="83" y="69"/>
                  </a:cubicBezTo>
                  <a:cubicBezTo>
                    <a:pt x="79" y="70"/>
                    <a:pt x="75" y="67"/>
                    <a:pt x="76" y="63"/>
                  </a:cubicBezTo>
                  <a:cubicBezTo>
                    <a:pt x="77" y="59"/>
                    <a:pt x="80" y="54"/>
                    <a:pt x="83" y="51"/>
                  </a:cubicBezTo>
                  <a:cubicBezTo>
                    <a:pt x="87" y="49"/>
                    <a:pt x="92" y="46"/>
                    <a:pt x="95" y="46"/>
                  </a:cubicBezTo>
                  <a:cubicBezTo>
                    <a:pt x="99" y="46"/>
                    <a:pt x="102" y="43"/>
                    <a:pt x="103" y="39"/>
                  </a:cubicBezTo>
                  <a:cubicBezTo>
                    <a:pt x="104" y="35"/>
                    <a:pt x="108" y="31"/>
                    <a:pt x="112" y="30"/>
                  </a:cubicBezTo>
                  <a:cubicBezTo>
                    <a:pt x="114" y="30"/>
                    <a:pt x="116" y="30"/>
                    <a:pt x="119" y="29"/>
                  </a:cubicBezTo>
                  <a:cubicBezTo>
                    <a:pt x="122" y="29"/>
                    <a:pt x="129" y="29"/>
                    <a:pt x="132" y="29"/>
                  </a:cubicBezTo>
                  <a:cubicBezTo>
                    <a:pt x="135" y="29"/>
                    <a:pt x="138" y="29"/>
                    <a:pt x="141" y="29"/>
                  </a:cubicBezTo>
                  <a:cubicBezTo>
                    <a:pt x="144" y="29"/>
                    <a:pt x="148" y="29"/>
                    <a:pt x="152" y="29"/>
                  </a:cubicBezTo>
                  <a:cubicBezTo>
                    <a:pt x="136" y="11"/>
                    <a:pt x="113" y="0"/>
                    <a:pt x="87" y="0"/>
                  </a:cubicBezTo>
                  <a:cubicBezTo>
                    <a:pt x="62" y="0"/>
                    <a:pt x="40" y="11"/>
                    <a:pt x="24" y="27"/>
                  </a:cubicBezTo>
                  <a:cubicBezTo>
                    <a:pt x="28" y="27"/>
                    <a:pt x="31" y="27"/>
                    <a:pt x="35" y="27"/>
                  </a:cubicBezTo>
                  <a:cubicBezTo>
                    <a:pt x="39" y="26"/>
                    <a:pt x="45" y="27"/>
                    <a:pt x="49" y="27"/>
                  </a:cubicBezTo>
                  <a:cubicBezTo>
                    <a:pt x="51" y="28"/>
                    <a:pt x="54" y="28"/>
                    <a:pt x="56" y="28"/>
                  </a:cubicBezTo>
                  <a:cubicBezTo>
                    <a:pt x="60" y="29"/>
                    <a:pt x="63" y="34"/>
                    <a:pt x="64" y="38"/>
                  </a:cubicBezTo>
                  <a:cubicBezTo>
                    <a:pt x="64" y="40"/>
                    <a:pt x="64" y="43"/>
                    <a:pt x="65" y="45"/>
                  </a:cubicBezTo>
                  <a:cubicBezTo>
                    <a:pt x="65" y="49"/>
                    <a:pt x="63" y="55"/>
                    <a:pt x="60" y="58"/>
                  </a:cubicBezTo>
                  <a:cubicBezTo>
                    <a:pt x="57" y="61"/>
                    <a:pt x="52" y="65"/>
                    <a:pt x="48" y="69"/>
                  </a:cubicBezTo>
                  <a:cubicBezTo>
                    <a:pt x="45" y="72"/>
                    <a:pt x="46" y="77"/>
                    <a:pt x="49" y="79"/>
                  </a:cubicBezTo>
                  <a:cubicBezTo>
                    <a:pt x="53" y="82"/>
                    <a:pt x="57" y="84"/>
                    <a:pt x="60" y="86"/>
                  </a:cubicBezTo>
                  <a:cubicBezTo>
                    <a:pt x="64" y="89"/>
                    <a:pt x="70" y="92"/>
                    <a:pt x="74" y="94"/>
                  </a:cubicBezTo>
                  <a:cubicBezTo>
                    <a:pt x="75" y="94"/>
                    <a:pt x="75" y="94"/>
                    <a:pt x="76" y="95"/>
                  </a:cubicBezTo>
                  <a:cubicBezTo>
                    <a:pt x="80" y="96"/>
                    <a:pt x="83" y="101"/>
                    <a:pt x="83" y="105"/>
                  </a:cubicBezTo>
                  <a:cubicBezTo>
                    <a:pt x="82" y="108"/>
                    <a:pt x="80" y="112"/>
                    <a:pt x="78" y="112"/>
                  </a:cubicBezTo>
                  <a:cubicBezTo>
                    <a:pt x="76" y="112"/>
                    <a:pt x="72" y="116"/>
                    <a:pt x="70" y="120"/>
                  </a:cubicBezTo>
                  <a:cubicBezTo>
                    <a:pt x="70" y="120"/>
                    <a:pt x="70" y="121"/>
                    <a:pt x="69" y="121"/>
                  </a:cubicBezTo>
                  <a:cubicBezTo>
                    <a:pt x="67" y="125"/>
                    <a:pt x="63" y="131"/>
                    <a:pt x="61" y="133"/>
                  </a:cubicBezTo>
                  <a:cubicBezTo>
                    <a:pt x="59" y="136"/>
                    <a:pt x="59" y="139"/>
                    <a:pt x="60" y="141"/>
                  </a:cubicBezTo>
                  <a:cubicBezTo>
                    <a:pt x="62" y="142"/>
                    <a:pt x="63" y="146"/>
                    <a:pt x="63" y="148"/>
                  </a:cubicBezTo>
                  <a:cubicBezTo>
                    <a:pt x="63" y="150"/>
                    <a:pt x="60" y="151"/>
                    <a:pt x="57" y="149"/>
                  </a:cubicBezTo>
                  <a:cubicBezTo>
                    <a:pt x="56" y="149"/>
                    <a:pt x="56" y="149"/>
                    <a:pt x="55" y="149"/>
                  </a:cubicBezTo>
                  <a:cubicBezTo>
                    <a:pt x="52" y="148"/>
                    <a:pt x="50" y="143"/>
                    <a:pt x="50" y="138"/>
                  </a:cubicBezTo>
                  <a:cubicBezTo>
                    <a:pt x="50" y="135"/>
                    <a:pt x="50" y="132"/>
                    <a:pt x="50" y="128"/>
                  </a:cubicBezTo>
                  <a:cubicBezTo>
                    <a:pt x="51" y="124"/>
                    <a:pt x="49" y="119"/>
                    <a:pt x="47" y="118"/>
                  </a:cubicBezTo>
                  <a:cubicBezTo>
                    <a:pt x="45" y="116"/>
                    <a:pt x="41" y="113"/>
                    <a:pt x="39" y="111"/>
                  </a:cubicBezTo>
                  <a:cubicBezTo>
                    <a:pt x="37" y="109"/>
                    <a:pt x="35" y="103"/>
                    <a:pt x="35" y="99"/>
                  </a:cubicBezTo>
                  <a:cubicBezTo>
                    <a:pt x="35" y="94"/>
                    <a:pt x="33" y="89"/>
                    <a:pt x="31" y="87"/>
                  </a:cubicBezTo>
                  <a:cubicBezTo>
                    <a:pt x="29" y="85"/>
                    <a:pt x="27" y="83"/>
                    <a:pt x="27" y="83"/>
                  </a:cubicBezTo>
                  <a:cubicBezTo>
                    <a:pt x="27" y="83"/>
                    <a:pt x="27" y="83"/>
                    <a:pt x="19" y="83"/>
                  </a:cubicBezTo>
                  <a:cubicBezTo>
                    <a:pt x="11" y="83"/>
                    <a:pt x="11" y="75"/>
                    <a:pt x="11" y="75"/>
                  </a:cubicBezTo>
                  <a:cubicBezTo>
                    <a:pt x="11" y="70"/>
                    <a:pt x="13" y="64"/>
                    <a:pt x="14" y="59"/>
                  </a:cubicBezTo>
                  <a:cubicBezTo>
                    <a:pt x="15" y="57"/>
                    <a:pt x="16" y="54"/>
                    <a:pt x="17" y="51"/>
                  </a:cubicBezTo>
                  <a:cubicBezTo>
                    <a:pt x="19" y="47"/>
                    <a:pt x="17" y="45"/>
                    <a:pt x="13" y="46"/>
                  </a:cubicBezTo>
                  <a:cubicBezTo>
                    <a:pt x="12" y="47"/>
                    <a:pt x="11" y="47"/>
                    <a:pt x="10" y="48"/>
                  </a:cubicBezTo>
                  <a:cubicBezTo>
                    <a:pt x="4" y="60"/>
                    <a:pt x="0" y="73"/>
                    <a:pt x="0" y="87"/>
                  </a:cubicBezTo>
                  <a:cubicBezTo>
                    <a:pt x="0" y="135"/>
                    <a:pt x="39" y="174"/>
                    <a:pt x="87" y="174"/>
                  </a:cubicBezTo>
                  <a:cubicBezTo>
                    <a:pt x="135" y="174"/>
                    <a:pt x="173" y="136"/>
                    <a:pt x="174" y="89"/>
                  </a:cubicBezTo>
                  <a:cubicBezTo>
                    <a:pt x="172" y="91"/>
                    <a:pt x="169" y="92"/>
                    <a:pt x="167" y="92"/>
                  </a:cubicBezTo>
                  <a:close/>
                  <a:moveTo>
                    <a:pt x="73" y="53"/>
                  </a:moveTo>
                  <a:cubicBezTo>
                    <a:pt x="72" y="55"/>
                    <a:pt x="70" y="52"/>
                    <a:pt x="69" y="49"/>
                  </a:cubicBezTo>
                  <a:cubicBezTo>
                    <a:pt x="69" y="47"/>
                    <a:pt x="69" y="44"/>
                    <a:pt x="69" y="42"/>
                  </a:cubicBezTo>
                  <a:cubicBezTo>
                    <a:pt x="69" y="39"/>
                    <a:pt x="74" y="34"/>
                    <a:pt x="77" y="34"/>
                  </a:cubicBezTo>
                  <a:cubicBezTo>
                    <a:pt x="80" y="34"/>
                    <a:pt x="82" y="34"/>
                    <a:pt x="85" y="34"/>
                  </a:cubicBezTo>
                  <a:cubicBezTo>
                    <a:pt x="88" y="34"/>
                    <a:pt x="92" y="37"/>
                    <a:pt x="92" y="38"/>
                  </a:cubicBezTo>
                  <a:cubicBezTo>
                    <a:pt x="92" y="40"/>
                    <a:pt x="89" y="43"/>
                    <a:pt x="85" y="45"/>
                  </a:cubicBezTo>
                  <a:cubicBezTo>
                    <a:pt x="85" y="45"/>
                    <a:pt x="84" y="46"/>
                    <a:pt x="83" y="46"/>
                  </a:cubicBezTo>
                  <a:cubicBezTo>
                    <a:pt x="79" y="48"/>
                    <a:pt x="75" y="51"/>
                    <a:pt x="73" y="53"/>
                  </a:cubicBezTo>
                  <a:close/>
                </a:path>
              </a:pathLst>
            </a:custGeom>
            <a:solidFill>
              <a:srgbClr val="A5A8AB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24" name="ïS1ïdé">
              <a:extLst>
                <a:ext uri="{FF2B5EF4-FFF2-40B4-BE49-F238E27FC236}">
                  <a16:creationId xmlns:a16="http://schemas.microsoft.com/office/drawing/2014/main" xmlns="" id="{74D880E2-2528-41D9-A105-3826EAA9DC95}"/>
                </a:ext>
              </a:extLst>
            </p:cNvPr>
            <p:cNvSpPr/>
            <p:nvPr/>
          </p:nvSpPr>
          <p:spPr bwMode="auto">
            <a:xfrm>
              <a:off x="4100382" y="2924942"/>
              <a:ext cx="456344" cy="456344"/>
            </a:xfrm>
            <a:custGeom>
              <a:avLst/>
              <a:gdLst/>
              <a:ahLst/>
              <a:cxnLst>
                <a:cxn ang="0">
                  <a:pos x="163" y="88"/>
                </a:cxn>
                <a:cxn ang="0">
                  <a:pos x="155" y="92"/>
                </a:cxn>
                <a:cxn ang="0">
                  <a:pos x="143" y="91"/>
                </a:cxn>
                <a:cxn ang="0">
                  <a:pos x="137" y="73"/>
                </a:cxn>
                <a:cxn ang="0">
                  <a:pos x="130" y="75"/>
                </a:cxn>
                <a:cxn ang="0">
                  <a:pos x="124" y="81"/>
                </a:cxn>
                <a:cxn ang="0">
                  <a:pos x="121" y="82"/>
                </a:cxn>
                <a:cxn ang="0">
                  <a:pos x="128" y="99"/>
                </a:cxn>
                <a:cxn ang="0">
                  <a:pos x="122" y="115"/>
                </a:cxn>
                <a:cxn ang="0">
                  <a:pos x="116" y="127"/>
                </a:cxn>
                <a:cxn ang="0">
                  <a:pos x="107" y="122"/>
                </a:cxn>
                <a:cxn ang="0">
                  <a:pos x="101" y="107"/>
                </a:cxn>
                <a:cxn ang="0">
                  <a:pos x="91" y="94"/>
                </a:cxn>
                <a:cxn ang="0">
                  <a:pos x="78" y="83"/>
                </a:cxn>
                <a:cxn ang="0">
                  <a:pos x="91" y="76"/>
                </a:cxn>
                <a:cxn ang="0">
                  <a:pos x="114" y="65"/>
                </a:cxn>
                <a:cxn ang="0">
                  <a:pos x="95" y="65"/>
                </a:cxn>
                <a:cxn ang="0">
                  <a:pos x="76" y="63"/>
                </a:cxn>
                <a:cxn ang="0">
                  <a:pos x="95" y="46"/>
                </a:cxn>
                <a:cxn ang="0">
                  <a:pos x="112" y="30"/>
                </a:cxn>
                <a:cxn ang="0">
                  <a:pos x="132" y="28"/>
                </a:cxn>
                <a:cxn ang="0">
                  <a:pos x="152" y="29"/>
                </a:cxn>
                <a:cxn ang="0">
                  <a:pos x="24" y="27"/>
                </a:cxn>
                <a:cxn ang="0">
                  <a:pos x="49" y="27"/>
                </a:cxn>
                <a:cxn ang="0">
                  <a:pos x="64" y="38"/>
                </a:cxn>
                <a:cxn ang="0">
                  <a:pos x="60" y="57"/>
                </a:cxn>
                <a:cxn ang="0">
                  <a:pos x="49" y="79"/>
                </a:cxn>
                <a:cxn ang="0">
                  <a:pos x="74" y="94"/>
                </a:cxn>
                <a:cxn ang="0">
                  <a:pos x="82" y="104"/>
                </a:cxn>
                <a:cxn ang="0">
                  <a:pos x="70" y="119"/>
                </a:cxn>
                <a:cxn ang="0">
                  <a:pos x="61" y="133"/>
                </a:cxn>
                <a:cxn ang="0">
                  <a:pos x="63" y="147"/>
                </a:cxn>
                <a:cxn ang="0">
                  <a:pos x="55" y="149"/>
                </a:cxn>
                <a:cxn ang="0">
                  <a:pos x="50" y="128"/>
                </a:cxn>
                <a:cxn ang="0">
                  <a:pos x="39" y="111"/>
                </a:cxn>
                <a:cxn ang="0">
                  <a:pos x="31" y="87"/>
                </a:cxn>
                <a:cxn ang="0">
                  <a:pos x="19" y="83"/>
                </a:cxn>
                <a:cxn ang="0">
                  <a:pos x="14" y="59"/>
                </a:cxn>
                <a:cxn ang="0">
                  <a:pos x="13" y="46"/>
                </a:cxn>
                <a:cxn ang="0">
                  <a:pos x="0" y="87"/>
                </a:cxn>
                <a:cxn ang="0">
                  <a:pos x="174" y="89"/>
                </a:cxn>
                <a:cxn ang="0">
                  <a:pos x="73" y="53"/>
                </a:cxn>
                <a:cxn ang="0">
                  <a:pos x="69" y="42"/>
                </a:cxn>
                <a:cxn ang="0">
                  <a:pos x="84" y="34"/>
                </a:cxn>
                <a:cxn ang="0">
                  <a:pos x="85" y="45"/>
                </a:cxn>
                <a:cxn ang="0">
                  <a:pos x="73" y="53"/>
                </a:cxn>
              </a:cxnLst>
              <a:rect l="0" t="0" r="r" b="b"/>
              <a:pathLst>
                <a:path w="174" h="174">
                  <a:moveTo>
                    <a:pt x="167" y="92"/>
                  </a:moveTo>
                  <a:cubicBezTo>
                    <a:pt x="165" y="92"/>
                    <a:pt x="163" y="90"/>
                    <a:pt x="163" y="88"/>
                  </a:cubicBezTo>
                  <a:cubicBezTo>
                    <a:pt x="163" y="86"/>
                    <a:pt x="161" y="84"/>
                    <a:pt x="159" y="84"/>
                  </a:cubicBezTo>
                  <a:cubicBezTo>
                    <a:pt x="157" y="84"/>
                    <a:pt x="155" y="88"/>
                    <a:pt x="155" y="92"/>
                  </a:cubicBezTo>
                  <a:cubicBezTo>
                    <a:pt x="155" y="97"/>
                    <a:pt x="155" y="100"/>
                    <a:pt x="147" y="100"/>
                  </a:cubicBezTo>
                  <a:cubicBezTo>
                    <a:pt x="139" y="100"/>
                    <a:pt x="143" y="91"/>
                    <a:pt x="143" y="91"/>
                  </a:cubicBezTo>
                  <a:cubicBezTo>
                    <a:pt x="145" y="87"/>
                    <a:pt x="145" y="82"/>
                    <a:pt x="141" y="78"/>
                  </a:cubicBezTo>
                  <a:cubicBezTo>
                    <a:pt x="140" y="77"/>
                    <a:pt x="138" y="75"/>
                    <a:pt x="137" y="73"/>
                  </a:cubicBezTo>
                  <a:cubicBezTo>
                    <a:pt x="134" y="70"/>
                    <a:pt x="130" y="68"/>
                    <a:pt x="129" y="70"/>
                  </a:cubicBezTo>
                  <a:cubicBezTo>
                    <a:pt x="128" y="71"/>
                    <a:pt x="128" y="73"/>
                    <a:pt x="130" y="75"/>
                  </a:cubicBezTo>
                  <a:cubicBezTo>
                    <a:pt x="132" y="77"/>
                    <a:pt x="133" y="80"/>
                    <a:pt x="132" y="82"/>
                  </a:cubicBezTo>
                  <a:cubicBezTo>
                    <a:pt x="132" y="83"/>
                    <a:pt x="128" y="83"/>
                    <a:pt x="124" y="81"/>
                  </a:cubicBezTo>
                  <a:cubicBezTo>
                    <a:pt x="123" y="80"/>
                    <a:pt x="123" y="80"/>
                    <a:pt x="122" y="80"/>
                  </a:cubicBezTo>
                  <a:cubicBezTo>
                    <a:pt x="118" y="78"/>
                    <a:pt x="117" y="79"/>
                    <a:pt x="121" y="82"/>
                  </a:cubicBezTo>
                  <a:cubicBezTo>
                    <a:pt x="122" y="83"/>
                    <a:pt x="124" y="85"/>
                    <a:pt x="125" y="86"/>
                  </a:cubicBezTo>
                  <a:cubicBezTo>
                    <a:pt x="128" y="90"/>
                    <a:pt x="129" y="95"/>
                    <a:pt x="128" y="99"/>
                  </a:cubicBezTo>
                  <a:cubicBezTo>
                    <a:pt x="127" y="100"/>
                    <a:pt x="127" y="100"/>
                    <a:pt x="127" y="101"/>
                  </a:cubicBezTo>
                  <a:cubicBezTo>
                    <a:pt x="125" y="105"/>
                    <a:pt x="123" y="111"/>
                    <a:pt x="122" y="115"/>
                  </a:cubicBezTo>
                  <a:cubicBezTo>
                    <a:pt x="121" y="116"/>
                    <a:pt x="121" y="116"/>
                    <a:pt x="121" y="117"/>
                  </a:cubicBezTo>
                  <a:cubicBezTo>
                    <a:pt x="120" y="121"/>
                    <a:pt x="118" y="126"/>
                    <a:pt x="116" y="127"/>
                  </a:cubicBezTo>
                  <a:cubicBezTo>
                    <a:pt x="113" y="129"/>
                    <a:pt x="112" y="129"/>
                    <a:pt x="111" y="127"/>
                  </a:cubicBezTo>
                  <a:cubicBezTo>
                    <a:pt x="111" y="124"/>
                    <a:pt x="109" y="123"/>
                    <a:pt x="107" y="122"/>
                  </a:cubicBezTo>
                  <a:cubicBezTo>
                    <a:pt x="105" y="122"/>
                    <a:pt x="103" y="118"/>
                    <a:pt x="102" y="114"/>
                  </a:cubicBezTo>
                  <a:cubicBezTo>
                    <a:pt x="102" y="112"/>
                    <a:pt x="101" y="109"/>
                    <a:pt x="101" y="107"/>
                  </a:cubicBezTo>
                  <a:cubicBezTo>
                    <a:pt x="101" y="103"/>
                    <a:pt x="97" y="98"/>
                    <a:pt x="93" y="96"/>
                  </a:cubicBezTo>
                  <a:cubicBezTo>
                    <a:pt x="92" y="95"/>
                    <a:pt x="91" y="95"/>
                    <a:pt x="91" y="94"/>
                  </a:cubicBezTo>
                  <a:cubicBezTo>
                    <a:pt x="87" y="92"/>
                    <a:pt x="81" y="88"/>
                    <a:pt x="79" y="84"/>
                  </a:cubicBezTo>
                  <a:cubicBezTo>
                    <a:pt x="79" y="84"/>
                    <a:pt x="79" y="83"/>
                    <a:pt x="78" y="83"/>
                  </a:cubicBezTo>
                  <a:cubicBezTo>
                    <a:pt x="76" y="79"/>
                    <a:pt x="78" y="77"/>
                    <a:pt x="83" y="76"/>
                  </a:cubicBezTo>
                  <a:cubicBezTo>
                    <a:pt x="85" y="76"/>
                    <a:pt x="88" y="76"/>
                    <a:pt x="91" y="76"/>
                  </a:cubicBezTo>
                  <a:cubicBezTo>
                    <a:pt x="95" y="76"/>
                    <a:pt x="102" y="75"/>
                    <a:pt x="106" y="74"/>
                  </a:cubicBezTo>
                  <a:cubicBezTo>
                    <a:pt x="111" y="73"/>
                    <a:pt x="114" y="69"/>
                    <a:pt x="114" y="65"/>
                  </a:cubicBezTo>
                  <a:cubicBezTo>
                    <a:pt x="114" y="61"/>
                    <a:pt x="111" y="59"/>
                    <a:pt x="107" y="59"/>
                  </a:cubicBezTo>
                  <a:cubicBezTo>
                    <a:pt x="103" y="60"/>
                    <a:pt x="98" y="63"/>
                    <a:pt x="95" y="65"/>
                  </a:cubicBezTo>
                  <a:cubicBezTo>
                    <a:pt x="93" y="67"/>
                    <a:pt x="87" y="69"/>
                    <a:pt x="83" y="69"/>
                  </a:cubicBezTo>
                  <a:cubicBezTo>
                    <a:pt x="79" y="69"/>
                    <a:pt x="75" y="66"/>
                    <a:pt x="76" y="63"/>
                  </a:cubicBezTo>
                  <a:cubicBezTo>
                    <a:pt x="76" y="59"/>
                    <a:pt x="80" y="54"/>
                    <a:pt x="83" y="51"/>
                  </a:cubicBezTo>
                  <a:cubicBezTo>
                    <a:pt x="86" y="49"/>
                    <a:pt x="92" y="46"/>
                    <a:pt x="95" y="46"/>
                  </a:cubicBezTo>
                  <a:cubicBezTo>
                    <a:pt x="99" y="46"/>
                    <a:pt x="102" y="43"/>
                    <a:pt x="103" y="39"/>
                  </a:cubicBezTo>
                  <a:cubicBezTo>
                    <a:pt x="104" y="35"/>
                    <a:pt x="108" y="31"/>
                    <a:pt x="112" y="30"/>
                  </a:cubicBezTo>
                  <a:cubicBezTo>
                    <a:pt x="114" y="30"/>
                    <a:pt x="116" y="30"/>
                    <a:pt x="118" y="29"/>
                  </a:cubicBezTo>
                  <a:cubicBezTo>
                    <a:pt x="122" y="29"/>
                    <a:pt x="128" y="28"/>
                    <a:pt x="132" y="28"/>
                  </a:cubicBezTo>
                  <a:cubicBezTo>
                    <a:pt x="135" y="28"/>
                    <a:pt x="138" y="28"/>
                    <a:pt x="140" y="28"/>
                  </a:cubicBezTo>
                  <a:cubicBezTo>
                    <a:pt x="143" y="28"/>
                    <a:pt x="148" y="29"/>
                    <a:pt x="152" y="29"/>
                  </a:cubicBezTo>
                  <a:cubicBezTo>
                    <a:pt x="136" y="11"/>
                    <a:pt x="113" y="0"/>
                    <a:pt x="87" y="0"/>
                  </a:cubicBezTo>
                  <a:cubicBezTo>
                    <a:pt x="62" y="0"/>
                    <a:pt x="40" y="11"/>
                    <a:pt x="24" y="27"/>
                  </a:cubicBezTo>
                  <a:cubicBezTo>
                    <a:pt x="28" y="27"/>
                    <a:pt x="31" y="26"/>
                    <a:pt x="35" y="26"/>
                  </a:cubicBezTo>
                  <a:cubicBezTo>
                    <a:pt x="39" y="26"/>
                    <a:pt x="45" y="27"/>
                    <a:pt x="49" y="27"/>
                  </a:cubicBezTo>
                  <a:cubicBezTo>
                    <a:pt x="51" y="27"/>
                    <a:pt x="53" y="28"/>
                    <a:pt x="56" y="28"/>
                  </a:cubicBezTo>
                  <a:cubicBezTo>
                    <a:pt x="60" y="29"/>
                    <a:pt x="63" y="33"/>
                    <a:pt x="64" y="38"/>
                  </a:cubicBezTo>
                  <a:cubicBezTo>
                    <a:pt x="64" y="40"/>
                    <a:pt x="64" y="43"/>
                    <a:pt x="65" y="45"/>
                  </a:cubicBezTo>
                  <a:cubicBezTo>
                    <a:pt x="65" y="49"/>
                    <a:pt x="63" y="55"/>
                    <a:pt x="60" y="57"/>
                  </a:cubicBezTo>
                  <a:cubicBezTo>
                    <a:pt x="56" y="61"/>
                    <a:pt x="52" y="65"/>
                    <a:pt x="48" y="69"/>
                  </a:cubicBezTo>
                  <a:cubicBezTo>
                    <a:pt x="45" y="72"/>
                    <a:pt x="46" y="77"/>
                    <a:pt x="49" y="79"/>
                  </a:cubicBezTo>
                  <a:cubicBezTo>
                    <a:pt x="53" y="82"/>
                    <a:pt x="56" y="84"/>
                    <a:pt x="60" y="86"/>
                  </a:cubicBezTo>
                  <a:cubicBezTo>
                    <a:pt x="64" y="89"/>
                    <a:pt x="70" y="92"/>
                    <a:pt x="74" y="94"/>
                  </a:cubicBezTo>
                  <a:cubicBezTo>
                    <a:pt x="74" y="94"/>
                    <a:pt x="75" y="94"/>
                    <a:pt x="76" y="95"/>
                  </a:cubicBezTo>
                  <a:cubicBezTo>
                    <a:pt x="80" y="96"/>
                    <a:pt x="83" y="101"/>
                    <a:pt x="82" y="104"/>
                  </a:cubicBezTo>
                  <a:cubicBezTo>
                    <a:pt x="82" y="108"/>
                    <a:pt x="80" y="112"/>
                    <a:pt x="78" y="112"/>
                  </a:cubicBezTo>
                  <a:cubicBezTo>
                    <a:pt x="76" y="112"/>
                    <a:pt x="72" y="116"/>
                    <a:pt x="70" y="119"/>
                  </a:cubicBezTo>
                  <a:cubicBezTo>
                    <a:pt x="70" y="120"/>
                    <a:pt x="69" y="121"/>
                    <a:pt x="69" y="121"/>
                  </a:cubicBezTo>
                  <a:cubicBezTo>
                    <a:pt x="67" y="125"/>
                    <a:pt x="63" y="130"/>
                    <a:pt x="61" y="133"/>
                  </a:cubicBezTo>
                  <a:cubicBezTo>
                    <a:pt x="59" y="135"/>
                    <a:pt x="58" y="139"/>
                    <a:pt x="60" y="141"/>
                  </a:cubicBezTo>
                  <a:cubicBezTo>
                    <a:pt x="62" y="142"/>
                    <a:pt x="63" y="145"/>
                    <a:pt x="63" y="147"/>
                  </a:cubicBezTo>
                  <a:cubicBezTo>
                    <a:pt x="63" y="149"/>
                    <a:pt x="60" y="150"/>
                    <a:pt x="57" y="149"/>
                  </a:cubicBezTo>
                  <a:cubicBezTo>
                    <a:pt x="56" y="149"/>
                    <a:pt x="56" y="149"/>
                    <a:pt x="55" y="149"/>
                  </a:cubicBezTo>
                  <a:cubicBezTo>
                    <a:pt x="52" y="147"/>
                    <a:pt x="49" y="143"/>
                    <a:pt x="50" y="138"/>
                  </a:cubicBezTo>
                  <a:cubicBezTo>
                    <a:pt x="50" y="135"/>
                    <a:pt x="50" y="131"/>
                    <a:pt x="50" y="128"/>
                  </a:cubicBezTo>
                  <a:cubicBezTo>
                    <a:pt x="51" y="124"/>
                    <a:pt x="49" y="119"/>
                    <a:pt x="47" y="117"/>
                  </a:cubicBezTo>
                  <a:cubicBezTo>
                    <a:pt x="44" y="116"/>
                    <a:pt x="41" y="113"/>
                    <a:pt x="39" y="111"/>
                  </a:cubicBezTo>
                  <a:cubicBezTo>
                    <a:pt x="36" y="109"/>
                    <a:pt x="35" y="103"/>
                    <a:pt x="35" y="99"/>
                  </a:cubicBezTo>
                  <a:cubicBezTo>
                    <a:pt x="35" y="94"/>
                    <a:pt x="33" y="89"/>
                    <a:pt x="31" y="87"/>
                  </a:cubicBezTo>
                  <a:cubicBezTo>
                    <a:pt x="28" y="84"/>
                    <a:pt x="27" y="83"/>
                    <a:pt x="27" y="83"/>
                  </a:cubicBezTo>
                  <a:cubicBezTo>
                    <a:pt x="27" y="83"/>
                    <a:pt x="27" y="83"/>
                    <a:pt x="19" y="83"/>
                  </a:cubicBezTo>
                  <a:cubicBezTo>
                    <a:pt x="11" y="83"/>
                    <a:pt x="11" y="74"/>
                    <a:pt x="11" y="74"/>
                  </a:cubicBezTo>
                  <a:cubicBezTo>
                    <a:pt x="11" y="70"/>
                    <a:pt x="13" y="63"/>
                    <a:pt x="14" y="59"/>
                  </a:cubicBezTo>
                  <a:cubicBezTo>
                    <a:pt x="15" y="57"/>
                    <a:pt x="16" y="54"/>
                    <a:pt x="17" y="51"/>
                  </a:cubicBezTo>
                  <a:cubicBezTo>
                    <a:pt x="19" y="47"/>
                    <a:pt x="17" y="45"/>
                    <a:pt x="13" y="46"/>
                  </a:cubicBezTo>
                  <a:cubicBezTo>
                    <a:pt x="12" y="47"/>
                    <a:pt x="11" y="47"/>
                    <a:pt x="10" y="48"/>
                  </a:cubicBezTo>
                  <a:cubicBezTo>
                    <a:pt x="4" y="59"/>
                    <a:pt x="0" y="73"/>
                    <a:pt x="0" y="87"/>
                  </a:cubicBezTo>
                  <a:cubicBezTo>
                    <a:pt x="0" y="135"/>
                    <a:pt x="39" y="174"/>
                    <a:pt x="87" y="174"/>
                  </a:cubicBezTo>
                  <a:cubicBezTo>
                    <a:pt x="135" y="174"/>
                    <a:pt x="173" y="136"/>
                    <a:pt x="174" y="89"/>
                  </a:cubicBezTo>
                  <a:cubicBezTo>
                    <a:pt x="172" y="91"/>
                    <a:pt x="169" y="92"/>
                    <a:pt x="167" y="92"/>
                  </a:cubicBezTo>
                  <a:close/>
                  <a:moveTo>
                    <a:pt x="73" y="53"/>
                  </a:moveTo>
                  <a:cubicBezTo>
                    <a:pt x="72" y="55"/>
                    <a:pt x="69" y="52"/>
                    <a:pt x="69" y="49"/>
                  </a:cubicBezTo>
                  <a:cubicBezTo>
                    <a:pt x="68" y="46"/>
                    <a:pt x="68" y="44"/>
                    <a:pt x="69" y="42"/>
                  </a:cubicBezTo>
                  <a:cubicBezTo>
                    <a:pt x="69" y="38"/>
                    <a:pt x="74" y="34"/>
                    <a:pt x="77" y="34"/>
                  </a:cubicBezTo>
                  <a:cubicBezTo>
                    <a:pt x="80" y="33"/>
                    <a:pt x="82" y="33"/>
                    <a:pt x="84" y="34"/>
                  </a:cubicBezTo>
                  <a:cubicBezTo>
                    <a:pt x="88" y="34"/>
                    <a:pt x="92" y="37"/>
                    <a:pt x="92" y="38"/>
                  </a:cubicBezTo>
                  <a:cubicBezTo>
                    <a:pt x="92" y="40"/>
                    <a:pt x="89" y="43"/>
                    <a:pt x="85" y="45"/>
                  </a:cubicBezTo>
                  <a:cubicBezTo>
                    <a:pt x="84" y="45"/>
                    <a:pt x="84" y="46"/>
                    <a:pt x="83" y="46"/>
                  </a:cubicBezTo>
                  <a:cubicBezTo>
                    <a:pt x="79" y="48"/>
                    <a:pt x="74" y="51"/>
                    <a:pt x="73" y="5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25" name="ïṡļídê">
              <a:extLst>
                <a:ext uri="{FF2B5EF4-FFF2-40B4-BE49-F238E27FC236}">
                  <a16:creationId xmlns:a16="http://schemas.microsoft.com/office/drawing/2014/main" xmlns="" id="{326CEE4D-8199-400A-BBBC-332E930B72DB}"/>
                </a:ext>
              </a:extLst>
            </p:cNvPr>
            <p:cNvSpPr/>
            <p:nvPr/>
          </p:nvSpPr>
          <p:spPr bwMode="auto">
            <a:xfrm>
              <a:off x="4092055" y="2916614"/>
              <a:ext cx="458009" cy="456344"/>
            </a:xfrm>
            <a:custGeom>
              <a:avLst/>
              <a:gdLst/>
              <a:ahLst/>
              <a:cxnLst>
                <a:cxn ang="0">
                  <a:pos x="163" y="88"/>
                </a:cxn>
                <a:cxn ang="0">
                  <a:pos x="155" y="92"/>
                </a:cxn>
                <a:cxn ang="0">
                  <a:pos x="144" y="92"/>
                </a:cxn>
                <a:cxn ang="0">
                  <a:pos x="137" y="73"/>
                </a:cxn>
                <a:cxn ang="0">
                  <a:pos x="130" y="76"/>
                </a:cxn>
                <a:cxn ang="0">
                  <a:pos x="124" y="81"/>
                </a:cxn>
                <a:cxn ang="0">
                  <a:pos x="121" y="82"/>
                </a:cxn>
                <a:cxn ang="0">
                  <a:pos x="128" y="99"/>
                </a:cxn>
                <a:cxn ang="0">
                  <a:pos x="122" y="116"/>
                </a:cxn>
                <a:cxn ang="0">
                  <a:pos x="116" y="127"/>
                </a:cxn>
                <a:cxn ang="0">
                  <a:pos x="107" y="123"/>
                </a:cxn>
                <a:cxn ang="0">
                  <a:pos x="101" y="107"/>
                </a:cxn>
                <a:cxn ang="0">
                  <a:pos x="91" y="95"/>
                </a:cxn>
                <a:cxn ang="0">
                  <a:pos x="79" y="83"/>
                </a:cxn>
                <a:cxn ang="0">
                  <a:pos x="91" y="77"/>
                </a:cxn>
                <a:cxn ang="0">
                  <a:pos x="114" y="65"/>
                </a:cxn>
                <a:cxn ang="0">
                  <a:pos x="95" y="65"/>
                </a:cxn>
                <a:cxn ang="0">
                  <a:pos x="76" y="63"/>
                </a:cxn>
                <a:cxn ang="0">
                  <a:pos x="95" y="46"/>
                </a:cxn>
                <a:cxn ang="0">
                  <a:pos x="112" y="30"/>
                </a:cxn>
                <a:cxn ang="0">
                  <a:pos x="132" y="29"/>
                </a:cxn>
                <a:cxn ang="0">
                  <a:pos x="152" y="29"/>
                </a:cxn>
                <a:cxn ang="0">
                  <a:pos x="24" y="27"/>
                </a:cxn>
                <a:cxn ang="0">
                  <a:pos x="49" y="27"/>
                </a:cxn>
                <a:cxn ang="0">
                  <a:pos x="64" y="38"/>
                </a:cxn>
                <a:cxn ang="0">
                  <a:pos x="60" y="58"/>
                </a:cxn>
                <a:cxn ang="0">
                  <a:pos x="49" y="79"/>
                </a:cxn>
                <a:cxn ang="0">
                  <a:pos x="74" y="94"/>
                </a:cxn>
                <a:cxn ang="0">
                  <a:pos x="83" y="105"/>
                </a:cxn>
                <a:cxn ang="0">
                  <a:pos x="70" y="120"/>
                </a:cxn>
                <a:cxn ang="0">
                  <a:pos x="61" y="133"/>
                </a:cxn>
                <a:cxn ang="0">
                  <a:pos x="63" y="148"/>
                </a:cxn>
                <a:cxn ang="0">
                  <a:pos x="55" y="149"/>
                </a:cxn>
                <a:cxn ang="0">
                  <a:pos x="50" y="128"/>
                </a:cxn>
                <a:cxn ang="0">
                  <a:pos x="39" y="111"/>
                </a:cxn>
                <a:cxn ang="0">
                  <a:pos x="31" y="87"/>
                </a:cxn>
                <a:cxn ang="0">
                  <a:pos x="19" y="83"/>
                </a:cxn>
                <a:cxn ang="0">
                  <a:pos x="14" y="59"/>
                </a:cxn>
                <a:cxn ang="0">
                  <a:pos x="13" y="46"/>
                </a:cxn>
                <a:cxn ang="0">
                  <a:pos x="0" y="87"/>
                </a:cxn>
                <a:cxn ang="0">
                  <a:pos x="174" y="89"/>
                </a:cxn>
                <a:cxn ang="0">
                  <a:pos x="73" y="53"/>
                </a:cxn>
                <a:cxn ang="0">
                  <a:pos x="69" y="42"/>
                </a:cxn>
                <a:cxn ang="0">
                  <a:pos x="85" y="34"/>
                </a:cxn>
                <a:cxn ang="0">
                  <a:pos x="85" y="45"/>
                </a:cxn>
                <a:cxn ang="0">
                  <a:pos x="73" y="53"/>
                </a:cxn>
              </a:cxnLst>
              <a:rect l="0" t="0" r="r" b="b"/>
              <a:pathLst>
                <a:path w="174" h="174">
                  <a:moveTo>
                    <a:pt x="167" y="92"/>
                  </a:moveTo>
                  <a:cubicBezTo>
                    <a:pt x="165" y="92"/>
                    <a:pt x="163" y="90"/>
                    <a:pt x="163" y="88"/>
                  </a:cubicBezTo>
                  <a:cubicBezTo>
                    <a:pt x="163" y="86"/>
                    <a:pt x="161" y="84"/>
                    <a:pt x="159" y="84"/>
                  </a:cubicBezTo>
                  <a:cubicBezTo>
                    <a:pt x="157" y="84"/>
                    <a:pt x="155" y="88"/>
                    <a:pt x="155" y="92"/>
                  </a:cubicBezTo>
                  <a:cubicBezTo>
                    <a:pt x="155" y="97"/>
                    <a:pt x="155" y="100"/>
                    <a:pt x="147" y="100"/>
                  </a:cubicBezTo>
                  <a:cubicBezTo>
                    <a:pt x="139" y="100"/>
                    <a:pt x="144" y="92"/>
                    <a:pt x="144" y="92"/>
                  </a:cubicBezTo>
                  <a:cubicBezTo>
                    <a:pt x="146" y="88"/>
                    <a:pt x="145" y="82"/>
                    <a:pt x="142" y="79"/>
                  </a:cubicBezTo>
                  <a:cubicBezTo>
                    <a:pt x="140" y="77"/>
                    <a:pt x="138" y="75"/>
                    <a:pt x="137" y="73"/>
                  </a:cubicBezTo>
                  <a:cubicBezTo>
                    <a:pt x="134" y="70"/>
                    <a:pt x="130" y="69"/>
                    <a:pt x="129" y="70"/>
                  </a:cubicBezTo>
                  <a:cubicBezTo>
                    <a:pt x="128" y="71"/>
                    <a:pt x="129" y="74"/>
                    <a:pt x="130" y="76"/>
                  </a:cubicBezTo>
                  <a:cubicBezTo>
                    <a:pt x="132" y="77"/>
                    <a:pt x="133" y="80"/>
                    <a:pt x="133" y="82"/>
                  </a:cubicBezTo>
                  <a:cubicBezTo>
                    <a:pt x="132" y="83"/>
                    <a:pt x="128" y="83"/>
                    <a:pt x="124" y="81"/>
                  </a:cubicBezTo>
                  <a:cubicBezTo>
                    <a:pt x="123" y="80"/>
                    <a:pt x="123" y="80"/>
                    <a:pt x="122" y="80"/>
                  </a:cubicBezTo>
                  <a:cubicBezTo>
                    <a:pt x="118" y="78"/>
                    <a:pt x="118" y="79"/>
                    <a:pt x="121" y="82"/>
                  </a:cubicBezTo>
                  <a:cubicBezTo>
                    <a:pt x="122" y="84"/>
                    <a:pt x="124" y="85"/>
                    <a:pt x="125" y="87"/>
                  </a:cubicBezTo>
                  <a:cubicBezTo>
                    <a:pt x="129" y="90"/>
                    <a:pt x="130" y="96"/>
                    <a:pt x="128" y="99"/>
                  </a:cubicBezTo>
                  <a:cubicBezTo>
                    <a:pt x="128" y="100"/>
                    <a:pt x="127" y="101"/>
                    <a:pt x="127" y="101"/>
                  </a:cubicBezTo>
                  <a:cubicBezTo>
                    <a:pt x="125" y="105"/>
                    <a:pt x="123" y="112"/>
                    <a:pt x="122" y="116"/>
                  </a:cubicBezTo>
                  <a:cubicBezTo>
                    <a:pt x="122" y="116"/>
                    <a:pt x="121" y="116"/>
                    <a:pt x="121" y="117"/>
                  </a:cubicBezTo>
                  <a:cubicBezTo>
                    <a:pt x="120" y="121"/>
                    <a:pt x="118" y="126"/>
                    <a:pt x="116" y="127"/>
                  </a:cubicBezTo>
                  <a:cubicBezTo>
                    <a:pt x="114" y="129"/>
                    <a:pt x="112" y="129"/>
                    <a:pt x="111" y="127"/>
                  </a:cubicBezTo>
                  <a:cubicBezTo>
                    <a:pt x="111" y="125"/>
                    <a:pt x="109" y="123"/>
                    <a:pt x="107" y="123"/>
                  </a:cubicBezTo>
                  <a:cubicBezTo>
                    <a:pt x="105" y="122"/>
                    <a:pt x="103" y="119"/>
                    <a:pt x="102" y="115"/>
                  </a:cubicBezTo>
                  <a:cubicBezTo>
                    <a:pt x="102" y="112"/>
                    <a:pt x="102" y="110"/>
                    <a:pt x="101" y="107"/>
                  </a:cubicBezTo>
                  <a:cubicBezTo>
                    <a:pt x="101" y="103"/>
                    <a:pt x="97" y="98"/>
                    <a:pt x="93" y="96"/>
                  </a:cubicBezTo>
                  <a:cubicBezTo>
                    <a:pt x="93" y="95"/>
                    <a:pt x="92" y="95"/>
                    <a:pt x="91" y="95"/>
                  </a:cubicBezTo>
                  <a:cubicBezTo>
                    <a:pt x="87" y="93"/>
                    <a:pt x="82" y="88"/>
                    <a:pt x="79" y="85"/>
                  </a:cubicBezTo>
                  <a:cubicBezTo>
                    <a:pt x="79" y="84"/>
                    <a:pt x="79" y="84"/>
                    <a:pt x="79" y="83"/>
                  </a:cubicBezTo>
                  <a:cubicBezTo>
                    <a:pt x="76" y="80"/>
                    <a:pt x="78" y="77"/>
                    <a:pt x="83" y="77"/>
                  </a:cubicBezTo>
                  <a:cubicBezTo>
                    <a:pt x="86" y="77"/>
                    <a:pt x="88" y="77"/>
                    <a:pt x="91" y="77"/>
                  </a:cubicBezTo>
                  <a:cubicBezTo>
                    <a:pt x="95" y="77"/>
                    <a:pt x="102" y="76"/>
                    <a:pt x="107" y="74"/>
                  </a:cubicBezTo>
                  <a:cubicBezTo>
                    <a:pt x="111" y="73"/>
                    <a:pt x="114" y="69"/>
                    <a:pt x="114" y="65"/>
                  </a:cubicBezTo>
                  <a:cubicBezTo>
                    <a:pt x="115" y="61"/>
                    <a:pt x="111" y="59"/>
                    <a:pt x="107" y="60"/>
                  </a:cubicBezTo>
                  <a:cubicBezTo>
                    <a:pt x="103" y="61"/>
                    <a:pt x="98" y="63"/>
                    <a:pt x="95" y="65"/>
                  </a:cubicBezTo>
                  <a:cubicBezTo>
                    <a:pt x="93" y="67"/>
                    <a:pt x="88" y="69"/>
                    <a:pt x="83" y="69"/>
                  </a:cubicBezTo>
                  <a:cubicBezTo>
                    <a:pt x="79" y="70"/>
                    <a:pt x="75" y="67"/>
                    <a:pt x="76" y="63"/>
                  </a:cubicBezTo>
                  <a:cubicBezTo>
                    <a:pt x="77" y="59"/>
                    <a:pt x="80" y="54"/>
                    <a:pt x="83" y="51"/>
                  </a:cubicBezTo>
                  <a:cubicBezTo>
                    <a:pt x="87" y="49"/>
                    <a:pt x="92" y="46"/>
                    <a:pt x="95" y="46"/>
                  </a:cubicBezTo>
                  <a:cubicBezTo>
                    <a:pt x="99" y="46"/>
                    <a:pt x="102" y="43"/>
                    <a:pt x="103" y="39"/>
                  </a:cubicBezTo>
                  <a:cubicBezTo>
                    <a:pt x="104" y="35"/>
                    <a:pt x="108" y="31"/>
                    <a:pt x="112" y="30"/>
                  </a:cubicBezTo>
                  <a:cubicBezTo>
                    <a:pt x="114" y="30"/>
                    <a:pt x="116" y="30"/>
                    <a:pt x="119" y="29"/>
                  </a:cubicBezTo>
                  <a:cubicBezTo>
                    <a:pt x="122" y="29"/>
                    <a:pt x="129" y="29"/>
                    <a:pt x="132" y="29"/>
                  </a:cubicBezTo>
                  <a:cubicBezTo>
                    <a:pt x="135" y="29"/>
                    <a:pt x="138" y="29"/>
                    <a:pt x="141" y="29"/>
                  </a:cubicBezTo>
                  <a:cubicBezTo>
                    <a:pt x="144" y="29"/>
                    <a:pt x="148" y="29"/>
                    <a:pt x="152" y="29"/>
                  </a:cubicBezTo>
                  <a:cubicBezTo>
                    <a:pt x="136" y="11"/>
                    <a:pt x="113" y="0"/>
                    <a:pt x="87" y="0"/>
                  </a:cubicBezTo>
                  <a:cubicBezTo>
                    <a:pt x="62" y="0"/>
                    <a:pt x="40" y="11"/>
                    <a:pt x="24" y="27"/>
                  </a:cubicBezTo>
                  <a:cubicBezTo>
                    <a:pt x="28" y="27"/>
                    <a:pt x="31" y="27"/>
                    <a:pt x="35" y="27"/>
                  </a:cubicBezTo>
                  <a:cubicBezTo>
                    <a:pt x="39" y="26"/>
                    <a:pt x="45" y="27"/>
                    <a:pt x="49" y="27"/>
                  </a:cubicBezTo>
                  <a:cubicBezTo>
                    <a:pt x="51" y="28"/>
                    <a:pt x="54" y="28"/>
                    <a:pt x="56" y="28"/>
                  </a:cubicBezTo>
                  <a:cubicBezTo>
                    <a:pt x="60" y="29"/>
                    <a:pt x="63" y="34"/>
                    <a:pt x="64" y="38"/>
                  </a:cubicBezTo>
                  <a:cubicBezTo>
                    <a:pt x="64" y="40"/>
                    <a:pt x="64" y="43"/>
                    <a:pt x="65" y="45"/>
                  </a:cubicBezTo>
                  <a:cubicBezTo>
                    <a:pt x="65" y="49"/>
                    <a:pt x="63" y="55"/>
                    <a:pt x="60" y="58"/>
                  </a:cubicBezTo>
                  <a:cubicBezTo>
                    <a:pt x="57" y="61"/>
                    <a:pt x="52" y="65"/>
                    <a:pt x="48" y="69"/>
                  </a:cubicBezTo>
                  <a:cubicBezTo>
                    <a:pt x="45" y="72"/>
                    <a:pt x="46" y="77"/>
                    <a:pt x="49" y="79"/>
                  </a:cubicBezTo>
                  <a:cubicBezTo>
                    <a:pt x="53" y="82"/>
                    <a:pt x="57" y="84"/>
                    <a:pt x="60" y="86"/>
                  </a:cubicBezTo>
                  <a:cubicBezTo>
                    <a:pt x="64" y="89"/>
                    <a:pt x="70" y="92"/>
                    <a:pt x="74" y="94"/>
                  </a:cubicBezTo>
                  <a:cubicBezTo>
                    <a:pt x="75" y="94"/>
                    <a:pt x="75" y="94"/>
                    <a:pt x="76" y="95"/>
                  </a:cubicBezTo>
                  <a:cubicBezTo>
                    <a:pt x="80" y="96"/>
                    <a:pt x="83" y="101"/>
                    <a:pt x="83" y="105"/>
                  </a:cubicBezTo>
                  <a:cubicBezTo>
                    <a:pt x="82" y="108"/>
                    <a:pt x="80" y="112"/>
                    <a:pt x="78" y="112"/>
                  </a:cubicBezTo>
                  <a:cubicBezTo>
                    <a:pt x="76" y="112"/>
                    <a:pt x="72" y="116"/>
                    <a:pt x="70" y="120"/>
                  </a:cubicBezTo>
                  <a:cubicBezTo>
                    <a:pt x="70" y="120"/>
                    <a:pt x="70" y="121"/>
                    <a:pt x="69" y="121"/>
                  </a:cubicBezTo>
                  <a:cubicBezTo>
                    <a:pt x="67" y="125"/>
                    <a:pt x="63" y="131"/>
                    <a:pt x="61" y="133"/>
                  </a:cubicBezTo>
                  <a:cubicBezTo>
                    <a:pt x="59" y="136"/>
                    <a:pt x="59" y="139"/>
                    <a:pt x="60" y="141"/>
                  </a:cubicBezTo>
                  <a:cubicBezTo>
                    <a:pt x="62" y="142"/>
                    <a:pt x="63" y="146"/>
                    <a:pt x="63" y="148"/>
                  </a:cubicBezTo>
                  <a:cubicBezTo>
                    <a:pt x="63" y="150"/>
                    <a:pt x="60" y="151"/>
                    <a:pt x="57" y="149"/>
                  </a:cubicBezTo>
                  <a:cubicBezTo>
                    <a:pt x="56" y="149"/>
                    <a:pt x="56" y="149"/>
                    <a:pt x="55" y="149"/>
                  </a:cubicBezTo>
                  <a:cubicBezTo>
                    <a:pt x="52" y="148"/>
                    <a:pt x="50" y="143"/>
                    <a:pt x="50" y="138"/>
                  </a:cubicBezTo>
                  <a:cubicBezTo>
                    <a:pt x="50" y="135"/>
                    <a:pt x="50" y="132"/>
                    <a:pt x="50" y="128"/>
                  </a:cubicBezTo>
                  <a:cubicBezTo>
                    <a:pt x="51" y="124"/>
                    <a:pt x="49" y="119"/>
                    <a:pt x="47" y="118"/>
                  </a:cubicBezTo>
                  <a:cubicBezTo>
                    <a:pt x="45" y="116"/>
                    <a:pt x="41" y="113"/>
                    <a:pt x="39" y="111"/>
                  </a:cubicBezTo>
                  <a:cubicBezTo>
                    <a:pt x="37" y="109"/>
                    <a:pt x="35" y="103"/>
                    <a:pt x="35" y="99"/>
                  </a:cubicBezTo>
                  <a:cubicBezTo>
                    <a:pt x="35" y="94"/>
                    <a:pt x="33" y="89"/>
                    <a:pt x="31" y="87"/>
                  </a:cubicBezTo>
                  <a:cubicBezTo>
                    <a:pt x="29" y="85"/>
                    <a:pt x="27" y="83"/>
                    <a:pt x="27" y="83"/>
                  </a:cubicBezTo>
                  <a:cubicBezTo>
                    <a:pt x="27" y="83"/>
                    <a:pt x="27" y="83"/>
                    <a:pt x="19" y="83"/>
                  </a:cubicBezTo>
                  <a:cubicBezTo>
                    <a:pt x="11" y="83"/>
                    <a:pt x="11" y="75"/>
                    <a:pt x="11" y="75"/>
                  </a:cubicBezTo>
                  <a:cubicBezTo>
                    <a:pt x="11" y="70"/>
                    <a:pt x="13" y="64"/>
                    <a:pt x="14" y="59"/>
                  </a:cubicBezTo>
                  <a:cubicBezTo>
                    <a:pt x="15" y="57"/>
                    <a:pt x="16" y="54"/>
                    <a:pt x="17" y="51"/>
                  </a:cubicBezTo>
                  <a:cubicBezTo>
                    <a:pt x="19" y="47"/>
                    <a:pt x="17" y="45"/>
                    <a:pt x="13" y="46"/>
                  </a:cubicBezTo>
                  <a:cubicBezTo>
                    <a:pt x="12" y="47"/>
                    <a:pt x="11" y="47"/>
                    <a:pt x="10" y="48"/>
                  </a:cubicBezTo>
                  <a:cubicBezTo>
                    <a:pt x="4" y="60"/>
                    <a:pt x="0" y="73"/>
                    <a:pt x="0" y="87"/>
                  </a:cubicBezTo>
                  <a:cubicBezTo>
                    <a:pt x="0" y="135"/>
                    <a:pt x="39" y="174"/>
                    <a:pt x="87" y="174"/>
                  </a:cubicBezTo>
                  <a:cubicBezTo>
                    <a:pt x="135" y="174"/>
                    <a:pt x="173" y="136"/>
                    <a:pt x="174" y="89"/>
                  </a:cubicBezTo>
                  <a:cubicBezTo>
                    <a:pt x="172" y="91"/>
                    <a:pt x="169" y="92"/>
                    <a:pt x="167" y="92"/>
                  </a:cubicBezTo>
                  <a:close/>
                  <a:moveTo>
                    <a:pt x="73" y="53"/>
                  </a:moveTo>
                  <a:cubicBezTo>
                    <a:pt x="72" y="55"/>
                    <a:pt x="70" y="52"/>
                    <a:pt x="69" y="49"/>
                  </a:cubicBezTo>
                  <a:cubicBezTo>
                    <a:pt x="69" y="47"/>
                    <a:pt x="69" y="44"/>
                    <a:pt x="69" y="42"/>
                  </a:cubicBezTo>
                  <a:cubicBezTo>
                    <a:pt x="69" y="39"/>
                    <a:pt x="74" y="34"/>
                    <a:pt x="77" y="34"/>
                  </a:cubicBezTo>
                  <a:cubicBezTo>
                    <a:pt x="80" y="34"/>
                    <a:pt x="82" y="34"/>
                    <a:pt x="85" y="34"/>
                  </a:cubicBezTo>
                  <a:cubicBezTo>
                    <a:pt x="88" y="34"/>
                    <a:pt x="92" y="37"/>
                    <a:pt x="92" y="38"/>
                  </a:cubicBezTo>
                  <a:cubicBezTo>
                    <a:pt x="92" y="40"/>
                    <a:pt x="89" y="43"/>
                    <a:pt x="85" y="45"/>
                  </a:cubicBezTo>
                  <a:cubicBezTo>
                    <a:pt x="85" y="45"/>
                    <a:pt x="84" y="46"/>
                    <a:pt x="83" y="46"/>
                  </a:cubicBezTo>
                  <a:cubicBezTo>
                    <a:pt x="79" y="48"/>
                    <a:pt x="75" y="51"/>
                    <a:pt x="73" y="53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26" name="íṥ1iďé">
              <a:extLst>
                <a:ext uri="{FF2B5EF4-FFF2-40B4-BE49-F238E27FC236}">
                  <a16:creationId xmlns:a16="http://schemas.microsoft.com/office/drawing/2014/main" xmlns="" id="{CA76C31A-1609-4F09-AD7D-0449974EFE10}"/>
                </a:ext>
              </a:extLst>
            </p:cNvPr>
            <p:cNvSpPr/>
            <p:nvPr/>
          </p:nvSpPr>
          <p:spPr bwMode="auto">
            <a:xfrm>
              <a:off x="5810636" y="4722003"/>
              <a:ext cx="637883" cy="469668"/>
            </a:xfrm>
            <a:custGeom>
              <a:avLst/>
              <a:gdLst>
                <a:gd name="connsiteX0" fmla="*/ 0 w 637883"/>
                <a:gd name="connsiteY0" fmla="*/ 414707 h 469668"/>
                <a:gd name="connsiteX1" fmla="*/ 234078 w 637883"/>
                <a:gd name="connsiteY1" fmla="*/ 414707 h 469668"/>
                <a:gd name="connsiteX2" fmla="*/ 238023 w 637883"/>
                <a:gd name="connsiteY2" fmla="*/ 423965 h 469668"/>
                <a:gd name="connsiteX3" fmla="*/ 239105 w 637883"/>
                <a:gd name="connsiteY3" fmla="*/ 424700 h 469668"/>
                <a:gd name="connsiteX4" fmla="*/ 239165 w 637883"/>
                <a:gd name="connsiteY4" fmla="*/ 424700 h 469668"/>
                <a:gd name="connsiteX5" fmla="*/ 239327 w 637883"/>
                <a:gd name="connsiteY5" fmla="*/ 424851 h 469668"/>
                <a:gd name="connsiteX6" fmla="*/ 242953 w 637883"/>
                <a:gd name="connsiteY6" fmla="*/ 427315 h 469668"/>
                <a:gd name="connsiteX7" fmla="*/ 245944 w 637883"/>
                <a:gd name="connsiteY7" fmla="*/ 429346 h 469668"/>
                <a:gd name="connsiteX8" fmla="*/ 252747 w 637883"/>
                <a:gd name="connsiteY8" fmla="*/ 431179 h 469668"/>
                <a:gd name="connsiteX9" fmla="*/ 253256 w 637883"/>
                <a:gd name="connsiteY9" fmla="*/ 431260 h 469668"/>
                <a:gd name="connsiteX10" fmla="*/ 254483 w 637883"/>
                <a:gd name="connsiteY10" fmla="*/ 431454 h 469668"/>
                <a:gd name="connsiteX11" fmla="*/ 273266 w 637883"/>
                <a:gd name="connsiteY11" fmla="*/ 432636 h 469668"/>
                <a:gd name="connsiteX12" fmla="*/ 369596 w 637883"/>
                <a:gd name="connsiteY12" fmla="*/ 432636 h 469668"/>
                <a:gd name="connsiteX13" fmla="*/ 385348 w 637883"/>
                <a:gd name="connsiteY13" fmla="*/ 430330 h 469668"/>
                <a:gd name="connsiteX14" fmla="*/ 396567 w 637883"/>
                <a:gd name="connsiteY14" fmla="*/ 421651 h 469668"/>
                <a:gd name="connsiteX15" fmla="*/ 399773 w 637883"/>
                <a:gd name="connsiteY15" fmla="*/ 414707 h 469668"/>
                <a:gd name="connsiteX16" fmla="*/ 631220 w 637883"/>
                <a:gd name="connsiteY16" fmla="*/ 414707 h 469668"/>
                <a:gd name="connsiteX17" fmla="*/ 630193 w 637883"/>
                <a:gd name="connsiteY17" fmla="*/ 421733 h 469668"/>
                <a:gd name="connsiteX18" fmla="*/ 629344 w 637883"/>
                <a:gd name="connsiteY18" fmla="*/ 423559 h 469668"/>
                <a:gd name="connsiteX19" fmla="*/ 628813 w 637883"/>
                <a:gd name="connsiteY19" fmla="*/ 424700 h 469668"/>
                <a:gd name="connsiteX20" fmla="*/ 637883 w 637883"/>
                <a:gd name="connsiteY20" fmla="*/ 424700 h 469668"/>
                <a:gd name="connsiteX21" fmla="*/ 572305 w 637883"/>
                <a:gd name="connsiteY21" fmla="*/ 469668 h 469668"/>
                <a:gd name="connsiteX22" fmla="*/ 73907 w 637883"/>
                <a:gd name="connsiteY22" fmla="*/ 469668 h 469668"/>
                <a:gd name="connsiteX23" fmla="*/ 16525 w 637883"/>
                <a:gd name="connsiteY23" fmla="*/ 447184 h 469668"/>
                <a:gd name="connsiteX24" fmla="*/ 14020 w 637883"/>
                <a:gd name="connsiteY24" fmla="*/ 441785 h 469668"/>
                <a:gd name="connsiteX25" fmla="*/ 8219 w 637883"/>
                <a:gd name="connsiteY25" fmla="*/ 437191 h 469668"/>
                <a:gd name="connsiteX26" fmla="*/ 0 w 637883"/>
                <a:gd name="connsiteY26" fmla="*/ 414707 h 469668"/>
                <a:gd name="connsiteX27" fmla="*/ 70822 w 637883"/>
                <a:gd name="connsiteY27" fmla="*/ 44571 h 469668"/>
                <a:gd name="connsiteX28" fmla="*/ 70822 w 637883"/>
                <a:gd name="connsiteY28" fmla="*/ 314608 h 469668"/>
                <a:gd name="connsiteX29" fmla="*/ 70822 w 637883"/>
                <a:gd name="connsiteY29" fmla="*/ 361809 h 469668"/>
                <a:gd name="connsiteX30" fmla="*/ 71216 w 637883"/>
                <a:gd name="connsiteY30" fmla="*/ 361809 h 469668"/>
                <a:gd name="connsiteX31" fmla="*/ 83796 w 637883"/>
                <a:gd name="connsiteY31" fmla="*/ 361809 h 469668"/>
                <a:gd name="connsiteX32" fmla="*/ 89894 w 637883"/>
                <a:gd name="connsiteY32" fmla="*/ 361809 h 469668"/>
                <a:gd name="connsiteX33" fmla="*/ 105501 w 637883"/>
                <a:gd name="connsiteY33" fmla="*/ 361809 h 469668"/>
                <a:gd name="connsiteX34" fmla="*/ 126269 w 637883"/>
                <a:gd name="connsiteY34" fmla="*/ 361809 h 469668"/>
                <a:gd name="connsiteX35" fmla="*/ 138819 w 637883"/>
                <a:gd name="connsiteY35" fmla="*/ 361809 h 469668"/>
                <a:gd name="connsiteX36" fmla="*/ 186238 w 637883"/>
                <a:gd name="connsiteY36" fmla="*/ 361809 h 469668"/>
                <a:gd name="connsiteX37" fmla="*/ 250247 w 637883"/>
                <a:gd name="connsiteY37" fmla="*/ 361809 h 469668"/>
                <a:gd name="connsiteX38" fmla="*/ 275700 w 637883"/>
                <a:gd name="connsiteY38" fmla="*/ 361809 h 469668"/>
                <a:gd name="connsiteX39" fmla="*/ 333335 w 637883"/>
                <a:gd name="connsiteY39" fmla="*/ 361809 h 469668"/>
                <a:gd name="connsiteX40" fmla="*/ 400554 w 637883"/>
                <a:gd name="connsiteY40" fmla="*/ 361809 h 469668"/>
                <a:gd name="connsiteX41" fmla="*/ 437989 w 637883"/>
                <a:gd name="connsiteY41" fmla="*/ 361809 h 469668"/>
                <a:gd name="connsiteX42" fmla="*/ 478096 w 637883"/>
                <a:gd name="connsiteY42" fmla="*/ 361809 h 469668"/>
                <a:gd name="connsiteX43" fmla="*/ 566698 w 637883"/>
                <a:gd name="connsiteY43" fmla="*/ 361809 h 469668"/>
                <a:gd name="connsiteX44" fmla="*/ 566698 w 637883"/>
                <a:gd name="connsiteY44" fmla="*/ 44571 h 469668"/>
                <a:gd name="connsiteX45" fmla="*/ 549029 w 637883"/>
                <a:gd name="connsiteY45" fmla="*/ 44571 h 469668"/>
                <a:gd name="connsiteX46" fmla="*/ 70822 w 637883"/>
                <a:gd name="connsiteY46" fmla="*/ 44571 h 469668"/>
                <a:gd name="connsiteX47" fmla="*/ 60729 w 637883"/>
                <a:gd name="connsiteY47" fmla="*/ 0 h 469668"/>
                <a:gd name="connsiteX48" fmla="*/ 61702 w 637883"/>
                <a:gd name="connsiteY48" fmla="*/ 0 h 469668"/>
                <a:gd name="connsiteX49" fmla="*/ 68512 w 637883"/>
                <a:gd name="connsiteY49" fmla="*/ 0 h 469668"/>
                <a:gd name="connsiteX50" fmla="*/ 70822 w 637883"/>
                <a:gd name="connsiteY50" fmla="*/ 0 h 469668"/>
                <a:gd name="connsiteX51" fmla="*/ 71798 w 637883"/>
                <a:gd name="connsiteY51" fmla="*/ 0 h 469668"/>
                <a:gd name="connsiteX52" fmla="*/ 78628 w 637883"/>
                <a:gd name="connsiteY52" fmla="*/ 0 h 469668"/>
                <a:gd name="connsiteX53" fmla="*/ 86996 w 637883"/>
                <a:gd name="connsiteY53" fmla="*/ 0 h 469668"/>
                <a:gd name="connsiteX54" fmla="*/ 97167 w 637883"/>
                <a:gd name="connsiteY54" fmla="*/ 0 h 469668"/>
                <a:gd name="connsiteX55" fmla="*/ 122992 w 637883"/>
                <a:gd name="connsiteY55" fmla="*/ 0 h 469668"/>
                <a:gd name="connsiteX56" fmla="*/ 133269 w 637883"/>
                <a:gd name="connsiteY56" fmla="*/ 0 h 469668"/>
                <a:gd name="connsiteX57" fmla="*/ 182337 w 637883"/>
                <a:gd name="connsiteY57" fmla="*/ 0 h 469668"/>
                <a:gd name="connsiteX58" fmla="*/ 192788 w 637883"/>
                <a:gd name="connsiteY58" fmla="*/ 0 h 469668"/>
                <a:gd name="connsiteX59" fmla="*/ 270867 w 637883"/>
                <a:gd name="connsiteY59" fmla="*/ 0 h 469668"/>
                <a:gd name="connsiteX60" fmla="*/ 281578 w 637883"/>
                <a:gd name="connsiteY60" fmla="*/ 0 h 469668"/>
                <a:gd name="connsiteX61" fmla="*/ 327901 w 637883"/>
                <a:gd name="connsiteY61" fmla="*/ 0 h 469668"/>
                <a:gd name="connsiteX62" fmla="*/ 394420 w 637883"/>
                <a:gd name="connsiteY62" fmla="*/ 0 h 469668"/>
                <a:gd name="connsiteX63" fmla="*/ 405495 w 637883"/>
                <a:gd name="connsiteY63" fmla="*/ 0 h 469668"/>
                <a:gd name="connsiteX64" fmla="*/ 471154 w 637883"/>
                <a:gd name="connsiteY64" fmla="*/ 0 h 469668"/>
                <a:gd name="connsiteX65" fmla="*/ 482455 w 637883"/>
                <a:gd name="connsiteY65" fmla="*/ 0 h 469668"/>
                <a:gd name="connsiteX66" fmla="*/ 558833 w 637883"/>
                <a:gd name="connsiteY66" fmla="*/ 0 h 469668"/>
                <a:gd name="connsiteX67" fmla="*/ 570392 w 637883"/>
                <a:gd name="connsiteY67" fmla="*/ 0 h 469668"/>
                <a:gd name="connsiteX68" fmla="*/ 604573 w 637883"/>
                <a:gd name="connsiteY68" fmla="*/ 34084 h 469668"/>
                <a:gd name="connsiteX69" fmla="*/ 604573 w 637883"/>
                <a:gd name="connsiteY69" fmla="*/ 374918 h 469668"/>
                <a:gd name="connsiteX70" fmla="*/ 570392 w 637883"/>
                <a:gd name="connsiteY70" fmla="*/ 406379 h 469668"/>
                <a:gd name="connsiteX71" fmla="*/ 562586 w 637883"/>
                <a:gd name="connsiteY71" fmla="*/ 406379 h 469668"/>
                <a:gd name="connsiteX72" fmla="*/ 558833 w 637883"/>
                <a:gd name="connsiteY72" fmla="*/ 406379 h 469668"/>
                <a:gd name="connsiteX73" fmla="*/ 557860 w 637883"/>
                <a:gd name="connsiteY73" fmla="*/ 406379 h 469668"/>
                <a:gd name="connsiteX74" fmla="*/ 551050 w 637883"/>
                <a:gd name="connsiteY74" fmla="*/ 406379 h 469668"/>
                <a:gd name="connsiteX75" fmla="*/ 544048 w 637883"/>
                <a:gd name="connsiteY75" fmla="*/ 406379 h 469668"/>
                <a:gd name="connsiteX76" fmla="*/ 532566 w 637883"/>
                <a:gd name="connsiteY76" fmla="*/ 406379 h 469668"/>
                <a:gd name="connsiteX77" fmla="*/ 507946 w 637883"/>
                <a:gd name="connsiteY77" fmla="*/ 406379 h 469668"/>
                <a:gd name="connsiteX78" fmla="*/ 496570 w 637883"/>
                <a:gd name="connsiteY78" fmla="*/ 406379 h 469668"/>
                <a:gd name="connsiteX79" fmla="*/ 448427 w 637883"/>
                <a:gd name="connsiteY79" fmla="*/ 406379 h 469668"/>
                <a:gd name="connsiteX80" fmla="*/ 437226 w 637883"/>
                <a:gd name="connsiteY80" fmla="*/ 406379 h 469668"/>
                <a:gd name="connsiteX81" fmla="*/ 359636 w 637883"/>
                <a:gd name="connsiteY81" fmla="*/ 406379 h 469668"/>
                <a:gd name="connsiteX82" fmla="*/ 348696 w 637883"/>
                <a:gd name="connsiteY82" fmla="*/ 406379 h 469668"/>
                <a:gd name="connsiteX83" fmla="*/ 291662 w 637883"/>
                <a:gd name="connsiteY83" fmla="*/ 406379 h 469668"/>
                <a:gd name="connsiteX84" fmla="*/ 235719 w 637883"/>
                <a:gd name="connsiteY84" fmla="*/ 406379 h 469668"/>
                <a:gd name="connsiteX85" fmla="*/ 225142 w 637883"/>
                <a:gd name="connsiteY85" fmla="*/ 406379 h 469668"/>
                <a:gd name="connsiteX86" fmla="*/ 158759 w 637883"/>
                <a:gd name="connsiteY86" fmla="*/ 406379 h 469668"/>
                <a:gd name="connsiteX87" fmla="*/ 148408 w 637883"/>
                <a:gd name="connsiteY87" fmla="*/ 406379 h 469668"/>
                <a:gd name="connsiteX88" fmla="*/ 70822 w 637883"/>
                <a:gd name="connsiteY88" fmla="*/ 406379 h 469668"/>
                <a:gd name="connsiteX89" fmla="*/ 60729 w 637883"/>
                <a:gd name="connsiteY89" fmla="*/ 406379 h 469668"/>
                <a:gd name="connsiteX90" fmla="*/ 26648 w 637883"/>
                <a:gd name="connsiteY90" fmla="*/ 374918 h 469668"/>
                <a:gd name="connsiteX91" fmla="*/ 26648 w 637883"/>
                <a:gd name="connsiteY91" fmla="*/ 34084 h 469668"/>
                <a:gd name="connsiteX92" fmla="*/ 60729 w 637883"/>
                <a:gd name="connsiteY92" fmla="*/ 0 h 4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637883" h="469668">
                  <a:moveTo>
                    <a:pt x="0" y="414707"/>
                  </a:moveTo>
                  <a:cubicBezTo>
                    <a:pt x="0" y="414707"/>
                    <a:pt x="0" y="414707"/>
                    <a:pt x="234078" y="414707"/>
                  </a:cubicBezTo>
                  <a:cubicBezTo>
                    <a:pt x="234078" y="414707"/>
                    <a:pt x="234078" y="419336"/>
                    <a:pt x="238023" y="423965"/>
                  </a:cubicBezTo>
                  <a:lnTo>
                    <a:pt x="239105" y="424700"/>
                  </a:lnTo>
                  <a:lnTo>
                    <a:pt x="239165" y="424700"/>
                  </a:lnTo>
                  <a:lnTo>
                    <a:pt x="239327" y="424851"/>
                  </a:lnTo>
                  <a:lnTo>
                    <a:pt x="242953" y="427315"/>
                  </a:lnTo>
                  <a:lnTo>
                    <a:pt x="245944" y="429346"/>
                  </a:lnTo>
                  <a:lnTo>
                    <a:pt x="252747" y="431179"/>
                  </a:lnTo>
                  <a:lnTo>
                    <a:pt x="253256" y="431260"/>
                  </a:lnTo>
                  <a:lnTo>
                    <a:pt x="254483" y="431454"/>
                  </a:lnTo>
                  <a:lnTo>
                    <a:pt x="273266" y="432636"/>
                  </a:lnTo>
                  <a:lnTo>
                    <a:pt x="369596" y="432636"/>
                  </a:lnTo>
                  <a:lnTo>
                    <a:pt x="385348" y="430330"/>
                  </a:lnTo>
                  <a:lnTo>
                    <a:pt x="396567" y="421651"/>
                  </a:lnTo>
                  <a:lnTo>
                    <a:pt x="399773" y="414707"/>
                  </a:lnTo>
                  <a:lnTo>
                    <a:pt x="631220" y="414707"/>
                  </a:lnTo>
                  <a:cubicBezTo>
                    <a:pt x="631220" y="414707"/>
                    <a:pt x="631220" y="417518"/>
                    <a:pt x="630193" y="421733"/>
                  </a:cubicBezTo>
                  <a:lnTo>
                    <a:pt x="629344" y="423559"/>
                  </a:lnTo>
                  <a:lnTo>
                    <a:pt x="628813" y="424700"/>
                  </a:lnTo>
                  <a:lnTo>
                    <a:pt x="637883" y="424700"/>
                  </a:lnTo>
                  <a:cubicBezTo>
                    <a:pt x="637883" y="424700"/>
                    <a:pt x="637883" y="469668"/>
                    <a:pt x="572305" y="469668"/>
                  </a:cubicBezTo>
                  <a:cubicBezTo>
                    <a:pt x="504103" y="469668"/>
                    <a:pt x="139486" y="469668"/>
                    <a:pt x="73907" y="469668"/>
                  </a:cubicBezTo>
                  <a:cubicBezTo>
                    <a:pt x="41118" y="469668"/>
                    <a:pt x="24722" y="458426"/>
                    <a:pt x="16525" y="447184"/>
                  </a:cubicBezTo>
                  <a:lnTo>
                    <a:pt x="14020" y="441785"/>
                  </a:lnTo>
                  <a:lnTo>
                    <a:pt x="8219" y="437191"/>
                  </a:lnTo>
                  <a:cubicBezTo>
                    <a:pt x="0" y="425949"/>
                    <a:pt x="0" y="414707"/>
                    <a:pt x="0" y="414707"/>
                  </a:cubicBezTo>
                  <a:close/>
                  <a:moveTo>
                    <a:pt x="70822" y="44571"/>
                  </a:moveTo>
                  <a:cubicBezTo>
                    <a:pt x="70822" y="44571"/>
                    <a:pt x="70822" y="44571"/>
                    <a:pt x="70822" y="314608"/>
                  </a:cubicBezTo>
                  <a:lnTo>
                    <a:pt x="70822" y="361809"/>
                  </a:lnTo>
                  <a:lnTo>
                    <a:pt x="71216" y="361809"/>
                  </a:lnTo>
                  <a:cubicBezTo>
                    <a:pt x="74165" y="361809"/>
                    <a:pt x="78220" y="361809"/>
                    <a:pt x="83796" y="361809"/>
                  </a:cubicBezTo>
                  <a:lnTo>
                    <a:pt x="89894" y="361809"/>
                  </a:lnTo>
                  <a:lnTo>
                    <a:pt x="105501" y="361809"/>
                  </a:lnTo>
                  <a:lnTo>
                    <a:pt x="126269" y="361809"/>
                  </a:lnTo>
                  <a:lnTo>
                    <a:pt x="138819" y="361809"/>
                  </a:lnTo>
                  <a:cubicBezTo>
                    <a:pt x="152137" y="361809"/>
                    <a:pt x="167805" y="361809"/>
                    <a:pt x="186238" y="361809"/>
                  </a:cubicBezTo>
                  <a:lnTo>
                    <a:pt x="250247" y="361809"/>
                  </a:lnTo>
                  <a:lnTo>
                    <a:pt x="275700" y="361809"/>
                  </a:lnTo>
                  <a:lnTo>
                    <a:pt x="333335" y="361809"/>
                  </a:lnTo>
                  <a:lnTo>
                    <a:pt x="400554" y="361809"/>
                  </a:lnTo>
                  <a:lnTo>
                    <a:pt x="437989" y="361809"/>
                  </a:lnTo>
                  <a:lnTo>
                    <a:pt x="478096" y="361809"/>
                  </a:lnTo>
                  <a:lnTo>
                    <a:pt x="566698" y="361809"/>
                  </a:lnTo>
                  <a:lnTo>
                    <a:pt x="566698" y="44571"/>
                  </a:lnTo>
                  <a:lnTo>
                    <a:pt x="549029" y="44571"/>
                  </a:lnTo>
                  <a:cubicBezTo>
                    <a:pt x="504659" y="44571"/>
                    <a:pt x="386340" y="44571"/>
                    <a:pt x="70822" y="44571"/>
                  </a:cubicBezTo>
                  <a:close/>
                  <a:moveTo>
                    <a:pt x="60729" y="0"/>
                  </a:moveTo>
                  <a:lnTo>
                    <a:pt x="61702" y="0"/>
                  </a:lnTo>
                  <a:lnTo>
                    <a:pt x="68512" y="0"/>
                  </a:lnTo>
                  <a:lnTo>
                    <a:pt x="70822" y="0"/>
                  </a:lnTo>
                  <a:lnTo>
                    <a:pt x="71798" y="0"/>
                  </a:lnTo>
                  <a:lnTo>
                    <a:pt x="78628" y="0"/>
                  </a:lnTo>
                  <a:lnTo>
                    <a:pt x="86996" y="0"/>
                  </a:lnTo>
                  <a:lnTo>
                    <a:pt x="97167" y="0"/>
                  </a:lnTo>
                  <a:lnTo>
                    <a:pt x="122992" y="0"/>
                  </a:lnTo>
                  <a:lnTo>
                    <a:pt x="133269" y="0"/>
                  </a:lnTo>
                  <a:lnTo>
                    <a:pt x="182337" y="0"/>
                  </a:lnTo>
                  <a:lnTo>
                    <a:pt x="192788" y="0"/>
                  </a:lnTo>
                  <a:lnTo>
                    <a:pt x="270867" y="0"/>
                  </a:lnTo>
                  <a:lnTo>
                    <a:pt x="281578" y="0"/>
                  </a:lnTo>
                  <a:lnTo>
                    <a:pt x="327901" y="0"/>
                  </a:lnTo>
                  <a:lnTo>
                    <a:pt x="394420" y="0"/>
                  </a:lnTo>
                  <a:lnTo>
                    <a:pt x="405495" y="0"/>
                  </a:lnTo>
                  <a:lnTo>
                    <a:pt x="471154" y="0"/>
                  </a:lnTo>
                  <a:lnTo>
                    <a:pt x="482455" y="0"/>
                  </a:lnTo>
                  <a:lnTo>
                    <a:pt x="558833" y="0"/>
                  </a:lnTo>
                  <a:lnTo>
                    <a:pt x="570392" y="0"/>
                  </a:lnTo>
                  <a:cubicBezTo>
                    <a:pt x="588797" y="0"/>
                    <a:pt x="604573" y="15731"/>
                    <a:pt x="604573" y="34084"/>
                  </a:cubicBezTo>
                  <a:lnTo>
                    <a:pt x="604573" y="374918"/>
                  </a:lnTo>
                  <a:cubicBezTo>
                    <a:pt x="604573" y="393270"/>
                    <a:pt x="588797" y="406379"/>
                    <a:pt x="570392" y="406379"/>
                  </a:cubicBezTo>
                  <a:cubicBezTo>
                    <a:pt x="570392" y="406379"/>
                    <a:pt x="570392" y="406379"/>
                    <a:pt x="562586" y="406379"/>
                  </a:cubicBezTo>
                  <a:lnTo>
                    <a:pt x="558833" y="406379"/>
                  </a:lnTo>
                  <a:lnTo>
                    <a:pt x="557860" y="406379"/>
                  </a:lnTo>
                  <a:lnTo>
                    <a:pt x="551050" y="406379"/>
                  </a:lnTo>
                  <a:lnTo>
                    <a:pt x="544048" y="406379"/>
                  </a:lnTo>
                  <a:lnTo>
                    <a:pt x="532566" y="406379"/>
                  </a:lnTo>
                  <a:lnTo>
                    <a:pt x="507946" y="406379"/>
                  </a:lnTo>
                  <a:lnTo>
                    <a:pt x="496570" y="406379"/>
                  </a:lnTo>
                  <a:lnTo>
                    <a:pt x="448427" y="406379"/>
                  </a:lnTo>
                  <a:lnTo>
                    <a:pt x="437226" y="406379"/>
                  </a:lnTo>
                  <a:lnTo>
                    <a:pt x="359636" y="406379"/>
                  </a:lnTo>
                  <a:lnTo>
                    <a:pt x="348696" y="406379"/>
                  </a:lnTo>
                  <a:lnTo>
                    <a:pt x="291662" y="406379"/>
                  </a:lnTo>
                  <a:lnTo>
                    <a:pt x="235719" y="406379"/>
                  </a:lnTo>
                  <a:lnTo>
                    <a:pt x="225142" y="406379"/>
                  </a:lnTo>
                  <a:lnTo>
                    <a:pt x="158759" y="406379"/>
                  </a:lnTo>
                  <a:lnTo>
                    <a:pt x="148408" y="406379"/>
                  </a:lnTo>
                  <a:lnTo>
                    <a:pt x="70822" y="406379"/>
                  </a:lnTo>
                  <a:lnTo>
                    <a:pt x="60729" y="406379"/>
                  </a:lnTo>
                  <a:cubicBezTo>
                    <a:pt x="42378" y="406379"/>
                    <a:pt x="26648" y="393270"/>
                    <a:pt x="26648" y="374918"/>
                  </a:cubicBezTo>
                  <a:cubicBezTo>
                    <a:pt x="26648" y="374918"/>
                    <a:pt x="26648" y="374918"/>
                    <a:pt x="26648" y="34084"/>
                  </a:cubicBezTo>
                  <a:cubicBezTo>
                    <a:pt x="26648" y="15731"/>
                    <a:pt x="42378" y="0"/>
                    <a:pt x="60729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27" name="ïşḷiḑe">
              <a:extLst>
                <a:ext uri="{FF2B5EF4-FFF2-40B4-BE49-F238E27FC236}">
                  <a16:creationId xmlns:a16="http://schemas.microsoft.com/office/drawing/2014/main" xmlns="" id="{7EE79A86-B0EA-4864-A46A-07065908CF31}"/>
                </a:ext>
              </a:extLst>
            </p:cNvPr>
            <p:cNvSpPr/>
            <p:nvPr/>
          </p:nvSpPr>
          <p:spPr bwMode="auto">
            <a:xfrm>
              <a:off x="4338547" y="4295639"/>
              <a:ext cx="936005" cy="937670"/>
            </a:xfrm>
            <a:custGeom>
              <a:avLst/>
              <a:gdLst/>
              <a:ahLst/>
              <a:cxnLst>
                <a:cxn ang="0">
                  <a:pos x="355" y="357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356" y="354"/>
                </a:cxn>
                <a:cxn ang="0">
                  <a:pos x="355" y="357"/>
                </a:cxn>
              </a:cxnLst>
              <a:rect l="0" t="0" r="r" b="b"/>
              <a:pathLst>
                <a:path w="356" h="357">
                  <a:moveTo>
                    <a:pt x="355" y="357"/>
                  </a:moveTo>
                  <a:cubicBezTo>
                    <a:pt x="199" y="284"/>
                    <a:pt x="73" y="158"/>
                    <a:pt x="0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75" y="156"/>
                    <a:pt x="201" y="282"/>
                    <a:pt x="356" y="354"/>
                  </a:cubicBezTo>
                  <a:lnTo>
                    <a:pt x="355" y="35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57150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28" name="íṩḷïḋê">
              <a:extLst>
                <a:ext uri="{FF2B5EF4-FFF2-40B4-BE49-F238E27FC236}">
                  <a16:creationId xmlns:a16="http://schemas.microsoft.com/office/drawing/2014/main" xmlns="" id="{0DD05D0F-3874-4B71-8816-C62D68A15E40}"/>
                </a:ext>
              </a:extLst>
            </p:cNvPr>
            <p:cNvSpPr/>
            <p:nvPr/>
          </p:nvSpPr>
          <p:spPr bwMode="auto">
            <a:xfrm>
              <a:off x="6893407" y="1740779"/>
              <a:ext cx="937670" cy="936005"/>
            </a:xfrm>
            <a:custGeom>
              <a:avLst/>
              <a:gdLst/>
              <a:ahLst/>
              <a:cxnLst>
                <a:cxn ang="0">
                  <a:pos x="354" y="356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357" y="355"/>
                </a:cxn>
                <a:cxn ang="0">
                  <a:pos x="354" y="356"/>
                </a:cxn>
              </a:cxnLst>
              <a:rect l="0" t="0" r="r" b="b"/>
              <a:pathLst>
                <a:path w="357" h="356">
                  <a:moveTo>
                    <a:pt x="354" y="356"/>
                  </a:moveTo>
                  <a:cubicBezTo>
                    <a:pt x="282" y="201"/>
                    <a:pt x="156" y="75"/>
                    <a:pt x="0" y="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58" y="73"/>
                    <a:pt x="284" y="199"/>
                    <a:pt x="357" y="355"/>
                  </a:cubicBezTo>
                  <a:lnTo>
                    <a:pt x="354" y="35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57150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29" name="ïṡḷîďê">
              <a:extLst>
                <a:ext uri="{FF2B5EF4-FFF2-40B4-BE49-F238E27FC236}">
                  <a16:creationId xmlns:a16="http://schemas.microsoft.com/office/drawing/2014/main" xmlns="" id="{EBA1E331-8D29-4910-8192-7FA50D2B028E}"/>
                </a:ext>
              </a:extLst>
            </p:cNvPr>
            <p:cNvSpPr/>
            <p:nvPr/>
          </p:nvSpPr>
          <p:spPr bwMode="auto">
            <a:xfrm>
              <a:off x="6893407" y="4295639"/>
              <a:ext cx="937670" cy="937670"/>
            </a:xfrm>
            <a:custGeom>
              <a:avLst/>
              <a:gdLst/>
              <a:ahLst/>
              <a:cxnLst>
                <a:cxn ang="0">
                  <a:pos x="1" y="357"/>
                </a:cxn>
                <a:cxn ang="0">
                  <a:pos x="0" y="354"/>
                </a:cxn>
                <a:cxn ang="0">
                  <a:pos x="354" y="0"/>
                </a:cxn>
                <a:cxn ang="0">
                  <a:pos x="357" y="1"/>
                </a:cxn>
                <a:cxn ang="0">
                  <a:pos x="1" y="357"/>
                </a:cxn>
              </a:cxnLst>
              <a:rect l="0" t="0" r="r" b="b"/>
              <a:pathLst>
                <a:path w="357" h="357">
                  <a:moveTo>
                    <a:pt x="1" y="357"/>
                  </a:moveTo>
                  <a:cubicBezTo>
                    <a:pt x="0" y="354"/>
                    <a:pt x="0" y="354"/>
                    <a:pt x="0" y="354"/>
                  </a:cubicBezTo>
                  <a:cubicBezTo>
                    <a:pt x="156" y="282"/>
                    <a:pt x="282" y="156"/>
                    <a:pt x="354" y="0"/>
                  </a:cubicBezTo>
                  <a:cubicBezTo>
                    <a:pt x="357" y="1"/>
                    <a:pt x="357" y="1"/>
                    <a:pt x="357" y="1"/>
                  </a:cubicBezTo>
                  <a:cubicBezTo>
                    <a:pt x="284" y="158"/>
                    <a:pt x="158" y="284"/>
                    <a:pt x="1" y="35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57150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0" name="ïṡḻíḓè">
              <a:extLst>
                <a:ext uri="{FF2B5EF4-FFF2-40B4-BE49-F238E27FC236}">
                  <a16:creationId xmlns:a16="http://schemas.microsoft.com/office/drawing/2014/main" xmlns="" id="{610BEDBD-150A-48F1-B021-822761557730}"/>
                </a:ext>
              </a:extLst>
            </p:cNvPr>
            <p:cNvSpPr/>
            <p:nvPr/>
          </p:nvSpPr>
          <p:spPr bwMode="auto">
            <a:xfrm>
              <a:off x="4383516" y="1785747"/>
              <a:ext cx="912688" cy="912688"/>
            </a:xfrm>
            <a:custGeom>
              <a:avLst/>
              <a:gdLst/>
              <a:ahLst/>
              <a:cxnLst>
                <a:cxn ang="0">
                  <a:pos x="2" y="347"/>
                </a:cxn>
                <a:cxn ang="0">
                  <a:pos x="0" y="346"/>
                </a:cxn>
                <a:cxn ang="0">
                  <a:pos x="346" y="0"/>
                </a:cxn>
                <a:cxn ang="0">
                  <a:pos x="347" y="2"/>
                </a:cxn>
                <a:cxn ang="0">
                  <a:pos x="2" y="347"/>
                </a:cxn>
              </a:cxnLst>
              <a:rect l="0" t="0" r="r" b="b"/>
              <a:pathLst>
                <a:path w="347" h="347">
                  <a:moveTo>
                    <a:pt x="2" y="347"/>
                  </a:moveTo>
                  <a:cubicBezTo>
                    <a:pt x="0" y="346"/>
                    <a:pt x="0" y="346"/>
                    <a:pt x="0" y="346"/>
                  </a:cubicBezTo>
                  <a:cubicBezTo>
                    <a:pt x="71" y="194"/>
                    <a:pt x="194" y="71"/>
                    <a:pt x="346" y="0"/>
                  </a:cubicBezTo>
                  <a:cubicBezTo>
                    <a:pt x="347" y="2"/>
                    <a:pt x="347" y="2"/>
                    <a:pt x="347" y="2"/>
                  </a:cubicBezTo>
                  <a:cubicBezTo>
                    <a:pt x="196" y="73"/>
                    <a:pt x="73" y="195"/>
                    <a:pt x="2" y="34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57150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1" name="iṡ1iḑé">
              <a:extLst>
                <a:ext uri="{FF2B5EF4-FFF2-40B4-BE49-F238E27FC236}">
                  <a16:creationId xmlns:a16="http://schemas.microsoft.com/office/drawing/2014/main" xmlns="" id="{FD43B7EC-AAEB-4070-8DD2-0E2C13D34FA1}"/>
                </a:ext>
              </a:extLst>
            </p:cNvPr>
            <p:cNvSpPr txBox="1"/>
            <p:nvPr/>
          </p:nvSpPr>
          <p:spPr>
            <a:xfrm>
              <a:off x="3574604" y="3407933"/>
              <a:ext cx="1492696" cy="456343"/>
            </a:xfrm>
            <a:prstGeom prst="rect">
              <a:avLst/>
            </a:prstGeom>
          </p:spPr>
          <p:txBody>
            <a:bodyPr vert="horz" wrap="square" lIns="91440" tIns="45720" rIns="91440" bIns="45720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200" b="1" dirty="0"/>
                <a:t>Text</a:t>
              </a:r>
              <a:endParaRPr lang="zh-CN" altLang="en-US" sz="1200" b="1" dirty="0"/>
            </a:p>
          </p:txBody>
        </p:sp>
        <p:sp>
          <p:nvSpPr>
            <p:cNvPr id="32" name="î$ḻïḋê">
              <a:extLst>
                <a:ext uri="{FF2B5EF4-FFF2-40B4-BE49-F238E27FC236}">
                  <a16:creationId xmlns:a16="http://schemas.microsoft.com/office/drawing/2014/main" xmlns="" id="{E483C5E7-EAB2-4C7D-9981-96CD8F4E09D9}"/>
                </a:ext>
              </a:extLst>
            </p:cNvPr>
            <p:cNvSpPr/>
            <p:nvPr/>
          </p:nvSpPr>
          <p:spPr>
            <a:xfrm>
              <a:off x="8300102" y="1509354"/>
              <a:ext cx="3172761" cy="1228220"/>
            </a:xfrm>
            <a:prstGeom prst="roundRect">
              <a:avLst>
                <a:gd name="adj" fmla="val 5186"/>
              </a:avLst>
            </a:prstGeom>
            <a:noFill/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3" name="îṧľïḍé">
              <a:extLst>
                <a:ext uri="{FF2B5EF4-FFF2-40B4-BE49-F238E27FC236}">
                  <a16:creationId xmlns:a16="http://schemas.microsoft.com/office/drawing/2014/main" xmlns="" id="{53F437EB-B250-4B11-BCF9-05FA9F79AF2D}"/>
                </a:ext>
              </a:extLst>
            </p:cNvPr>
            <p:cNvSpPr txBox="1"/>
            <p:nvPr/>
          </p:nvSpPr>
          <p:spPr bwMode="auto">
            <a:xfrm>
              <a:off x="8387127" y="1648184"/>
              <a:ext cx="2998710" cy="464025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algn="r" latinLnBrk="0"/>
              <a:r>
                <a:rPr lang="en-US" altLang="zh-CN" b="1" dirty="0">
                  <a:effectLst/>
                </a:rPr>
                <a:t>Text here</a:t>
              </a:r>
              <a:endParaRPr lang="zh-CN" altLang="en-US" b="1" dirty="0">
                <a:effectLst/>
              </a:endParaRPr>
            </a:p>
          </p:txBody>
        </p:sp>
        <p:sp>
          <p:nvSpPr>
            <p:cNvPr id="34" name="ïSlïḓé">
              <a:extLst>
                <a:ext uri="{FF2B5EF4-FFF2-40B4-BE49-F238E27FC236}">
                  <a16:creationId xmlns:a16="http://schemas.microsoft.com/office/drawing/2014/main" xmlns="" id="{0CF2A95F-E28C-40CC-AB06-686D30EEE553}"/>
                </a:ext>
              </a:extLst>
            </p:cNvPr>
            <p:cNvSpPr txBox="1"/>
            <p:nvPr/>
          </p:nvSpPr>
          <p:spPr bwMode="auto">
            <a:xfrm>
              <a:off x="8387127" y="2117099"/>
              <a:ext cx="2998710" cy="55617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altLang="zh-CN" sz="1000" dirty="0"/>
                <a:t>Copy paste fonts. Choose the only option to retain text……</a:t>
              </a:r>
            </a:p>
          </p:txBody>
        </p:sp>
        <p:sp>
          <p:nvSpPr>
            <p:cNvPr id="35" name="iṣļiḋé">
              <a:extLst>
                <a:ext uri="{FF2B5EF4-FFF2-40B4-BE49-F238E27FC236}">
                  <a16:creationId xmlns:a16="http://schemas.microsoft.com/office/drawing/2014/main" xmlns="" id="{4E96EC8D-5D40-4740-A4D9-A1D45A1623C1}"/>
                </a:ext>
              </a:extLst>
            </p:cNvPr>
            <p:cNvSpPr/>
            <p:nvPr/>
          </p:nvSpPr>
          <p:spPr>
            <a:xfrm>
              <a:off x="8300102" y="4377165"/>
              <a:ext cx="3172761" cy="1228220"/>
            </a:xfrm>
            <a:prstGeom prst="roundRect">
              <a:avLst>
                <a:gd name="adj" fmla="val 5186"/>
              </a:avLst>
            </a:prstGeom>
            <a:noFill/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6" name="îṩlíde">
              <a:extLst>
                <a:ext uri="{FF2B5EF4-FFF2-40B4-BE49-F238E27FC236}">
                  <a16:creationId xmlns:a16="http://schemas.microsoft.com/office/drawing/2014/main" xmlns="" id="{8D7FD79A-AE06-47C0-BABB-045E27E20164}"/>
                </a:ext>
              </a:extLst>
            </p:cNvPr>
            <p:cNvSpPr txBox="1"/>
            <p:nvPr/>
          </p:nvSpPr>
          <p:spPr bwMode="auto">
            <a:xfrm>
              <a:off x="8387127" y="4515995"/>
              <a:ext cx="2998710" cy="464025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algn="r" latinLnBrk="0"/>
              <a:r>
                <a:rPr lang="en-US" altLang="zh-CN" b="1" dirty="0">
                  <a:effectLst/>
                </a:rPr>
                <a:t>Text here</a:t>
              </a:r>
              <a:endParaRPr lang="zh-CN" altLang="en-US" b="1" dirty="0">
                <a:effectLst/>
              </a:endParaRPr>
            </a:p>
          </p:txBody>
        </p:sp>
        <p:sp>
          <p:nvSpPr>
            <p:cNvPr id="37" name="ïṡḻiḋê">
              <a:extLst>
                <a:ext uri="{FF2B5EF4-FFF2-40B4-BE49-F238E27FC236}">
                  <a16:creationId xmlns:a16="http://schemas.microsoft.com/office/drawing/2014/main" xmlns="" id="{BD284B87-CF9D-4749-8170-8AA6B8BD13BA}"/>
                </a:ext>
              </a:extLst>
            </p:cNvPr>
            <p:cNvSpPr txBox="1"/>
            <p:nvPr/>
          </p:nvSpPr>
          <p:spPr bwMode="auto">
            <a:xfrm>
              <a:off x="8387127" y="4984910"/>
              <a:ext cx="2998710" cy="55617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altLang="zh-CN" sz="1000" dirty="0"/>
                <a:t>Copy paste fonts. Choose the only option to retain text……</a:t>
              </a:r>
            </a:p>
          </p:txBody>
        </p:sp>
        <p:sp>
          <p:nvSpPr>
            <p:cNvPr id="38" name="ïş1ïďe">
              <a:extLst>
                <a:ext uri="{FF2B5EF4-FFF2-40B4-BE49-F238E27FC236}">
                  <a16:creationId xmlns:a16="http://schemas.microsoft.com/office/drawing/2014/main" xmlns="" id="{4AB5E902-8C23-41CE-BF67-69553BD21B07}"/>
                </a:ext>
              </a:extLst>
            </p:cNvPr>
            <p:cNvSpPr/>
            <p:nvPr/>
          </p:nvSpPr>
          <p:spPr>
            <a:xfrm>
              <a:off x="728291" y="4377165"/>
              <a:ext cx="3172761" cy="1228220"/>
            </a:xfrm>
            <a:prstGeom prst="roundRect">
              <a:avLst>
                <a:gd name="adj" fmla="val 5186"/>
              </a:avLst>
            </a:prstGeom>
            <a:noFill/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9" name="íşḻíḍé">
              <a:extLst>
                <a:ext uri="{FF2B5EF4-FFF2-40B4-BE49-F238E27FC236}">
                  <a16:creationId xmlns:a16="http://schemas.microsoft.com/office/drawing/2014/main" xmlns="" id="{35939226-D14A-48D4-9BCF-705DF696E6CD}"/>
                </a:ext>
              </a:extLst>
            </p:cNvPr>
            <p:cNvSpPr txBox="1"/>
            <p:nvPr/>
          </p:nvSpPr>
          <p:spPr bwMode="auto">
            <a:xfrm>
              <a:off x="815316" y="4515995"/>
              <a:ext cx="2998710" cy="464025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latinLnBrk="0"/>
              <a:r>
                <a:rPr lang="en-US" altLang="zh-CN" b="1" dirty="0">
                  <a:effectLst/>
                </a:rPr>
                <a:t>Text here</a:t>
              </a:r>
              <a:endParaRPr lang="zh-CN" altLang="en-US" b="1" dirty="0">
                <a:effectLst/>
              </a:endParaRPr>
            </a:p>
          </p:txBody>
        </p:sp>
        <p:sp>
          <p:nvSpPr>
            <p:cNvPr id="40" name="í$ļíďê">
              <a:extLst>
                <a:ext uri="{FF2B5EF4-FFF2-40B4-BE49-F238E27FC236}">
                  <a16:creationId xmlns:a16="http://schemas.microsoft.com/office/drawing/2014/main" xmlns="" id="{79346F10-46A2-4EE7-BA12-BCBDA97551D6}"/>
                </a:ext>
              </a:extLst>
            </p:cNvPr>
            <p:cNvSpPr txBox="1"/>
            <p:nvPr/>
          </p:nvSpPr>
          <p:spPr bwMode="auto">
            <a:xfrm>
              <a:off x="815316" y="4984910"/>
              <a:ext cx="2998710" cy="55617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000" dirty="0"/>
                <a:t>Copy paste fonts. Choose the only option to retain text……</a:t>
              </a:r>
            </a:p>
          </p:txBody>
        </p:sp>
        <p:sp>
          <p:nvSpPr>
            <p:cNvPr id="41" name="iṥḻídê">
              <a:extLst>
                <a:ext uri="{FF2B5EF4-FFF2-40B4-BE49-F238E27FC236}">
                  <a16:creationId xmlns:a16="http://schemas.microsoft.com/office/drawing/2014/main" xmlns="" id="{0791C481-4088-4446-8C2D-B38E6AAA978A}"/>
                </a:ext>
              </a:extLst>
            </p:cNvPr>
            <p:cNvSpPr/>
            <p:nvPr/>
          </p:nvSpPr>
          <p:spPr>
            <a:xfrm>
              <a:off x="728291" y="1509354"/>
              <a:ext cx="3172761" cy="1228220"/>
            </a:xfrm>
            <a:prstGeom prst="roundRect">
              <a:avLst>
                <a:gd name="adj" fmla="val 5186"/>
              </a:avLst>
            </a:prstGeom>
            <a:noFill/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42" name="îṩḷíďe">
              <a:extLst>
                <a:ext uri="{FF2B5EF4-FFF2-40B4-BE49-F238E27FC236}">
                  <a16:creationId xmlns:a16="http://schemas.microsoft.com/office/drawing/2014/main" xmlns="" id="{54D7C6E8-2786-412A-B2FA-CB0EB53CD07F}"/>
                </a:ext>
              </a:extLst>
            </p:cNvPr>
            <p:cNvSpPr txBox="1"/>
            <p:nvPr/>
          </p:nvSpPr>
          <p:spPr bwMode="auto">
            <a:xfrm>
              <a:off x="815316" y="1648184"/>
              <a:ext cx="2998710" cy="464025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latinLnBrk="0"/>
              <a:r>
                <a:rPr lang="en-US" altLang="zh-CN" b="1" dirty="0">
                  <a:effectLst/>
                </a:rPr>
                <a:t>Text here</a:t>
              </a:r>
              <a:endParaRPr lang="zh-CN" altLang="en-US" b="1" dirty="0">
                <a:effectLst/>
              </a:endParaRPr>
            </a:p>
          </p:txBody>
        </p:sp>
        <p:sp>
          <p:nvSpPr>
            <p:cNvPr id="43" name="îšḻidê">
              <a:extLst>
                <a:ext uri="{FF2B5EF4-FFF2-40B4-BE49-F238E27FC236}">
                  <a16:creationId xmlns:a16="http://schemas.microsoft.com/office/drawing/2014/main" xmlns="" id="{31300C48-ABE9-4191-BDCD-A5CE8A3BBE8A}"/>
                </a:ext>
              </a:extLst>
            </p:cNvPr>
            <p:cNvSpPr txBox="1"/>
            <p:nvPr/>
          </p:nvSpPr>
          <p:spPr bwMode="auto">
            <a:xfrm>
              <a:off x="815316" y="2117099"/>
              <a:ext cx="2998710" cy="55617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000" dirty="0"/>
                <a:t>Copy paste fonts. Choose the only option to retain text……</a:t>
              </a:r>
            </a:p>
          </p:txBody>
        </p:sp>
        <p:sp>
          <p:nvSpPr>
            <p:cNvPr id="44" name="î$ḷíḑè">
              <a:extLst>
                <a:ext uri="{FF2B5EF4-FFF2-40B4-BE49-F238E27FC236}">
                  <a16:creationId xmlns:a16="http://schemas.microsoft.com/office/drawing/2014/main" xmlns="" id="{B0753584-0650-4967-A359-2BBFC0FC4829}"/>
                </a:ext>
              </a:extLst>
            </p:cNvPr>
            <p:cNvSpPr txBox="1"/>
            <p:nvPr/>
          </p:nvSpPr>
          <p:spPr>
            <a:xfrm>
              <a:off x="7117339" y="3407933"/>
              <a:ext cx="1492696" cy="456343"/>
            </a:xfrm>
            <a:prstGeom prst="rect">
              <a:avLst/>
            </a:prstGeom>
          </p:spPr>
          <p:txBody>
            <a:bodyPr vert="horz" wrap="square" lIns="91440" tIns="45720" rIns="91440" bIns="45720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200" b="1" dirty="0"/>
                <a:t>Text</a:t>
              </a:r>
              <a:endParaRPr lang="zh-CN" altLang="en-US" sz="1200" b="1" dirty="0"/>
            </a:p>
          </p:txBody>
        </p:sp>
        <p:sp>
          <p:nvSpPr>
            <p:cNvPr id="45" name="îśḻîďê">
              <a:extLst>
                <a:ext uri="{FF2B5EF4-FFF2-40B4-BE49-F238E27FC236}">
                  <a16:creationId xmlns:a16="http://schemas.microsoft.com/office/drawing/2014/main" xmlns="" id="{AB4A8081-AF10-449D-8B26-5D4345DC6D38}"/>
                </a:ext>
              </a:extLst>
            </p:cNvPr>
            <p:cNvSpPr txBox="1"/>
            <p:nvPr/>
          </p:nvSpPr>
          <p:spPr>
            <a:xfrm>
              <a:off x="5383229" y="1694146"/>
              <a:ext cx="1492696" cy="456343"/>
            </a:xfrm>
            <a:prstGeom prst="rect">
              <a:avLst/>
            </a:prstGeom>
          </p:spPr>
          <p:txBody>
            <a:bodyPr vert="horz" wrap="square" lIns="91440" tIns="45720" rIns="91440" bIns="45720" anchor="t">
              <a:normAutofit/>
            </a:bodyPr>
            <a:lstStyle/>
            <a:p>
              <a:pPr marL="0" indent="0" algn="ctr">
                <a:spcBef>
                  <a:spcPct val="0"/>
                </a:spcBef>
                <a:buNone/>
              </a:pPr>
              <a:r>
                <a:rPr lang="en-US" altLang="zh-CN" sz="1200" b="1" dirty="0"/>
                <a:t>Text</a:t>
              </a:r>
              <a:endParaRPr lang="zh-CN" altLang="en-US" sz="1200" b="1" dirty="0"/>
            </a:p>
          </p:txBody>
        </p:sp>
        <p:sp>
          <p:nvSpPr>
            <p:cNvPr id="46" name="îṩľïdé">
              <a:extLst>
                <a:ext uri="{FF2B5EF4-FFF2-40B4-BE49-F238E27FC236}">
                  <a16:creationId xmlns:a16="http://schemas.microsoft.com/office/drawing/2014/main" xmlns="" id="{5132634D-4C23-4EAA-8E60-1E0919FC9371}"/>
                </a:ext>
              </a:extLst>
            </p:cNvPr>
            <p:cNvSpPr txBox="1"/>
            <p:nvPr/>
          </p:nvSpPr>
          <p:spPr>
            <a:xfrm>
              <a:off x="5383229" y="5228314"/>
              <a:ext cx="1492696" cy="456343"/>
            </a:xfrm>
            <a:prstGeom prst="rect">
              <a:avLst/>
            </a:prstGeom>
          </p:spPr>
          <p:txBody>
            <a:bodyPr vert="horz" wrap="square" lIns="91440" tIns="45720" rIns="91440" bIns="45720" anchor="t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200" b="1" dirty="0"/>
                <a:t>Text</a:t>
              </a:r>
              <a:endParaRPr lang="zh-CN" altLang="en-US" sz="12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13034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106EABA9-F5BE-4B77-9303-0BAE5BE531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973E5CE0-3E42-4AEC-8609-40950F455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2E82D3D7-8A8B-47AD-88C2-BBA87170F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grpSp>
        <p:nvGrpSpPr>
          <p:cNvPr id="5" name="20648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C67721CF-1237-43D2-9FD9-B8029B941593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258162"/>
            <a:ext cx="10848975" cy="4888638"/>
            <a:chOff x="669925" y="1258162"/>
            <a:chExt cx="10848975" cy="4888638"/>
          </a:xfrm>
        </p:grpSpPr>
        <p:grpSp>
          <p:nvGrpSpPr>
            <p:cNvPr id="6" name="î$1íďé">
              <a:extLst>
                <a:ext uri="{FF2B5EF4-FFF2-40B4-BE49-F238E27FC236}">
                  <a16:creationId xmlns:a16="http://schemas.microsoft.com/office/drawing/2014/main" xmlns="" id="{33854519-418D-4273-AE7D-6D75047BA171}"/>
                </a:ext>
              </a:extLst>
            </p:cNvPr>
            <p:cNvGrpSpPr/>
            <p:nvPr/>
          </p:nvGrpSpPr>
          <p:grpSpPr>
            <a:xfrm>
              <a:off x="669925" y="3977925"/>
              <a:ext cx="2737889" cy="1111889"/>
              <a:chOff x="669925" y="3161137"/>
              <a:chExt cx="3093055" cy="1111889"/>
            </a:xfrm>
          </p:grpSpPr>
          <p:sp>
            <p:nvSpPr>
              <p:cNvPr id="29" name="îsḷiďê">
                <a:extLst>
                  <a:ext uri="{FF2B5EF4-FFF2-40B4-BE49-F238E27FC236}">
                    <a16:creationId xmlns:a16="http://schemas.microsoft.com/office/drawing/2014/main" xmlns="" id="{47D15CCB-A366-4B44-9CD2-2F07E53FA1CF}"/>
                  </a:ext>
                </a:extLst>
              </p:cNvPr>
              <p:cNvSpPr/>
              <p:nvPr/>
            </p:nvSpPr>
            <p:spPr bwMode="auto">
              <a:xfrm>
                <a:off x="669925" y="3548735"/>
                <a:ext cx="3093055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30" name="ïśḷídè">
                <a:extLst>
                  <a:ext uri="{FF2B5EF4-FFF2-40B4-BE49-F238E27FC236}">
                    <a16:creationId xmlns:a16="http://schemas.microsoft.com/office/drawing/2014/main" xmlns="" id="{4BF2907E-212F-4D33-B9D8-55F3D8E6F7F5}"/>
                  </a:ext>
                </a:extLst>
              </p:cNvPr>
              <p:cNvSpPr txBox="1"/>
              <p:nvPr/>
            </p:nvSpPr>
            <p:spPr bwMode="auto">
              <a:xfrm>
                <a:off x="669925" y="3161137"/>
                <a:ext cx="309305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7" name="îśļîḋe">
              <a:extLst>
                <a:ext uri="{FF2B5EF4-FFF2-40B4-BE49-F238E27FC236}">
                  <a16:creationId xmlns:a16="http://schemas.microsoft.com/office/drawing/2014/main" xmlns="" id="{F3BDD1D6-DF96-4BD5-9419-2EC2568A325F}"/>
                </a:ext>
              </a:extLst>
            </p:cNvPr>
            <p:cNvGrpSpPr/>
            <p:nvPr/>
          </p:nvGrpSpPr>
          <p:grpSpPr>
            <a:xfrm>
              <a:off x="8781011" y="3977925"/>
              <a:ext cx="2737889" cy="1111889"/>
              <a:chOff x="8429020" y="3161137"/>
              <a:chExt cx="3093055" cy="1111889"/>
            </a:xfrm>
          </p:grpSpPr>
          <p:sp>
            <p:nvSpPr>
              <p:cNvPr id="27" name="ïşḻíďé">
                <a:extLst>
                  <a:ext uri="{FF2B5EF4-FFF2-40B4-BE49-F238E27FC236}">
                    <a16:creationId xmlns:a16="http://schemas.microsoft.com/office/drawing/2014/main" xmlns="" id="{137F1DBA-7A2A-4B0C-BA16-12B0861F67E3}"/>
                  </a:ext>
                </a:extLst>
              </p:cNvPr>
              <p:cNvSpPr/>
              <p:nvPr/>
            </p:nvSpPr>
            <p:spPr bwMode="auto">
              <a:xfrm>
                <a:off x="8429020" y="3548735"/>
                <a:ext cx="3093055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8" name="iṧḻîḋé">
                <a:extLst>
                  <a:ext uri="{FF2B5EF4-FFF2-40B4-BE49-F238E27FC236}">
                    <a16:creationId xmlns:a16="http://schemas.microsoft.com/office/drawing/2014/main" xmlns="" id="{762E9B58-9FE9-4914-9D97-3491F9E87A79}"/>
                  </a:ext>
                </a:extLst>
              </p:cNvPr>
              <p:cNvSpPr txBox="1"/>
              <p:nvPr/>
            </p:nvSpPr>
            <p:spPr bwMode="auto">
              <a:xfrm>
                <a:off x="8429020" y="3161137"/>
                <a:ext cx="309305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8" name="iṡľîḍê">
              <a:extLst>
                <a:ext uri="{FF2B5EF4-FFF2-40B4-BE49-F238E27FC236}">
                  <a16:creationId xmlns:a16="http://schemas.microsoft.com/office/drawing/2014/main" xmlns="" id="{9549485C-15E7-4519-966B-F4D3B628ADEE}"/>
                </a:ext>
              </a:extLst>
            </p:cNvPr>
            <p:cNvGrpSpPr/>
            <p:nvPr/>
          </p:nvGrpSpPr>
          <p:grpSpPr>
            <a:xfrm>
              <a:off x="4165503" y="1258162"/>
              <a:ext cx="3860995" cy="1062359"/>
              <a:chOff x="4489903" y="5178105"/>
              <a:chExt cx="3860995" cy="1062359"/>
            </a:xfrm>
          </p:grpSpPr>
          <p:sp>
            <p:nvSpPr>
              <p:cNvPr id="25" name="îşḻiḓè">
                <a:extLst>
                  <a:ext uri="{FF2B5EF4-FFF2-40B4-BE49-F238E27FC236}">
                    <a16:creationId xmlns:a16="http://schemas.microsoft.com/office/drawing/2014/main" xmlns="" id="{C9A1DA42-2972-45F7-AB5A-B6C595A3A55B}"/>
                  </a:ext>
                </a:extLst>
              </p:cNvPr>
              <p:cNvSpPr/>
              <p:nvPr/>
            </p:nvSpPr>
            <p:spPr bwMode="auto">
              <a:xfrm>
                <a:off x="4489903" y="5565704"/>
                <a:ext cx="3860995" cy="6747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6" name="îŝḷiďê">
                <a:extLst>
                  <a:ext uri="{FF2B5EF4-FFF2-40B4-BE49-F238E27FC236}">
                    <a16:creationId xmlns:a16="http://schemas.microsoft.com/office/drawing/2014/main" xmlns="" id="{C6594891-8F4A-40DE-AA90-45295190E5ED}"/>
                  </a:ext>
                </a:extLst>
              </p:cNvPr>
              <p:cNvSpPr txBox="1"/>
              <p:nvPr/>
            </p:nvSpPr>
            <p:spPr bwMode="auto">
              <a:xfrm>
                <a:off x="4489903" y="5178105"/>
                <a:ext cx="386099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9" name="îṡḷîḍé">
              <a:extLst>
                <a:ext uri="{FF2B5EF4-FFF2-40B4-BE49-F238E27FC236}">
                  <a16:creationId xmlns:a16="http://schemas.microsoft.com/office/drawing/2014/main" xmlns="" id="{C619DECB-2F78-4F83-AB3B-50F6035C4B28}"/>
                </a:ext>
              </a:extLst>
            </p:cNvPr>
            <p:cNvGrpSpPr/>
            <p:nvPr/>
          </p:nvGrpSpPr>
          <p:grpSpPr>
            <a:xfrm>
              <a:off x="2824900" y="5034911"/>
              <a:ext cx="2737889" cy="1111889"/>
              <a:chOff x="669925" y="3161137"/>
              <a:chExt cx="3093055" cy="1111889"/>
            </a:xfrm>
          </p:grpSpPr>
          <p:sp>
            <p:nvSpPr>
              <p:cNvPr id="23" name="íṩļiḍe">
                <a:extLst>
                  <a:ext uri="{FF2B5EF4-FFF2-40B4-BE49-F238E27FC236}">
                    <a16:creationId xmlns:a16="http://schemas.microsoft.com/office/drawing/2014/main" xmlns="" id="{65C7A050-EF74-40FD-8717-80597B12B9CC}"/>
                  </a:ext>
                </a:extLst>
              </p:cNvPr>
              <p:cNvSpPr/>
              <p:nvPr/>
            </p:nvSpPr>
            <p:spPr bwMode="auto">
              <a:xfrm>
                <a:off x="669925" y="3548735"/>
                <a:ext cx="3093055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4" name="ïṩḻíḋè">
                <a:extLst>
                  <a:ext uri="{FF2B5EF4-FFF2-40B4-BE49-F238E27FC236}">
                    <a16:creationId xmlns:a16="http://schemas.microsoft.com/office/drawing/2014/main" xmlns="" id="{76D0754B-4EFF-4997-80D4-6C7B2828DDB7}"/>
                  </a:ext>
                </a:extLst>
              </p:cNvPr>
              <p:cNvSpPr txBox="1"/>
              <p:nvPr/>
            </p:nvSpPr>
            <p:spPr bwMode="auto">
              <a:xfrm>
                <a:off x="669925" y="3161137"/>
                <a:ext cx="309305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10" name="îşlîḑê">
              <a:extLst>
                <a:ext uri="{FF2B5EF4-FFF2-40B4-BE49-F238E27FC236}">
                  <a16:creationId xmlns:a16="http://schemas.microsoft.com/office/drawing/2014/main" xmlns="" id="{F492E0FE-EA39-4B61-9DCC-141DF189F568}"/>
                </a:ext>
              </a:extLst>
            </p:cNvPr>
            <p:cNvGrpSpPr/>
            <p:nvPr/>
          </p:nvGrpSpPr>
          <p:grpSpPr>
            <a:xfrm>
              <a:off x="6849832" y="5034911"/>
              <a:ext cx="2737889" cy="1111889"/>
              <a:chOff x="8429020" y="3161137"/>
              <a:chExt cx="3093055" cy="1111889"/>
            </a:xfrm>
          </p:grpSpPr>
          <p:sp>
            <p:nvSpPr>
              <p:cNvPr id="21" name="iṥlíďè">
                <a:extLst>
                  <a:ext uri="{FF2B5EF4-FFF2-40B4-BE49-F238E27FC236}">
                    <a16:creationId xmlns:a16="http://schemas.microsoft.com/office/drawing/2014/main" xmlns="" id="{FB0A37FD-5A1D-40BC-B6ED-884DFFF2652F}"/>
                  </a:ext>
                </a:extLst>
              </p:cNvPr>
              <p:cNvSpPr/>
              <p:nvPr/>
            </p:nvSpPr>
            <p:spPr bwMode="auto">
              <a:xfrm>
                <a:off x="8429020" y="3548735"/>
                <a:ext cx="3093055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2" name="iSḻïḑê">
                <a:extLst>
                  <a:ext uri="{FF2B5EF4-FFF2-40B4-BE49-F238E27FC236}">
                    <a16:creationId xmlns:a16="http://schemas.microsoft.com/office/drawing/2014/main" xmlns="" id="{469CA33E-F588-455A-895F-5195E9DE056B}"/>
                  </a:ext>
                </a:extLst>
              </p:cNvPr>
              <p:cNvSpPr txBox="1"/>
              <p:nvPr/>
            </p:nvSpPr>
            <p:spPr bwMode="auto">
              <a:xfrm>
                <a:off x="8429020" y="3161137"/>
                <a:ext cx="309305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sp>
          <p:nvSpPr>
            <p:cNvPr id="11" name="ïŝľíḑè">
              <a:extLst>
                <a:ext uri="{FF2B5EF4-FFF2-40B4-BE49-F238E27FC236}">
                  <a16:creationId xmlns:a16="http://schemas.microsoft.com/office/drawing/2014/main" xmlns="" id="{C6DC8D1E-8889-4C03-81A4-A34C9F9357B3}"/>
                </a:ext>
              </a:extLst>
            </p:cNvPr>
            <p:cNvSpPr/>
            <p:nvPr/>
          </p:nvSpPr>
          <p:spPr bwMode="auto">
            <a:xfrm>
              <a:off x="3217683" y="2741538"/>
              <a:ext cx="1266139" cy="1263196"/>
            </a:xfrm>
            <a:custGeom>
              <a:avLst/>
              <a:gdLst>
                <a:gd name="T0" fmla="*/ 1487 w 1607"/>
                <a:gd name="T1" fmla="*/ 924 h 1599"/>
                <a:gd name="T2" fmla="*/ 1604 w 1607"/>
                <a:gd name="T3" fmla="*/ 865 h 1599"/>
                <a:gd name="T4" fmla="*/ 1495 w 1607"/>
                <a:gd name="T5" fmla="*/ 724 h 1599"/>
                <a:gd name="T6" fmla="*/ 1578 w 1607"/>
                <a:gd name="T7" fmla="*/ 587 h 1599"/>
                <a:gd name="T8" fmla="*/ 1427 w 1607"/>
                <a:gd name="T9" fmla="*/ 492 h 1599"/>
                <a:gd name="T10" fmla="*/ 1459 w 1607"/>
                <a:gd name="T11" fmla="*/ 335 h 1599"/>
                <a:gd name="T12" fmla="*/ 1284 w 1607"/>
                <a:gd name="T13" fmla="*/ 297 h 1599"/>
                <a:gd name="T14" fmla="*/ 1260 w 1607"/>
                <a:gd name="T15" fmla="*/ 139 h 1599"/>
                <a:gd name="T16" fmla="*/ 1084 w 1607"/>
                <a:gd name="T17" fmla="*/ 163 h 1599"/>
                <a:gd name="T18" fmla="*/ 1007 w 1607"/>
                <a:gd name="T19" fmla="*/ 23 h 1599"/>
                <a:gd name="T20" fmla="*/ 886 w 1607"/>
                <a:gd name="T21" fmla="*/ 1 h 1599"/>
                <a:gd name="T22" fmla="*/ 765 w 1607"/>
                <a:gd name="T23" fmla="*/ 105 h 1599"/>
                <a:gd name="T24" fmla="*/ 608 w 1607"/>
                <a:gd name="T25" fmla="*/ 20 h 1599"/>
                <a:gd name="T26" fmla="*/ 530 w 1607"/>
                <a:gd name="T27" fmla="*/ 160 h 1599"/>
                <a:gd name="T28" fmla="*/ 353 w 1607"/>
                <a:gd name="T29" fmla="*/ 134 h 1599"/>
                <a:gd name="T30" fmla="*/ 328 w 1607"/>
                <a:gd name="T31" fmla="*/ 292 h 1599"/>
                <a:gd name="T32" fmla="*/ 153 w 1607"/>
                <a:gd name="T33" fmla="*/ 328 h 1599"/>
                <a:gd name="T34" fmla="*/ 183 w 1607"/>
                <a:gd name="T35" fmla="*/ 486 h 1599"/>
                <a:gd name="T36" fmla="*/ 31 w 1607"/>
                <a:gd name="T37" fmla="*/ 579 h 1599"/>
                <a:gd name="T38" fmla="*/ 119 w 1607"/>
                <a:gd name="T39" fmla="*/ 675 h 1599"/>
                <a:gd name="T40" fmla="*/ 3 w 1607"/>
                <a:gd name="T41" fmla="*/ 734 h 1599"/>
                <a:gd name="T42" fmla="*/ 112 w 1607"/>
                <a:gd name="T43" fmla="*/ 875 h 1599"/>
                <a:gd name="T44" fmla="*/ 29 w 1607"/>
                <a:gd name="T45" fmla="*/ 1011 h 1599"/>
                <a:gd name="T46" fmla="*/ 180 w 1607"/>
                <a:gd name="T47" fmla="*/ 1107 h 1599"/>
                <a:gd name="T48" fmla="*/ 148 w 1607"/>
                <a:gd name="T49" fmla="*/ 1263 h 1599"/>
                <a:gd name="T50" fmla="*/ 322 w 1607"/>
                <a:gd name="T51" fmla="*/ 1301 h 1599"/>
                <a:gd name="T52" fmla="*/ 346 w 1607"/>
                <a:gd name="T53" fmla="*/ 1460 h 1599"/>
                <a:gd name="T54" fmla="*/ 523 w 1607"/>
                <a:gd name="T55" fmla="*/ 1436 h 1599"/>
                <a:gd name="T56" fmla="*/ 600 w 1607"/>
                <a:gd name="T57" fmla="*/ 1576 h 1599"/>
                <a:gd name="T58" fmla="*/ 721 w 1607"/>
                <a:gd name="T59" fmla="*/ 1598 h 1599"/>
                <a:gd name="T60" fmla="*/ 842 w 1607"/>
                <a:gd name="T61" fmla="*/ 1494 h 1599"/>
                <a:gd name="T62" fmla="*/ 999 w 1607"/>
                <a:gd name="T63" fmla="*/ 1578 h 1599"/>
                <a:gd name="T64" fmla="*/ 1077 w 1607"/>
                <a:gd name="T65" fmla="*/ 1439 h 1599"/>
                <a:gd name="T66" fmla="*/ 1253 w 1607"/>
                <a:gd name="T67" fmla="*/ 1464 h 1599"/>
                <a:gd name="T68" fmla="*/ 1279 w 1607"/>
                <a:gd name="T69" fmla="*/ 1306 h 1599"/>
                <a:gd name="T70" fmla="*/ 1454 w 1607"/>
                <a:gd name="T71" fmla="*/ 1270 h 1599"/>
                <a:gd name="T72" fmla="*/ 1424 w 1607"/>
                <a:gd name="T73" fmla="*/ 1113 h 1599"/>
                <a:gd name="T74" fmla="*/ 1576 w 1607"/>
                <a:gd name="T75" fmla="*/ 1019 h 1599"/>
                <a:gd name="T76" fmla="*/ 700 w 1607"/>
                <a:gd name="T77" fmla="*/ 1370 h 1599"/>
                <a:gd name="T78" fmla="*/ 907 w 1607"/>
                <a:gd name="T79" fmla="*/ 228 h 1599"/>
                <a:gd name="T80" fmla="*/ 700 w 1607"/>
                <a:gd name="T81" fmla="*/ 1370 h 1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07" h="1599">
                  <a:moveTo>
                    <a:pt x="1479" y="965"/>
                  </a:moveTo>
                  <a:cubicBezTo>
                    <a:pt x="1482" y="951"/>
                    <a:pt x="1485" y="937"/>
                    <a:pt x="1487" y="924"/>
                  </a:cubicBezTo>
                  <a:cubicBezTo>
                    <a:pt x="1490" y="910"/>
                    <a:pt x="1492" y="896"/>
                    <a:pt x="1494" y="882"/>
                  </a:cubicBezTo>
                  <a:cubicBezTo>
                    <a:pt x="1535" y="881"/>
                    <a:pt x="1573" y="875"/>
                    <a:pt x="1604" y="865"/>
                  </a:cubicBezTo>
                  <a:cubicBezTo>
                    <a:pt x="1607" y="824"/>
                    <a:pt x="1607" y="782"/>
                    <a:pt x="1604" y="742"/>
                  </a:cubicBezTo>
                  <a:cubicBezTo>
                    <a:pt x="1574" y="731"/>
                    <a:pt x="1536" y="725"/>
                    <a:pt x="1495" y="724"/>
                  </a:cubicBezTo>
                  <a:cubicBezTo>
                    <a:pt x="1492" y="696"/>
                    <a:pt x="1487" y="668"/>
                    <a:pt x="1481" y="641"/>
                  </a:cubicBezTo>
                  <a:cubicBezTo>
                    <a:pt x="1519" y="626"/>
                    <a:pt x="1553" y="607"/>
                    <a:pt x="1578" y="587"/>
                  </a:cubicBezTo>
                  <a:cubicBezTo>
                    <a:pt x="1567" y="547"/>
                    <a:pt x="1553" y="509"/>
                    <a:pt x="1536" y="472"/>
                  </a:cubicBezTo>
                  <a:cubicBezTo>
                    <a:pt x="1504" y="472"/>
                    <a:pt x="1466" y="479"/>
                    <a:pt x="1427" y="492"/>
                  </a:cubicBezTo>
                  <a:cubicBezTo>
                    <a:pt x="1415" y="467"/>
                    <a:pt x="1401" y="442"/>
                    <a:pt x="1385" y="419"/>
                  </a:cubicBezTo>
                  <a:cubicBezTo>
                    <a:pt x="1417" y="392"/>
                    <a:pt x="1442" y="362"/>
                    <a:pt x="1459" y="335"/>
                  </a:cubicBezTo>
                  <a:cubicBezTo>
                    <a:pt x="1435" y="302"/>
                    <a:pt x="1409" y="270"/>
                    <a:pt x="1380" y="241"/>
                  </a:cubicBezTo>
                  <a:cubicBezTo>
                    <a:pt x="1350" y="252"/>
                    <a:pt x="1317" y="271"/>
                    <a:pt x="1284" y="297"/>
                  </a:cubicBezTo>
                  <a:cubicBezTo>
                    <a:pt x="1264" y="278"/>
                    <a:pt x="1243" y="260"/>
                    <a:pt x="1220" y="243"/>
                  </a:cubicBezTo>
                  <a:cubicBezTo>
                    <a:pt x="1240" y="206"/>
                    <a:pt x="1254" y="170"/>
                    <a:pt x="1260" y="139"/>
                  </a:cubicBezTo>
                  <a:cubicBezTo>
                    <a:pt x="1227" y="116"/>
                    <a:pt x="1192" y="95"/>
                    <a:pt x="1154" y="77"/>
                  </a:cubicBezTo>
                  <a:cubicBezTo>
                    <a:pt x="1130" y="98"/>
                    <a:pt x="1105" y="127"/>
                    <a:pt x="1084" y="163"/>
                  </a:cubicBezTo>
                  <a:cubicBezTo>
                    <a:pt x="1058" y="152"/>
                    <a:pt x="1032" y="142"/>
                    <a:pt x="1005" y="134"/>
                  </a:cubicBezTo>
                  <a:cubicBezTo>
                    <a:pt x="1011" y="93"/>
                    <a:pt x="1012" y="54"/>
                    <a:pt x="1007" y="23"/>
                  </a:cubicBezTo>
                  <a:cubicBezTo>
                    <a:pt x="987" y="17"/>
                    <a:pt x="967" y="13"/>
                    <a:pt x="947" y="9"/>
                  </a:cubicBezTo>
                  <a:cubicBezTo>
                    <a:pt x="927" y="6"/>
                    <a:pt x="906" y="3"/>
                    <a:pt x="886" y="1"/>
                  </a:cubicBezTo>
                  <a:cubicBezTo>
                    <a:pt x="870" y="29"/>
                    <a:pt x="857" y="65"/>
                    <a:pt x="849" y="106"/>
                  </a:cubicBezTo>
                  <a:cubicBezTo>
                    <a:pt x="821" y="104"/>
                    <a:pt x="793" y="103"/>
                    <a:pt x="765" y="105"/>
                  </a:cubicBezTo>
                  <a:cubicBezTo>
                    <a:pt x="757" y="64"/>
                    <a:pt x="744" y="28"/>
                    <a:pt x="729" y="0"/>
                  </a:cubicBezTo>
                  <a:cubicBezTo>
                    <a:pt x="688" y="3"/>
                    <a:pt x="647" y="10"/>
                    <a:pt x="608" y="20"/>
                  </a:cubicBezTo>
                  <a:cubicBezTo>
                    <a:pt x="603" y="52"/>
                    <a:pt x="603" y="91"/>
                    <a:pt x="609" y="132"/>
                  </a:cubicBezTo>
                  <a:cubicBezTo>
                    <a:pt x="582" y="140"/>
                    <a:pt x="556" y="149"/>
                    <a:pt x="530" y="160"/>
                  </a:cubicBezTo>
                  <a:cubicBezTo>
                    <a:pt x="509" y="124"/>
                    <a:pt x="484" y="95"/>
                    <a:pt x="460" y="73"/>
                  </a:cubicBezTo>
                  <a:cubicBezTo>
                    <a:pt x="423" y="91"/>
                    <a:pt x="387" y="111"/>
                    <a:pt x="353" y="134"/>
                  </a:cubicBezTo>
                  <a:cubicBezTo>
                    <a:pt x="359" y="166"/>
                    <a:pt x="373" y="202"/>
                    <a:pt x="392" y="239"/>
                  </a:cubicBezTo>
                  <a:cubicBezTo>
                    <a:pt x="370" y="255"/>
                    <a:pt x="348" y="273"/>
                    <a:pt x="328" y="292"/>
                  </a:cubicBezTo>
                  <a:cubicBezTo>
                    <a:pt x="295" y="266"/>
                    <a:pt x="262" y="246"/>
                    <a:pt x="233" y="235"/>
                  </a:cubicBezTo>
                  <a:cubicBezTo>
                    <a:pt x="204" y="264"/>
                    <a:pt x="177" y="295"/>
                    <a:pt x="153" y="328"/>
                  </a:cubicBezTo>
                  <a:cubicBezTo>
                    <a:pt x="169" y="356"/>
                    <a:pt x="194" y="385"/>
                    <a:pt x="225" y="413"/>
                  </a:cubicBezTo>
                  <a:cubicBezTo>
                    <a:pt x="210" y="436"/>
                    <a:pt x="196" y="460"/>
                    <a:pt x="183" y="486"/>
                  </a:cubicBezTo>
                  <a:cubicBezTo>
                    <a:pt x="144" y="472"/>
                    <a:pt x="106" y="465"/>
                    <a:pt x="74" y="464"/>
                  </a:cubicBezTo>
                  <a:cubicBezTo>
                    <a:pt x="57" y="501"/>
                    <a:pt x="43" y="539"/>
                    <a:pt x="31" y="579"/>
                  </a:cubicBezTo>
                  <a:cubicBezTo>
                    <a:pt x="56" y="599"/>
                    <a:pt x="89" y="619"/>
                    <a:pt x="128" y="634"/>
                  </a:cubicBezTo>
                  <a:cubicBezTo>
                    <a:pt x="125" y="647"/>
                    <a:pt x="122" y="661"/>
                    <a:pt x="119" y="675"/>
                  </a:cubicBezTo>
                  <a:cubicBezTo>
                    <a:pt x="117" y="689"/>
                    <a:pt x="115" y="703"/>
                    <a:pt x="113" y="717"/>
                  </a:cubicBezTo>
                  <a:cubicBezTo>
                    <a:pt x="72" y="717"/>
                    <a:pt x="33" y="724"/>
                    <a:pt x="3" y="734"/>
                  </a:cubicBezTo>
                  <a:cubicBezTo>
                    <a:pt x="0" y="775"/>
                    <a:pt x="0" y="816"/>
                    <a:pt x="2" y="857"/>
                  </a:cubicBezTo>
                  <a:cubicBezTo>
                    <a:pt x="33" y="867"/>
                    <a:pt x="71" y="874"/>
                    <a:pt x="112" y="875"/>
                  </a:cubicBezTo>
                  <a:cubicBezTo>
                    <a:pt x="115" y="903"/>
                    <a:pt x="120" y="931"/>
                    <a:pt x="126" y="958"/>
                  </a:cubicBezTo>
                  <a:cubicBezTo>
                    <a:pt x="87" y="973"/>
                    <a:pt x="54" y="992"/>
                    <a:pt x="29" y="1011"/>
                  </a:cubicBezTo>
                  <a:cubicBezTo>
                    <a:pt x="40" y="1051"/>
                    <a:pt x="54" y="1090"/>
                    <a:pt x="70" y="1127"/>
                  </a:cubicBezTo>
                  <a:cubicBezTo>
                    <a:pt x="102" y="1127"/>
                    <a:pt x="140" y="1120"/>
                    <a:pt x="180" y="1107"/>
                  </a:cubicBezTo>
                  <a:cubicBezTo>
                    <a:pt x="192" y="1132"/>
                    <a:pt x="206" y="1156"/>
                    <a:pt x="221" y="1180"/>
                  </a:cubicBezTo>
                  <a:cubicBezTo>
                    <a:pt x="190" y="1207"/>
                    <a:pt x="165" y="1236"/>
                    <a:pt x="148" y="1263"/>
                  </a:cubicBezTo>
                  <a:cubicBezTo>
                    <a:pt x="172" y="1297"/>
                    <a:pt x="198" y="1329"/>
                    <a:pt x="227" y="1358"/>
                  </a:cubicBezTo>
                  <a:cubicBezTo>
                    <a:pt x="257" y="1347"/>
                    <a:pt x="290" y="1327"/>
                    <a:pt x="322" y="1301"/>
                  </a:cubicBezTo>
                  <a:cubicBezTo>
                    <a:pt x="343" y="1321"/>
                    <a:pt x="364" y="1339"/>
                    <a:pt x="387" y="1356"/>
                  </a:cubicBezTo>
                  <a:cubicBezTo>
                    <a:pt x="366" y="1392"/>
                    <a:pt x="353" y="1428"/>
                    <a:pt x="346" y="1460"/>
                  </a:cubicBezTo>
                  <a:cubicBezTo>
                    <a:pt x="380" y="1483"/>
                    <a:pt x="415" y="1504"/>
                    <a:pt x="452" y="1522"/>
                  </a:cubicBezTo>
                  <a:cubicBezTo>
                    <a:pt x="477" y="1501"/>
                    <a:pt x="502" y="1471"/>
                    <a:pt x="523" y="1436"/>
                  </a:cubicBezTo>
                  <a:cubicBezTo>
                    <a:pt x="549" y="1447"/>
                    <a:pt x="575" y="1457"/>
                    <a:pt x="602" y="1465"/>
                  </a:cubicBezTo>
                  <a:cubicBezTo>
                    <a:pt x="596" y="1506"/>
                    <a:pt x="595" y="1544"/>
                    <a:pt x="600" y="1576"/>
                  </a:cubicBezTo>
                  <a:cubicBezTo>
                    <a:pt x="620" y="1581"/>
                    <a:pt x="640" y="1586"/>
                    <a:pt x="660" y="1589"/>
                  </a:cubicBezTo>
                  <a:cubicBezTo>
                    <a:pt x="680" y="1593"/>
                    <a:pt x="701" y="1596"/>
                    <a:pt x="721" y="1598"/>
                  </a:cubicBezTo>
                  <a:cubicBezTo>
                    <a:pt x="736" y="1570"/>
                    <a:pt x="750" y="1534"/>
                    <a:pt x="758" y="1493"/>
                  </a:cubicBezTo>
                  <a:cubicBezTo>
                    <a:pt x="786" y="1495"/>
                    <a:pt x="814" y="1495"/>
                    <a:pt x="842" y="1494"/>
                  </a:cubicBezTo>
                  <a:cubicBezTo>
                    <a:pt x="850" y="1534"/>
                    <a:pt x="863" y="1571"/>
                    <a:pt x="878" y="1599"/>
                  </a:cubicBezTo>
                  <a:cubicBezTo>
                    <a:pt x="919" y="1595"/>
                    <a:pt x="959" y="1588"/>
                    <a:pt x="999" y="1578"/>
                  </a:cubicBezTo>
                  <a:cubicBezTo>
                    <a:pt x="1004" y="1547"/>
                    <a:pt x="1004" y="1508"/>
                    <a:pt x="998" y="1467"/>
                  </a:cubicBezTo>
                  <a:cubicBezTo>
                    <a:pt x="1025" y="1459"/>
                    <a:pt x="1051" y="1450"/>
                    <a:pt x="1077" y="1439"/>
                  </a:cubicBezTo>
                  <a:cubicBezTo>
                    <a:pt x="1098" y="1474"/>
                    <a:pt x="1123" y="1504"/>
                    <a:pt x="1147" y="1525"/>
                  </a:cubicBezTo>
                  <a:cubicBezTo>
                    <a:pt x="1184" y="1508"/>
                    <a:pt x="1220" y="1487"/>
                    <a:pt x="1253" y="1464"/>
                  </a:cubicBezTo>
                  <a:cubicBezTo>
                    <a:pt x="1248" y="1433"/>
                    <a:pt x="1234" y="1397"/>
                    <a:pt x="1214" y="1360"/>
                  </a:cubicBezTo>
                  <a:cubicBezTo>
                    <a:pt x="1237" y="1344"/>
                    <a:pt x="1259" y="1326"/>
                    <a:pt x="1279" y="1306"/>
                  </a:cubicBezTo>
                  <a:cubicBezTo>
                    <a:pt x="1311" y="1333"/>
                    <a:pt x="1345" y="1352"/>
                    <a:pt x="1374" y="1364"/>
                  </a:cubicBezTo>
                  <a:cubicBezTo>
                    <a:pt x="1403" y="1335"/>
                    <a:pt x="1430" y="1304"/>
                    <a:pt x="1454" y="1270"/>
                  </a:cubicBezTo>
                  <a:cubicBezTo>
                    <a:pt x="1438" y="1243"/>
                    <a:pt x="1413" y="1213"/>
                    <a:pt x="1382" y="1186"/>
                  </a:cubicBezTo>
                  <a:cubicBezTo>
                    <a:pt x="1397" y="1163"/>
                    <a:pt x="1411" y="1138"/>
                    <a:pt x="1424" y="1113"/>
                  </a:cubicBezTo>
                  <a:cubicBezTo>
                    <a:pt x="1463" y="1127"/>
                    <a:pt x="1501" y="1134"/>
                    <a:pt x="1533" y="1135"/>
                  </a:cubicBezTo>
                  <a:cubicBezTo>
                    <a:pt x="1550" y="1098"/>
                    <a:pt x="1564" y="1059"/>
                    <a:pt x="1576" y="1019"/>
                  </a:cubicBezTo>
                  <a:cubicBezTo>
                    <a:pt x="1551" y="999"/>
                    <a:pt x="1517" y="980"/>
                    <a:pt x="1479" y="965"/>
                  </a:cubicBezTo>
                  <a:close/>
                  <a:moveTo>
                    <a:pt x="700" y="1370"/>
                  </a:moveTo>
                  <a:cubicBezTo>
                    <a:pt x="384" y="1313"/>
                    <a:pt x="175" y="1011"/>
                    <a:pt x="232" y="696"/>
                  </a:cubicBezTo>
                  <a:cubicBezTo>
                    <a:pt x="290" y="380"/>
                    <a:pt x="592" y="171"/>
                    <a:pt x="907" y="228"/>
                  </a:cubicBezTo>
                  <a:cubicBezTo>
                    <a:pt x="1223" y="286"/>
                    <a:pt x="1432" y="588"/>
                    <a:pt x="1374" y="903"/>
                  </a:cubicBezTo>
                  <a:cubicBezTo>
                    <a:pt x="1317" y="1218"/>
                    <a:pt x="1015" y="1428"/>
                    <a:pt x="700" y="137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12" name="îş1ïdé">
              <a:extLst>
                <a:ext uri="{FF2B5EF4-FFF2-40B4-BE49-F238E27FC236}">
                  <a16:creationId xmlns:a16="http://schemas.microsoft.com/office/drawing/2014/main" xmlns="" id="{FEB0487A-A4BC-492C-A3D7-5D5B2E9D9AAD}"/>
                </a:ext>
              </a:extLst>
            </p:cNvPr>
            <p:cNvSpPr/>
            <p:nvPr/>
          </p:nvSpPr>
          <p:spPr bwMode="auto">
            <a:xfrm>
              <a:off x="4323427" y="3422855"/>
              <a:ext cx="1266139" cy="1263196"/>
            </a:xfrm>
            <a:custGeom>
              <a:avLst/>
              <a:gdLst>
                <a:gd name="T0" fmla="*/ 1487 w 1607"/>
                <a:gd name="T1" fmla="*/ 924 h 1599"/>
                <a:gd name="T2" fmla="*/ 1604 w 1607"/>
                <a:gd name="T3" fmla="*/ 865 h 1599"/>
                <a:gd name="T4" fmla="*/ 1495 w 1607"/>
                <a:gd name="T5" fmla="*/ 724 h 1599"/>
                <a:gd name="T6" fmla="*/ 1578 w 1607"/>
                <a:gd name="T7" fmla="*/ 587 h 1599"/>
                <a:gd name="T8" fmla="*/ 1427 w 1607"/>
                <a:gd name="T9" fmla="*/ 492 h 1599"/>
                <a:gd name="T10" fmla="*/ 1459 w 1607"/>
                <a:gd name="T11" fmla="*/ 335 h 1599"/>
                <a:gd name="T12" fmla="*/ 1284 w 1607"/>
                <a:gd name="T13" fmla="*/ 297 h 1599"/>
                <a:gd name="T14" fmla="*/ 1260 w 1607"/>
                <a:gd name="T15" fmla="*/ 139 h 1599"/>
                <a:gd name="T16" fmla="*/ 1084 w 1607"/>
                <a:gd name="T17" fmla="*/ 163 h 1599"/>
                <a:gd name="T18" fmla="*/ 1007 w 1607"/>
                <a:gd name="T19" fmla="*/ 23 h 1599"/>
                <a:gd name="T20" fmla="*/ 886 w 1607"/>
                <a:gd name="T21" fmla="*/ 1 h 1599"/>
                <a:gd name="T22" fmla="*/ 765 w 1607"/>
                <a:gd name="T23" fmla="*/ 105 h 1599"/>
                <a:gd name="T24" fmla="*/ 608 w 1607"/>
                <a:gd name="T25" fmla="*/ 20 h 1599"/>
                <a:gd name="T26" fmla="*/ 530 w 1607"/>
                <a:gd name="T27" fmla="*/ 160 h 1599"/>
                <a:gd name="T28" fmla="*/ 353 w 1607"/>
                <a:gd name="T29" fmla="*/ 134 h 1599"/>
                <a:gd name="T30" fmla="*/ 328 w 1607"/>
                <a:gd name="T31" fmla="*/ 292 h 1599"/>
                <a:gd name="T32" fmla="*/ 153 w 1607"/>
                <a:gd name="T33" fmla="*/ 328 h 1599"/>
                <a:gd name="T34" fmla="*/ 183 w 1607"/>
                <a:gd name="T35" fmla="*/ 486 h 1599"/>
                <a:gd name="T36" fmla="*/ 31 w 1607"/>
                <a:gd name="T37" fmla="*/ 579 h 1599"/>
                <a:gd name="T38" fmla="*/ 119 w 1607"/>
                <a:gd name="T39" fmla="*/ 675 h 1599"/>
                <a:gd name="T40" fmla="*/ 3 w 1607"/>
                <a:gd name="T41" fmla="*/ 734 h 1599"/>
                <a:gd name="T42" fmla="*/ 112 w 1607"/>
                <a:gd name="T43" fmla="*/ 875 h 1599"/>
                <a:gd name="T44" fmla="*/ 29 w 1607"/>
                <a:gd name="T45" fmla="*/ 1011 h 1599"/>
                <a:gd name="T46" fmla="*/ 180 w 1607"/>
                <a:gd name="T47" fmla="*/ 1107 h 1599"/>
                <a:gd name="T48" fmla="*/ 148 w 1607"/>
                <a:gd name="T49" fmla="*/ 1263 h 1599"/>
                <a:gd name="T50" fmla="*/ 322 w 1607"/>
                <a:gd name="T51" fmla="*/ 1301 h 1599"/>
                <a:gd name="T52" fmla="*/ 346 w 1607"/>
                <a:gd name="T53" fmla="*/ 1460 h 1599"/>
                <a:gd name="T54" fmla="*/ 523 w 1607"/>
                <a:gd name="T55" fmla="*/ 1436 h 1599"/>
                <a:gd name="T56" fmla="*/ 600 w 1607"/>
                <a:gd name="T57" fmla="*/ 1576 h 1599"/>
                <a:gd name="T58" fmla="*/ 721 w 1607"/>
                <a:gd name="T59" fmla="*/ 1598 h 1599"/>
                <a:gd name="T60" fmla="*/ 842 w 1607"/>
                <a:gd name="T61" fmla="*/ 1494 h 1599"/>
                <a:gd name="T62" fmla="*/ 999 w 1607"/>
                <a:gd name="T63" fmla="*/ 1578 h 1599"/>
                <a:gd name="T64" fmla="*/ 1077 w 1607"/>
                <a:gd name="T65" fmla="*/ 1439 h 1599"/>
                <a:gd name="T66" fmla="*/ 1253 w 1607"/>
                <a:gd name="T67" fmla="*/ 1464 h 1599"/>
                <a:gd name="T68" fmla="*/ 1279 w 1607"/>
                <a:gd name="T69" fmla="*/ 1306 h 1599"/>
                <a:gd name="T70" fmla="*/ 1454 w 1607"/>
                <a:gd name="T71" fmla="*/ 1270 h 1599"/>
                <a:gd name="T72" fmla="*/ 1424 w 1607"/>
                <a:gd name="T73" fmla="*/ 1113 h 1599"/>
                <a:gd name="T74" fmla="*/ 1576 w 1607"/>
                <a:gd name="T75" fmla="*/ 1019 h 1599"/>
                <a:gd name="T76" fmla="*/ 700 w 1607"/>
                <a:gd name="T77" fmla="*/ 1370 h 1599"/>
                <a:gd name="T78" fmla="*/ 907 w 1607"/>
                <a:gd name="T79" fmla="*/ 228 h 1599"/>
                <a:gd name="T80" fmla="*/ 700 w 1607"/>
                <a:gd name="T81" fmla="*/ 1370 h 1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07" h="1599">
                  <a:moveTo>
                    <a:pt x="1479" y="965"/>
                  </a:moveTo>
                  <a:cubicBezTo>
                    <a:pt x="1482" y="951"/>
                    <a:pt x="1485" y="937"/>
                    <a:pt x="1487" y="924"/>
                  </a:cubicBezTo>
                  <a:cubicBezTo>
                    <a:pt x="1490" y="910"/>
                    <a:pt x="1492" y="896"/>
                    <a:pt x="1494" y="882"/>
                  </a:cubicBezTo>
                  <a:cubicBezTo>
                    <a:pt x="1535" y="881"/>
                    <a:pt x="1573" y="875"/>
                    <a:pt x="1604" y="865"/>
                  </a:cubicBezTo>
                  <a:cubicBezTo>
                    <a:pt x="1607" y="824"/>
                    <a:pt x="1607" y="782"/>
                    <a:pt x="1604" y="742"/>
                  </a:cubicBezTo>
                  <a:cubicBezTo>
                    <a:pt x="1574" y="731"/>
                    <a:pt x="1536" y="725"/>
                    <a:pt x="1495" y="724"/>
                  </a:cubicBezTo>
                  <a:cubicBezTo>
                    <a:pt x="1492" y="696"/>
                    <a:pt x="1487" y="668"/>
                    <a:pt x="1481" y="641"/>
                  </a:cubicBezTo>
                  <a:cubicBezTo>
                    <a:pt x="1519" y="626"/>
                    <a:pt x="1553" y="607"/>
                    <a:pt x="1578" y="587"/>
                  </a:cubicBezTo>
                  <a:cubicBezTo>
                    <a:pt x="1567" y="547"/>
                    <a:pt x="1553" y="509"/>
                    <a:pt x="1536" y="472"/>
                  </a:cubicBezTo>
                  <a:cubicBezTo>
                    <a:pt x="1504" y="472"/>
                    <a:pt x="1466" y="479"/>
                    <a:pt x="1427" y="492"/>
                  </a:cubicBezTo>
                  <a:cubicBezTo>
                    <a:pt x="1415" y="467"/>
                    <a:pt x="1401" y="442"/>
                    <a:pt x="1385" y="419"/>
                  </a:cubicBezTo>
                  <a:cubicBezTo>
                    <a:pt x="1417" y="392"/>
                    <a:pt x="1442" y="362"/>
                    <a:pt x="1459" y="335"/>
                  </a:cubicBezTo>
                  <a:cubicBezTo>
                    <a:pt x="1435" y="302"/>
                    <a:pt x="1409" y="270"/>
                    <a:pt x="1380" y="241"/>
                  </a:cubicBezTo>
                  <a:cubicBezTo>
                    <a:pt x="1350" y="252"/>
                    <a:pt x="1317" y="271"/>
                    <a:pt x="1284" y="297"/>
                  </a:cubicBezTo>
                  <a:cubicBezTo>
                    <a:pt x="1264" y="278"/>
                    <a:pt x="1243" y="260"/>
                    <a:pt x="1220" y="243"/>
                  </a:cubicBezTo>
                  <a:cubicBezTo>
                    <a:pt x="1240" y="206"/>
                    <a:pt x="1254" y="170"/>
                    <a:pt x="1260" y="139"/>
                  </a:cubicBezTo>
                  <a:cubicBezTo>
                    <a:pt x="1227" y="116"/>
                    <a:pt x="1192" y="95"/>
                    <a:pt x="1154" y="77"/>
                  </a:cubicBezTo>
                  <a:cubicBezTo>
                    <a:pt x="1130" y="98"/>
                    <a:pt x="1105" y="127"/>
                    <a:pt x="1084" y="163"/>
                  </a:cubicBezTo>
                  <a:cubicBezTo>
                    <a:pt x="1058" y="152"/>
                    <a:pt x="1032" y="142"/>
                    <a:pt x="1005" y="134"/>
                  </a:cubicBezTo>
                  <a:cubicBezTo>
                    <a:pt x="1011" y="93"/>
                    <a:pt x="1012" y="54"/>
                    <a:pt x="1007" y="23"/>
                  </a:cubicBezTo>
                  <a:cubicBezTo>
                    <a:pt x="987" y="17"/>
                    <a:pt x="967" y="13"/>
                    <a:pt x="947" y="9"/>
                  </a:cubicBezTo>
                  <a:cubicBezTo>
                    <a:pt x="927" y="6"/>
                    <a:pt x="906" y="3"/>
                    <a:pt x="886" y="1"/>
                  </a:cubicBezTo>
                  <a:cubicBezTo>
                    <a:pt x="870" y="29"/>
                    <a:pt x="857" y="65"/>
                    <a:pt x="849" y="106"/>
                  </a:cubicBezTo>
                  <a:cubicBezTo>
                    <a:pt x="821" y="104"/>
                    <a:pt x="793" y="103"/>
                    <a:pt x="765" y="105"/>
                  </a:cubicBezTo>
                  <a:cubicBezTo>
                    <a:pt x="757" y="64"/>
                    <a:pt x="744" y="28"/>
                    <a:pt x="729" y="0"/>
                  </a:cubicBezTo>
                  <a:cubicBezTo>
                    <a:pt x="688" y="3"/>
                    <a:pt x="647" y="10"/>
                    <a:pt x="608" y="20"/>
                  </a:cubicBezTo>
                  <a:cubicBezTo>
                    <a:pt x="603" y="52"/>
                    <a:pt x="603" y="91"/>
                    <a:pt x="609" y="132"/>
                  </a:cubicBezTo>
                  <a:cubicBezTo>
                    <a:pt x="582" y="140"/>
                    <a:pt x="556" y="149"/>
                    <a:pt x="530" y="160"/>
                  </a:cubicBezTo>
                  <a:cubicBezTo>
                    <a:pt x="509" y="124"/>
                    <a:pt x="484" y="95"/>
                    <a:pt x="460" y="73"/>
                  </a:cubicBezTo>
                  <a:cubicBezTo>
                    <a:pt x="423" y="91"/>
                    <a:pt x="387" y="111"/>
                    <a:pt x="353" y="134"/>
                  </a:cubicBezTo>
                  <a:cubicBezTo>
                    <a:pt x="359" y="166"/>
                    <a:pt x="373" y="202"/>
                    <a:pt x="392" y="239"/>
                  </a:cubicBezTo>
                  <a:cubicBezTo>
                    <a:pt x="370" y="255"/>
                    <a:pt x="348" y="273"/>
                    <a:pt x="328" y="292"/>
                  </a:cubicBezTo>
                  <a:cubicBezTo>
                    <a:pt x="295" y="266"/>
                    <a:pt x="262" y="246"/>
                    <a:pt x="233" y="235"/>
                  </a:cubicBezTo>
                  <a:cubicBezTo>
                    <a:pt x="204" y="264"/>
                    <a:pt x="177" y="295"/>
                    <a:pt x="153" y="328"/>
                  </a:cubicBezTo>
                  <a:cubicBezTo>
                    <a:pt x="169" y="356"/>
                    <a:pt x="194" y="385"/>
                    <a:pt x="225" y="413"/>
                  </a:cubicBezTo>
                  <a:cubicBezTo>
                    <a:pt x="210" y="436"/>
                    <a:pt x="196" y="460"/>
                    <a:pt x="183" y="486"/>
                  </a:cubicBezTo>
                  <a:cubicBezTo>
                    <a:pt x="144" y="472"/>
                    <a:pt x="106" y="465"/>
                    <a:pt x="74" y="464"/>
                  </a:cubicBezTo>
                  <a:cubicBezTo>
                    <a:pt x="57" y="501"/>
                    <a:pt x="43" y="539"/>
                    <a:pt x="31" y="579"/>
                  </a:cubicBezTo>
                  <a:cubicBezTo>
                    <a:pt x="56" y="599"/>
                    <a:pt x="89" y="619"/>
                    <a:pt x="128" y="634"/>
                  </a:cubicBezTo>
                  <a:cubicBezTo>
                    <a:pt x="125" y="647"/>
                    <a:pt x="122" y="661"/>
                    <a:pt x="119" y="675"/>
                  </a:cubicBezTo>
                  <a:cubicBezTo>
                    <a:pt x="117" y="689"/>
                    <a:pt x="115" y="703"/>
                    <a:pt x="113" y="717"/>
                  </a:cubicBezTo>
                  <a:cubicBezTo>
                    <a:pt x="72" y="717"/>
                    <a:pt x="33" y="724"/>
                    <a:pt x="3" y="734"/>
                  </a:cubicBezTo>
                  <a:cubicBezTo>
                    <a:pt x="0" y="775"/>
                    <a:pt x="0" y="816"/>
                    <a:pt x="2" y="857"/>
                  </a:cubicBezTo>
                  <a:cubicBezTo>
                    <a:pt x="33" y="867"/>
                    <a:pt x="71" y="874"/>
                    <a:pt x="112" y="875"/>
                  </a:cubicBezTo>
                  <a:cubicBezTo>
                    <a:pt x="115" y="903"/>
                    <a:pt x="120" y="931"/>
                    <a:pt x="126" y="958"/>
                  </a:cubicBezTo>
                  <a:cubicBezTo>
                    <a:pt x="87" y="973"/>
                    <a:pt x="54" y="992"/>
                    <a:pt x="29" y="1011"/>
                  </a:cubicBezTo>
                  <a:cubicBezTo>
                    <a:pt x="40" y="1051"/>
                    <a:pt x="54" y="1090"/>
                    <a:pt x="70" y="1127"/>
                  </a:cubicBezTo>
                  <a:cubicBezTo>
                    <a:pt x="102" y="1127"/>
                    <a:pt x="140" y="1120"/>
                    <a:pt x="180" y="1107"/>
                  </a:cubicBezTo>
                  <a:cubicBezTo>
                    <a:pt x="192" y="1132"/>
                    <a:pt x="206" y="1156"/>
                    <a:pt x="221" y="1180"/>
                  </a:cubicBezTo>
                  <a:cubicBezTo>
                    <a:pt x="190" y="1207"/>
                    <a:pt x="165" y="1236"/>
                    <a:pt x="148" y="1263"/>
                  </a:cubicBezTo>
                  <a:cubicBezTo>
                    <a:pt x="172" y="1297"/>
                    <a:pt x="198" y="1329"/>
                    <a:pt x="227" y="1358"/>
                  </a:cubicBezTo>
                  <a:cubicBezTo>
                    <a:pt x="257" y="1347"/>
                    <a:pt x="290" y="1327"/>
                    <a:pt x="322" y="1301"/>
                  </a:cubicBezTo>
                  <a:cubicBezTo>
                    <a:pt x="343" y="1321"/>
                    <a:pt x="364" y="1339"/>
                    <a:pt x="387" y="1356"/>
                  </a:cubicBezTo>
                  <a:cubicBezTo>
                    <a:pt x="366" y="1392"/>
                    <a:pt x="353" y="1428"/>
                    <a:pt x="346" y="1460"/>
                  </a:cubicBezTo>
                  <a:cubicBezTo>
                    <a:pt x="380" y="1483"/>
                    <a:pt x="415" y="1504"/>
                    <a:pt x="452" y="1522"/>
                  </a:cubicBezTo>
                  <a:cubicBezTo>
                    <a:pt x="477" y="1501"/>
                    <a:pt x="502" y="1471"/>
                    <a:pt x="523" y="1436"/>
                  </a:cubicBezTo>
                  <a:cubicBezTo>
                    <a:pt x="549" y="1447"/>
                    <a:pt x="575" y="1457"/>
                    <a:pt x="602" y="1465"/>
                  </a:cubicBezTo>
                  <a:cubicBezTo>
                    <a:pt x="596" y="1506"/>
                    <a:pt x="595" y="1544"/>
                    <a:pt x="600" y="1576"/>
                  </a:cubicBezTo>
                  <a:cubicBezTo>
                    <a:pt x="620" y="1581"/>
                    <a:pt x="640" y="1586"/>
                    <a:pt x="660" y="1589"/>
                  </a:cubicBezTo>
                  <a:cubicBezTo>
                    <a:pt x="680" y="1593"/>
                    <a:pt x="701" y="1596"/>
                    <a:pt x="721" y="1598"/>
                  </a:cubicBezTo>
                  <a:cubicBezTo>
                    <a:pt x="736" y="1570"/>
                    <a:pt x="750" y="1534"/>
                    <a:pt x="758" y="1493"/>
                  </a:cubicBezTo>
                  <a:cubicBezTo>
                    <a:pt x="786" y="1495"/>
                    <a:pt x="814" y="1495"/>
                    <a:pt x="842" y="1494"/>
                  </a:cubicBezTo>
                  <a:cubicBezTo>
                    <a:pt x="850" y="1534"/>
                    <a:pt x="863" y="1571"/>
                    <a:pt x="878" y="1599"/>
                  </a:cubicBezTo>
                  <a:cubicBezTo>
                    <a:pt x="919" y="1595"/>
                    <a:pt x="959" y="1588"/>
                    <a:pt x="999" y="1578"/>
                  </a:cubicBezTo>
                  <a:cubicBezTo>
                    <a:pt x="1004" y="1547"/>
                    <a:pt x="1004" y="1508"/>
                    <a:pt x="998" y="1467"/>
                  </a:cubicBezTo>
                  <a:cubicBezTo>
                    <a:pt x="1025" y="1459"/>
                    <a:pt x="1051" y="1450"/>
                    <a:pt x="1077" y="1439"/>
                  </a:cubicBezTo>
                  <a:cubicBezTo>
                    <a:pt x="1098" y="1474"/>
                    <a:pt x="1123" y="1504"/>
                    <a:pt x="1147" y="1525"/>
                  </a:cubicBezTo>
                  <a:cubicBezTo>
                    <a:pt x="1184" y="1508"/>
                    <a:pt x="1220" y="1487"/>
                    <a:pt x="1253" y="1464"/>
                  </a:cubicBezTo>
                  <a:cubicBezTo>
                    <a:pt x="1248" y="1433"/>
                    <a:pt x="1234" y="1397"/>
                    <a:pt x="1214" y="1360"/>
                  </a:cubicBezTo>
                  <a:cubicBezTo>
                    <a:pt x="1237" y="1344"/>
                    <a:pt x="1259" y="1326"/>
                    <a:pt x="1279" y="1306"/>
                  </a:cubicBezTo>
                  <a:cubicBezTo>
                    <a:pt x="1311" y="1333"/>
                    <a:pt x="1345" y="1352"/>
                    <a:pt x="1374" y="1364"/>
                  </a:cubicBezTo>
                  <a:cubicBezTo>
                    <a:pt x="1403" y="1335"/>
                    <a:pt x="1430" y="1304"/>
                    <a:pt x="1454" y="1270"/>
                  </a:cubicBezTo>
                  <a:cubicBezTo>
                    <a:pt x="1438" y="1243"/>
                    <a:pt x="1413" y="1213"/>
                    <a:pt x="1382" y="1186"/>
                  </a:cubicBezTo>
                  <a:cubicBezTo>
                    <a:pt x="1397" y="1163"/>
                    <a:pt x="1411" y="1138"/>
                    <a:pt x="1424" y="1113"/>
                  </a:cubicBezTo>
                  <a:cubicBezTo>
                    <a:pt x="1463" y="1127"/>
                    <a:pt x="1501" y="1134"/>
                    <a:pt x="1533" y="1135"/>
                  </a:cubicBezTo>
                  <a:cubicBezTo>
                    <a:pt x="1550" y="1098"/>
                    <a:pt x="1564" y="1059"/>
                    <a:pt x="1576" y="1019"/>
                  </a:cubicBezTo>
                  <a:cubicBezTo>
                    <a:pt x="1551" y="999"/>
                    <a:pt x="1517" y="980"/>
                    <a:pt x="1479" y="965"/>
                  </a:cubicBezTo>
                  <a:close/>
                  <a:moveTo>
                    <a:pt x="700" y="1370"/>
                  </a:moveTo>
                  <a:cubicBezTo>
                    <a:pt x="384" y="1313"/>
                    <a:pt x="175" y="1011"/>
                    <a:pt x="232" y="696"/>
                  </a:cubicBezTo>
                  <a:cubicBezTo>
                    <a:pt x="290" y="380"/>
                    <a:pt x="592" y="171"/>
                    <a:pt x="907" y="228"/>
                  </a:cubicBezTo>
                  <a:cubicBezTo>
                    <a:pt x="1223" y="286"/>
                    <a:pt x="1432" y="588"/>
                    <a:pt x="1374" y="903"/>
                  </a:cubicBezTo>
                  <a:cubicBezTo>
                    <a:pt x="1317" y="1218"/>
                    <a:pt x="1015" y="1428"/>
                    <a:pt x="700" y="137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13" name="ïšľïḓê">
              <a:extLst>
                <a:ext uri="{FF2B5EF4-FFF2-40B4-BE49-F238E27FC236}">
                  <a16:creationId xmlns:a16="http://schemas.microsoft.com/office/drawing/2014/main" xmlns="" id="{186FA097-175C-445B-ABF9-7FA545EE80D5}"/>
                </a:ext>
              </a:extLst>
            </p:cNvPr>
            <p:cNvSpPr/>
            <p:nvPr/>
          </p:nvSpPr>
          <p:spPr bwMode="auto">
            <a:xfrm>
              <a:off x="5370533" y="2320521"/>
              <a:ext cx="1688137" cy="1684213"/>
            </a:xfrm>
            <a:custGeom>
              <a:avLst/>
              <a:gdLst>
                <a:gd name="T0" fmla="*/ 1487 w 1607"/>
                <a:gd name="T1" fmla="*/ 924 h 1599"/>
                <a:gd name="T2" fmla="*/ 1604 w 1607"/>
                <a:gd name="T3" fmla="*/ 865 h 1599"/>
                <a:gd name="T4" fmla="*/ 1495 w 1607"/>
                <a:gd name="T5" fmla="*/ 724 h 1599"/>
                <a:gd name="T6" fmla="*/ 1578 w 1607"/>
                <a:gd name="T7" fmla="*/ 587 h 1599"/>
                <a:gd name="T8" fmla="*/ 1427 w 1607"/>
                <a:gd name="T9" fmla="*/ 492 h 1599"/>
                <a:gd name="T10" fmla="*/ 1459 w 1607"/>
                <a:gd name="T11" fmla="*/ 335 h 1599"/>
                <a:gd name="T12" fmla="*/ 1284 w 1607"/>
                <a:gd name="T13" fmla="*/ 297 h 1599"/>
                <a:gd name="T14" fmla="*/ 1260 w 1607"/>
                <a:gd name="T15" fmla="*/ 139 h 1599"/>
                <a:gd name="T16" fmla="*/ 1084 w 1607"/>
                <a:gd name="T17" fmla="*/ 163 h 1599"/>
                <a:gd name="T18" fmla="*/ 1007 w 1607"/>
                <a:gd name="T19" fmla="*/ 23 h 1599"/>
                <a:gd name="T20" fmla="*/ 886 w 1607"/>
                <a:gd name="T21" fmla="*/ 1 h 1599"/>
                <a:gd name="T22" fmla="*/ 765 w 1607"/>
                <a:gd name="T23" fmla="*/ 105 h 1599"/>
                <a:gd name="T24" fmla="*/ 608 w 1607"/>
                <a:gd name="T25" fmla="*/ 20 h 1599"/>
                <a:gd name="T26" fmla="*/ 530 w 1607"/>
                <a:gd name="T27" fmla="*/ 160 h 1599"/>
                <a:gd name="T28" fmla="*/ 353 w 1607"/>
                <a:gd name="T29" fmla="*/ 134 h 1599"/>
                <a:gd name="T30" fmla="*/ 328 w 1607"/>
                <a:gd name="T31" fmla="*/ 292 h 1599"/>
                <a:gd name="T32" fmla="*/ 153 w 1607"/>
                <a:gd name="T33" fmla="*/ 328 h 1599"/>
                <a:gd name="T34" fmla="*/ 183 w 1607"/>
                <a:gd name="T35" fmla="*/ 486 h 1599"/>
                <a:gd name="T36" fmla="*/ 31 w 1607"/>
                <a:gd name="T37" fmla="*/ 579 h 1599"/>
                <a:gd name="T38" fmla="*/ 119 w 1607"/>
                <a:gd name="T39" fmla="*/ 675 h 1599"/>
                <a:gd name="T40" fmla="*/ 3 w 1607"/>
                <a:gd name="T41" fmla="*/ 734 h 1599"/>
                <a:gd name="T42" fmla="*/ 112 w 1607"/>
                <a:gd name="T43" fmla="*/ 875 h 1599"/>
                <a:gd name="T44" fmla="*/ 29 w 1607"/>
                <a:gd name="T45" fmla="*/ 1011 h 1599"/>
                <a:gd name="T46" fmla="*/ 180 w 1607"/>
                <a:gd name="T47" fmla="*/ 1107 h 1599"/>
                <a:gd name="T48" fmla="*/ 148 w 1607"/>
                <a:gd name="T49" fmla="*/ 1263 h 1599"/>
                <a:gd name="T50" fmla="*/ 322 w 1607"/>
                <a:gd name="T51" fmla="*/ 1301 h 1599"/>
                <a:gd name="T52" fmla="*/ 346 w 1607"/>
                <a:gd name="T53" fmla="*/ 1460 h 1599"/>
                <a:gd name="T54" fmla="*/ 523 w 1607"/>
                <a:gd name="T55" fmla="*/ 1436 h 1599"/>
                <a:gd name="T56" fmla="*/ 600 w 1607"/>
                <a:gd name="T57" fmla="*/ 1576 h 1599"/>
                <a:gd name="T58" fmla="*/ 721 w 1607"/>
                <a:gd name="T59" fmla="*/ 1598 h 1599"/>
                <a:gd name="T60" fmla="*/ 842 w 1607"/>
                <a:gd name="T61" fmla="*/ 1494 h 1599"/>
                <a:gd name="T62" fmla="*/ 999 w 1607"/>
                <a:gd name="T63" fmla="*/ 1578 h 1599"/>
                <a:gd name="T64" fmla="*/ 1077 w 1607"/>
                <a:gd name="T65" fmla="*/ 1439 h 1599"/>
                <a:gd name="T66" fmla="*/ 1253 w 1607"/>
                <a:gd name="T67" fmla="*/ 1464 h 1599"/>
                <a:gd name="T68" fmla="*/ 1279 w 1607"/>
                <a:gd name="T69" fmla="*/ 1306 h 1599"/>
                <a:gd name="T70" fmla="*/ 1454 w 1607"/>
                <a:gd name="T71" fmla="*/ 1270 h 1599"/>
                <a:gd name="T72" fmla="*/ 1424 w 1607"/>
                <a:gd name="T73" fmla="*/ 1113 h 1599"/>
                <a:gd name="T74" fmla="*/ 1576 w 1607"/>
                <a:gd name="T75" fmla="*/ 1019 h 1599"/>
                <a:gd name="T76" fmla="*/ 700 w 1607"/>
                <a:gd name="T77" fmla="*/ 1370 h 1599"/>
                <a:gd name="T78" fmla="*/ 907 w 1607"/>
                <a:gd name="T79" fmla="*/ 228 h 1599"/>
                <a:gd name="T80" fmla="*/ 700 w 1607"/>
                <a:gd name="T81" fmla="*/ 1370 h 1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07" h="1599">
                  <a:moveTo>
                    <a:pt x="1479" y="965"/>
                  </a:moveTo>
                  <a:cubicBezTo>
                    <a:pt x="1482" y="951"/>
                    <a:pt x="1485" y="937"/>
                    <a:pt x="1487" y="924"/>
                  </a:cubicBezTo>
                  <a:cubicBezTo>
                    <a:pt x="1490" y="910"/>
                    <a:pt x="1492" y="896"/>
                    <a:pt x="1494" y="882"/>
                  </a:cubicBezTo>
                  <a:cubicBezTo>
                    <a:pt x="1535" y="881"/>
                    <a:pt x="1573" y="875"/>
                    <a:pt x="1604" y="865"/>
                  </a:cubicBezTo>
                  <a:cubicBezTo>
                    <a:pt x="1607" y="824"/>
                    <a:pt x="1607" y="782"/>
                    <a:pt x="1604" y="742"/>
                  </a:cubicBezTo>
                  <a:cubicBezTo>
                    <a:pt x="1574" y="731"/>
                    <a:pt x="1536" y="725"/>
                    <a:pt x="1495" y="724"/>
                  </a:cubicBezTo>
                  <a:cubicBezTo>
                    <a:pt x="1492" y="696"/>
                    <a:pt x="1487" y="668"/>
                    <a:pt x="1481" y="641"/>
                  </a:cubicBezTo>
                  <a:cubicBezTo>
                    <a:pt x="1519" y="626"/>
                    <a:pt x="1553" y="607"/>
                    <a:pt x="1578" y="587"/>
                  </a:cubicBezTo>
                  <a:cubicBezTo>
                    <a:pt x="1567" y="547"/>
                    <a:pt x="1553" y="509"/>
                    <a:pt x="1536" y="472"/>
                  </a:cubicBezTo>
                  <a:cubicBezTo>
                    <a:pt x="1504" y="472"/>
                    <a:pt x="1466" y="479"/>
                    <a:pt x="1427" y="492"/>
                  </a:cubicBezTo>
                  <a:cubicBezTo>
                    <a:pt x="1415" y="467"/>
                    <a:pt x="1401" y="442"/>
                    <a:pt x="1385" y="419"/>
                  </a:cubicBezTo>
                  <a:cubicBezTo>
                    <a:pt x="1417" y="392"/>
                    <a:pt x="1442" y="362"/>
                    <a:pt x="1459" y="335"/>
                  </a:cubicBezTo>
                  <a:cubicBezTo>
                    <a:pt x="1435" y="302"/>
                    <a:pt x="1409" y="270"/>
                    <a:pt x="1380" y="241"/>
                  </a:cubicBezTo>
                  <a:cubicBezTo>
                    <a:pt x="1350" y="252"/>
                    <a:pt x="1317" y="271"/>
                    <a:pt x="1284" y="297"/>
                  </a:cubicBezTo>
                  <a:cubicBezTo>
                    <a:pt x="1264" y="278"/>
                    <a:pt x="1243" y="260"/>
                    <a:pt x="1220" y="243"/>
                  </a:cubicBezTo>
                  <a:cubicBezTo>
                    <a:pt x="1240" y="206"/>
                    <a:pt x="1254" y="170"/>
                    <a:pt x="1260" y="139"/>
                  </a:cubicBezTo>
                  <a:cubicBezTo>
                    <a:pt x="1227" y="116"/>
                    <a:pt x="1192" y="95"/>
                    <a:pt x="1154" y="77"/>
                  </a:cubicBezTo>
                  <a:cubicBezTo>
                    <a:pt x="1130" y="98"/>
                    <a:pt x="1105" y="127"/>
                    <a:pt x="1084" y="163"/>
                  </a:cubicBezTo>
                  <a:cubicBezTo>
                    <a:pt x="1058" y="152"/>
                    <a:pt x="1032" y="142"/>
                    <a:pt x="1005" y="134"/>
                  </a:cubicBezTo>
                  <a:cubicBezTo>
                    <a:pt x="1011" y="93"/>
                    <a:pt x="1012" y="54"/>
                    <a:pt x="1007" y="23"/>
                  </a:cubicBezTo>
                  <a:cubicBezTo>
                    <a:pt x="987" y="17"/>
                    <a:pt x="967" y="13"/>
                    <a:pt x="947" y="9"/>
                  </a:cubicBezTo>
                  <a:cubicBezTo>
                    <a:pt x="927" y="6"/>
                    <a:pt x="906" y="3"/>
                    <a:pt x="886" y="1"/>
                  </a:cubicBezTo>
                  <a:cubicBezTo>
                    <a:pt x="870" y="29"/>
                    <a:pt x="857" y="65"/>
                    <a:pt x="849" y="106"/>
                  </a:cubicBezTo>
                  <a:cubicBezTo>
                    <a:pt x="821" y="104"/>
                    <a:pt x="793" y="103"/>
                    <a:pt x="765" y="105"/>
                  </a:cubicBezTo>
                  <a:cubicBezTo>
                    <a:pt x="757" y="64"/>
                    <a:pt x="744" y="28"/>
                    <a:pt x="729" y="0"/>
                  </a:cubicBezTo>
                  <a:cubicBezTo>
                    <a:pt x="688" y="3"/>
                    <a:pt x="647" y="10"/>
                    <a:pt x="608" y="20"/>
                  </a:cubicBezTo>
                  <a:cubicBezTo>
                    <a:pt x="603" y="52"/>
                    <a:pt x="603" y="91"/>
                    <a:pt x="609" y="132"/>
                  </a:cubicBezTo>
                  <a:cubicBezTo>
                    <a:pt x="582" y="140"/>
                    <a:pt x="556" y="149"/>
                    <a:pt x="530" y="160"/>
                  </a:cubicBezTo>
                  <a:cubicBezTo>
                    <a:pt x="509" y="124"/>
                    <a:pt x="484" y="95"/>
                    <a:pt x="460" y="73"/>
                  </a:cubicBezTo>
                  <a:cubicBezTo>
                    <a:pt x="423" y="91"/>
                    <a:pt x="387" y="111"/>
                    <a:pt x="353" y="134"/>
                  </a:cubicBezTo>
                  <a:cubicBezTo>
                    <a:pt x="359" y="166"/>
                    <a:pt x="373" y="202"/>
                    <a:pt x="392" y="239"/>
                  </a:cubicBezTo>
                  <a:cubicBezTo>
                    <a:pt x="370" y="255"/>
                    <a:pt x="348" y="273"/>
                    <a:pt x="328" y="292"/>
                  </a:cubicBezTo>
                  <a:cubicBezTo>
                    <a:pt x="295" y="266"/>
                    <a:pt x="262" y="246"/>
                    <a:pt x="233" y="235"/>
                  </a:cubicBezTo>
                  <a:cubicBezTo>
                    <a:pt x="204" y="264"/>
                    <a:pt x="177" y="295"/>
                    <a:pt x="153" y="328"/>
                  </a:cubicBezTo>
                  <a:cubicBezTo>
                    <a:pt x="169" y="356"/>
                    <a:pt x="194" y="385"/>
                    <a:pt x="225" y="413"/>
                  </a:cubicBezTo>
                  <a:cubicBezTo>
                    <a:pt x="210" y="436"/>
                    <a:pt x="196" y="460"/>
                    <a:pt x="183" y="486"/>
                  </a:cubicBezTo>
                  <a:cubicBezTo>
                    <a:pt x="144" y="472"/>
                    <a:pt x="106" y="465"/>
                    <a:pt x="74" y="464"/>
                  </a:cubicBezTo>
                  <a:cubicBezTo>
                    <a:pt x="57" y="501"/>
                    <a:pt x="43" y="539"/>
                    <a:pt x="31" y="579"/>
                  </a:cubicBezTo>
                  <a:cubicBezTo>
                    <a:pt x="56" y="599"/>
                    <a:pt x="89" y="619"/>
                    <a:pt x="128" y="634"/>
                  </a:cubicBezTo>
                  <a:cubicBezTo>
                    <a:pt x="125" y="647"/>
                    <a:pt x="122" y="661"/>
                    <a:pt x="119" y="675"/>
                  </a:cubicBezTo>
                  <a:cubicBezTo>
                    <a:pt x="117" y="689"/>
                    <a:pt x="115" y="703"/>
                    <a:pt x="113" y="717"/>
                  </a:cubicBezTo>
                  <a:cubicBezTo>
                    <a:pt x="72" y="717"/>
                    <a:pt x="33" y="724"/>
                    <a:pt x="3" y="734"/>
                  </a:cubicBezTo>
                  <a:cubicBezTo>
                    <a:pt x="0" y="775"/>
                    <a:pt x="0" y="816"/>
                    <a:pt x="2" y="857"/>
                  </a:cubicBezTo>
                  <a:cubicBezTo>
                    <a:pt x="33" y="867"/>
                    <a:pt x="71" y="874"/>
                    <a:pt x="112" y="875"/>
                  </a:cubicBezTo>
                  <a:cubicBezTo>
                    <a:pt x="115" y="903"/>
                    <a:pt x="120" y="931"/>
                    <a:pt x="126" y="958"/>
                  </a:cubicBezTo>
                  <a:cubicBezTo>
                    <a:pt x="87" y="973"/>
                    <a:pt x="54" y="992"/>
                    <a:pt x="29" y="1011"/>
                  </a:cubicBezTo>
                  <a:cubicBezTo>
                    <a:pt x="40" y="1051"/>
                    <a:pt x="54" y="1090"/>
                    <a:pt x="70" y="1127"/>
                  </a:cubicBezTo>
                  <a:cubicBezTo>
                    <a:pt x="102" y="1127"/>
                    <a:pt x="140" y="1120"/>
                    <a:pt x="180" y="1107"/>
                  </a:cubicBezTo>
                  <a:cubicBezTo>
                    <a:pt x="192" y="1132"/>
                    <a:pt x="206" y="1156"/>
                    <a:pt x="221" y="1180"/>
                  </a:cubicBezTo>
                  <a:cubicBezTo>
                    <a:pt x="190" y="1207"/>
                    <a:pt x="165" y="1236"/>
                    <a:pt x="148" y="1263"/>
                  </a:cubicBezTo>
                  <a:cubicBezTo>
                    <a:pt x="172" y="1297"/>
                    <a:pt x="198" y="1329"/>
                    <a:pt x="227" y="1358"/>
                  </a:cubicBezTo>
                  <a:cubicBezTo>
                    <a:pt x="257" y="1347"/>
                    <a:pt x="290" y="1327"/>
                    <a:pt x="322" y="1301"/>
                  </a:cubicBezTo>
                  <a:cubicBezTo>
                    <a:pt x="343" y="1321"/>
                    <a:pt x="364" y="1339"/>
                    <a:pt x="387" y="1356"/>
                  </a:cubicBezTo>
                  <a:cubicBezTo>
                    <a:pt x="366" y="1392"/>
                    <a:pt x="353" y="1428"/>
                    <a:pt x="346" y="1460"/>
                  </a:cubicBezTo>
                  <a:cubicBezTo>
                    <a:pt x="380" y="1483"/>
                    <a:pt x="415" y="1504"/>
                    <a:pt x="452" y="1522"/>
                  </a:cubicBezTo>
                  <a:cubicBezTo>
                    <a:pt x="477" y="1501"/>
                    <a:pt x="502" y="1471"/>
                    <a:pt x="523" y="1436"/>
                  </a:cubicBezTo>
                  <a:cubicBezTo>
                    <a:pt x="549" y="1447"/>
                    <a:pt x="575" y="1457"/>
                    <a:pt x="602" y="1465"/>
                  </a:cubicBezTo>
                  <a:cubicBezTo>
                    <a:pt x="596" y="1506"/>
                    <a:pt x="595" y="1544"/>
                    <a:pt x="600" y="1576"/>
                  </a:cubicBezTo>
                  <a:cubicBezTo>
                    <a:pt x="620" y="1581"/>
                    <a:pt x="640" y="1586"/>
                    <a:pt x="660" y="1589"/>
                  </a:cubicBezTo>
                  <a:cubicBezTo>
                    <a:pt x="680" y="1593"/>
                    <a:pt x="701" y="1596"/>
                    <a:pt x="721" y="1598"/>
                  </a:cubicBezTo>
                  <a:cubicBezTo>
                    <a:pt x="736" y="1570"/>
                    <a:pt x="750" y="1534"/>
                    <a:pt x="758" y="1493"/>
                  </a:cubicBezTo>
                  <a:cubicBezTo>
                    <a:pt x="786" y="1495"/>
                    <a:pt x="814" y="1495"/>
                    <a:pt x="842" y="1494"/>
                  </a:cubicBezTo>
                  <a:cubicBezTo>
                    <a:pt x="850" y="1534"/>
                    <a:pt x="863" y="1571"/>
                    <a:pt x="878" y="1599"/>
                  </a:cubicBezTo>
                  <a:cubicBezTo>
                    <a:pt x="919" y="1595"/>
                    <a:pt x="959" y="1588"/>
                    <a:pt x="999" y="1578"/>
                  </a:cubicBezTo>
                  <a:cubicBezTo>
                    <a:pt x="1004" y="1547"/>
                    <a:pt x="1004" y="1508"/>
                    <a:pt x="998" y="1467"/>
                  </a:cubicBezTo>
                  <a:cubicBezTo>
                    <a:pt x="1025" y="1459"/>
                    <a:pt x="1051" y="1450"/>
                    <a:pt x="1077" y="1439"/>
                  </a:cubicBezTo>
                  <a:cubicBezTo>
                    <a:pt x="1098" y="1474"/>
                    <a:pt x="1123" y="1504"/>
                    <a:pt x="1147" y="1525"/>
                  </a:cubicBezTo>
                  <a:cubicBezTo>
                    <a:pt x="1184" y="1508"/>
                    <a:pt x="1220" y="1487"/>
                    <a:pt x="1253" y="1464"/>
                  </a:cubicBezTo>
                  <a:cubicBezTo>
                    <a:pt x="1248" y="1433"/>
                    <a:pt x="1234" y="1397"/>
                    <a:pt x="1214" y="1360"/>
                  </a:cubicBezTo>
                  <a:cubicBezTo>
                    <a:pt x="1237" y="1344"/>
                    <a:pt x="1259" y="1326"/>
                    <a:pt x="1279" y="1306"/>
                  </a:cubicBezTo>
                  <a:cubicBezTo>
                    <a:pt x="1311" y="1333"/>
                    <a:pt x="1345" y="1352"/>
                    <a:pt x="1374" y="1364"/>
                  </a:cubicBezTo>
                  <a:cubicBezTo>
                    <a:pt x="1403" y="1335"/>
                    <a:pt x="1430" y="1304"/>
                    <a:pt x="1454" y="1270"/>
                  </a:cubicBezTo>
                  <a:cubicBezTo>
                    <a:pt x="1438" y="1243"/>
                    <a:pt x="1413" y="1213"/>
                    <a:pt x="1382" y="1186"/>
                  </a:cubicBezTo>
                  <a:cubicBezTo>
                    <a:pt x="1397" y="1163"/>
                    <a:pt x="1411" y="1138"/>
                    <a:pt x="1424" y="1113"/>
                  </a:cubicBezTo>
                  <a:cubicBezTo>
                    <a:pt x="1463" y="1127"/>
                    <a:pt x="1501" y="1134"/>
                    <a:pt x="1533" y="1135"/>
                  </a:cubicBezTo>
                  <a:cubicBezTo>
                    <a:pt x="1550" y="1098"/>
                    <a:pt x="1564" y="1059"/>
                    <a:pt x="1576" y="1019"/>
                  </a:cubicBezTo>
                  <a:cubicBezTo>
                    <a:pt x="1551" y="999"/>
                    <a:pt x="1517" y="980"/>
                    <a:pt x="1479" y="965"/>
                  </a:cubicBezTo>
                  <a:close/>
                  <a:moveTo>
                    <a:pt x="700" y="1370"/>
                  </a:moveTo>
                  <a:cubicBezTo>
                    <a:pt x="384" y="1313"/>
                    <a:pt x="175" y="1011"/>
                    <a:pt x="232" y="696"/>
                  </a:cubicBezTo>
                  <a:cubicBezTo>
                    <a:pt x="290" y="380"/>
                    <a:pt x="592" y="171"/>
                    <a:pt x="907" y="228"/>
                  </a:cubicBezTo>
                  <a:cubicBezTo>
                    <a:pt x="1223" y="286"/>
                    <a:pt x="1432" y="588"/>
                    <a:pt x="1374" y="903"/>
                  </a:cubicBezTo>
                  <a:cubicBezTo>
                    <a:pt x="1317" y="1218"/>
                    <a:pt x="1015" y="1428"/>
                    <a:pt x="700" y="137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14" name="ï$ḷîďe">
              <a:extLst>
                <a:ext uri="{FF2B5EF4-FFF2-40B4-BE49-F238E27FC236}">
                  <a16:creationId xmlns:a16="http://schemas.microsoft.com/office/drawing/2014/main" xmlns="" id="{973441F9-8840-4470-9608-04BD1991B7DB}"/>
                </a:ext>
              </a:extLst>
            </p:cNvPr>
            <p:cNvSpPr/>
            <p:nvPr/>
          </p:nvSpPr>
          <p:spPr bwMode="auto">
            <a:xfrm>
              <a:off x="6811977" y="3422855"/>
              <a:ext cx="1266139" cy="1263196"/>
            </a:xfrm>
            <a:custGeom>
              <a:avLst/>
              <a:gdLst>
                <a:gd name="T0" fmla="*/ 1487 w 1607"/>
                <a:gd name="T1" fmla="*/ 924 h 1599"/>
                <a:gd name="T2" fmla="*/ 1604 w 1607"/>
                <a:gd name="T3" fmla="*/ 865 h 1599"/>
                <a:gd name="T4" fmla="*/ 1495 w 1607"/>
                <a:gd name="T5" fmla="*/ 724 h 1599"/>
                <a:gd name="T6" fmla="*/ 1578 w 1607"/>
                <a:gd name="T7" fmla="*/ 587 h 1599"/>
                <a:gd name="T8" fmla="*/ 1427 w 1607"/>
                <a:gd name="T9" fmla="*/ 492 h 1599"/>
                <a:gd name="T10" fmla="*/ 1459 w 1607"/>
                <a:gd name="T11" fmla="*/ 335 h 1599"/>
                <a:gd name="T12" fmla="*/ 1284 w 1607"/>
                <a:gd name="T13" fmla="*/ 297 h 1599"/>
                <a:gd name="T14" fmla="*/ 1260 w 1607"/>
                <a:gd name="T15" fmla="*/ 139 h 1599"/>
                <a:gd name="T16" fmla="*/ 1084 w 1607"/>
                <a:gd name="T17" fmla="*/ 163 h 1599"/>
                <a:gd name="T18" fmla="*/ 1007 w 1607"/>
                <a:gd name="T19" fmla="*/ 23 h 1599"/>
                <a:gd name="T20" fmla="*/ 886 w 1607"/>
                <a:gd name="T21" fmla="*/ 1 h 1599"/>
                <a:gd name="T22" fmla="*/ 765 w 1607"/>
                <a:gd name="T23" fmla="*/ 105 h 1599"/>
                <a:gd name="T24" fmla="*/ 608 w 1607"/>
                <a:gd name="T25" fmla="*/ 20 h 1599"/>
                <a:gd name="T26" fmla="*/ 530 w 1607"/>
                <a:gd name="T27" fmla="*/ 160 h 1599"/>
                <a:gd name="T28" fmla="*/ 353 w 1607"/>
                <a:gd name="T29" fmla="*/ 134 h 1599"/>
                <a:gd name="T30" fmla="*/ 328 w 1607"/>
                <a:gd name="T31" fmla="*/ 292 h 1599"/>
                <a:gd name="T32" fmla="*/ 153 w 1607"/>
                <a:gd name="T33" fmla="*/ 328 h 1599"/>
                <a:gd name="T34" fmla="*/ 183 w 1607"/>
                <a:gd name="T35" fmla="*/ 486 h 1599"/>
                <a:gd name="T36" fmla="*/ 31 w 1607"/>
                <a:gd name="T37" fmla="*/ 579 h 1599"/>
                <a:gd name="T38" fmla="*/ 119 w 1607"/>
                <a:gd name="T39" fmla="*/ 675 h 1599"/>
                <a:gd name="T40" fmla="*/ 3 w 1607"/>
                <a:gd name="T41" fmla="*/ 734 h 1599"/>
                <a:gd name="T42" fmla="*/ 112 w 1607"/>
                <a:gd name="T43" fmla="*/ 875 h 1599"/>
                <a:gd name="T44" fmla="*/ 29 w 1607"/>
                <a:gd name="T45" fmla="*/ 1011 h 1599"/>
                <a:gd name="T46" fmla="*/ 180 w 1607"/>
                <a:gd name="T47" fmla="*/ 1107 h 1599"/>
                <a:gd name="T48" fmla="*/ 148 w 1607"/>
                <a:gd name="T49" fmla="*/ 1263 h 1599"/>
                <a:gd name="T50" fmla="*/ 322 w 1607"/>
                <a:gd name="T51" fmla="*/ 1301 h 1599"/>
                <a:gd name="T52" fmla="*/ 346 w 1607"/>
                <a:gd name="T53" fmla="*/ 1460 h 1599"/>
                <a:gd name="T54" fmla="*/ 523 w 1607"/>
                <a:gd name="T55" fmla="*/ 1436 h 1599"/>
                <a:gd name="T56" fmla="*/ 600 w 1607"/>
                <a:gd name="T57" fmla="*/ 1576 h 1599"/>
                <a:gd name="T58" fmla="*/ 721 w 1607"/>
                <a:gd name="T59" fmla="*/ 1598 h 1599"/>
                <a:gd name="T60" fmla="*/ 842 w 1607"/>
                <a:gd name="T61" fmla="*/ 1494 h 1599"/>
                <a:gd name="T62" fmla="*/ 999 w 1607"/>
                <a:gd name="T63" fmla="*/ 1578 h 1599"/>
                <a:gd name="T64" fmla="*/ 1077 w 1607"/>
                <a:gd name="T65" fmla="*/ 1439 h 1599"/>
                <a:gd name="T66" fmla="*/ 1253 w 1607"/>
                <a:gd name="T67" fmla="*/ 1464 h 1599"/>
                <a:gd name="T68" fmla="*/ 1279 w 1607"/>
                <a:gd name="T69" fmla="*/ 1306 h 1599"/>
                <a:gd name="T70" fmla="*/ 1454 w 1607"/>
                <a:gd name="T71" fmla="*/ 1270 h 1599"/>
                <a:gd name="T72" fmla="*/ 1424 w 1607"/>
                <a:gd name="T73" fmla="*/ 1113 h 1599"/>
                <a:gd name="T74" fmla="*/ 1576 w 1607"/>
                <a:gd name="T75" fmla="*/ 1019 h 1599"/>
                <a:gd name="T76" fmla="*/ 700 w 1607"/>
                <a:gd name="T77" fmla="*/ 1370 h 1599"/>
                <a:gd name="T78" fmla="*/ 907 w 1607"/>
                <a:gd name="T79" fmla="*/ 228 h 1599"/>
                <a:gd name="T80" fmla="*/ 700 w 1607"/>
                <a:gd name="T81" fmla="*/ 1370 h 1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07" h="1599">
                  <a:moveTo>
                    <a:pt x="1479" y="965"/>
                  </a:moveTo>
                  <a:cubicBezTo>
                    <a:pt x="1482" y="951"/>
                    <a:pt x="1485" y="937"/>
                    <a:pt x="1487" y="924"/>
                  </a:cubicBezTo>
                  <a:cubicBezTo>
                    <a:pt x="1490" y="910"/>
                    <a:pt x="1492" y="896"/>
                    <a:pt x="1494" y="882"/>
                  </a:cubicBezTo>
                  <a:cubicBezTo>
                    <a:pt x="1535" y="881"/>
                    <a:pt x="1573" y="875"/>
                    <a:pt x="1604" y="865"/>
                  </a:cubicBezTo>
                  <a:cubicBezTo>
                    <a:pt x="1607" y="824"/>
                    <a:pt x="1607" y="782"/>
                    <a:pt x="1604" y="742"/>
                  </a:cubicBezTo>
                  <a:cubicBezTo>
                    <a:pt x="1574" y="731"/>
                    <a:pt x="1536" y="725"/>
                    <a:pt x="1495" y="724"/>
                  </a:cubicBezTo>
                  <a:cubicBezTo>
                    <a:pt x="1492" y="696"/>
                    <a:pt x="1487" y="668"/>
                    <a:pt x="1481" y="641"/>
                  </a:cubicBezTo>
                  <a:cubicBezTo>
                    <a:pt x="1519" y="626"/>
                    <a:pt x="1553" y="607"/>
                    <a:pt x="1578" y="587"/>
                  </a:cubicBezTo>
                  <a:cubicBezTo>
                    <a:pt x="1567" y="547"/>
                    <a:pt x="1553" y="509"/>
                    <a:pt x="1536" y="472"/>
                  </a:cubicBezTo>
                  <a:cubicBezTo>
                    <a:pt x="1504" y="472"/>
                    <a:pt x="1466" y="479"/>
                    <a:pt x="1427" y="492"/>
                  </a:cubicBezTo>
                  <a:cubicBezTo>
                    <a:pt x="1415" y="467"/>
                    <a:pt x="1401" y="442"/>
                    <a:pt x="1385" y="419"/>
                  </a:cubicBezTo>
                  <a:cubicBezTo>
                    <a:pt x="1417" y="392"/>
                    <a:pt x="1442" y="362"/>
                    <a:pt x="1459" y="335"/>
                  </a:cubicBezTo>
                  <a:cubicBezTo>
                    <a:pt x="1435" y="302"/>
                    <a:pt x="1409" y="270"/>
                    <a:pt x="1380" y="241"/>
                  </a:cubicBezTo>
                  <a:cubicBezTo>
                    <a:pt x="1350" y="252"/>
                    <a:pt x="1317" y="271"/>
                    <a:pt x="1284" y="297"/>
                  </a:cubicBezTo>
                  <a:cubicBezTo>
                    <a:pt x="1264" y="278"/>
                    <a:pt x="1243" y="260"/>
                    <a:pt x="1220" y="243"/>
                  </a:cubicBezTo>
                  <a:cubicBezTo>
                    <a:pt x="1240" y="206"/>
                    <a:pt x="1254" y="170"/>
                    <a:pt x="1260" y="139"/>
                  </a:cubicBezTo>
                  <a:cubicBezTo>
                    <a:pt x="1227" y="116"/>
                    <a:pt x="1192" y="95"/>
                    <a:pt x="1154" y="77"/>
                  </a:cubicBezTo>
                  <a:cubicBezTo>
                    <a:pt x="1130" y="98"/>
                    <a:pt x="1105" y="127"/>
                    <a:pt x="1084" y="163"/>
                  </a:cubicBezTo>
                  <a:cubicBezTo>
                    <a:pt x="1058" y="152"/>
                    <a:pt x="1032" y="142"/>
                    <a:pt x="1005" y="134"/>
                  </a:cubicBezTo>
                  <a:cubicBezTo>
                    <a:pt x="1011" y="93"/>
                    <a:pt x="1012" y="54"/>
                    <a:pt x="1007" y="23"/>
                  </a:cubicBezTo>
                  <a:cubicBezTo>
                    <a:pt x="987" y="17"/>
                    <a:pt x="967" y="13"/>
                    <a:pt x="947" y="9"/>
                  </a:cubicBezTo>
                  <a:cubicBezTo>
                    <a:pt x="927" y="6"/>
                    <a:pt x="906" y="3"/>
                    <a:pt x="886" y="1"/>
                  </a:cubicBezTo>
                  <a:cubicBezTo>
                    <a:pt x="870" y="29"/>
                    <a:pt x="857" y="65"/>
                    <a:pt x="849" y="106"/>
                  </a:cubicBezTo>
                  <a:cubicBezTo>
                    <a:pt x="821" y="104"/>
                    <a:pt x="793" y="103"/>
                    <a:pt x="765" y="105"/>
                  </a:cubicBezTo>
                  <a:cubicBezTo>
                    <a:pt x="757" y="64"/>
                    <a:pt x="744" y="28"/>
                    <a:pt x="729" y="0"/>
                  </a:cubicBezTo>
                  <a:cubicBezTo>
                    <a:pt x="688" y="3"/>
                    <a:pt x="647" y="10"/>
                    <a:pt x="608" y="20"/>
                  </a:cubicBezTo>
                  <a:cubicBezTo>
                    <a:pt x="603" y="52"/>
                    <a:pt x="603" y="91"/>
                    <a:pt x="609" y="132"/>
                  </a:cubicBezTo>
                  <a:cubicBezTo>
                    <a:pt x="582" y="140"/>
                    <a:pt x="556" y="149"/>
                    <a:pt x="530" y="160"/>
                  </a:cubicBezTo>
                  <a:cubicBezTo>
                    <a:pt x="509" y="124"/>
                    <a:pt x="484" y="95"/>
                    <a:pt x="460" y="73"/>
                  </a:cubicBezTo>
                  <a:cubicBezTo>
                    <a:pt x="423" y="91"/>
                    <a:pt x="387" y="111"/>
                    <a:pt x="353" y="134"/>
                  </a:cubicBezTo>
                  <a:cubicBezTo>
                    <a:pt x="359" y="166"/>
                    <a:pt x="373" y="202"/>
                    <a:pt x="392" y="239"/>
                  </a:cubicBezTo>
                  <a:cubicBezTo>
                    <a:pt x="370" y="255"/>
                    <a:pt x="348" y="273"/>
                    <a:pt x="328" y="292"/>
                  </a:cubicBezTo>
                  <a:cubicBezTo>
                    <a:pt x="295" y="266"/>
                    <a:pt x="262" y="246"/>
                    <a:pt x="233" y="235"/>
                  </a:cubicBezTo>
                  <a:cubicBezTo>
                    <a:pt x="204" y="264"/>
                    <a:pt x="177" y="295"/>
                    <a:pt x="153" y="328"/>
                  </a:cubicBezTo>
                  <a:cubicBezTo>
                    <a:pt x="169" y="356"/>
                    <a:pt x="194" y="385"/>
                    <a:pt x="225" y="413"/>
                  </a:cubicBezTo>
                  <a:cubicBezTo>
                    <a:pt x="210" y="436"/>
                    <a:pt x="196" y="460"/>
                    <a:pt x="183" y="486"/>
                  </a:cubicBezTo>
                  <a:cubicBezTo>
                    <a:pt x="144" y="472"/>
                    <a:pt x="106" y="465"/>
                    <a:pt x="74" y="464"/>
                  </a:cubicBezTo>
                  <a:cubicBezTo>
                    <a:pt x="57" y="501"/>
                    <a:pt x="43" y="539"/>
                    <a:pt x="31" y="579"/>
                  </a:cubicBezTo>
                  <a:cubicBezTo>
                    <a:pt x="56" y="599"/>
                    <a:pt x="89" y="619"/>
                    <a:pt x="128" y="634"/>
                  </a:cubicBezTo>
                  <a:cubicBezTo>
                    <a:pt x="125" y="647"/>
                    <a:pt x="122" y="661"/>
                    <a:pt x="119" y="675"/>
                  </a:cubicBezTo>
                  <a:cubicBezTo>
                    <a:pt x="117" y="689"/>
                    <a:pt x="115" y="703"/>
                    <a:pt x="113" y="717"/>
                  </a:cubicBezTo>
                  <a:cubicBezTo>
                    <a:pt x="72" y="717"/>
                    <a:pt x="33" y="724"/>
                    <a:pt x="3" y="734"/>
                  </a:cubicBezTo>
                  <a:cubicBezTo>
                    <a:pt x="0" y="775"/>
                    <a:pt x="0" y="816"/>
                    <a:pt x="2" y="857"/>
                  </a:cubicBezTo>
                  <a:cubicBezTo>
                    <a:pt x="33" y="867"/>
                    <a:pt x="71" y="874"/>
                    <a:pt x="112" y="875"/>
                  </a:cubicBezTo>
                  <a:cubicBezTo>
                    <a:pt x="115" y="903"/>
                    <a:pt x="120" y="931"/>
                    <a:pt x="126" y="958"/>
                  </a:cubicBezTo>
                  <a:cubicBezTo>
                    <a:pt x="87" y="973"/>
                    <a:pt x="54" y="992"/>
                    <a:pt x="29" y="1011"/>
                  </a:cubicBezTo>
                  <a:cubicBezTo>
                    <a:pt x="40" y="1051"/>
                    <a:pt x="54" y="1090"/>
                    <a:pt x="70" y="1127"/>
                  </a:cubicBezTo>
                  <a:cubicBezTo>
                    <a:pt x="102" y="1127"/>
                    <a:pt x="140" y="1120"/>
                    <a:pt x="180" y="1107"/>
                  </a:cubicBezTo>
                  <a:cubicBezTo>
                    <a:pt x="192" y="1132"/>
                    <a:pt x="206" y="1156"/>
                    <a:pt x="221" y="1180"/>
                  </a:cubicBezTo>
                  <a:cubicBezTo>
                    <a:pt x="190" y="1207"/>
                    <a:pt x="165" y="1236"/>
                    <a:pt x="148" y="1263"/>
                  </a:cubicBezTo>
                  <a:cubicBezTo>
                    <a:pt x="172" y="1297"/>
                    <a:pt x="198" y="1329"/>
                    <a:pt x="227" y="1358"/>
                  </a:cubicBezTo>
                  <a:cubicBezTo>
                    <a:pt x="257" y="1347"/>
                    <a:pt x="290" y="1327"/>
                    <a:pt x="322" y="1301"/>
                  </a:cubicBezTo>
                  <a:cubicBezTo>
                    <a:pt x="343" y="1321"/>
                    <a:pt x="364" y="1339"/>
                    <a:pt x="387" y="1356"/>
                  </a:cubicBezTo>
                  <a:cubicBezTo>
                    <a:pt x="366" y="1392"/>
                    <a:pt x="353" y="1428"/>
                    <a:pt x="346" y="1460"/>
                  </a:cubicBezTo>
                  <a:cubicBezTo>
                    <a:pt x="380" y="1483"/>
                    <a:pt x="415" y="1504"/>
                    <a:pt x="452" y="1522"/>
                  </a:cubicBezTo>
                  <a:cubicBezTo>
                    <a:pt x="477" y="1501"/>
                    <a:pt x="502" y="1471"/>
                    <a:pt x="523" y="1436"/>
                  </a:cubicBezTo>
                  <a:cubicBezTo>
                    <a:pt x="549" y="1447"/>
                    <a:pt x="575" y="1457"/>
                    <a:pt x="602" y="1465"/>
                  </a:cubicBezTo>
                  <a:cubicBezTo>
                    <a:pt x="596" y="1506"/>
                    <a:pt x="595" y="1544"/>
                    <a:pt x="600" y="1576"/>
                  </a:cubicBezTo>
                  <a:cubicBezTo>
                    <a:pt x="620" y="1581"/>
                    <a:pt x="640" y="1586"/>
                    <a:pt x="660" y="1589"/>
                  </a:cubicBezTo>
                  <a:cubicBezTo>
                    <a:pt x="680" y="1593"/>
                    <a:pt x="701" y="1596"/>
                    <a:pt x="721" y="1598"/>
                  </a:cubicBezTo>
                  <a:cubicBezTo>
                    <a:pt x="736" y="1570"/>
                    <a:pt x="750" y="1534"/>
                    <a:pt x="758" y="1493"/>
                  </a:cubicBezTo>
                  <a:cubicBezTo>
                    <a:pt x="786" y="1495"/>
                    <a:pt x="814" y="1495"/>
                    <a:pt x="842" y="1494"/>
                  </a:cubicBezTo>
                  <a:cubicBezTo>
                    <a:pt x="850" y="1534"/>
                    <a:pt x="863" y="1571"/>
                    <a:pt x="878" y="1599"/>
                  </a:cubicBezTo>
                  <a:cubicBezTo>
                    <a:pt x="919" y="1595"/>
                    <a:pt x="959" y="1588"/>
                    <a:pt x="999" y="1578"/>
                  </a:cubicBezTo>
                  <a:cubicBezTo>
                    <a:pt x="1004" y="1547"/>
                    <a:pt x="1004" y="1508"/>
                    <a:pt x="998" y="1467"/>
                  </a:cubicBezTo>
                  <a:cubicBezTo>
                    <a:pt x="1025" y="1459"/>
                    <a:pt x="1051" y="1450"/>
                    <a:pt x="1077" y="1439"/>
                  </a:cubicBezTo>
                  <a:cubicBezTo>
                    <a:pt x="1098" y="1474"/>
                    <a:pt x="1123" y="1504"/>
                    <a:pt x="1147" y="1525"/>
                  </a:cubicBezTo>
                  <a:cubicBezTo>
                    <a:pt x="1184" y="1508"/>
                    <a:pt x="1220" y="1487"/>
                    <a:pt x="1253" y="1464"/>
                  </a:cubicBezTo>
                  <a:cubicBezTo>
                    <a:pt x="1248" y="1433"/>
                    <a:pt x="1234" y="1397"/>
                    <a:pt x="1214" y="1360"/>
                  </a:cubicBezTo>
                  <a:cubicBezTo>
                    <a:pt x="1237" y="1344"/>
                    <a:pt x="1259" y="1326"/>
                    <a:pt x="1279" y="1306"/>
                  </a:cubicBezTo>
                  <a:cubicBezTo>
                    <a:pt x="1311" y="1333"/>
                    <a:pt x="1345" y="1352"/>
                    <a:pt x="1374" y="1364"/>
                  </a:cubicBezTo>
                  <a:cubicBezTo>
                    <a:pt x="1403" y="1335"/>
                    <a:pt x="1430" y="1304"/>
                    <a:pt x="1454" y="1270"/>
                  </a:cubicBezTo>
                  <a:cubicBezTo>
                    <a:pt x="1438" y="1243"/>
                    <a:pt x="1413" y="1213"/>
                    <a:pt x="1382" y="1186"/>
                  </a:cubicBezTo>
                  <a:cubicBezTo>
                    <a:pt x="1397" y="1163"/>
                    <a:pt x="1411" y="1138"/>
                    <a:pt x="1424" y="1113"/>
                  </a:cubicBezTo>
                  <a:cubicBezTo>
                    <a:pt x="1463" y="1127"/>
                    <a:pt x="1501" y="1134"/>
                    <a:pt x="1533" y="1135"/>
                  </a:cubicBezTo>
                  <a:cubicBezTo>
                    <a:pt x="1550" y="1098"/>
                    <a:pt x="1564" y="1059"/>
                    <a:pt x="1576" y="1019"/>
                  </a:cubicBezTo>
                  <a:cubicBezTo>
                    <a:pt x="1551" y="999"/>
                    <a:pt x="1517" y="980"/>
                    <a:pt x="1479" y="965"/>
                  </a:cubicBezTo>
                  <a:close/>
                  <a:moveTo>
                    <a:pt x="700" y="1370"/>
                  </a:moveTo>
                  <a:cubicBezTo>
                    <a:pt x="384" y="1313"/>
                    <a:pt x="175" y="1011"/>
                    <a:pt x="232" y="696"/>
                  </a:cubicBezTo>
                  <a:cubicBezTo>
                    <a:pt x="290" y="380"/>
                    <a:pt x="592" y="171"/>
                    <a:pt x="907" y="228"/>
                  </a:cubicBezTo>
                  <a:cubicBezTo>
                    <a:pt x="1223" y="286"/>
                    <a:pt x="1432" y="588"/>
                    <a:pt x="1374" y="903"/>
                  </a:cubicBezTo>
                  <a:cubicBezTo>
                    <a:pt x="1317" y="1218"/>
                    <a:pt x="1015" y="1428"/>
                    <a:pt x="700" y="137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15" name="i$ḷíďê">
              <a:extLst>
                <a:ext uri="{FF2B5EF4-FFF2-40B4-BE49-F238E27FC236}">
                  <a16:creationId xmlns:a16="http://schemas.microsoft.com/office/drawing/2014/main" xmlns="" id="{A79D202C-D3FA-47F4-9B32-2F10D10E7E68}"/>
                </a:ext>
              </a:extLst>
            </p:cNvPr>
            <p:cNvSpPr/>
            <p:nvPr/>
          </p:nvSpPr>
          <p:spPr bwMode="auto">
            <a:xfrm>
              <a:off x="7979156" y="3011884"/>
              <a:ext cx="995163" cy="992850"/>
            </a:xfrm>
            <a:custGeom>
              <a:avLst/>
              <a:gdLst>
                <a:gd name="T0" fmla="*/ 1487 w 1607"/>
                <a:gd name="T1" fmla="*/ 924 h 1599"/>
                <a:gd name="T2" fmla="*/ 1604 w 1607"/>
                <a:gd name="T3" fmla="*/ 865 h 1599"/>
                <a:gd name="T4" fmla="*/ 1495 w 1607"/>
                <a:gd name="T5" fmla="*/ 724 h 1599"/>
                <a:gd name="T6" fmla="*/ 1578 w 1607"/>
                <a:gd name="T7" fmla="*/ 587 h 1599"/>
                <a:gd name="T8" fmla="*/ 1427 w 1607"/>
                <a:gd name="T9" fmla="*/ 492 h 1599"/>
                <a:gd name="T10" fmla="*/ 1459 w 1607"/>
                <a:gd name="T11" fmla="*/ 335 h 1599"/>
                <a:gd name="T12" fmla="*/ 1284 w 1607"/>
                <a:gd name="T13" fmla="*/ 297 h 1599"/>
                <a:gd name="T14" fmla="*/ 1260 w 1607"/>
                <a:gd name="T15" fmla="*/ 139 h 1599"/>
                <a:gd name="T16" fmla="*/ 1084 w 1607"/>
                <a:gd name="T17" fmla="*/ 163 h 1599"/>
                <a:gd name="T18" fmla="*/ 1007 w 1607"/>
                <a:gd name="T19" fmla="*/ 23 h 1599"/>
                <a:gd name="T20" fmla="*/ 886 w 1607"/>
                <a:gd name="T21" fmla="*/ 1 h 1599"/>
                <a:gd name="T22" fmla="*/ 765 w 1607"/>
                <a:gd name="T23" fmla="*/ 105 h 1599"/>
                <a:gd name="T24" fmla="*/ 608 w 1607"/>
                <a:gd name="T25" fmla="*/ 20 h 1599"/>
                <a:gd name="T26" fmla="*/ 530 w 1607"/>
                <a:gd name="T27" fmla="*/ 160 h 1599"/>
                <a:gd name="T28" fmla="*/ 353 w 1607"/>
                <a:gd name="T29" fmla="*/ 134 h 1599"/>
                <a:gd name="T30" fmla="*/ 328 w 1607"/>
                <a:gd name="T31" fmla="*/ 292 h 1599"/>
                <a:gd name="T32" fmla="*/ 153 w 1607"/>
                <a:gd name="T33" fmla="*/ 328 h 1599"/>
                <a:gd name="T34" fmla="*/ 183 w 1607"/>
                <a:gd name="T35" fmla="*/ 486 h 1599"/>
                <a:gd name="T36" fmla="*/ 31 w 1607"/>
                <a:gd name="T37" fmla="*/ 579 h 1599"/>
                <a:gd name="T38" fmla="*/ 119 w 1607"/>
                <a:gd name="T39" fmla="*/ 675 h 1599"/>
                <a:gd name="T40" fmla="*/ 3 w 1607"/>
                <a:gd name="T41" fmla="*/ 734 h 1599"/>
                <a:gd name="T42" fmla="*/ 112 w 1607"/>
                <a:gd name="T43" fmla="*/ 875 h 1599"/>
                <a:gd name="T44" fmla="*/ 29 w 1607"/>
                <a:gd name="T45" fmla="*/ 1011 h 1599"/>
                <a:gd name="T46" fmla="*/ 180 w 1607"/>
                <a:gd name="T47" fmla="*/ 1107 h 1599"/>
                <a:gd name="T48" fmla="*/ 148 w 1607"/>
                <a:gd name="T49" fmla="*/ 1263 h 1599"/>
                <a:gd name="T50" fmla="*/ 322 w 1607"/>
                <a:gd name="T51" fmla="*/ 1301 h 1599"/>
                <a:gd name="T52" fmla="*/ 346 w 1607"/>
                <a:gd name="T53" fmla="*/ 1460 h 1599"/>
                <a:gd name="T54" fmla="*/ 523 w 1607"/>
                <a:gd name="T55" fmla="*/ 1436 h 1599"/>
                <a:gd name="T56" fmla="*/ 600 w 1607"/>
                <a:gd name="T57" fmla="*/ 1576 h 1599"/>
                <a:gd name="T58" fmla="*/ 721 w 1607"/>
                <a:gd name="T59" fmla="*/ 1598 h 1599"/>
                <a:gd name="T60" fmla="*/ 842 w 1607"/>
                <a:gd name="T61" fmla="*/ 1494 h 1599"/>
                <a:gd name="T62" fmla="*/ 999 w 1607"/>
                <a:gd name="T63" fmla="*/ 1578 h 1599"/>
                <a:gd name="T64" fmla="*/ 1077 w 1607"/>
                <a:gd name="T65" fmla="*/ 1439 h 1599"/>
                <a:gd name="T66" fmla="*/ 1253 w 1607"/>
                <a:gd name="T67" fmla="*/ 1464 h 1599"/>
                <a:gd name="T68" fmla="*/ 1279 w 1607"/>
                <a:gd name="T69" fmla="*/ 1306 h 1599"/>
                <a:gd name="T70" fmla="*/ 1454 w 1607"/>
                <a:gd name="T71" fmla="*/ 1270 h 1599"/>
                <a:gd name="T72" fmla="*/ 1424 w 1607"/>
                <a:gd name="T73" fmla="*/ 1113 h 1599"/>
                <a:gd name="T74" fmla="*/ 1576 w 1607"/>
                <a:gd name="T75" fmla="*/ 1019 h 1599"/>
                <a:gd name="T76" fmla="*/ 700 w 1607"/>
                <a:gd name="T77" fmla="*/ 1370 h 1599"/>
                <a:gd name="T78" fmla="*/ 907 w 1607"/>
                <a:gd name="T79" fmla="*/ 228 h 1599"/>
                <a:gd name="T80" fmla="*/ 700 w 1607"/>
                <a:gd name="T81" fmla="*/ 1370 h 1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07" h="1599">
                  <a:moveTo>
                    <a:pt x="1479" y="965"/>
                  </a:moveTo>
                  <a:cubicBezTo>
                    <a:pt x="1482" y="951"/>
                    <a:pt x="1485" y="937"/>
                    <a:pt x="1487" y="924"/>
                  </a:cubicBezTo>
                  <a:cubicBezTo>
                    <a:pt x="1490" y="910"/>
                    <a:pt x="1492" y="896"/>
                    <a:pt x="1494" y="882"/>
                  </a:cubicBezTo>
                  <a:cubicBezTo>
                    <a:pt x="1535" y="881"/>
                    <a:pt x="1573" y="875"/>
                    <a:pt x="1604" y="865"/>
                  </a:cubicBezTo>
                  <a:cubicBezTo>
                    <a:pt x="1607" y="824"/>
                    <a:pt x="1607" y="782"/>
                    <a:pt x="1604" y="742"/>
                  </a:cubicBezTo>
                  <a:cubicBezTo>
                    <a:pt x="1574" y="731"/>
                    <a:pt x="1536" y="725"/>
                    <a:pt x="1495" y="724"/>
                  </a:cubicBezTo>
                  <a:cubicBezTo>
                    <a:pt x="1492" y="696"/>
                    <a:pt x="1487" y="668"/>
                    <a:pt x="1481" y="641"/>
                  </a:cubicBezTo>
                  <a:cubicBezTo>
                    <a:pt x="1519" y="626"/>
                    <a:pt x="1553" y="607"/>
                    <a:pt x="1578" y="587"/>
                  </a:cubicBezTo>
                  <a:cubicBezTo>
                    <a:pt x="1567" y="547"/>
                    <a:pt x="1553" y="509"/>
                    <a:pt x="1536" y="472"/>
                  </a:cubicBezTo>
                  <a:cubicBezTo>
                    <a:pt x="1504" y="472"/>
                    <a:pt x="1466" y="479"/>
                    <a:pt x="1427" y="492"/>
                  </a:cubicBezTo>
                  <a:cubicBezTo>
                    <a:pt x="1415" y="467"/>
                    <a:pt x="1401" y="442"/>
                    <a:pt x="1385" y="419"/>
                  </a:cubicBezTo>
                  <a:cubicBezTo>
                    <a:pt x="1417" y="392"/>
                    <a:pt x="1442" y="362"/>
                    <a:pt x="1459" y="335"/>
                  </a:cubicBezTo>
                  <a:cubicBezTo>
                    <a:pt x="1435" y="302"/>
                    <a:pt x="1409" y="270"/>
                    <a:pt x="1380" y="241"/>
                  </a:cubicBezTo>
                  <a:cubicBezTo>
                    <a:pt x="1350" y="252"/>
                    <a:pt x="1317" y="271"/>
                    <a:pt x="1284" y="297"/>
                  </a:cubicBezTo>
                  <a:cubicBezTo>
                    <a:pt x="1264" y="278"/>
                    <a:pt x="1243" y="260"/>
                    <a:pt x="1220" y="243"/>
                  </a:cubicBezTo>
                  <a:cubicBezTo>
                    <a:pt x="1240" y="206"/>
                    <a:pt x="1254" y="170"/>
                    <a:pt x="1260" y="139"/>
                  </a:cubicBezTo>
                  <a:cubicBezTo>
                    <a:pt x="1227" y="116"/>
                    <a:pt x="1192" y="95"/>
                    <a:pt x="1154" y="77"/>
                  </a:cubicBezTo>
                  <a:cubicBezTo>
                    <a:pt x="1130" y="98"/>
                    <a:pt x="1105" y="127"/>
                    <a:pt x="1084" y="163"/>
                  </a:cubicBezTo>
                  <a:cubicBezTo>
                    <a:pt x="1058" y="152"/>
                    <a:pt x="1032" y="142"/>
                    <a:pt x="1005" y="134"/>
                  </a:cubicBezTo>
                  <a:cubicBezTo>
                    <a:pt x="1011" y="93"/>
                    <a:pt x="1012" y="54"/>
                    <a:pt x="1007" y="23"/>
                  </a:cubicBezTo>
                  <a:cubicBezTo>
                    <a:pt x="987" y="17"/>
                    <a:pt x="967" y="13"/>
                    <a:pt x="947" y="9"/>
                  </a:cubicBezTo>
                  <a:cubicBezTo>
                    <a:pt x="927" y="6"/>
                    <a:pt x="906" y="3"/>
                    <a:pt x="886" y="1"/>
                  </a:cubicBezTo>
                  <a:cubicBezTo>
                    <a:pt x="870" y="29"/>
                    <a:pt x="857" y="65"/>
                    <a:pt x="849" y="106"/>
                  </a:cubicBezTo>
                  <a:cubicBezTo>
                    <a:pt x="821" y="104"/>
                    <a:pt x="793" y="103"/>
                    <a:pt x="765" y="105"/>
                  </a:cubicBezTo>
                  <a:cubicBezTo>
                    <a:pt x="757" y="64"/>
                    <a:pt x="744" y="28"/>
                    <a:pt x="729" y="0"/>
                  </a:cubicBezTo>
                  <a:cubicBezTo>
                    <a:pt x="688" y="3"/>
                    <a:pt x="647" y="10"/>
                    <a:pt x="608" y="20"/>
                  </a:cubicBezTo>
                  <a:cubicBezTo>
                    <a:pt x="603" y="52"/>
                    <a:pt x="603" y="91"/>
                    <a:pt x="609" y="132"/>
                  </a:cubicBezTo>
                  <a:cubicBezTo>
                    <a:pt x="582" y="140"/>
                    <a:pt x="556" y="149"/>
                    <a:pt x="530" y="160"/>
                  </a:cubicBezTo>
                  <a:cubicBezTo>
                    <a:pt x="509" y="124"/>
                    <a:pt x="484" y="95"/>
                    <a:pt x="460" y="73"/>
                  </a:cubicBezTo>
                  <a:cubicBezTo>
                    <a:pt x="423" y="91"/>
                    <a:pt x="387" y="111"/>
                    <a:pt x="353" y="134"/>
                  </a:cubicBezTo>
                  <a:cubicBezTo>
                    <a:pt x="359" y="166"/>
                    <a:pt x="373" y="202"/>
                    <a:pt x="392" y="239"/>
                  </a:cubicBezTo>
                  <a:cubicBezTo>
                    <a:pt x="370" y="255"/>
                    <a:pt x="348" y="273"/>
                    <a:pt x="328" y="292"/>
                  </a:cubicBezTo>
                  <a:cubicBezTo>
                    <a:pt x="295" y="266"/>
                    <a:pt x="262" y="246"/>
                    <a:pt x="233" y="235"/>
                  </a:cubicBezTo>
                  <a:cubicBezTo>
                    <a:pt x="204" y="264"/>
                    <a:pt x="177" y="295"/>
                    <a:pt x="153" y="328"/>
                  </a:cubicBezTo>
                  <a:cubicBezTo>
                    <a:pt x="169" y="356"/>
                    <a:pt x="194" y="385"/>
                    <a:pt x="225" y="413"/>
                  </a:cubicBezTo>
                  <a:cubicBezTo>
                    <a:pt x="210" y="436"/>
                    <a:pt x="196" y="460"/>
                    <a:pt x="183" y="486"/>
                  </a:cubicBezTo>
                  <a:cubicBezTo>
                    <a:pt x="144" y="472"/>
                    <a:pt x="106" y="465"/>
                    <a:pt x="74" y="464"/>
                  </a:cubicBezTo>
                  <a:cubicBezTo>
                    <a:pt x="57" y="501"/>
                    <a:pt x="43" y="539"/>
                    <a:pt x="31" y="579"/>
                  </a:cubicBezTo>
                  <a:cubicBezTo>
                    <a:pt x="56" y="599"/>
                    <a:pt x="89" y="619"/>
                    <a:pt x="128" y="634"/>
                  </a:cubicBezTo>
                  <a:cubicBezTo>
                    <a:pt x="125" y="647"/>
                    <a:pt x="122" y="661"/>
                    <a:pt x="119" y="675"/>
                  </a:cubicBezTo>
                  <a:cubicBezTo>
                    <a:pt x="117" y="689"/>
                    <a:pt x="115" y="703"/>
                    <a:pt x="113" y="717"/>
                  </a:cubicBezTo>
                  <a:cubicBezTo>
                    <a:pt x="72" y="717"/>
                    <a:pt x="33" y="724"/>
                    <a:pt x="3" y="734"/>
                  </a:cubicBezTo>
                  <a:cubicBezTo>
                    <a:pt x="0" y="775"/>
                    <a:pt x="0" y="816"/>
                    <a:pt x="2" y="857"/>
                  </a:cubicBezTo>
                  <a:cubicBezTo>
                    <a:pt x="33" y="867"/>
                    <a:pt x="71" y="874"/>
                    <a:pt x="112" y="875"/>
                  </a:cubicBezTo>
                  <a:cubicBezTo>
                    <a:pt x="115" y="903"/>
                    <a:pt x="120" y="931"/>
                    <a:pt x="126" y="958"/>
                  </a:cubicBezTo>
                  <a:cubicBezTo>
                    <a:pt x="87" y="973"/>
                    <a:pt x="54" y="992"/>
                    <a:pt x="29" y="1011"/>
                  </a:cubicBezTo>
                  <a:cubicBezTo>
                    <a:pt x="40" y="1051"/>
                    <a:pt x="54" y="1090"/>
                    <a:pt x="70" y="1127"/>
                  </a:cubicBezTo>
                  <a:cubicBezTo>
                    <a:pt x="102" y="1127"/>
                    <a:pt x="140" y="1120"/>
                    <a:pt x="180" y="1107"/>
                  </a:cubicBezTo>
                  <a:cubicBezTo>
                    <a:pt x="192" y="1132"/>
                    <a:pt x="206" y="1156"/>
                    <a:pt x="221" y="1180"/>
                  </a:cubicBezTo>
                  <a:cubicBezTo>
                    <a:pt x="190" y="1207"/>
                    <a:pt x="165" y="1236"/>
                    <a:pt x="148" y="1263"/>
                  </a:cubicBezTo>
                  <a:cubicBezTo>
                    <a:pt x="172" y="1297"/>
                    <a:pt x="198" y="1329"/>
                    <a:pt x="227" y="1358"/>
                  </a:cubicBezTo>
                  <a:cubicBezTo>
                    <a:pt x="257" y="1347"/>
                    <a:pt x="290" y="1327"/>
                    <a:pt x="322" y="1301"/>
                  </a:cubicBezTo>
                  <a:cubicBezTo>
                    <a:pt x="343" y="1321"/>
                    <a:pt x="364" y="1339"/>
                    <a:pt x="387" y="1356"/>
                  </a:cubicBezTo>
                  <a:cubicBezTo>
                    <a:pt x="366" y="1392"/>
                    <a:pt x="353" y="1428"/>
                    <a:pt x="346" y="1460"/>
                  </a:cubicBezTo>
                  <a:cubicBezTo>
                    <a:pt x="380" y="1483"/>
                    <a:pt x="415" y="1504"/>
                    <a:pt x="452" y="1522"/>
                  </a:cubicBezTo>
                  <a:cubicBezTo>
                    <a:pt x="477" y="1501"/>
                    <a:pt x="502" y="1471"/>
                    <a:pt x="523" y="1436"/>
                  </a:cubicBezTo>
                  <a:cubicBezTo>
                    <a:pt x="549" y="1447"/>
                    <a:pt x="575" y="1457"/>
                    <a:pt x="602" y="1465"/>
                  </a:cubicBezTo>
                  <a:cubicBezTo>
                    <a:pt x="596" y="1506"/>
                    <a:pt x="595" y="1544"/>
                    <a:pt x="600" y="1576"/>
                  </a:cubicBezTo>
                  <a:cubicBezTo>
                    <a:pt x="620" y="1581"/>
                    <a:pt x="640" y="1586"/>
                    <a:pt x="660" y="1589"/>
                  </a:cubicBezTo>
                  <a:cubicBezTo>
                    <a:pt x="680" y="1593"/>
                    <a:pt x="701" y="1596"/>
                    <a:pt x="721" y="1598"/>
                  </a:cubicBezTo>
                  <a:cubicBezTo>
                    <a:pt x="736" y="1570"/>
                    <a:pt x="750" y="1534"/>
                    <a:pt x="758" y="1493"/>
                  </a:cubicBezTo>
                  <a:cubicBezTo>
                    <a:pt x="786" y="1495"/>
                    <a:pt x="814" y="1495"/>
                    <a:pt x="842" y="1494"/>
                  </a:cubicBezTo>
                  <a:cubicBezTo>
                    <a:pt x="850" y="1534"/>
                    <a:pt x="863" y="1571"/>
                    <a:pt x="878" y="1599"/>
                  </a:cubicBezTo>
                  <a:cubicBezTo>
                    <a:pt x="919" y="1595"/>
                    <a:pt x="959" y="1588"/>
                    <a:pt x="999" y="1578"/>
                  </a:cubicBezTo>
                  <a:cubicBezTo>
                    <a:pt x="1004" y="1547"/>
                    <a:pt x="1004" y="1508"/>
                    <a:pt x="998" y="1467"/>
                  </a:cubicBezTo>
                  <a:cubicBezTo>
                    <a:pt x="1025" y="1459"/>
                    <a:pt x="1051" y="1450"/>
                    <a:pt x="1077" y="1439"/>
                  </a:cubicBezTo>
                  <a:cubicBezTo>
                    <a:pt x="1098" y="1474"/>
                    <a:pt x="1123" y="1504"/>
                    <a:pt x="1147" y="1525"/>
                  </a:cubicBezTo>
                  <a:cubicBezTo>
                    <a:pt x="1184" y="1508"/>
                    <a:pt x="1220" y="1487"/>
                    <a:pt x="1253" y="1464"/>
                  </a:cubicBezTo>
                  <a:cubicBezTo>
                    <a:pt x="1248" y="1433"/>
                    <a:pt x="1234" y="1397"/>
                    <a:pt x="1214" y="1360"/>
                  </a:cubicBezTo>
                  <a:cubicBezTo>
                    <a:pt x="1237" y="1344"/>
                    <a:pt x="1259" y="1326"/>
                    <a:pt x="1279" y="1306"/>
                  </a:cubicBezTo>
                  <a:cubicBezTo>
                    <a:pt x="1311" y="1333"/>
                    <a:pt x="1345" y="1352"/>
                    <a:pt x="1374" y="1364"/>
                  </a:cubicBezTo>
                  <a:cubicBezTo>
                    <a:pt x="1403" y="1335"/>
                    <a:pt x="1430" y="1304"/>
                    <a:pt x="1454" y="1270"/>
                  </a:cubicBezTo>
                  <a:cubicBezTo>
                    <a:pt x="1438" y="1243"/>
                    <a:pt x="1413" y="1213"/>
                    <a:pt x="1382" y="1186"/>
                  </a:cubicBezTo>
                  <a:cubicBezTo>
                    <a:pt x="1397" y="1163"/>
                    <a:pt x="1411" y="1138"/>
                    <a:pt x="1424" y="1113"/>
                  </a:cubicBezTo>
                  <a:cubicBezTo>
                    <a:pt x="1463" y="1127"/>
                    <a:pt x="1501" y="1134"/>
                    <a:pt x="1533" y="1135"/>
                  </a:cubicBezTo>
                  <a:cubicBezTo>
                    <a:pt x="1550" y="1098"/>
                    <a:pt x="1564" y="1059"/>
                    <a:pt x="1576" y="1019"/>
                  </a:cubicBezTo>
                  <a:cubicBezTo>
                    <a:pt x="1551" y="999"/>
                    <a:pt x="1517" y="980"/>
                    <a:pt x="1479" y="965"/>
                  </a:cubicBezTo>
                  <a:close/>
                  <a:moveTo>
                    <a:pt x="700" y="1370"/>
                  </a:moveTo>
                  <a:cubicBezTo>
                    <a:pt x="384" y="1313"/>
                    <a:pt x="175" y="1011"/>
                    <a:pt x="232" y="696"/>
                  </a:cubicBezTo>
                  <a:cubicBezTo>
                    <a:pt x="290" y="380"/>
                    <a:pt x="592" y="171"/>
                    <a:pt x="907" y="228"/>
                  </a:cubicBezTo>
                  <a:cubicBezTo>
                    <a:pt x="1223" y="286"/>
                    <a:pt x="1432" y="588"/>
                    <a:pt x="1374" y="903"/>
                  </a:cubicBezTo>
                  <a:cubicBezTo>
                    <a:pt x="1317" y="1218"/>
                    <a:pt x="1015" y="1428"/>
                    <a:pt x="700" y="137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16" name="iṩḻîḋé">
              <a:extLst>
                <a:ext uri="{FF2B5EF4-FFF2-40B4-BE49-F238E27FC236}">
                  <a16:creationId xmlns:a16="http://schemas.microsoft.com/office/drawing/2014/main" xmlns="" id="{A3A6C575-47F9-4DCA-B3CE-4CDE7ED499D1}"/>
                </a:ext>
              </a:extLst>
            </p:cNvPr>
            <p:cNvSpPr/>
            <p:nvPr/>
          </p:nvSpPr>
          <p:spPr bwMode="auto">
            <a:xfrm>
              <a:off x="8306618" y="3344650"/>
              <a:ext cx="340239" cy="327318"/>
            </a:xfrm>
            <a:custGeom>
              <a:avLst/>
              <a:gdLst>
                <a:gd name="connsiteX0" fmla="*/ 195114 w 608814"/>
                <a:gd name="connsiteY0" fmla="*/ 351627 h 585693"/>
                <a:gd name="connsiteX1" fmla="*/ 258290 w 608814"/>
                <a:gd name="connsiteY1" fmla="*/ 351627 h 585693"/>
                <a:gd name="connsiteX2" fmla="*/ 282731 w 608814"/>
                <a:gd name="connsiteY2" fmla="*/ 376018 h 585693"/>
                <a:gd name="connsiteX3" fmla="*/ 282731 w 608814"/>
                <a:gd name="connsiteY3" fmla="*/ 561210 h 585693"/>
                <a:gd name="connsiteX4" fmla="*/ 258290 w 608814"/>
                <a:gd name="connsiteY4" fmla="*/ 585693 h 585693"/>
                <a:gd name="connsiteX5" fmla="*/ 195114 w 608814"/>
                <a:gd name="connsiteY5" fmla="*/ 585693 h 585693"/>
                <a:gd name="connsiteX6" fmla="*/ 170673 w 608814"/>
                <a:gd name="connsiteY6" fmla="*/ 561210 h 585693"/>
                <a:gd name="connsiteX7" fmla="*/ 170673 w 608814"/>
                <a:gd name="connsiteY7" fmla="*/ 376018 h 585693"/>
                <a:gd name="connsiteX8" fmla="*/ 195114 w 608814"/>
                <a:gd name="connsiteY8" fmla="*/ 351627 h 585693"/>
                <a:gd name="connsiteX9" fmla="*/ 358100 w 608814"/>
                <a:gd name="connsiteY9" fmla="*/ 249872 h 585693"/>
                <a:gd name="connsiteX10" fmla="*/ 421316 w 608814"/>
                <a:gd name="connsiteY10" fmla="*/ 249872 h 585693"/>
                <a:gd name="connsiteX11" fmla="*/ 445737 w 608814"/>
                <a:gd name="connsiteY11" fmla="*/ 274267 h 585693"/>
                <a:gd name="connsiteX12" fmla="*/ 445737 w 608814"/>
                <a:gd name="connsiteY12" fmla="*/ 561206 h 585693"/>
                <a:gd name="connsiteX13" fmla="*/ 421316 w 608814"/>
                <a:gd name="connsiteY13" fmla="*/ 585693 h 585693"/>
                <a:gd name="connsiteX14" fmla="*/ 358100 w 608814"/>
                <a:gd name="connsiteY14" fmla="*/ 585693 h 585693"/>
                <a:gd name="connsiteX15" fmla="*/ 333679 w 608814"/>
                <a:gd name="connsiteY15" fmla="*/ 561206 h 585693"/>
                <a:gd name="connsiteX16" fmla="*/ 333679 w 608814"/>
                <a:gd name="connsiteY16" fmla="*/ 274267 h 585693"/>
                <a:gd name="connsiteX17" fmla="*/ 358100 w 608814"/>
                <a:gd name="connsiteY17" fmla="*/ 249872 h 585693"/>
                <a:gd name="connsiteX18" fmla="*/ 140260 w 608814"/>
                <a:gd name="connsiteY18" fmla="*/ 224680 h 585693"/>
                <a:gd name="connsiteX19" fmla="*/ 191844 w 608814"/>
                <a:gd name="connsiteY19" fmla="*/ 276122 h 585693"/>
                <a:gd name="connsiteX20" fmla="*/ 140260 w 608814"/>
                <a:gd name="connsiteY20" fmla="*/ 327564 h 585693"/>
                <a:gd name="connsiteX21" fmla="*/ 88676 w 608814"/>
                <a:gd name="connsiteY21" fmla="*/ 276122 h 585693"/>
                <a:gd name="connsiteX22" fmla="*/ 140260 w 608814"/>
                <a:gd name="connsiteY22" fmla="*/ 224680 h 585693"/>
                <a:gd name="connsiteX23" fmla="*/ 521177 w 608814"/>
                <a:gd name="connsiteY23" fmla="*/ 148117 h 585693"/>
                <a:gd name="connsiteX24" fmla="*/ 584301 w 608814"/>
                <a:gd name="connsiteY24" fmla="*/ 148117 h 585693"/>
                <a:gd name="connsiteX25" fmla="*/ 608814 w 608814"/>
                <a:gd name="connsiteY25" fmla="*/ 172601 h 585693"/>
                <a:gd name="connsiteX26" fmla="*/ 608814 w 608814"/>
                <a:gd name="connsiteY26" fmla="*/ 561209 h 585693"/>
                <a:gd name="connsiteX27" fmla="*/ 584301 w 608814"/>
                <a:gd name="connsiteY27" fmla="*/ 585693 h 585693"/>
                <a:gd name="connsiteX28" fmla="*/ 521177 w 608814"/>
                <a:gd name="connsiteY28" fmla="*/ 585693 h 585693"/>
                <a:gd name="connsiteX29" fmla="*/ 496756 w 608814"/>
                <a:gd name="connsiteY29" fmla="*/ 561209 h 585693"/>
                <a:gd name="connsiteX30" fmla="*/ 496756 w 608814"/>
                <a:gd name="connsiteY30" fmla="*/ 172601 h 585693"/>
                <a:gd name="connsiteX31" fmla="*/ 521177 w 608814"/>
                <a:gd name="connsiteY31" fmla="*/ 148117 h 585693"/>
                <a:gd name="connsiteX32" fmla="*/ 116229 w 608814"/>
                <a:gd name="connsiteY32" fmla="*/ 131322 h 585693"/>
                <a:gd name="connsiteX33" fmla="*/ 164246 w 608814"/>
                <a:gd name="connsiteY33" fmla="*/ 131322 h 585693"/>
                <a:gd name="connsiteX34" fmla="*/ 184061 w 608814"/>
                <a:gd name="connsiteY34" fmla="*/ 151113 h 585693"/>
                <a:gd name="connsiteX35" fmla="*/ 184061 w 608814"/>
                <a:gd name="connsiteY35" fmla="*/ 171457 h 585693"/>
                <a:gd name="connsiteX36" fmla="*/ 208669 w 608814"/>
                <a:gd name="connsiteY36" fmla="*/ 186094 h 585693"/>
                <a:gd name="connsiteX37" fmla="*/ 226641 w 608814"/>
                <a:gd name="connsiteY37" fmla="*/ 175692 h 585693"/>
                <a:gd name="connsiteX38" fmla="*/ 253737 w 608814"/>
                <a:gd name="connsiteY38" fmla="*/ 182964 h 585693"/>
                <a:gd name="connsiteX39" fmla="*/ 277792 w 608814"/>
                <a:gd name="connsiteY39" fmla="*/ 224572 h 585693"/>
                <a:gd name="connsiteX40" fmla="*/ 279727 w 608814"/>
                <a:gd name="connsiteY40" fmla="*/ 239577 h 585693"/>
                <a:gd name="connsiteX41" fmla="*/ 270511 w 608814"/>
                <a:gd name="connsiteY41" fmla="*/ 251544 h 585693"/>
                <a:gd name="connsiteX42" fmla="*/ 252355 w 608814"/>
                <a:gd name="connsiteY42" fmla="*/ 262038 h 585693"/>
                <a:gd name="connsiteX43" fmla="*/ 253829 w 608814"/>
                <a:gd name="connsiteY43" fmla="*/ 276122 h 585693"/>
                <a:gd name="connsiteX44" fmla="*/ 252355 w 608814"/>
                <a:gd name="connsiteY44" fmla="*/ 290206 h 585693"/>
                <a:gd name="connsiteX45" fmla="*/ 270511 w 608814"/>
                <a:gd name="connsiteY45" fmla="*/ 300700 h 585693"/>
                <a:gd name="connsiteX46" fmla="*/ 278714 w 608814"/>
                <a:gd name="connsiteY46" fmla="*/ 325094 h 585693"/>
                <a:gd name="connsiteX47" fmla="*/ 258253 w 608814"/>
                <a:gd name="connsiteY47" fmla="*/ 321136 h 585693"/>
                <a:gd name="connsiteX48" fmla="*/ 195858 w 608814"/>
                <a:gd name="connsiteY48" fmla="*/ 321136 h 585693"/>
                <a:gd name="connsiteX49" fmla="*/ 212171 w 608814"/>
                <a:gd name="connsiteY49" fmla="*/ 276122 h 585693"/>
                <a:gd name="connsiteX50" fmla="*/ 140191 w 608814"/>
                <a:gd name="connsiteY50" fmla="*/ 204320 h 585693"/>
                <a:gd name="connsiteX51" fmla="*/ 68304 w 608814"/>
                <a:gd name="connsiteY51" fmla="*/ 276122 h 585693"/>
                <a:gd name="connsiteX52" fmla="*/ 140191 w 608814"/>
                <a:gd name="connsiteY52" fmla="*/ 348016 h 585693"/>
                <a:gd name="connsiteX53" fmla="*/ 148486 w 608814"/>
                <a:gd name="connsiteY53" fmla="*/ 347095 h 585693"/>
                <a:gd name="connsiteX54" fmla="*/ 140099 w 608814"/>
                <a:gd name="connsiteY54" fmla="*/ 376000 h 585693"/>
                <a:gd name="connsiteX55" fmla="*/ 140099 w 608814"/>
                <a:gd name="connsiteY55" fmla="*/ 420922 h 585693"/>
                <a:gd name="connsiteX56" fmla="*/ 116229 w 608814"/>
                <a:gd name="connsiteY56" fmla="*/ 420922 h 585693"/>
                <a:gd name="connsiteX57" fmla="*/ 96413 w 608814"/>
                <a:gd name="connsiteY57" fmla="*/ 401131 h 585693"/>
                <a:gd name="connsiteX58" fmla="*/ 96413 w 608814"/>
                <a:gd name="connsiteY58" fmla="*/ 380787 h 585693"/>
                <a:gd name="connsiteX59" fmla="*/ 71806 w 608814"/>
                <a:gd name="connsiteY59" fmla="*/ 366150 h 585693"/>
                <a:gd name="connsiteX60" fmla="*/ 53742 w 608814"/>
                <a:gd name="connsiteY60" fmla="*/ 376552 h 585693"/>
                <a:gd name="connsiteX61" fmla="*/ 38719 w 608814"/>
                <a:gd name="connsiteY61" fmla="*/ 378577 h 585693"/>
                <a:gd name="connsiteX62" fmla="*/ 26738 w 608814"/>
                <a:gd name="connsiteY62" fmla="*/ 369372 h 585693"/>
                <a:gd name="connsiteX63" fmla="*/ 2683 w 608814"/>
                <a:gd name="connsiteY63" fmla="*/ 327764 h 585693"/>
                <a:gd name="connsiteX64" fmla="*/ 9872 w 608814"/>
                <a:gd name="connsiteY64" fmla="*/ 300700 h 585693"/>
                <a:gd name="connsiteX65" fmla="*/ 28120 w 608814"/>
                <a:gd name="connsiteY65" fmla="*/ 290206 h 585693"/>
                <a:gd name="connsiteX66" fmla="*/ 26645 w 608814"/>
                <a:gd name="connsiteY66" fmla="*/ 276122 h 585693"/>
                <a:gd name="connsiteX67" fmla="*/ 28120 w 608814"/>
                <a:gd name="connsiteY67" fmla="*/ 262038 h 585693"/>
                <a:gd name="connsiteX68" fmla="*/ 9872 w 608814"/>
                <a:gd name="connsiteY68" fmla="*/ 251544 h 585693"/>
                <a:gd name="connsiteX69" fmla="*/ 2683 w 608814"/>
                <a:gd name="connsiteY69" fmla="*/ 224572 h 585693"/>
                <a:gd name="connsiteX70" fmla="*/ 26738 w 608814"/>
                <a:gd name="connsiteY70" fmla="*/ 182964 h 585693"/>
                <a:gd name="connsiteX71" fmla="*/ 38719 w 608814"/>
                <a:gd name="connsiteY71" fmla="*/ 173759 h 585693"/>
                <a:gd name="connsiteX72" fmla="*/ 53742 w 608814"/>
                <a:gd name="connsiteY72" fmla="*/ 175692 h 585693"/>
                <a:gd name="connsiteX73" fmla="*/ 71806 w 608814"/>
                <a:gd name="connsiteY73" fmla="*/ 186094 h 585693"/>
                <a:gd name="connsiteX74" fmla="*/ 96413 w 608814"/>
                <a:gd name="connsiteY74" fmla="*/ 171457 h 585693"/>
                <a:gd name="connsiteX75" fmla="*/ 96413 w 608814"/>
                <a:gd name="connsiteY75" fmla="*/ 151113 h 585693"/>
                <a:gd name="connsiteX76" fmla="*/ 116229 w 608814"/>
                <a:gd name="connsiteY76" fmla="*/ 131322 h 585693"/>
                <a:gd name="connsiteX77" fmla="*/ 445756 w 608814"/>
                <a:gd name="connsiteY77" fmla="*/ 83476 h 585693"/>
                <a:gd name="connsiteX78" fmla="*/ 414140 w 608814"/>
                <a:gd name="connsiteY78" fmla="*/ 115044 h 585693"/>
                <a:gd name="connsiteX79" fmla="*/ 445756 w 608814"/>
                <a:gd name="connsiteY79" fmla="*/ 146520 h 585693"/>
                <a:gd name="connsiteX80" fmla="*/ 477371 w 608814"/>
                <a:gd name="connsiteY80" fmla="*/ 115044 h 585693"/>
                <a:gd name="connsiteX81" fmla="*/ 445756 w 608814"/>
                <a:gd name="connsiteY81" fmla="*/ 83476 h 585693"/>
                <a:gd name="connsiteX82" fmla="*/ 426676 w 608814"/>
                <a:gd name="connsiteY82" fmla="*/ 0 h 585693"/>
                <a:gd name="connsiteX83" fmla="*/ 464835 w 608814"/>
                <a:gd name="connsiteY83" fmla="*/ 0 h 585693"/>
                <a:gd name="connsiteX84" fmla="*/ 480597 w 608814"/>
                <a:gd name="connsiteY84" fmla="*/ 15738 h 585693"/>
                <a:gd name="connsiteX85" fmla="*/ 480597 w 608814"/>
                <a:gd name="connsiteY85" fmla="*/ 31936 h 585693"/>
                <a:gd name="connsiteX86" fmla="*/ 500138 w 608814"/>
                <a:gd name="connsiteY86" fmla="*/ 43533 h 585693"/>
                <a:gd name="connsiteX87" fmla="*/ 514425 w 608814"/>
                <a:gd name="connsiteY87" fmla="*/ 35249 h 585693"/>
                <a:gd name="connsiteX88" fmla="*/ 535901 w 608814"/>
                <a:gd name="connsiteY88" fmla="*/ 40956 h 585693"/>
                <a:gd name="connsiteX89" fmla="*/ 554981 w 608814"/>
                <a:gd name="connsiteY89" fmla="*/ 73996 h 585693"/>
                <a:gd name="connsiteX90" fmla="*/ 556640 w 608814"/>
                <a:gd name="connsiteY90" fmla="*/ 85961 h 585693"/>
                <a:gd name="connsiteX91" fmla="*/ 549266 w 608814"/>
                <a:gd name="connsiteY91" fmla="*/ 95440 h 585693"/>
                <a:gd name="connsiteX92" fmla="*/ 534887 w 608814"/>
                <a:gd name="connsiteY92" fmla="*/ 103815 h 585693"/>
                <a:gd name="connsiteX93" fmla="*/ 535993 w 608814"/>
                <a:gd name="connsiteY93" fmla="*/ 115044 h 585693"/>
                <a:gd name="connsiteX94" fmla="*/ 535717 w 608814"/>
                <a:gd name="connsiteY94" fmla="*/ 117621 h 585693"/>
                <a:gd name="connsiteX95" fmla="*/ 521153 w 608814"/>
                <a:gd name="connsiteY95" fmla="*/ 117621 h 585693"/>
                <a:gd name="connsiteX96" fmla="*/ 466126 w 608814"/>
                <a:gd name="connsiteY96" fmla="*/ 172565 h 585693"/>
                <a:gd name="connsiteX97" fmla="*/ 466126 w 608814"/>
                <a:gd name="connsiteY97" fmla="*/ 229719 h 585693"/>
                <a:gd name="connsiteX98" fmla="*/ 466126 w 608814"/>
                <a:gd name="connsiteY98" fmla="*/ 242604 h 585693"/>
                <a:gd name="connsiteX99" fmla="*/ 453590 w 608814"/>
                <a:gd name="connsiteY99" fmla="*/ 229995 h 585693"/>
                <a:gd name="connsiteX100" fmla="*/ 421330 w 608814"/>
                <a:gd name="connsiteY100" fmla="*/ 219319 h 585693"/>
                <a:gd name="connsiteX101" fmla="*/ 411928 w 608814"/>
                <a:gd name="connsiteY101" fmla="*/ 219319 h 585693"/>
                <a:gd name="connsiteX102" fmla="*/ 410914 w 608814"/>
                <a:gd name="connsiteY102" fmla="*/ 214257 h 585693"/>
                <a:gd name="connsiteX103" fmla="*/ 410914 w 608814"/>
                <a:gd name="connsiteY103" fmla="*/ 198059 h 585693"/>
                <a:gd name="connsiteX104" fmla="*/ 391373 w 608814"/>
                <a:gd name="connsiteY104" fmla="*/ 186463 h 585693"/>
                <a:gd name="connsiteX105" fmla="*/ 377086 w 608814"/>
                <a:gd name="connsiteY105" fmla="*/ 194746 h 585693"/>
                <a:gd name="connsiteX106" fmla="*/ 365104 w 608814"/>
                <a:gd name="connsiteY106" fmla="*/ 196310 h 585693"/>
                <a:gd name="connsiteX107" fmla="*/ 355610 w 608814"/>
                <a:gd name="connsiteY107" fmla="*/ 189040 h 585693"/>
                <a:gd name="connsiteX108" fmla="*/ 336530 w 608814"/>
                <a:gd name="connsiteY108" fmla="*/ 155999 h 585693"/>
                <a:gd name="connsiteX109" fmla="*/ 342245 w 608814"/>
                <a:gd name="connsiteY109" fmla="*/ 134463 h 585693"/>
                <a:gd name="connsiteX110" fmla="*/ 356716 w 608814"/>
                <a:gd name="connsiteY110" fmla="*/ 126180 h 585693"/>
                <a:gd name="connsiteX111" fmla="*/ 355518 w 608814"/>
                <a:gd name="connsiteY111" fmla="*/ 115044 h 585693"/>
                <a:gd name="connsiteX112" fmla="*/ 356716 w 608814"/>
                <a:gd name="connsiteY112" fmla="*/ 103815 h 585693"/>
                <a:gd name="connsiteX113" fmla="*/ 342245 w 608814"/>
                <a:gd name="connsiteY113" fmla="*/ 95440 h 585693"/>
                <a:gd name="connsiteX114" fmla="*/ 336530 w 608814"/>
                <a:gd name="connsiteY114" fmla="*/ 73996 h 585693"/>
                <a:gd name="connsiteX115" fmla="*/ 355610 w 608814"/>
                <a:gd name="connsiteY115" fmla="*/ 40956 h 585693"/>
                <a:gd name="connsiteX116" fmla="*/ 365104 w 608814"/>
                <a:gd name="connsiteY116" fmla="*/ 33685 h 585693"/>
                <a:gd name="connsiteX117" fmla="*/ 377086 w 608814"/>
                <a:gd name="connsiteY117" fmla="*/ 35249 h 585693"/>
                <a:gd name="connsiteX118" fmla="*/ 391373 w 608814"/>
                <a:gd name="connsiteY118" fmla="*/ 43533 h 585693"/>
                <a:gd name="connsiteX119" fmla="*/ 410914 w 608814"/>
                <a:gd name="connsiteY119" fmla="*/ 31936 h 585693"/>
                <a:gd name="connsiteX120" fmla="*/ 410914 w 608814"/>
                <a:gd name="connsiteY120" fmla="*/ 15738 h 585693"/>
                <a:gd name="connsiteX121" fmla="*/ 426676 w 608814"/>
                <a:gd name="connsiteY121" fmla="*/ 0 h 58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608814" h="585693">
                  <a:moveTo>
                    <a:pt x="195114" y="351627"/>
                  </a:moveTo>
                  <a:lnTo>
                    <a:pt x="258290" y="351627"/>
                  </a:lnTo>
                  <a:cubicBezTo>
                    <a:pt x="271848" y="351627"/>
                    <a:pt x="282731" y="362580"/>
                    <a:pt x="282731" y="376018"/>
                  </a:cubicBezTo>
                  <a:lnTo>
                    <a:pt x="282731" y="561210"/>
                  </a:lnTo>
                  <a:cubicBezTo>
                    <a:pt x="282731" y="574740"/>
                    <a:pt x="271848" y="585693"/>
                    <a:pt x="258290" y="585693"/>
                  </a:cubicBezTo>
                  <a:lnTo>
                    <a:pt x="195114" y="585693"/>
                  </a:lnTo>
                  <a:cubicBezTo>
                    <a:pt x="181556" y="585693"/>
                    <a:pt x="170673" y="574740"/>
                    <a:pt x="170673" y="561210"/>
                  </a:cubicBezTo>
                  <a:lnTo>
                    <a:pt x="170673" y="376018"/>
                  </a:lnTo>
                  <a:cubicBezTo>
                    <a:pt x="170673" y="362580"/>
                    <a:pt x="181556" y="351627"/>
                    <a:pt x="195114" y="351627"/>
                  </a:cubicBezTo>
                  <a:close/>
                  <a:moveTo>
                    <a:pt x="358100" y="249872"/>
                  </a:moveTo>
                  <a:lnTo>
                    <a:pt x="421316" y="249872"/>
                  </a:lnTo>
                  <a:cubicBezTo>
                    <a:pt x="434771" y="249872"/>
                    <a:pt x="445737" y="260735"/>
                    <a:pt x="445737" y="274267"/>
                  </a:cubicBezTo>
                  <a:lnTo>
                    <a:pt x="445737" y="561206"/>
                  </a:lnTo>
                  <a:cubicBezTo>
                    <a:pt x="445737" y="574738"/>
                    <a:pt x="434771" y="585693"/>
                    <a:pt x="421316" y="585693"/>
                  </a:cubicBezTo>
                  <a:lnTo>
                    <a:pt x="358100" y="585693"/>
                  </a:lnTo>
                  <a:cubicBezTo>
                    <a:pt x="344645" y="585693"/>
                    <a:pt x="333679" y="574738"/>
                    <a:pt x="333679" y="561206"/>
                  </a:cubicBezTo>
                  <a:lnTo>
                    <a:pt x="333679" y="274267"/>
                  </a:lnTo>
                  <a:cubicBezTo>
                    <a:pt x="333679" y="260735"/>
                    <a:pt x="344645" y="249872"/>
                    <a:pt x="358100" y="249872"/>
                  </a:cubicBezTo>
                  <a:close/>
                  <a:moveTo>
                    <a:pt x="140260" y="224680"/>
                  </a:moveTo>
                  <a:cubicBezTo>
                    <a:pt x="168749" y="224680"/>
                    <a:pt x="191844" y="247711"/>
                    <a:pt x="191844" y="276122"/>
                  </a:cubicBezTo>
                  <a:cubicBezTo>
                    <a:pt x="191844" y="304533"/>
                    <a:pt x="168749" y="327564"/>
                    <a:pt x="140260" y="327564"/>
                  </a:cubicBezTo>
                  <a:cubicBezTo>
                    <a:pt x="111771" y="327564"/>
                    <a:pt x="88676" y="304533"/>
                    <a:pt x="88676" y="276122"/>
                  </a:cubicBezTo>
                  <a:cubicBezTo>
                    <a:pt x="88676" y="247711"/>
                    <a:pt x="111771" y="224680"/>
                    <a:pt x="140260" y="224680"/>
                  </a:cubicBezTo>
                  <a:close/>
                  <a:moveTo>
                    <a:pt x="521177" y="148117"/>
                  </a:moveTo>
                  <a:lnTo>
                    <a:pt x="584301" y="148117"/>
                  </a:lnTo>
                  <a:cubicBezTo>
                    <a:pt x="597848" y="148117"/>
                    <a:pt x="608814" y="159070"/>
                    <a:pt x="608814" y="172601"/>
                  </a:cubicBezTo>
                  <a:lnTo>
                    <a:pt x="608814" y="561209"/>
                  </a:lnTo>
                  <a:cubicBezTo>
                    <a:pt x="608814" y="574740"/>
                    <a:pt x="597848" y="585693"/>
                    <a:pt x="584301" y="585693"/>
                  </a:cubicBezTo>
                  <a:lnTo>
                    <a:pt x="521177" y="585693"/>
                  </a:lnTo>
                  <a:cubicBezTo>
                    <a:pt x="507722" y="585693"/>
                    <a:pt x="496756" y="574740"/>
                    <a:pt x="496756" y="561209"/>
                  </a:cubicBezTo>
                  <a:lnTo>
                    <a:pt x="496756" y="172601"/>
                  </a:lnTo>
                  <a:cubicBezTo>
                    <a:pt x="496756" y="159070"/>
                    <a:pt x="507722" y="148117"/>
                    <a:pt x="521177" y="148117"/>
                  </a:cubicBezTo>
                  <a:close/>
                  <a:moveTo>
                    <a:pt x="116229" y="131322"/>
                  </a:moveTo>
                  <a:lnTo>
                    <a:pt x="164246" y="131322"/>
                  </a:lnTo>
                  <a:cubicBezTo>
                    <a:pt x="175214" y="131322"/>
                    <a:pt x="184061" y="140159"/>
                    <a:pt x="184061" y="151113"/>
                  </a:cubicBezTo>
                  <a:lnTo>
                    <a:pt x="184061" y="171457"/>
                  </a:lnTo>
                  <a:cubicBezTo>
                    <a:pt x="193001" y="175231"/>
                    <a:pt x="201019" y="180386"/>
                    <a:pt x="208669" y="186094"/>
                  </a:cubicBezTo>
                  <a:lnTo>
                    <a:pt x="226641" y="175692"/>
                  </a:lnTo>
                  <a:cubicBezTo>
                    <a:pt x="236134" y="170261"/>
                    <a:pt x="248300" y="173482"/>
                    <a:pt x="253737" y="182964"/>
                  </a:cubicBezTo>
                  <a:lnTo>
                    <a:pt x="277792" y="224572"/>
                  </a:lnTo>
                  <a:cubicBezTo>
                    <a:pt x="280465" y="229083"/>
                    <a:pt x="281110" y="234514"/>
                    <a:pt x="279727" y="239577"/>
                  </a:cubicBezTo>
                  <a:cubicBezTo>
                    <a:pt x="278437" y="244640"/>
                    <a:pt x="275119" y="248966"/>
                    <a:pt x="270511" y="251544"/>
                  </a:cubicBezTo>
                  <a:lnTo>
                    <a:pt x="252355" y="262038"/>
                  </a:lnTo>
                  <a:cubicBezTo>
                    <a:pt x="253000" y="266733"/>
                    <a:pt x="253829" y="271335"/>
                    <a:pt x="253829" y="276122"/>
                  </a:cubicBezTo>
                  <a:cubicBezTo>
                    <a:pt x="253829" y="281001"/>
                    <a:pt x="253000" y="285604"/>
                    <a:pt x="252355" y="290206"/>
                  </a:cubicBezTo>
                  <a:lnTo>
                    <a:pt x="270511" y="300700"/>
                  </a:lnTo>
                  <a:cubicBezTo>
                    <a:pt x="279174" y="305671"/>
                    <a:pt x="282308" y="316165"/>
                    <a:pt x="278714" y="325094"/>
                  </a:cubicBezTo>
                  <a:cubicBezTo>
                    <a:pt x="272354" y="322609"/>
                    <a:pt x="265442" y="321136"/>
                    <a:pt x="258253" y="321136"/>
                  </a:cubicBezTo>
                  <a:lnTo>
                    <a:pt x="195858" y="321136"/>
                  </a:lnTo>
                  <a:cubicBezTo>
                    <a:pt x="205904" y="308709"/>
                    <a:pt x="212171" y="293244"/>
                    <a:pt x="212171" y="276122"/>
                  </a:cubicBezTo>
                  <a:cubicBezTo>
                    <a:pt x="212171" y="236539"/>
                    <a:pt x="179914" y="204320"/>
                    <a:pt x="140191" y="204320"/>
                  </a:cubicBezTo>
                  <a:cubicBezTo>
                    <a:pt x="100561" y="204320"/>
                    <a:pt x="68304" y="236539"/>
                    <a:pt x="68304" y="276122"/>
                  </a:cubicBezTo>
                  <a:cubicBezTo>
                    <a:pt x="68304" y="315797"/>
                    <a:pt x="100561" y="348016"/>
                    <a:pt x="140191" y="348016"/>
                  </a:cubicBezTo>
                  <a:cubicBezTo>
                    <a:pt x="143048" y="348016"/>
                    <a:pt x="145721" y="347463"/>
                    <a:pt x="148486" y="347095"/>
                  </a:cubicBezTo>
                  <a:cubicBezTo>
                    <a:pt x="143233" y="355564"/>
                    <a:pt x="140099" y="365414"/>
                    <a:pt x="140099" y="376000"/>
                  </a:cubicBezTo>
                  <a:lnTo>
                    <a:pt x="140099" y="420922"/>
                  </a:lnTo>
                  <a:lnTo>
                    <a:pt x="116229" y="420922"/>
                  </a:lnTo>
                  <a:cubicBezTo>
                    <a:pt x="105261" y="420922"/>
                    <a:pt x="96413" y="412085"/>
                    <a:pt x="96413" y="401131"/>
                  </a:cubicBezTo>
                  <a:lnTo>
                    <a:pt x="96413" y="380787"/>
                  </a:lnTo>
                  <a:cubicBezTo>
                    <a:pt x="87474" y="377013"/>
                    <a:pt x="79455" y="371950"/>
                    <a:pt x="71806" y="366150"/>
                  </a:cubicBezTo>
                  <a:lnTo>
                    <a:pt x="53742" y="376552"/>
                  </a:lnTo>
                  <a:cubicBezTo>
                    <a:pt x="49226" y="379222"/>
                    <a:pt x="43788" y="379866"/>
                    <a:pt x="38719" y="378577"/>
                  </a:cubicBezTo>
                  <a:cubicBezTo>
                    <a:pt x="33650" y="377197"/>
                    <a:pt x="29318" y="373883"/>
                    <a:pt x="26738" y="369372"/>
                  </a:cubicBezTo>
                  <a:lnTo>
                    <a:pt x="2683" y="327764"/>
                  </a:lnTo>
                  <a:cubicBezTo>
                    <a:pt x="-2847" y="318282"/>
                    <a:pt x="471" y="306131"/>
                    <a:pt x="9872" y="300700"/>
                  </a:cubicBezTo>
                  <a:lnTo>
                    <a:pt x="28120" y="290206"/>
                  </a:lnTo>
                  <a:cubicBezTo>
                    <a:pt x="27475" y="285604"/>
                    <a:pt x="26645" y="281001"/>
                    <a:pt x="26645" y="276122"/>
                  </a:cubicBezTo>
                  <a:cubicBezTo>
                    <a:pt x="26645" y="271335"/>
                    <a:pt x="27475" y="266733"/>
                    <a:pt x="28120" y="262038"/>
                  </a:cubicBezTo>
                  <a:lnTo>
                    <a:pt x="9872" y="251544"/>
                  </a:lnTo>
                  <a:cubicBezTo>
                    <a:pt x="471" y="246113"/>
                    <a:pt x="-2847" y="233962"/>
                    <a:pt x="2683" y="224572"/>
                  </a:cubicBezTo>
                  <a:lnTo>
                    <a:pt x="26738" y="182964"/>
                  </a:lnTo>
                  <a:cubicBezTo>
                    <a:pt x="29318" y="178361"/>
                    <a:pt x="33650" y="175139"/>
                    <a:pt x="38719" y="173759"/>
                  </a:cubicBezTo>
                  <a:cubicBezTo>
                    <a:pt x="43788" y="172378"/>
                    <a:pt x="49226" y="173114"/>
                    <a:pt x="53742" y="175692"/>
                  </a:cubicBezTo>
                  <a:lnTo>
                    <a:pt x="71806" y="186094"/>
                  </a:lnTo>
                  <a:cubicBezTo>
                    <a:pt x="79455" y="180386"/>
                    <a:pt x="87474" y="175231"/>
                    <a:pt x="96413" y="171457"/>
                  </a:cubicBezTo>
                  <a:lnTo>
                    <a:pt x="96413" y="151113"/>
                  </a:lnTo>
                  <a:cubicBezTo>
                    <a:pt x="96413" y="140159"/>
                    <a:pt x="105261" y="131322"/>
                    <a:pt x="116229" y="131322"/>
                  </a:cubicBezTo>
                  <a:close/>
                  <a:moveTo>
                    <a:pt x="445756" y="83476"/>
                  </a:moveTo>
                  <a:cubicBezTo>
                    <a:pt x="428335" y="83476"/>
                    <a:pt x="414140" y="97557"/>
                    <a:pt x="414140" y="115044"/>
                  </a:cubicBezTo>
                  <a:cubicBezTo>
                    <a:pt x="414140" y="132438"/>
                    <a:pt x="428335" y="146520"/>
                    <a:pt x="445756" y="146520"/>
                  </a:cubicBezTo>
                  <a:cubicBezTo>
                    <a:pt x="463176" y="146520"/>
                    <a:pt x="477371" y="132438"/>
                    <a:pt x="477371" y="115044"/>
                  </a:cubicBezTo>
                  <a:cubicBezTo>
                    <a:pt x="477371" y="97557"/>
                    <a:pt x="463176" y="83476"/>
                    <a:pt x="445756" y="83476"/>
                  </a:cubicBezTo>
                  <a:close/>
                  <a:moveTo>
                    <a:pt x="426676" y="0"/>
                  </a:moveTo>
                  <a:lnTo>
                    <a:pt x="464835" y="0"/>
                  </a:lnTo>
                  <a:cubicBezTo>
                    <a:pt x="473500" y="0"/>
                    <a:pt x="480597" y="7087"/>
                    <a:pt x="480597" y="15738"/>
                  </a:cubicBezTo>
                  <a:lnTo>
                    <a:pt x="480597" y="31936"/>
                  </a:lnTo>
                  <a:cubicBezTo>
                    <a:pt x="487694" y="34881"/>
                    <a:pt x="494054" y="38931"/>
                    <a:pt x="500138" y="43533"/>
                  </a:cubicBezTo>
                  <a:lnTo>
                    <a:pt x="514425" y="35249"/>
                  </a:lnTo>
                  <a:cubicBezTo>
                    <a:pt x="521983" y="30924"/>
                    <a:pt x="531569" y="33501"/>
                    <a:pt x="535901" y="40956"/>
                  </a:cubicBezTo>
                  <a:lnTo>
                    <a:pt x="554981" y="73996"/>
                  </a:lnTo>
                  <a:cubicBezTo>
                    <a:pt x="557101" y="77585"/>
                    <a:pt x="557654" y="81911"/>
                    <a:pt x="556640" y="85961"/>
                  </a:cubicBezTo>
                  <a:cubicBezTo>
                    <a:pt x="555534" y="89918"/>
                    <a:pt x="552861" y="93415"/>
                    <a:pt x="549266" y="95440"/>
                  </a:cubicBezTo>
                  <a:lnTo>
                    <a:pt x="534887" y="103815"/>
                  </a:lnTo>
                  <a:cubicBezTo>
                    <a:pt x="535348" y="107497"/>
                    <a:pt x="535993" y="111178"/>
                    <a:pt x="535993" y="115044"/>
                  </a:cubicBezTo>
                  <a:cubicBezTo>
                    <a:pt x="535993" y="115872"/>
                    <a:pt x="535809" y="116700"/>
                    <a:pt x="535717" y="117621"/>
                  </a:cubicBezTo>
                  <a:lnTo>
                    <a:pt x="521153" y="117621"/>
                  </a:lnTo>
                  <a:cubicBezTo>
                    <a:pt x="490828" y="117621"/>
                    <a:pt x="466126" y="142286"/>
                    <a:pt x="466126" y="172565"/>
                  </a:cubicBezTo>
                  <a:lnTo>
                    <a:pt x="466126" y="229719"/>
                  </a:lnTo>
                  <a:lnTo>
                    <a:pt x="466126" y="242604"/>
                  </a:lnTo>
                  <a:cubicBezTo>
                    <a:pt x="462715" y="237726"/>
                    <a:pt x="458383" y="233493"/>
                    <a:pt x="453590" y="229995"/>
                  </a:cubicBezTo>
                  <a:cubicBezTo>
                    <a:pt x="444465" y="223369"/>
                    <a:pt x="433404" y="219319"/>
                    <a:pt x="421330" y="219319"/>
                  </a:cubicBezTo>
                  <a:lnTo>
                    <a:pt x="411928" y="219319"/>
                  </a:lnTo>
                  <a:cubicBezTo>
                    <a:pt x="411375" y="217755"/>
                    <a:pt x="410914" y="216098"/>
                    <a:pt x="410914" y="214257"/>
                  </a:cubicBezTo>
                  <a:lnTo>
                    <a:pt x="410914" y="198059"/>
                  </a:lnTo>
                  <a:cubicBezTo>
                    <a:pt x="403817" y="195114"/>
                    <a:pt x="397457" y="191064"/>
                    <a:pt x="391373" y="186463"/>
                  </a:cubicBezTo>
                  <a:lnTo>
                    <a:pt x="377086" y="194746"/>
                  </a:lnTo>
                  <a:cubicBezTo>
                    <a:pt x="373492" y="196863"/>
                    <a:pt x="369160" y="197415"/>
                    <a:pt x="365104" y="196310"/>
                  </a:cubicBezTo>
                  <a:cubicBezTo>
                    <a:pt x="361140" y="195206"/>
                    <a:pt x="357638" y="192629"/>
                    <a:pt x="355610" y="189040"/>
                  </a:cubicBezTo>
                  <a:lnTo>
                    <a:pt x="336530" y="155999"/>
                  </a:lnTo>
                  <a:cubicBezTo>
                    <a:pt x="332198" y="148452"/>
                    <a:pt x="334687" y="138881"/>
                    <a:pt x="342245" y="134463"/>
                  </a:cubicBezTo>
                  <a:lnTo>
                    <a:pt x="356716" y="126180"/>
                  </a:lnTo>
                  <a:cubicBezTo>
                    <a:pt x="356163" y="122498"/>
                    <a:pt x="355518" y="118817"/>
                    <a:pt x="355518" y="115044"/>
                  </a:cubicBezTo>
                  <a:cubicBezTo>
                    <a:pt x="355518" y="111178"/>
                    <a:pt x="356163" y="107497"/>
                    <a:pt x="356716" y="103815"/>
                  </a:cubicBezTo>
                  <a:lnTo>
                    <a:pt x="342245" y="95440"/>
                  </a:lnTo>
                  <a:cubicBezTo>
                    <a:pt x="334687" y="91115"/>
                    <a:pt x="332198" y="81543"/>
                    <a:pt x="336530" y="73996"/>
                  </a:cubicBezTo>
                  <a:lnTo>
                    <a:pt x="355610" y="40956"/>
                  </a:lnTo>
                  <a:cubicBezTo>
                    <a:pt x="357638" y="37366"/>
                    <a:pt x="361140" y="34789"/>
                    <a:pt x="365104" y="33685"/>
                  </a:cubicBezTo>
                  <a:cubicBezTo>
                    <a:pt x="369160" y="32580"/>
                    <a:pt x="373492" y="33133"/>
                    <a:pt x="377086" y="35249"/>
                  </a:cubicBezTo>
                  <a:lnTo>
                    <a:pt x="391373" y="43533"/>
                  </a:lnTo>
                  <a:cubicBezTo>
                    <a:pt x="397457" y="38931"/>
                    <a:pt x="403817" y="34881"/>
                    <a:pt x="410914" y="31936"/>
                  </a:cubicBezTo>
                  <a:lnTo>
                    <a:pt x="410914" y="15738"/>
                  </a:lnTo>
                  <a:cubicBezTo>
                    <a:pt x="410914" y="7087"/>
                    <a:pt x="418011" y="0"/>
                    <a:pt x="426676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" name="îṥḷíḓe">
              <a:extLst>
                <a:ext uri="{FF2B5EF4-FFF2-40B4-BE49-F238E27FC236}">
                  <a16:creationId xmlns:a16="http://schemas.microsoft.com/office/drawing/2014/main" xmlns="" id="{D205B52F-8F42-4222-B7E9-6F51009CAA12}"/>
                </a:ext>
              </a:extLst>
            </p:cNvPr>
            <p:cNvSpPr/>
            <p:nvPr/>
          </p:nvSpPr>
          <p:spPr bwMode="auto">
            <a:xfrm>
              <a:off x="4743891" y="3849987"/>
              <a:ext cx="425210" cy="408933"/>
            </a:xfrm>
            <a:custGeom>
              <a:avLst/>
              <a:gdLst>
                <a:gd name="connsiteX0" fmla="*/ 61288 w 609549"/>
                <a:gd name="connsiteY0" fmla="*/ 383285 h 586216"/>
                <a:gd name="connsiteX1" fmla="*/ 71162 w 609549"/>
                <a:gd name="connsiteY1" fmla="*/ 387101 h 586216"/>
                <a:gd name="connsiteX2" fmla="*/ 120018 w 609549"/>
                <a:gd name="connsiteY2" fmla="*/ 435892 h 586216"/>
                <a:gd name="connsiteX3" fmla="*/ 120018 w 609549"/>
                <a:gd name="connsiteY3" fmla="*/ 454200 h 586216"/>
                <a:gd name="connsiteX4" fmla="*/ 56639 w 609549"/>
                <a:gd name="connsiteY4" fmla="*/ 517543 h 586216"/>
                <a:gd name="connsiteX5" fmla="*/ 35592 w 609549"/>
                <a:gd name="connsiteY5" fmla="*/ 513644 h 586216"/>
                <a:gd name="connsiteX6" fmla="*/ 51877 w 609549"/>
                <a:gd name="connsiteY6" fmla="*/ 388099 h 586216"/>
                <a:gd name="connsiteX7" fmla="*/ 61288 w 609549"/>
                <a:gd name="connsiteY7" fmla="*/ 383285 h 586216"/>
                <a:gd name="connsiteX8" fmla="*/ 235245 w 609549"/>
                <a:gd name="connsiteY8" fmla="*/ 302810 h 586216"/>
                <a:gd name="connsiteX9" fmla="*/ 306042 w 609549"/>
                <a:gd name="connsiteY9" fmla="*/ 373466 h 586216"/>
                <a:gd name="connsiteX10" fmla="*/ 258717 w 609549"/>
                <a:gd name="connsiteY10" fmla="*/ 420680 h 586216"/>
                <a:gd name="connsiteX11" fmla="*/ 230246 w 609549"/>
                <a:gd name="connsiteY11" fmla="*/ 550152 h 586216"/>
                <a:gd name="connsiteX12" fmla="*/ 92223 w 609549"/>
                <a:gd name="connsiteY12" fmla="*/ 575305 h 586216"/>
                <a:gd name="connsiteX13" fmla="*/ 88748 w 609549"/>
                <a:gd name="connsiteY13" fmla="*/ 556143 h 586216"/>
                <a:gd name="connsiteX14" fmla="*/ 165115 w 609549"/>
                <a:gd name="connsiteY14" fmla="*/ 479877 h 586216"/>
                <a:gd name="connsiteX15" fmla="*/ 165115 w 609549"/>
                <a:gd name="connsiteY15" fmla="*/ 446308 h 586216"/>
                <a:gd name="connsiteX16" fmla="*/ 88700 w 609549"/>
                <a:gd name="connsiteY16" fmla="*/ 369995 h 586216"/>
                <a:gd name="connsiteX17" fmla="*/ 92128 w 609549"/>
                <a:gd name="connsiteY17" fmla="*/ 350976 h 586216"/>
                <a:gd name="connsiteX18" fmla="*/ 189111 w 609549"/>
                <a:gd name="connsiteY18" fmla="*/ 348884 h 586216"/>
                <a:gd name="connsiteX19" fmla="*/ 257958 w 609549"/>
                <a:gd name="connsiteY19" fmla="*/ 161679 h 586216"/>
                <a:gd name="connsiteX20" fmla="*/ 317251 w 609549"/>
                <a:gd name="connsiteY20" fmla="*/ 220879 h 586216"/>
                <a:gd name="connsiteX21" fmla="*/ 388070 w 609549"/>
                <a:gd name="connsiteY21" fmla="*/ 291586 h 586216"/>
                <a:gd name="connsiteX22" fmla="*/ 604906 w 609549"/>
                <a:gd name="connsiteY22" fmla="*/ 508130 h 586216"/>
                <a:gd name="connsiteX23" fmla="*/ 604906 w 609549"/>
                <a:gd name="connsiteY23" fmla="*/ 530526 h 586216"/>
                <a:gd name="connsiteX24" fmla="*/ 556567 w 609549"/>
                <a:gd name="connsiteY24" fmla="*/ 578789 h 586216"/>
                <a:gd name="connsiteX25" fmla="*/ 545327 w 609549"/>
                <a:gd name="connsiteY25" fmla="*/ 583449 h 586216"/>
                <a:gd name="connsiteX26" fmla="*/ 534135 w 609549"/>
                <a:gd name="connsiteY26" fmla="*/ 578789 h 586216"/>
                <a:gd name="connsiteX27" fmla="*/ 317251 w 609549"/>
                <a:gd name="connsiteY27" fmla="*/ 362293 h 586216"/>
                <a:gd name="connsiteX28" fmla="*/ 246481 w 609549"/>
                <a:gd name="connsiteY28" fmla="*/ 291586 h 586216"/>
                <a:gd name="connsiteX29" fmla="*/ 187140 w 609549"/>
                <a:gd name="connsiteY29" fmla="*/ 232339 h 586216"/>
                <a:gd name="connsiteX30" fmla="*/ 58606 w 609549"/>
                <a:gd name="connsiteY30" fmla="*/ 160814 h 586216"/>
                <a:gd name="connsiteX31" fmla="*/ 126401 w 609549"/>
                <a:gd name="connsiteY31" fmla="*/ 228498 h 586216"/>
                <a:gd name="connsiteX32" fmla="*/ 111975 w 609549"/>
                <a:gd name="connsiteY32" fmla="*/ 242899 h 586216"/>
                <a:gd name="connsiteX33" fmla="*/ 119307 w 609549"/>
                <a:gd name="connsiteY33" fmla="*/ 250219 h 586216"/>
                <a:gd name="connsiteX34" fmla="*/ 119307 w 609549"/>
                <a:gd name="connsiteY34" fmla="*/ 277692 h 586216"/>
                <a:gd name="connsiteX35" fmla="*/ 115641 w 609549"/>
                <a:gd name="connsiteY35" fmla="*/ 281352 h 586216"/>
                <a:gd name="connsiteX36" fmla="*/ 88123 w 609549"/>
                <a:gd name="connsiteY36" fmla="*/ 281352 h 586216"/>
                <a:gd name="connsiteX37" fmla="*/ 5712 w 609549"/>
                <a:gd name="connsiteY37" fmla="*/ 199029 h 586216"/>
                <a:gd name="connsiteX38" fmla="*/ 5712 w 609549"/>
                <a:gd name="connsiteY38" fmla="*/ 171604 h 586216"/>
                <a:gd name="connsiteX39" fmla="*/ 9378 w 609549"/>
                <a:gd name="connsiteY39" fmla="*/ 167944 h 586216"/>
                <a:gd name="connsiteX40" fmla="*/ 36849 w 609549"/>
                <a:gd name="connsiteY40" fmla="*/ 167944 h 586216"/>
                <a:gd name="connsiteX41" fmla="*/ 44180 w 609549"/>
                <a:gd name="connsiteY41" fmla="*/ 175264 h 586216"/>
                <a:gd name="connsiteX42" fmla="*/ 585775 w 609549"/>
                <a:gd name="connsiteY42" fmla="*/ 66370 h 586216"/>
                <a:gd name="connsiteX43" fmla="*/ 595263 w 609549"/>
                <a:gd name="connsiteY43" fmla="*/ 73839 h 586216"/>
                <a:gd name="connsiteX44" fmla="*/ 578978 w 609549"/>
                <a:gd name="connsiteY44" fmla="*/ 199341 h 586216"/>
                <a:gd name="connsiteX45" fmla="*/ 559693 w 609549"/>
                <a:gd name="connsiteY45" fmla="*/ 200387 h 586216"/>
                <a:gd name="connsiteX46" fmla="*/ 510789 w 609549"/>
                <a:gd name="connsiteY46" fmla="*/ 151612 h 586216"/>
                <a:gd name="connsiteX47" fmla="*/ 510789 w 609549"/>
                <a:gd name="connsiteY47" fmla="*/ 133262 h 586216"/>
                <a:gd name="connsiteX48" fmla="*/ 574216 w 609549"/>
                <a:gd name="connsiteY48" fmla="*/ 69988 h 586216"/>
                <a:gd name="connsiteX49" fmla="*/ 585775 w 609549"/>
                <a:gd name="connsiteY49" fmla="*/ 66370 h 586216"/>
                <a:gd name="connsiteX50" fmla="*/ 158702 w 609549"/>
                <a:gd name="connsiteY50" fmla="*/ 26758 h 586216"/>
                <a:gd name="connsiteX51" fmla="*/ 172463 w 609549"/>
                <a:gd name="connsiteY51" fmla="*/ 32464 h 586216"/>
                <a:gd name="connsiteX52" fmla="*/ 179701 w 609549"/>
                <a:gd name="connsiteY52" fmla="*/ 39691 h 586216"/>
                <a:gd name="connsiteX53" fmla="*/ 246935 w 609549"/>
                <a:gd name="connsiteY53" fmla="*/ 106831 h 586216"/>
                <a:gd name="connsiteX54" fmla="*/ 254886 w 609549"/>
                <a:gd name="connsiteY54" fmla="*/ 114819 h 586216"/>
                <a:gd name="connsiteX55" fmla="*/ 257600 w 609549"/>
                <a:gd name="connsiteY55" fmla="*/ 138879 h 586216"/>
                <a:gd name="connsiteX56" fmla="*/ 254886 w 609549"/>
                <a:gd name="connsiteY56" fmla="*/ 142255 h 586216"/>
                <a:gd name="connsiteX57" fmla="*/ 252315 w 609549"/>
                <a:gd name="connsiteY57" fmla="*/ 144823 h 586216"/>
                <a:gd name="connsiteX58" fmla="*/ 246696 w 609549"/>
                <a:gd name="connsiteY58" fmla="*/ 150434 h 586216"/>
                <a:gd name="connsiteX59" fmla="*/ 175892 w 609549"/>
                <a:gd name="connsiteY59" fmla="*/ 221140 h 586216"/>
                <a:gd name="connsiteX60" fmla="*/ 172463 w 609549"/>
                <a:gd name="connsiteY60" fmla="*/ 224611 h 586216"/>
                <a:gd name="connsiteX61" fmla="*/ 170130 w 609549"/>
                <a:gd name="connsiteY61" fmla="*/ 226560 h 586216"/>
                <a:gd name="connsiteX62" fmla="*/ 162274 w 609549"/>
                <a:gd name="connsiteY62" fmla="*/ 229936 h 586216"/>
                <a:gd name="connsiteX63" fmla="*/ 158702 w 609549"/>
                <a:gd name="connsiteY63" fmla="*/ 230269 h 586216"/>
                <a:gd name="connsiteX64" fmla="*/ 144942 w 609549"/>
                <a:gd name="connsiteY64" fmla="*/ 224611 h 586216"/>
                <a:gd name="connsiteX65" fmla="*/ 137609 w 609549"/>
                <a:gd name="connsiteY65" fmla="*/ 217288 h 586216"/>
                <a:gd name="connsiteX66" fmla="*/ 69804 w 609549"/>
                <a:gd name="connsiteY66" fmla="*/ 149578 h 586216"/>
                <a:gd name="connsiteX67" fmla="*/ 62519 w 609549"/>
                <a:gd name="connsiteY67" fmla="*/ 142255 h 586216"/>
                <a:gd name="connsiteX68" fmla="*/ 62519 w 609549"/>
                <a:gd name="connsiteY68" fmla="*/ 114819 h 586216"/>
                <a:gd name="connsiteX69" fmla="*/ 144942 w 609549"/>
                <a:gd name="connsiteY69" fmla="*/ 32464 h 586216"/>
                <a:gd name="connsiteX70" fmla="*/ 158702 w 609549"/>
                <a:gd name="connsiteY70" fmla="*/ 26758 h 586216"/>
                <a:gd name="connsiteX71" fmla="*/ 254809 w 609549"/>
                <a:gd name="connsiteY71" fmla="*/ 6542 h 586216"/>
                <a:gd name="connsiteX72" fmla="*/ 321015 w 609549"/>
                <a:gd name="connsiteY72" fmla="*/ 29913 h 586216"/>
                <a:gd name="connsiteX73" fmla="*/ 260017 w 609549"/>
                <a:gd name="connsiteY73" fmla="*/ 97465 h 586216"/>
                <a:gd name="connsiteX74" fmla="*/ 193067 w 609549"/>
                <a:gd name="connsiteY74" fmla="*/ 30626 h 586216"/>
                <a:gd name="connsiteX75" fmla="*/ 254809 w 609549"/>
                <a:gd name="connsiteY75" fmla="*/ 6542 h 586216"/>
                <a:gd name="connsiteX76" fmla="*/ 503105 w 609549"/>
                <a:gd name="connsiteY76" fmla="*/ 953 h 586216"/>
                <a:gd name="connsiteX77" fmla="*/ 538560 w 609549"/>
                <a:gd name="connsiteY77" fmla="*/ 10911 h 586216"/>
                <a:gd name="connsiteX78" fmla="*/ 542083 w 609549"/>
                <a:gd name="connsiteY78" fmla="*/ 30073 h 586216"/>
                <a:gd name="connsiteX79" fmla="*/ 465709 w 609549"/>
                <a:gd name="connsiteY79" fmla="*/ 106341 h 586216"/>
                <a:gd name="connsiteX80" fmla="*/ 465709 w 609549"/>
                <a:gd name="connsiteY80" fmla="*/ 139911 h 586216"/>
                <a:gd name="connsiteX81" fmla="*/ 542131 w 609549"/>
                <a:gd name="connsiteY81" fmla="*/ 216227 h 586216"/>
                <a:gd name="connsiteX82" fmla="*/ 538655 w 609549"/>
                <a:gd name="connsiteY82" fmla="*/ 235246 h 586216"/>
                <a:gd name="connsiteX83" fmla="*/ 442187 w 609549"/>
                <a:gd name="connsiteY83" fmla="*/ 237528 h 586216"/>
                <a:gd name="connsiteX84" fmla="*/ 399238 w 609549"/>
                <a:gd name="connsiteY84" fmla="*/ 280370 h 586216"/>
                <a:gd name="connsiteX85" fmla="*/ 328482 w 609549"/>
                <a:gd name="connsiteY85" fmla="*/ 209712 h 586216"/>
                <a:gd name="connsiteX86" fmla="*/ 372240 w 609549"/>
                <a:gd name="connsiteY86" fmla="*/ 166015 h 586216"/>
                <a:gd name="connsiteX87" fmla="*/ 400571 w 609549"/>
                <a:gd name="connsiteY87" fmla="*/ 36064 h 586216"/>
                <a:gd name="connsiteX88" fmla="*/ 503105 w 609549"/>
                <a:gd name="connsiteY88" fmla="*/ 953 h 58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609549" h="586216">
                  <a:moveTo>
                    <a:pt x="61288" y="383285"/>
                  </a:moveTo>
                  <a:cubicBezTo>
                    <a:pt x="64829" y="383106"/>
                    <a:pt x="68448" y="384367"/>
                    <a:pt x="71162" y="387101"/>
                  </a:cubicBezTo>
                  <a:lnTo>
                    <a:pt x="120018" y="435892"/>
                  </a:lnTo>
                  <a:cubicBezTo>
                    <a:pt x="125113" y="440933"/>
                    <a:pt x="125113" y="449160"/>
                    <a:pt x="120018" y="454200"/>
                  </a:cubicBezTo>
                  <a:lnTo>
                    <a:pt x="56639" y="517543"/>
                  </a:lnTo>
                  <a:cubicBezTo>
                    <a:pt x="50211" y="523963"/>
                    <a:pt x="39211" y="522013"/>
                    <a:pt x="35592" y="513644"/>
                  </a:cubicBezTo>
                  <a:cubicBezTo>
                    <a:pt x="17783" y="472794"/>
                    <a:pt x="23211" y="424288"/>
                    <a:pt x="51877" y="388099"/>
                  </a:cubicBezTo>
                  <a:cubicBezTo>
                    <a:pt x="54282" y="385079"/>
                    <a:pt x="57746" y="383463"/>
                    <a:pt x="61288" y="383285"/>
                  </a:cubicBezTo>
                  <a:close/>
                  <a:moveTo>
                    <a:pt x="235245" y="302810"/>
                  </a:moveTo>
                  <a:lnTo>
                    <a:pt x="306042" y="373466"/>
                  </a:lnTo>
                  <a:lnTo>
                    <a:pt x="258717" y="420680"/>
                  </a:lnTo>
                  <a:cubicBezTo>
                    <a:pt x="274667" y="464329"/>
                    <a:pt x="265192" y="515300"/>
                    <a:pt x="230246" y="550152"/>
                  </a:cubicBezTo>
                  <a:cubicBezTo>
                    <a:pt x="192919" y="587430"/>
                    <a:pt x="137644" y="595798"/>
                    <a:pt x="92223" y="575305"/>
                  </a:cubicBezTo>
                  <a:cubicBezTo>
                    <a:pt x="84701" y="571882"/>
                    <a:pt x="82892" y="561992"/>
                    <a:pt x="88748" y="556143"/>
                  </a:cubicBezTo>
                  <a:lnTo>
                    <a:pt x="165115" y="479877"/>
                  </a:lnTo>
                  <a:cubicBezTo>
                    <a:pt x="174399" y="470605"/>
                    <a:pt x="174399" y="455580"/>
                    <a:pt x="165115" y="446308"/>
                  </a:cubicBezTo>
                  <a:lnTo>
                    <a:pt x="88700" y="369995"/>
                  </a:lnTo>
                  <a:cubicBezTo>
                    <a:pt x="82844" y="364194"/>
                    <a:pt x="84653" y="354399"/>
                    <a:pt x="92128" y="350976"/>
                  </a:cubicBezTo>
                  <a:cubicBezTo>
                    <a:pt x="122789" y="337092"/>
                    <a:pt x="157973" y="336379"/>
                    <a:pt x="189111" y="348884"/>
                  </a:cubicBezTo>
                  <a:close/>
                  <a:moveTo>
                    <a:pt x="257958" y="161679"/>
                  </a:moveTo>
                  <a:lnTo>
                    <a:pt x="317251" y="220879"/>
                  </a:lnTo>
                  <a:lnTo>
                    <a:pt x="388070" y="291586"/>
                  </a:lnTo>
                  <a:lnTo>
                    <a:pt x="604906" y="508130"/>
                  </a:lnTo>
                  <a:cubicBezTo>
                    <a:pt x="611097" y="514311"/>
                    <a:pt x="611097" y="524344"/>
                    <a:pt x="604906" y="530526"/>
                  </a:cubicBezTo>
                  <a:lnTo>
                    <a:pt x="556567" y="578789"/>
                  </a:lnTo>
                  <a:cubicBezTo>
                    <a:pt x="553471" y="581880"/>
                    <a:pt x="549423" y="583449"/>
                    <a:pt x="545327" y="583449"/>
                  </a:cubicBezTo>
                  <a:cubicBezTo>
                    <a:pt x="541279" y="583449"/>
                    <a:pt x="537231" y="581880"/>
                    <a:pt x="534135" y="578789"/>
                  </a:cubicBezTo>
                  <a:lnTo>
                    <a:pt x="317251" y="362293"/>
                  </a:lnTo>
                  <a:lnTo>
                    <a:pt x="246481" y="291586"/>
                  </a:lnTo>
                  <a:lnTo>
                    <a:pt x="187140" y="232339"/>
                  </a:lnTo>
                  <a:close/>
                  <a:moveTo>
                    <a:pt x="58606" y="160814"/>
                  </a:moveTo>
                  <a:lnTo>
                    <a:pt x="126401" y="228498"/>
                  </a:lnTo>
                  <a:lnTo>
                    <a:pt x="111975" y="242899"/>
                  </a:lnTo>
                  <a:lnTo>
                    <a:pt x="119307" y="250219"/>
                  </a:lnTo>
                  <a:cubicBezTo>
                    <a:pt x="126877" y="257824"/>
                    <a:pt x="126877" y="270087"/>
                    <a:pt x="119307" y="277692"/>
                  </a:cubicBezTo>
                  <a:lnTo>
                    <a:pt x="115641" y="281352"/>
                  </a:lnTo>
                  <a:cubicBezTo>
                    <a:pt x="108024" y="288909"/>
                    <a:pt x="95741" y="288909"/>
                    <a:pt x="88123" y="281352"/>
                  </a:cubicBezTo>
                  <a:lnTo>
                    <a:pt x="5712" y="199029"/>
                  </a:lnTo>
                  <a:cubicBezTo>
                    <a:pt x="-1905" y="191424"/>
                    <a:pt x="-1905" y="179161"/>
                    <a:pt x="5712" y="171604"/>
                  </a:cubicBezTo>
                  <a:lnTo>
                    <a:pt x="9378" y="167944"/>
                  </a:lnTo>
                  <a:cubicBezTo>
                    <a:pt x="16948" y="160339"/>
                    <a:pt x="29231" y="160339"/>
                    <a:pt x="36849" y="167944"/>
                  </a:cubicBezTo>
                  <a:lnTo>
                    <a:pt x="44180" y="175264"/>
                  </a:lnTo>
                  <a:close/>
                  <a:moveTo>
                    <a:pt x="585775" y="66370"/>
                  </a:moveTo>
                  <a:cubicBezTo>
                    <a:pt x="589775" y="67101"/>
                    <a:pt x="593430" y="69680"/>
                    <a:pt x="595263" y="73839"/>
                  </a:cubicBezTo>
                  <a:cubicBezTo>
                    <a:pt x="613072" y="114675"/>
                    <a:pt x="607644" y="163212"/>
                    <a:pt x="578978" y="199341"/>
                  </a:cubicBezTo>
                  <a:cubicBezTo>
                    <a:pt x="574168" y="205379"/>
                    <a:pt x="565121" y="205854"/>
                    <a:pt x="559693" y="200387"/>
                  </a:cubicBezTo>
                  <a:lnTo>
                    <a:pt x="510789" y="151612"/>
                  </a:lnTo>
                  <a:cubicBezTo>
                    <a:pt x="505742" y="146526"/>
                    <a:pt x="505742" y="138349"/>
                    <a:pt x="510789" y="133262"/>
                  </a:cubicBezTo>
                  <a:lnTo>
                    <a:pt x="574216" y="69988"/>
                  </a:lnTo>
                  <a:cubicBezTo>
                    <a:pt x="577430" y="66756"/>
                    <a:pt x="581775" y="65639"/>
                    <a:pt x="585775" y="66370"/>
                  </a:cubicBezTo>
                  <a:close/>
                  <a:moveTo>
                    <a:pt x="158702" y="26758"/>
                  </a:moveTo>
                  <a:cubicBezTo>
                    <a:pt x="163655" y="26758"/>
                    <a:pt x="168654" y="28660"/>
                    <a:pt x="172463" y="32464"/>
                  </a:cubicBezTo>
                  <a:lnTo>
                    <a:pt x="179701" y="39691"/>
                  </a:lnTo>
                  <a:lnTo>
                    <a:pt x="246935" y="106831"/>
                  </a:lnTo>
                  <a:lnTo>
                    <a:pt x="254886" y="114819"/>
                  </a:lnTo>
                  <a:cubicBezTo>
                    <a:pt x="261457" y="121334"/>
                    <a:pt x="262362" y="131414"/>
                    <a:pt x="257600" y="138879"/>
                  </a:cubicBezTo>
                  <a:cubicBezTo>
                    <a:pt x="256839" y="140068"/>
                    <a:pt x="255934" y="141209"/>
                    <a:pt x="254886" y="142255"/>
                  </a:cubicBezTo>
                  <a:lnTo>
                    <a:pt x="252315" y="144823"/>
                  </a:lnTo>
                  <a:lnTo>
                    <a:pt x="246696" y="150434"/>
                  </a:lnTo>
                  <a:lnTo>
                    <a:pt x="175892" y="221140"/>
                  </a:lnTo>
                  <a:lnTo>
                    <a:pt x="172463" y="224611"/>
                  </a:lnTo>
                  <a:cubicBezTo>
                    <a:pt x="171702" y="225324"/>
                    <a:pt x="170940" y="225990"/>
                    <a:pt x="170130" y="226560"/>
                  </a:cubicBezTo>
                  <a:cubicBezTo>
                    <a:pt x="167749" y="228319"/>
                    <a:pt x="165083" y="229413"/>
                    <a:pt x="162274" y="229936"/>
                  </a:cubicBezTo>
                  <a:cubicBezTo>
                    <a:pt x="161083" y="230174"/>
                    <a:pt x="159893" y="230269"/>
                    <a:pt x="158702" y="230269"/>
                  </a:cubicBezTo>
                  <a:cubicBezTo>
                    <a:pt x="153703" y="230269"/>
                    <a:pt x="148751" y="228367"/>
                    <a:pt x="144942" y="224611"/>
                  </a:cubicBezTo>
                  <a:lnTo>
                    <a:pt x="137609" y="217288"/>
                  </a:lnTo>
                  <a:lnTo>
                    <a:pt x="69804" y="149578"/>
                  </a:lnTo>
                  <a:lnTo>
                    <a:pt x="62519" y="142255"/>
                  </a:lnTo>
                  <a:cubicBezTo>
                    <a:pt x="54900" y="134647"/>
                    <a:pt x="54900" y="122380"/>
                    <a:pt x="62519" y="114819"/>
                  </a:cubicBezTo>
                  <a:lnTo>
                    <a:pt x="144942" y="32464"/>
                  </a:lnTo>
                  <a:cubicBezTo>
                    <a:pt x="148751" y="28660"/>
                    <a:pt x="153750" y="26758"/>
                    <a:pt x="158702" y="26758"/>
                  </a:cubicBezTo>
                  <a:close/>
                  <a:moveTo>
                    <a:pt x="254809" y="6542"/>
                  </a:moveTo>
                  <a:cubicBezTo>
                    <a:pt x="277279" y="4029"/>
                    <a:pt x="300492" y="9424"/>
                    <a:pt x="321015" y="29913"/>
                  </a:cubicBezTo>
                  <a:cubicBezTo>
                    <a:pt x="380347" y="89193"/>
                    <a:pt x="337205" y="46124"/>
                    <a:pt x="260017" y="97465"/>
                  </a:cubicBezTo>
                  <a:lnTo>
                    <a:pt x="193067" y="30626"/>
                  </a:lnTo>
                  <a:cubicBezTo>
                    <a:pt x="210614" y="19479"/>
                    <a:pt x="232340" y="9056"/>
                    <a:pt x="254809" y="6542"/>
                  </a:cubicBezTo>
                  <a:close/>
                  <a:moveTo>
                    <a:pt x="503105" y="953"/>
                  </a:moveTo>
                  <a:cubicBezTo>
                    <a:pt x="515252" y="2468"/>
                    <a:pt x="527216" y="5788"/>
                    <a:pt x="538560" y="10911"/>
                  </a:cubicBezTo>
                  <a:cubicBezTo>
                    <a:pt x="546131" y="14334"/>
                    <a:pt x="547940" y="24224"/>
                    <a:pt x="542083" y="30073"/>
                  </a:cubicBezTo>
                  <a:lnTo>
                    <a:pt x="465709" y="106341"/>
                  </a:lnTo>
                  <a:cubicBezTo>
                    <a:pt x="456424" y="115613"/>
                    <a:pt x="456424" y="130639"/>
                    <a:pt x="465709" y="139911"/>
                  </a:cubicBezTo>
                  <a:lnTo>
                    <a:pt x="542131" y="216227"/>
                  </a:lnTo>
                  <a:cubicBezTo>
                    <a:pt x="547940" y="222028"/>
                    <a:pt x="546178" y="231823"/>
                    <a:pt x="538655" y="235246"/>
                  </a:cubicBezTo>
                  <a:cubicBezTo>
                    <a:pt x="508181" y="249035"/>
                    <a:pt x="473184" y="249844"/>
                    <a:pt x="442187" y="237528"/>
                  </a:cubicBezTo>
                  <a:lnTo>
                    <a:pt x="399238" y="280370"/>
                  </a:lnTo>
                  <a:lnTo>
                    <a:pt x="328482" y="209712"/>
                  </a:lnTo>
                  <a:lnTo>
                    <a:pt x="372240" y="166015"/>
                  </a:lnTo>
                  <a:cubicBezTo>
                    <a:pt x="356051" y="122270"/>
                    <a:pt x="365527" y="71060"/>
                    <a:pt x="400571" y="36064"/>
                  </a:cubicBezTo>
                  <a:cubicBezTo>
                    <a:pt x="428569" y="8106"/>
                    <a:pt x="466664" y="-3592"/>
                    <a:pt x="503105" y="953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 dirty="0"/>
            </a:p>
          </p:txBody>
        </p:sp>
        <p:sp>
          <p:nvSpPr>
            <p:cNvPr id="18" name="iSļîḍe">
              <a:extLst>
                <a:ext uri="{FF2B5EF4-FFF2-40B4-BE49-F238E27FC236}">
                  <a16:creationId xmlns:a16="http://schemas.microsoft.com/office/drawing/2014/main" xmlns="" id="{3865570D-C306-4A38-B55A-9E9B38447D58}"/>
                </a:ext>
              </a:extLst>
            </p:cNvPr>
            <p:cNvSpPr/>
            <p:nvPr/>
          </p:nvSpPr>
          <p:spPr bwMode="auto">
            <a:xfrm>
              <a:off x="7232441" y="3842246"/>
              <a:ext cx="425210" cy="424414"/>
            </a:xfrm>
            <a:custGeom>
              <a:avLst/>
              <a:gdLst>
                <a:gd name="connsiteX0" fmla="*/ 290910 w 605702"/>
                <a:gd name="connsiteY0" fmla="*/ 156336 h 604568"/>
                <a:gd name="connsiteX1" fmla="*/ 335849 w 605702"/>
                <a:gd name="connsiteY1" fmla="*/ 164992 h 604568"/>
                <a:gd name="connsiteX2" fmla="*/ 288310 w 605702"/>
                <a:gd name="connsiteY2" fmla="*/ 212456 h 604568"/>
                <a:gd name="connsiteX3" fmla="*/ 203632 w 605702"/>
                <a:gd name="connsiteY3" fmla="*/ 244717 h 604568"/>
                <a:gd name="connsiteX4" fmla="*/ 203632 w 605702"/>
                <a:gd name="connsiteY4" fmla="*/ 401388 h 604568"/>
                <a:gd name="connsiteX5" fmla="*/ 360547 w 605702"/>
                <a:gd name="connsiteY5" fmla="*/ 401388 h 604568"/>
                <a:gd name="connsiteX6" fmla="*/ 392859 w 605702"/>
                <a:gd name="connsiteY6" fmla="*/ 316749 h 604568"/>
                <a:gd name="connsiteX7" fmla="*/ 440397 w 605702"/>
                <a:gd name="connsiteY7" fmla="*/ 269284 h 604568"/>
                <a:gd name="connsiteX8" fmla="*/ 400287 w 605702"/>
                <a:gd name="connsiteY8" fmla="*/ 441065 h 604568"/>
                <a:gd name="connsiteX9" fmla="*/ 163892 w 605702"/>
                <a:gd name="connsiteY9" fmla="*/ 441065 h 604568"/>
                <a:gd name="connsiteX10" fmla="*/ 163892 w 605702"/>
                <a:gd name="connsiteY10" fmla="*/ 205040 h 604568"/>
                <a:gd name="connsiteX11" fmla="*/ 290910 w 605702"/>
                <a:gd name="connsiteY11" fmla="*/ 156336 h 604568"/>
                <a:gd name="connsiteX12" fmla="*/ 246542 w 605702"/>
                <a:gd name="connsiteY12" fmla="*/ 43775 h 604568"/>
                <a:gd name="connsiteX13" fmla="*/ 422196 w 605702"/>
                <a:gd name="connsiteY13" fmla="*/ 78723 h 604568"/>
                <a:gd name="connsiteX14" fmla="*/ 376794 w 605702"/>
                <a:gd name="connsiteY14" fmla="*/ 124054 h 604568"/>
                <a:gd name="connsiteX15" fmla="*/ 126109 w 605702"/>
                <a:gd name="connsiteY15" fmla="*/ 167345 h 604568"/>
                <a:gd name="connsiteX16" fmla="*/ 126109 w 605702"/>
                <a:gd name="connsiteY16" fmla="*/ 478820 h 604568"/>
                <a:gd name="connsiteX17" fmla="*/ 438073 w 605702"/>
                <a:gd name="connsiteY17" fmla="*/ 478820 h 604568"/>
                <a:gd name="connsiteX18" fmla="*/ 481432 w 605702"/>
                <a:gd name="connsiteY18" fmla="*/ 228527 h 604568"/>
                <a:gd name="connsiteX19" fmla="*/ 526741 w 605702"/>
                <a:gd name="connsiteY19" fmla="*/ 183011 h 604568"/>
                <a:gd name="connsiteX20" fmla="*/ 481432 w 605702"/>
                <a:gd name="connsiteY20" fmla="*/ 522111 h 604568"/>
                <a:gd name="connsiteX21" fmla="*/ 82657 w 605702"/>
                <a:gd name="connsiteY21" fmla="*/ 522111 h 604568"/>
                <a:gd name="connsiteX22" fmla="*/ 82657 w 605702"/>
                <a:gd name="connsiteY22" fmla="*/ 123961 h 604568"/>
                <a:gd name="connsiteX23" fmla="*/ 246542 w 605702"/>
                <a:gd name="connsiteY23" fmla="*/ 43775 h 604568"/>
                <a:gd name="connsiteX24" fmla="*/ 536061 w 605702"/>
                <a:gd name="connsiteY24" fmla="*/ 0 h 604568"/>
                <a:gd name="connsiteX25" fmla="*/ 544232 w 605702"/>
                <a:gd name="connsiteY25" fmla="*/ 61368 h 604568"/>
                <a:gd name="connsiteX26" fmla="*/ 605702 w 605702"/>
                <a:gd name="connsiteY26" fmla="*/ 69526 h 604568"/>
                <a:gd name="connsiteX27" fmla="*/ 524361 w 605702"/>
                <a:gd name="connsiteY27" fmla="*/ 150732 h 604568"/>
                <a:gd name="connsiteX28" fmla="*/ 498361 w 605702"/>
                <a:gd name="connsiteY28" fmla="*/ 147302 h 604568"/>
                <a:gd name="connsiteX29" fmla="*/ 337721 w 605702"/>
                <a:gd name="connsiteY29" fmla="*/ 307767 h 604568"/>
                <a:gd name="connsiteX30" fmla="*/ 339764 w 605702"/>
                <a:gd name="connsiteY30" fmla="*/ 323063 h 604568"/>
                <a:gd name="connsiteX31" fmla="*/ 282101 w 605702"/>
                <a:gd name="connsiteY31" fmla="*/ 380630 h 604568"/>
                <a:gd name="connsiteX32" fmla="*/ 224437 w 605702"/>
                <a:gd name="connsiteY32" fmla="*/ 323063 h 604568"/>
                <a:gd name="connsiteX33" fmla="*/ 282101 w 605702"/>
                <a:gd name="connsiteY33" fmla="*/ 265495 h 604568"/>
                <a:gd name="connsiteX34" fmla="*/ 297422 w 605702"/>
                <a:gd name="connsiteY34" fmla="*/ 267535 h 604568"/>
                <a:gd name="connsiteX35" fmla="*/ 458155 w 605702"/>
                <a:gd name="connsiteY35" fmla="*/ 107162 h 604568"/>
                <a:gd name="connsiteX36" fmla="*/ 454719 w 605702"/>
                <a:gd name="connsiteY36" fmla="*/ 81206 h 60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5702" h="604568">
                  <a:moveTo>
                    <a:pt x="290910" y="156336"/>
                  </a:moveTo>
                  <a:cubicBezTo>
                    <a:pt x="306137" y="157147"/>
                    <a:pt x="321272" y="160032"/>
                    <a:pt x="335849" y="164992"/>
                  </a:cubicBezTo>
                  <a:lnTo>
                    <a:pt x="288310" y="212456"/>
                  </a:lnTo>
                  <a:cubicBezTo>
                    <a:pt x="257856" y="210695"/>
                    <a:pt x="226844" y="221449"/>
                    <a:pt x="203632" y="244717"/>
                  </a:cubicBezTo>
                  <a:cubicBezTo>
                    <a:pt x="160271" y="287918"/>
                    <a:pt x="160271" y="358187"/>
                    <a:pt x="203632" y="401388"/>
                  </a:cubicBezTo>
                  <a:cubicBezTo>
                    <a:pt x="246900" y="444680"/>
                    <a:pt x="317279" y="444680"/>
                    <a:pt x="360547" y="401388"/>
                  </a:cubicBezTo>
                  <a:cubicBezTo>
                    <a:pt x="383852" y="378211"/>
                    <a:pt x="394623" y="347156"/>
                    <a:pt x="392859" y="316749"/>
                  </a:cubicBezTo>
                  <a:lnTo>
                    <a:pt x="440397" y="269284"/>
                  </a:lnTo>
                  <a:cubicBezTo>
                    <a:pt x="460267" y="327595"/>
                    <a:pt x="446897" y="394620"/>
                    <a:pt x="400287" y="441065"/>
                  </a:cubicBezTo>
                  <a:cubicBezTo>
                    <a:pt x="335106" y="506236"/>
                    <a:pt x="229073" y="506236"/>
                    <a:pt x="163892" y="441065"/>
                  </a:cubicBezTo>
                  <a:cubicBezTo>
                    <a:pt x="98619" y="375987"/>
                    <a:pt x="98619" y="270118"/>
                    <a:pt x="163892" y="205040"/>
                  </a:cubicBezTo>
                  <a:cubicBezTo>
                    <a:pt x="198711" y="170137"/>
                    <a:pt x="245228" y="153902"/>
                    <a:pt x="290910" y="156336"/>
                  </a:cubicBezTo>
                  <a:close/>
                  <a:moveTo>
                    <a:pt x="246542" y="43775"/>
                  </a:moveTo>
                  <a:cubicBezTo>
                    <a:pt x="306463" y="36243"/>
                    <a:pt x="368345" y="47900"/>
                    <a:pt x="422196" y="78723"/>
                  </a:cubicBezTo>
                  <a:lnTo>
                    <a:pt x="376794" y="124054"/>
                  </a:lnTo>
                  <a:cubicBezTo>
                    <a:pt x="294811" y="85305"/>
                    <a:pt x="193980" y="99581"/>
                    <a:pt x="126109" y="167345"/>
                  </a:cubicBezTo>
                  <a:cubicBezTo>
                    <a:pt x="39948" y="253371"/>
                    <a:pt x="39948" y="392793"/>
                    <a:pt x="126109" y="478820"/>
                  </a:cubicBezTo>
                  <a:cubicBezTo>
                    <a:pt x="212271" y="564846"/>
                    <a:pt x="351912" y="564846"/>
                    <a:pt x="438073" y="478820"/>
                  </a:cubicBezTo>
                  <a:cubicBezTo>
                    <a:pt x="505944" y="411055"/>
                    <a:pt x="520428" y="310382"/>
                    <a:pt x="481432" y="228527"/>
                  </a:cubicBezTo>
                  <a:lnTo>
                    <a:pt x="526741" y="183011"/>
                  </a:lnTo>
                  <a:cubicBezTo>
                    <a:pt x="588484" y="290544"/>
                    <a:pt x="573350" y="430244"/>
                    <a:pt x="481432" y="522111"/>
                  </a:cubicBezTo>
                  <a:cubicBezTo>
                    <a:pt x="371316" y="632054"/>
                    <a:pt x="192866" y="632054"/>
                    <a:pt x="82657" y="522111"/>
                  </a:cubicBezTo>
                  <a:cubicBezTo>
                    <a:pt x="-27552" y="412168"/>
                    <a:pt x="-27552" y="233997"/>
                    <a:pt x="82657" y="123961"/>
                  </a:cubicBezTo>
                  <a:cubicBezTo>
                    <a:pt x="128662" y="78028"/>
                    <a:pt x="186622" y="51307"/>
                    <a:pt x="246542" y="43775"/>
                  </a:cubicBezTo>
                  <a:close/>
                  <a:moveTo>
                    <a:pt x="536061" y="0"/>
                  </a:moveTo>
                  <a:lnTo>
                    <a:pt x="544232" y="61368"/>
                  </a:lnTo>
                  <a:lnTo>
                    <a:pt x="605702" y="69526"/>
                  </a:lnTo>
                  <a:lnTo>
                    <a:pt x="524361" y="150732"/>
                  </a:lnTo>
                  <a:lnTo>
                    <a:pt x="498361" y="147302"/>
                  </a:lnTo>
                  <a:lnTo>
                    <a:pt x="337721" y="307767"/>
                  </a:lnTo>
                  <a:cubicBezTo>
                    <a:pt x="339021" y="312588"/>
                    <a:pt x="339764" y="317779"/>
                    <a:pt x="339764" y="323063"/>
                  </a:cubicBezTo>
                  <a:cubicBezTo>
                    <a:pt x="339764" y="354859"/>
                    <a:pt x="313950" y="380630"/>
                    <a:pt x="282101" y="380630"/>
                  </a:cubicBezTo>
                  <a:cubicBezTo>
                    <a:pt x="250251" y="380630"/>
                    <a:pt x="224437" y="354859"/>
                    <a:pt x="224437" y="323063"/>
                  </a:cubicBezTo>
                  <a:cubicBezTo>
                    <a:pt x="224437" y="291266"/>
                    <a:pt x="250251" y="265495"/>
                    <a:pt x="282101" y="265495"/>
                  </a:cubicBezTo>
                  <a:cubicBezTo>
                    <a:pt x="287393" y="265495"/>
                    <a:pt x="292500" y="266237"/>
                    <a:pt x="297422" y="267535"/>
                  </a:cubicBezTo>
                  <a:lnTo>
                    <a:pt x="458155" y="107162"/>
                  </a:lnTo>
                  <a:lnTo>
                    <a:pt x="454719" y="8120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19" name="ïśliḋè">
              <a:extLst>
                <a:ext uri="{FF2B5EF4-FFF2-40B4-BE49-F238E27FC236}">
                  <a16:creationId xmlns:a16="http://schemas.microsoft.com/office/drawing/2014/main" xmlns="" id="{E49964FF-DC7D-40C0-B2FC-3E9D36ED0D45}"/>
                </a:ext>
              </a:extLst>
            </p:cNvPr>
            <p:cNvSpPr/>
            <p:nvPr/>
          </p:nvSpPr>
          <p:spPr bwMode="auto">
            <a:xfrm>
              <a:off x="3588805" y="3161113"/>
              <a:ext cx="523894" cy="424046"/>
            </a:xfrm>
            <a:custGeom>
              <a:avLst/>
              <a:gdLst>
                <a:gd name="connsiteX0" fmla="*/ 355420 w 607568"/>
                <a:gd name="connsiteY0" fmla="*/ 250307 h 491771"/>
                <a:gd name="connsiteX1" fmla="*/ 352312 w 607568"/>
                <a:gd name="connsiteY1" fmla="*/ 251812 h 491771"/>
                <a:gd name="connsiteX2" fmla="*/ 321042 w 607568"/>
                <a:gd name="connsiteY2" fmla="*/ 289814 h 491771"/>
                <a:gd name="connsiteX3" fmla="*/ 321513 w 607568"/>
                <a:gd name="connsiteY3" fmla="*/ 295364 h 491771"/>
                <a:gd name="connsiteX4" fmla="*/ 369736 w 607568"/>
                <a:gd name="connsiteY4" fmla="*/ 338257 h 491771"/>
                <a:gd name="connsiteX5" fmla="*/ 371997 w 607568"/>
                <a:gd name="connsiteY5" fmla="*/ 339104 h 491771"/>
                <a:gd name="connsiteX6" fmla="*/ 373127 w 607568"/>
                <a:gd name="connsiteY6" fmla="*/ 338916 h 491771"/>
                <a:gd name="connsiteX7" fmla="*/ 375293 w 607568"/>
                <a:gd name="connsiteY7" fmla="*/ 336282 h 491771"/>
                <a:gd name="connsiteX8" fmla="*/ 383676 w 607568"/>
                <a:gd name="connsiteY8" fmla="*/ 279467 h 491771"/>
                <a:gd name="connsiteX9" fmla="*/ 376424 w 607568"/>
                <a:gd name="connsiteY9" fmla="*/ 263287 h 491771"/>
                <a:gd name="connsiteX10" fmla="*/ 357681 w 607568"/>
                <a:gd name="connsiteY10" fmla="*/ 250965 h 491771"/>
                <a:gd name="connsiteX11" fmla="*/ 355420 w 607568"/>
                <a:gd name="connsiteY11" fmla="*/ 250307 h 491771"/>
                <a:gd name="connsiteX12" fmla="*/ 258879 w 607568"/>
                <a:gd name="connsiteY12" fmla="*/ 250307 h 491771"/>
                <a:gd name="connsiteX13" fmla="*/ 256712 w 607568"/>
                <a:gd name="connsiteY13" fmla="*/ 250965 h 491771"/>
                <a:gd name="connsiteX14" fmla="*/ 237969 w 607568"/>
                <a:gd name="connsiteY14" fmla="*/ 263287 h 491771"/>
                <a:gd name="connsiteX15" fmla="*/ 230717 w 607568"/>
                <a:gd name="connsiteY15" fmla="*/ 279467 h 491771"/>
                <a:gd name="connsiteX16" fmla="*/ 239100 w 607568"/>
                <a:gd name="connsiteY16" fmla="*/ 336282 h 491771"/>
                <a:gd name="connsiteX17" fmla="*/ 241266 w 607568"/>
                <a:gd name="connsiteY17" fmla="*/ 338916 h 491771"/>
                <a:gd name="connsiteX18" fmla="*/ 242396 w 607568"/>
                <a:gd name="connsiteY18" fmla="*/ 339104 h 491771"/>
                <a:gd name="connsiteX19" fmla="*/ 244657 w 607568"/>
                <a:gd name="connsiteY19" fmla="*/ 338257 h 491771"/>
                <a:gd name="connsiteX20" fmla="*/ 292880 w 607568"/>
                <a:gd name="connsiteY20" fmla="*/ 295364 h 491771"/>
                <a:gd name="connsiteX21" fmla="*/ 293351 w 607568"/>
                <a:gd name="connsiteY21" fmla="*/ 289814 h 491771"/>
                <a:gd name="connsiteX22" fmla="*/ 261987 w 607568"/>
                <a:gd name="connsiteY22" fmla="*/ 251812 h 491771"/>
                <a:gd name="connsiteX23" fmla="*/ 258879 w 607568"/>
                <a:gd name="connsiteY23" fmla="*/ 250307 h 491771"/>
                <a:gd name="connsiteX24" fmla="*/ 500465 w 607568"/>
                <a:gd name="connsiteY24" fmla="*/ 66049 h 491771"/>
                <a:gd name="connsiteX25" fmla="*/ 565743 w 607568"/>
                <a:gd name="connsiteY25" fmla="*/ 130673 h 491771"/>
                <a:gd name="connsiteX26" fmla="*/ 566120 w 607568"/>
                <a:gd name="connsiteY26" fmla="*/ 130673 h 491771"/>
                <a:gd name="connsiteX27" fmla="*/ 580250 w 607568"/>
                <a:gd name="connsiteY27" fmla="*/ 160962 h 491771"/>
                <a:gd name="connsiteX28" fmla="*/ 560939 w 607568"/>
                <a:gd name="connsiteY28" fmla="*/ 182503 h 491771"/>
                <a:gd name="connsiteX29" fmla="*/ 531927 w 607568"/>
                <a:gd name="connsiteY29" fmla="*/ 223799 h 491771"/>
                <a:gd name="connsiteX30" fmla="*/ 528253 w 607568"/>
                <a:gd name="connsiteY30" fmla="*/ 234240 h 491771"/>
                <a:gd name="connsiteX31" fmla="*/ 530797 w 607568"/>
                <a:gd name="connsiteY31" fmla="*/ 246281 h 491771"/>
                <a:gd name="connsiteX32" fmla="*/ 545868 w 607568"/>
                <a:gd name="connsiteY32" fmla="*/ 261143 h 491771"/>
                <a:gd name="connsiteX33" fmla="*/ 558961 w 607568"/>
                <a:gd name="connsiteY33" fmla="*/ 263777 h 491771"/>
                <a:gd name="connsiteX34" fmla="*/ 597299 w 607568"/>
                <a:gd name="connsiteY34" fmla="*/ 301968 h 491771"/>
                <a:gd name="connsiteX35" fmla="*/ 607002 w 607568"/>
                <a:gd name="connsiteY35" fmla="*/ 350788 h 491771"/>
                <a:gd name="connsiteX36" fmla="*/ 601256 w 607568"/>
                <a:gd name="connsiteY36" fmla="*/ 373835 h 491771"/>
                <a:gd name="connsiteX37" fmla="*/ 579685 w 607568"/>
                <a:gd name="connsiteY37" fmla="*/ 384088 h 491771"/>
                <a:gd name="connsiteX38" fmla="*/ 490386 w 607568"/>
                <a:gd name="connsiteY38" fmla="*/ 384088 h 491771"/>
                <a:gd name="connsiteX39" fmla="*/ 467685 w 607568"/>
                <a:gd name="connsiteY39" fmla="*/ 310058 h 491771"/>
                <a:gd name="connsiteX40" fmla="*/ 431702 w 607568"/>
                <a:gd name="connsiteY40" fmla="*/ 267445 h 491771"/>
                <a:gd name="connsiteX41" fmla="*/ 441969 w 607568"/>
                <a:gd name="connsiteY41" fmla="*/ 263777 h 491771"/>
                <a:gd name="connsiteX42" fmla="*/ 455157 w 607568"/>
                <a:gd name="connsiteY42" fmla="*/ 261237 h 491771"/>
                <a:gd name="connsiteX43" fmla="*/ 470228 w 607568"/>
                <a:gd name="connsiteY43" fmla="*/ 246281 h 491771"/>
                <a:gd name="connsiteX44" fmla="*/ 472677 w 607568"/>
                <a:gd name="connsiteY44" fmla="*/ 234240 h 491771"/>
                <a:gd name="connsiteX45" fmla="*/ 469098 w 607568"/>
                <a:gd name="connsiteY45" fmla="*/ 223893 h 491771"/>
                <a:gd name="connsiteX46" fmla="*/ 439991 w 607568"/>
                <a:gd name="connsiteY46" fmla="*/ 182503 h 491771"/>
                <a:gd name="connsiteX47" fmla="*/ 426144 w 607568"/>
                <a:gd name="connsiteY47" fmla="*/ 172720 h 491771"/>
                <a:gd name="connsiteX48" fmla="*/ 441404 w 607568"/>
                <a:gd name="connsiteY48" fmla="*/ 143278 h 491771"/>
                <a:gd name="connsiteX49" fmla="*/ 439708 w 607568"/>
                <a:gd name="connsiteY49" fmla="*/ 107438 h 491771"/>
                <a:gd name="connsiteX50" fmla="*/ 500465 w 607568"/>
                <a:gd name="connsiteY50" fmla="*/ 66049 h 491771"/>
                <a:gd name="connsiteX51" fmla="*/ 107100 w 607568"/>
                <a:gd name="connsiteY51" fmla="*/ 66049 h 491771"/>
                <a:gd name="connsiteX52" fmla="*/ 171341 w 607568"/>
                <a:gd name="connsiteY52" fmla="*/ 123618 h 491771"/>
                <a:gd name="connsiteX53" fmla="*/ 172849 w 607568"/>
                <a:gd name="connsiteY53" fmla="*/ 143278 h 491771"/>
                <a:gd name="connsiteX54" fmla="*/ 184246 w 607568"/>
                <a:gd name="connsiteY54" fmla="*/ 168205 h 491771"/>
                <a:gd name="connsiteX55" fmla="*/ 167574 w 607568"/>
                <a:gd name="connsiteY55" fmla="*/ 182503 h 491771"/>
                <a:gd name="connsiteX56" fmla="*/ 138468 w 607568"/>
                <a:gd name="connsiteY56" fmla="*/ 223799 h 491771"/>
                <a:gd name="connsiteX57" fmla="*/ 134794 w 607568"/>
                <a:gd name="connsiteY57" fmla="*/ 234240 h 491771"/>
                <a:gd name="connsiteX58" fmla="*/ 137337 w 607568"/>
                <a:gd name="connsiteY58" fmla="*/ 246281 h 491771"/>
                <a:gd name="connsiteX59" fmla="*/ 152408 w 607568"/>
                <a:gd name="connsiteY59" fmla="*/ 261143 h 491771"/>
                <a:gd name="connsiteX60" fmla="*/ 165596 w 607568"/>
                <a:gd name="connsiteY60" fmla="*/ 263777 h 491771"/>
                <a:gd name="connsiteX61" fmla="*/ 179442 w 607568"/>
                <a:gd name="connsiteY61" fmla="*/ 268856 h 491771"/>
                <a:gd name="connsiteX62" fmla="*/ 146662 w 607568"/>
                <a:gd name="connsiteY62" fmla="*/ 310058 h 491771"/>
                <a:gd name="connsiteX63" fmla="*/ 123867 w 607568"/>
                <a:gd name="connsiteY63" fmla="*/ 384088 h 491771"/>
                <a:gd name="connsiteX64" fmla="*/ 27883 w 607568"/>
                <a:gd name="connsiteY64" fmla="*/ 384088 h 491771"/>
                <a:gd name="connsiteX65" fmla="*/ 6312 w 607568"/>
                <a:gd name="connsiteY65" fmla="*/ 373835 h 491771"/>
                <a:gd name="connsiteX66" fmla="*/ 566 w 607568"/>
                <a:gd name="connsiteY66" fmla="*/ 350788 h 491771"/>
                <a:gd name="connsiteX67" fmla="*/ 10268 w 607568"/>
                <a:gd name="connsiteY67" fmla="*/ 301968 h 491771"/>
                <a:gd name="connsiteX68" fmla="*/ 48606 w 607568"/>
                <a:gd name="connsiteY68" fmla="*/ 263777 h 491771"/>
                <a:gd name="connsiteX69" fmla="*/ 61699 w 607568"/>
                <a:gd name="connsiteY69" fmla="*/ 261237 h 491771"/>
                <a:gd name="connsiteX70" fmla="*/ 76770 w 607568"/>
                <a:gd name="connsiteY70" fmla="*/ 246281 h 491771"/>
                <a:gd name="connsiteX71" fmla="*/ 79313 w 607568"/>
                <a:gd name="connsiteY71" fmla="*/ 234240 h 491771"/>
                <a:gd name="connsiteX72" fmla="*/ 75639 w 607568"/>
                <a:gd name="connsiteY72" fmla="*/ 223893 h 491771"/>
                <a:gd name="connsiteX73" fmla="*/ 46628 w 607568"/>
                <a:gd name="connsiteY73" fmla="*/ 182503 h 491771"/>
                <a:gd name="connsiteX74" fmla="*/ 27318 w 607568"/>
                <a:gd name="connsiteY74" fmla="*/ 160962 h 491771"/>
                <a:gd name="connsiteX75" fmla="*/ 41447 w 607568"/>
                <a:gd name="connsiteY75" fmla="*/ 130673 h 491771"/>
                <a:gd name="connsiteX76" fmla="*/ 41824 w 607568"/>
                <a:gd name="connsiteY76" fmla="*/ 130673 h 491771"/>
                <a:gd name="connsiteX77" fmla="*/ 107100 w 607568"/>
                <a:gd name="connsiteY77" fmla="*/ 66049 h 491771"/>
                <a:gd name="connsiteX78" fmla="*/ 298626 w 607568"/>
                <a:gd name="connsiteY78" fmla="*/ 0 h 491771"/>
                <a:gd name="connsiteX79" fmla="*/ 315956 w 607568"/>
                <a:gd name="connsiteY79" fmla="*/ 0 h 491771"/>
                <a:gd name="connsiteX80" fmla="*/ 401854 w 607568"/>
                <a:gd name="connsiteY80" fmla="*/ 85787 h 491771"/>
                <a:gd name="connsiteX81" fmla="*/ 401854 w 607568"/>
                <a:gd name="connsiteY81" fmla="*/ 95476 h 491771"/>
                <a:gd name="connsiteX82" fmla="*/ 421633 w 607568"/>
                <a:gd name="connsiteY82" fmla="*/ 138840 h 491771"/>
                <a:gd name="connsiteX83" fmla="*/ 417960 w 607568"/>
                <a:gd name="connsiteY83" fmla="*/ 149281 h 491771"/>
                <a:gd name="connsiteX84" fmla="*/ 417112 w 607568"/>
                <a:gd name="connsiteY84" fmla="*/ 151068 h 491771"/>
                <a:gd name="connsiteX85" fmla="*/ 411273 w 607568"/>
                <a:gd name="connsiteY85" fmla="*/ 159534 h 491771"/>
                <a:gd name="connsiteX86" fmla="*/ 410896 w 607568"/>
                <a:gd name="connsiteY86" fmla="*/ 159910 h 491771"/>
                <a:gd name="connsiteX87" fmla="*/ 394037 w 607568"/>
                <a:gd name="connsiteY87" fmla="*/ 169787 h 491771"/>
                <a:gd name="connsiteX88" fmla="*/ 384900 w 607568"/>
                <a:gd name="connsiteY88" fmla="*/ 189541 h 491771"/>
                <a:gd name="connsiteX89" fmla="*/ 384712 w 607568"/>
                <a:gd name="connsiteY89" fmla="*/ 189823 h 491771"/>
                <a:gd name="connsiteX90" fmla="*/ 373316 w 607568"/>
                <a:gd name="connsiteY90" fmla="*/ 207131 h 491771"/>
                <a:gd name="connsiteX91" fmla="*/ 372750 w 607568"/>
                <a:gd name="connsiteY91" fmla="*/ 207789 h 491771"/>
                <a:gd name="connsiteX92" fmla="*/ 359847 w 607568"/>
                <a:gd name="connsiteY92" fmla="*/ 222275 h 491771"/>
                <a:gd name="connsiteX93" fmla="*/ 359188 w 607568"/>
                <a:gd name="connsiteY93" fmla="*/ 222934 h 491771"/>
                <a:gd name="connsiteX94" fmla="*/ 345154 w 607568"/>
                <a:gd name="connsiteY94" fmla="*/ 234598 h 491771"/>
                <a:gd name="connsiteX95" fmla="*/ 345625 w 607568"/>
                <a:gd name="connsiteY95" fmla="*/ 236855 h 491771"/>
                <a:gd name="connsiteX96" fmla="*/ 348639 w 607568"/>
                <a:gd name="connsiteY96" fmla="*/ 235538 h 491771"/>
                <a:gd name="connsiteX97" fmla="*/ 355514 w 607568"/>
                <a:gd name="connsiteY97" fmla="*/ 234033 h 491771"/>
                <a:gd name="connsiteX98" fmla="*/ 366628 w 607568"/>
                <a:gd name="connsiteY98" fmla="*/ 237326 h 491771"/>
                <a:gd name="connsiteX99" fmla="*/ 385371 w 607568"/>
                <a:gd name="connsiteY99" fmla="*/ 249648 h 491771"/>
                <a:gd name="connsiteX100" fmla="*/ 399876 w 607568"/>
                <a:gd name="connsiteY100" fmla="*/ 279373 h 491771"/>
                <a:gd name="connsiteX101" fmla="*/ 430016 w 607568"/>
                <a:gd name="connsiteY101" fmla="*/ 289814 h 491771"/>
                <a:gd name="connsiteX102" fmla="*/ 448382 w 607568"/>
                <a:gd name="connsiteY102" fmla="*/ 316058 h 491771"/>
                <a:gd name="connsiteX103" fmla="*/ 481630 w 607568"/>
                <a:gd name="connsiteY103" fmla="*/ 424515 h 491771"/>
                <a:gd name="connsiteX104" fmla="*/ 483891 w 607568"/>
                <a:gd name="connsiteY104" fmla="*/ 436461 h 491771"/>
                <a:gd name="connsiteX105" fmla="*/ 473718 w 607568"/>
                <a:gd name="connsiteY105" fmla="*/ 470700 h 491771"/>
                <a:gd name="connsiteX106" fmla="*/ 443956 w 607568"/>
                <a:gd name="connsiteY106" fmla="*/ 490360 h 491771"/>
                <a:gd name="connsiteX107" fmla="*/ 431805 w 607568"/>
                <a:gd name="connsiteY107" fmla="*/ 491771 h 491771"/>
                <a:gd name="connsiteX108" fmla="*/ 325375 w 607568"/>
                <a:gd name="connsiteY108" fmla="*/ 491771 h 491771"/>
                <a:gd name="connsiteX109" fmla="*/ 337430 w 607568"/>
                <a:gd name="connsiteY109" fmla="*/ 415296 h 491771"/>
                <a:gd name="connsiteX110" fmla="*/ 334605 w 607568"/>
                <a:gd name="connsiteY110" fmla="*/ 389052 h 491771"/>
                <a:gd name="connsiteX111" fmla="*/ 323962 w 607568"/>
                <a:gd name="connsiteY111" fmla="*/ 360927 h 491771"/>
                <a:gd name="connsiteX112" fmla="*/ 337430 w 607568"/>
                <a:gd name="connsiteY112" fmla="*/ 347476 h 491771"/>
                <a:gd name="connsiteX113" fmla="*/ 307196 w 607568"/>
                <a:gd name="connsiteY113" fmla="*/ 317281 h 491771"/>
                <a:gd name="connsiteX114" fmla="*/ 276868 w 607568"/>
                <a:gd name="connsiteY114" fmla="*/ 347476 h 491771"/>
                <a:gd name="connsiteX115" fmla="*/ 290337 w 607568"/>
                <a:gd name="connsiteY115" fmla="*/ 360927 h 491771"/>
                <a:gd name="connsiteX116" fmla="*/ 279694 w 607568"/>
                <a:gd name="connsiteY116" fmla="*/ 389052 h 491771"/>
                <a:gd name="connsiteX117" fmla="*/ 276963 w 607568"/>
                <a:gd name="connsiteY117" fmla="*/ 415296 h 491771"/>
                <a:gd name="connsiteX118" fmla="*/ 288736 w 607568"/>
                <a:gd name="connsiteY118" fmla="*/ 491771 h 491771"/>
                <a:gd name="connsiteX119" fmla="*/ 182493 w 607568"/>
                <a:gd name="connsiteY119" fmla="*/ 491771 h 491771"/>
                <a:gd name="connsiteX120" fmla="*/ 170437 w 607568"/>
                <a:gd name="connsiteY120" fmla="*/ 490360 h 491771"/>
                <a:gd name="connsiteX121" fmla="*/ 140675 w 607568"/>
                <a:gd name="connsiteY121" fmla="*/ 470700 h 491771"/>
                <a:gd name="connsiteX122" fmla="*/ 132669 w 607568"/>
                <a:gd name="connsiteY122" fmla="*/ 424515 h 491771"/>
                <a:gd name="connsiteX123" fmla="*/ 166011 w 607568"/>
                <a:gd name="connsiteY123" fmla="*/ 316058 h 491771"/>
                <a:gd name="connsiteX124" fmla="*/ 184377 w 607568"/>
                <a:gd name="connsiteY124" fmla="*/ 289814 h 491771"/>
                <a:gd name="connsiteX125" fmla="*/ 214517 w 607568"/>
                <a:gd name="connsiteY125" fmla="*/ 279373 h 491771"/>
                <a:gd name="connsiteX126" fmla="*/ 214517 w 607568"/>
                <a:gd name="connsiteY126" fmla="*/ 279279 h 491771"/>
                <a:gd name="connsiteX127" fmla="*/ 229022 w 607568"/>
                <a:gd name="connsiteY127" fmla="*/ 249648 h 491771"/>
                <a:gd name="connsiteX128" fmla="*/ 247765 w 607568"/>
                <a:gd name="connsiteY128" fmla="*/ 237326 h 491771"/>
                <a:gd name="connsiteX129" fmla="*/ 258879 w 607568"/>
                <a:gd name="connsiteY129" fmla="*/ 234033 h 491771"/>
                <a:gd name="connsiteX130" fmla="*/ 265754 w 607568"/>
                <a:gd name="connsiteY130" fmla="*/ 235538 h 491771"/>
                <a:gd name="connsiteX131" fmla="*/ 268768 w 607568"/>
                <a:gd name="connsiteY131" fmla="*/ 236855 h 491771"/>
                <a:gd name="connsiteX132" fmla="*/ 269239 w 607568"/>
                <a:gd name="connsiteY132" fmla="*/ 234598 h 491771"/>
                <a:gd name="connsiteX133" fmla="*/ 255205 w 607568"/>
                <a:gd name="connsiteY133" fmla="*/ 222934 h 491771"/>
                <a:gd name="connsiteX134" fmla="*/ 254546 w 607568"/>
                <a:gd name="connsiteY134" fmla="*/ 222275 h 491771"/>
                <a:gd name="connsiteX135" fmla="*/ 241548 w 607568"/>
                <a:gd name="connsiteY135" fmla="*/ 207789 h 491771"/>
                <a:gd name="connsiteX136" fmla="*/ 241077 w 607568"/>
                <a:gd name="connsiteY136" fmla="*/ 207225 h 491771"/>
                <a:gd name="connsiteX137" fmla="*/ 229681 w 607568"/>
                <a:gd name="connsiteY137" fmla="*/ 189823 h 491771"/>
                <a:gd name="connsiteX138" fmla="*/ 229493 w 607568"/>
                <a:gd name="connsiteY138" fmla="*/ 189635 h 491771"/>
                <a:gd name="connsiteX139" fmla="*/ 220356 w 607568"/>
                <a:gd name="connsiteY139" fmla="*/ 169787 h 491771"/>
                <a:gd name="connsiteX140" fmla="*/ 203497 w 607568"/>
                <a:gd name="connsiteY140" fmla="*/ 159910 h 491771"/>
                <a:gd name="connsiteX141" fmla="*/ 203120 w 607568"/>
                <a:gd name="connsiteY141" fmla="*/ 159534 h 491771"/>
                <a:gd name="connsiteX142" fmla="*/ 197281 w 607568"/>
                <a:gd name="connsiteY142" fmla="*/ 151068 h 491771"/>
                <a:gd name="connsiteX143" fmla="*/ 196433 w 607568"/>
                <a:gd name="connsiteY143" fmla="*/ 149281 h 491771"/>
                <a:gd name="connsiteX144" fmla="*/ 192666 w 607568"/>
                <a:gd name="connsiteY144" fmla="*/ 138840 h 491771"/>
                <a:gd name="connsiteX145" fmla="*/ 212727 w 607568"/>
                <a:gd name="connsiteY145" fmla="*/ 95476 h 491771"/>
                <a:gd name="connsiteX146" fmla="*/ 212727 w 607568"/>
                <a:gd name="connsiteY146" fmla="*/ 85787 h 491771"/>
                <a:gd name="connsiteX147" fmla="*/ 298626 w 607568"/>
                <a:gd name="connsiteY147" fmla="*/ 0 h 49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607568" h="491771">
                  <a:moveTo>
                    <a:pt x="355420" y="250307"/>
                  </a:moveTo>
                  <a:cubicBezTo>
                    <a:pt x="354290" y="250307"/>
                    <a:pt x="353160" y="250871"/>
                    <a:pt x="352312" y="251812"/>
                  </a:cubicBezTo>
                  <a:lnTo>
                    <a:pt x="321042" y="289814"/>
                  </a:lnTo>
                  <a:cubicBezTo>
                    <a:pt x="319723" y="291507"/>
                    <a:pt x="319912" y="293953"/>
                    <a:pt x="321513" y="295364"/>
                  </a:cubicBezTo>
                  <a:lnTo>
                    <a:pt x="369736" y="338257"/>
                  </a:lnTo>
                  <a:cubicBezTo>
                    <a:pt x="370396" y="338822"/>
                    <a:pt x="371149" y="339104"/>
                    <a:pt x="371997" y="339104"/>
                  </a:cubicBezTo>
                  <a:cubicBezTo>
                    <a:pt x="372374" y="339104"/>
                    <a:pt x="372750" y="339010"/>
                    <a:pt x="373127" y="338916"/>
                  </a:cubicBezTo>
                  <a:cubicBezTo>
                    <a:pt x="374257" y="338539"/>
                    <a:pt x="375105" y="337505"/>
                    <a:pt x="375293" y="336282"/>
                  </a:cubicBezTo>
                  <a:lnTo>
                    <a:pt x="383676" y="279467"/>
                  </a:lnTo>
                  <a:cubicBezTo>
                    <a:pt x="384618" y="273164"/>
                    <a:pt x="381792" y="266768"/>
                    <a:pt x="376424" y="263287"/>
                  </a:cubicBezTo>
                  <a:lnTo>
                    <a:pt x="357681" y="250965"/>
                  </a:lnTo>
                  <a:cubicBezTo>
                    <a:pt x="357021" y="250495"/>
                    <a:pt x="356174" y="250307"/>
                    <a:pt x="355420" y="250307"/>
                  </a:cubicBezTo>
                  <a:close/>
                  <a:moveTo>
                    <a:pt x="258879" y="250307"/>
                  </a:moveTo>
                  <a:cubicBezTo>
                    <a:pt x="258125" y="250307"/>
                    <a:pt x="257372" y="250495"/>
                    <a:pt x="256712" y="250965"/>
                  </a:cubicBezTo>
                  <a:lnTo>
                    <a:pt x="237969" y="263287"/>
                  </a:lnTo>
                  <a:cubicBezTo>
                    <a:pt x="232601" y="266768"/>
                    <a:pt x="229775" y="273164"/>
                    <a:pt x="230717" y="279467"/>
                  </a:cubicBezTo>
                  <a:lnTo>
                    <a:pt x="239100" y="336282"/>
                  </a:lnTo>
                  <a:cubicBezTo>
                    <a:pt x="239288" y="337505"/>
                    <a:pt x="240136" y="338539"/>
                    <a:pt x="241266" y="338916"/>
                  </a:cubicBezTo>
                  <a:cubicBezTo>
                    <a:pt x="241643" y="339010"/>
                    <a:pt x="242019" y="339104"/>
                    <a:pt x="242396" y="339104"/>
                  </a:cubicBezTo>
                  <a:cubicBezTo>
                    <a:pt x="243244" y="339104"/>
                    <a:pt x="243997" y="338822"/>
                    <a:pt x="244657" y="338257"/>
                  </a:cubicBezTo>
                  <a:lnTo>
                    <a:pt x="292880" y="295364"/>
                  </a:lnTo>
                  <a:cubicBezTo>
                    <a:pt x="294481" y="293953"/>
                    <a:pt x="294670" y="291507"/>
                    <a:pt x="293351" y="289814"/>
                  </a:cubicBezTo>
                  <a:lnTo>
                    <a:pt x="261987" y="251812"/>
                  </a:lnTo>
                  <a:cubicBezTo>
                    <a:pt x="261233" y="250871"/>
                    <a:pt x="260103" y="250307"/>
                    <a:pt x="258879" y="250307"/>
                  </a:cubicBezTo>
                  <a:close/>
                  <a:moveTo>
                    <a:pt x="500465" y="66049"/>
                  </a:moveTo>
                  <a:cubicBezTo>
                    <a:pt x="548129" y="66049"/>
                    <a:pt x="562447" y="93516"/>
                    <a:pt x="565743" y="130673"/>
                  </a:cubicBezTo>
                  <a:cubicBezTo>
                    <a:pt x="565932" y="130673"/>
                    <a:pt x="566026" y="130673"/>
                    <a:pt x="566120" y="130673"/>
                  </a:cubicBezTo>
                  <a:cubicBezTo>
                    <a:pt x="577141" y="133118"/>
                    <a:pt x="583358" y="146664"/>
                    <a:pt x="580250" y="160962"/>
                  </a:cubicBezTo>
                  <a:cubicBezTo>
                    <a:pt x="577706" y="172532"/>
                    <a:pt x="569700" y="180904"/>
                    <a:pt x="560939" y="182503"/>
                  </a:cubicBezTo>
                  <a:cubicBezTo>
                    <a:pt x="554628" y="199529"/>
                    <a:pt x="543796" y="214016"/>
                    <a:pt x="531927" y="223799"/>
                  </a:cubicBezTo>
                  <a:cubicBezTo>
                    <a:pt x="528913" y="226338"/>
                    <a:pt x="527500" y="230383"/>
                    <a:pt x="528253" y="234240"/>
                  </a:cubicBezTo>
                  <a:lnTo>
                    <a:pt x="530797" y="246281"/>
                  </a:lnTo>
                  <a:cubicBezTo>
                    <a:pt x="532304" y="253806"/>
                    <a:pt x="538238" y="259732"/>
                    <a:pt x="545868" y="261143"/>
                  </a:cubicBezTo>
                  <a:lnTo>
                    <a:pt x="558961" y="263777"/>
                  </a:lnTo>
                  <a:cubicBezTo>
                    <a:pt x="578366" y="267634"/>
                    <a:pt x="593437" y="282684"/>
                    <a:pt x="597299" y="301968"/>
                  </a:cubicBezTo>
                  <a:lnTo>
                    <a:pt x="607002" y="350788"/>
                  </a:lnTo>
                  <a:cubicBezTo>
                    <a:pt x="608697" y="358972"/>
                    <a:pt x="606531" y="367438"/>
                    <a:pt x="601256" y="373835"/>
                  </a:cubicBezTo>
                  <a:cubicBezTo>
                    <a:pt x="595981" y="380325"/>
                    <a:pt x="588068" y="384088"/>
                    <a:pt x="579685" y="384088"/>
                  </a:cubicBezTo>
                  <a:lnTo>
                    <a:pt x="490386" y="384088"/>
                  </a:lnTo>
                  <a:lnTo>
                    <a:pt x="467685" y="310058"/>
                  </a:lnTo>
                  <a:cubicBezTo>
                    <a:pt x="461845" y="291150"/>
                    <a:pt x="448563" y="276194"/>
                    <a:pt x="431702" y="267445"/>
                  </a:cubicBezTo>
                  <a:cubicBezTo>
                    <a:pt x="434999" y="265940"/>
                    <a:pt x="438295" y="264529"/>
                    <a:pt x="441969" y="263777"/>
                  </a:cubicBezTo>
                  <a:lnTo>
                    <a:pt x="455157" y="261237"/>
                  </a:lnTo>
                  <a:cubicBezTo>
                    <a:pt x="462692" y="259732"/>
                    <a:pt x="468627" y="253806"/>
                    <a:pt x="470228" y="246281"/>
                  </a:cubicBezTo>
                  <a:lnTo>
                    <a:pt x="472677" y="234240"/>
                  </a:lnTo>
                  <a:cubicBezTo>
                    <a:pt x="473525" y="230383"/>
                    <a:pt x="472112" y="226338"/>
                    <a:pt x="469098" y="223893"/>
                  </a:cubicBezTo>
                  <a:cubicBezTo>
                    <a:pt x="457229" y="214016"/>
                    <a:pt x="446302" y="199529"/>
                    <a:pt x="439991" y="182503"/>
                  </a:cubicBezTo>
                  <a:cubicBezTo>
                    <a:pt x="434716" y="181563"/>
                    <a:pt x="429818" y="177894"/>
                    <a:pt x="426144" y="172720"/>
                  </a:cubicBezTo>
                  <a:cubicBezTo>
                    <a:pt x="433303" y="164725"/>
                    <a:pt x="438861" y="154754"/>
                    <a:pt x="441404" y="143278"/>
                  </a:cubicBezTo>
                  <a:cubicBezTo>
                    <a:pt x="444324" y="130485"/>
                    <a:pt x="443476" y="118068"/>
                    <a:pt x="439708" y="107438"/>
                  </a:cubicBezTo>
                  <a:cubicBezTo>
                    <a:pt x="447244" y="82699"/>
                    <a:pt x="464200" y="66049"/>
                    <a:pt x="500465" y="66049"/>
                  </a:cubicBezTo>
                  <a:close/>
                  <a:moveTo>
                    <a:pt x="107100" y="66049"/>
                  </a:moveTo>
                  <a:cubicBezTo>
                    <a:pt x="151561" y="66049"/>
                    <a:pt x="166820" y="90130"/>
                    <a:pt x="171341" y="123618"/>
                  </a:cubicBezTo>
                  <a:cubicBezTo>
                    <a:pt x="170965" y="129920"/>
                    <a:pt x="171436" y="136505"/>
                    <a:pt x="172849" y="143278"/>
                  </a:cubicBezTo>
                  <a:cubicBezTo>
                    <a:pt x="174921" y="152590"/>
                    <a:pt x="178971" y="161056"/>
                    <a:pt x="184246" y="168205"/>
                  </a:cubicBezTo>
                  <a:cubicBezTo>
                    <a:pt x="180573" y="175919"/>
                    <a:pt x="174356" y="181281"/>
                    <a:pt x="167574" y="182503"/>
                  </a:cubicBezTo>
                  <a:cubicBezTo>
                    <a:pt x="161263" y="199529"/>
                    <a:pt x="150336" y="214016"/>
                    <a:pt x="138468" y="223799"/>
                  </a:cubicBezTo>
                  <a:cubicBezTo>
                    <a:pt x="135453" y="226338"/>
                    <a:pt x="134040" y="230383"/>
                    <a:pt x="134794" y="234240"/>
                  </a:cubicBezTo>
                  <a:lnTo>
                    <a:pt x="137337" y="246281"/>
                  </a:lnTo>
                  <a:cubicBezTo>
                    <a:pt x="138939" y="253806"/>
                    <a:pt x="144873" y="259732"/>
                    <a:pt x="152408" y="261143"/>
                  </a:cubicBezTo>
                  <a:lnTo>
                    <a:pt x="165596" y="263777"/>
                  </a:lnTo>
                  <a:cubicBezTo>
                    <a:pt x="170494" y="264812"/>
                    <a:pt x="175203" y="266505"/>
                    <a:pt x="179442" y="268856"/>
                  </a:cubicBezTo>
                  <a:cubicBezTo>
                    <a:pt x="164088" y="277793"/>
                    <a:pt x="152126" y="292279"/>
                    <a:pt x="146662" y="310058"/>
                  </a:cubicBezTo>
                  <a:lnTo>
                    <a:pt x="123867" y="384088"/>
                  </a:lnTo>
                  <a:lnTo>
                    <a:pt x="27883" y="384088"/>
                  </a:lnTo>
                  <a:cubicBezTo>
                    <a:pt x="19499" y="384088"/>
                    <a:pt x="11587" y="380325"/>
                    <a:pt x="6312" y="373835"/>
                  </a:cubicBezTo>
                  <a:cubicBezTo>
                    <a:pt x="1037" y="367438"/>
                    <a:pt x="-1129" y="358972"/>
                    <a:pt x="566" y="350788"/>
                  </a:cubicBezTo>
                  <a:lnTo>
                    <a:pt x="10268" y="301968"/>
                  </a:lnTo>
                  <a:cubicBezTo>
                    <a:pt x="14130" y="282684"/>
                    <a:pt x="29202" y="267634"/>
                    <a:pt x="48606" y="263777"/>
                  </a:cubicBezTo>
                  <a:lnTo>
                    <a:pt x="61699" y="261237"/>
                  </a:lnTo>
                  <a:cubicBezTo>
                    <a:pt x="69328" y="259732"/>
                    <a:pt x="75263" y="253806"/>
                    <a:pt x="76770" y="246281"/>
                  </a:cubicBezTo>
                  <a:lnTo>
                    <a:pt x="79313" y="234240"/>
                  </a:lnTo>
                  <a:cubicBezTo>
                    <a:pt x="80067" y="230383"/>
                    <a:pt x="78654" y="226338"/>
                    <a:pt x="75639" y="223893"/>
                  </a:cubicBezTo>
                  <a:cubicBezTo>
                    <a:pt x="63771" y="214016"/>
                    <a:pt x="52939" y="199623"/>
                    <a:pt x="46628" y="182503"/>
                  </a:cubicBezTo>
                  <a:cubicBezTo>
                    <a:pt x="37867" y="180904"/>
                    <a:pt x="29861" y="172532"/>
                    <a:pt x="27318" y="160962"/>
                  </a:cubicBezTo>
                  <a:cubicBezTo>
                    <a:pt x="24115" y="146664"/>
                    <a:pt x="30426" y="133118"/>
                    <a:pt x="41447" y="130673"/>
                  </a:cubicBezTo>
                  <a:cubicBezTo>
                    <a:pt x="41541" y="130673"/>
                    <a:pt x="41729" y="130673"/>
                    <a:pt x="41824" y="130673"/>
                  </a:cubicBezTo>
                  <a:cubicBezTo>
                    <a:pt x="45403" y="93516"/>
                    <a:pt x="60192" y="66049"/>
                    <a:pt x="107100" y="66049"/>
                  </a:cubicBezTo>
                  <a:close/>
                  <a:moveTo>
                    <a:pt x="298626" y="0"/>
                  </a:moveTo>
                  <a:lnTo>
                    <a:pt x="315956" y="0"/>
                  </a:lnTo>
                  <a:cubicBezTo>
                    <a:pt x="363426" y="0"/>
                    <a:pt x="401854" y="38378"/>
                    <a:pt x="401854" y="85787"/>
                  </a:cubicBezTo>
                  <a:lnTo>
                    <a:pt x="401854" y="95476"/>
                  </a:lnTo>
                  <a:cubicBezTo>
                    <a:pt x="417301" y="99238"/>
                    <a:pt x="426154" y="118522"/>
                    <a:pt x="421633" y="138840"/>
                  </a:cubicBezTo>
                  <a:cubicBezTo>
                    <a:pt x="420880" y="142602"/>
                    <a:pt x="419467" y="146083"/>
                    <a:pt x="417960" y="149281"/>
                  </a:cubicBezTo>
                  <a:cubicBezTo>
                    <a:pt x="417677" y="149939"/>
                    <a:pt x="417395" y="150504"/>
                    <a:pt x="417112" y="151068"/>
                  </a:cubicBezTo>
                  <a:cubicBezTo>
                    <a:pt x="415417" y="154172"/>
                    <a:pt x="413533" y="157088"/>
                    <a:pt x="411273" y="159534"/>
                  </a:cubicBezTo>
                  <a:cubicBezTo>
                    <a:pt x="411179" y="159628"/>
                    <a:pt x="410990" y="159816"/>
                    <a:pt x="410896" y="159910"/>
                  </a:cubicBezTo>
                  <a:cubicBezTo>
                    <a:pt x="406092" y="165084"/>
                    <a:pt x="400159" y="168658"/>
                    <a:pt x="394037" y="169787"/>
                  </a:cubicBezTo>
                  <a:cubicBezTo>
                    <a:pt x="391494" y="176654"/>
                    <a:pt x="388385" y="183332"/>
                    <a:pt x="384900" y="189541"/>
                  </a:cubicBezTo>
                  <a:cubicBezTo>
                    <a:pt x="384806" y="189635"/>
                    <a:pt x="384806" y="189729"/>
                    <a:pt x="384712" y="189823"/>
                  </a:cubicBezTo>
                  <a:cubicBezTo>
                    <a:pt x="381227" y="196031"/>
                    <a:pt x="377460" y="201769"/>
                    <a:pt x="373316" y="207131"/>
                  </a:cubicBezTo>
                  <a:cubicBezTo>
                    <a:pt x="373127" y="207413"/>
                    <a:pt x="372939" y="207601"/>
                    <a:pt x="372750" y="207789"/>
                  </a:cubicBezTo>
                  <a:cubicBezTo>
                    <a:pt x="368700" y="213057"/>
                    <a:pt x="364368" y="217948"/>
                    <a:pt x="359847" y="222275"/>
                  </a:cubicBezTo>
                  <a:cubicBezTo>
                    <a:pt x="359658" y="222463"/>
                    <a:pt x="359376" y="222651"/>
                    <a:pt x="359188" y="222934"/>
                  </a:cubicBezTo>
                  <a:cubicBezTo>
                    <a:pt x="354667" y="227261"/>
                    <a:pt x="349957" y="231211"/>
                    <a:pt x="345154" y="234598"/>
                  </a:cubicBezTo>
                  <a:lnTo>
                    <a:pt x="345625" y="236855"/>
                  </a:lnTo>
                  <a:cubicBezTo>
                    <a:pt x="346567" y="236385"/>
                    <a:pt x="347603" y="235915"/>
                    <a:pt x="348639" y="235538"/>
                  </a:cubicBezTo>
                  <a:cubicBezTo>
                    <a:pt x="350899" y="234786"/>
                    <a:pt x="353065" y="234033"/>
                    <a:pt x="355514" y="234033"/>
                  </a:cubicBezTo>
                  <a:cubicBezTo>
                    <a:pt x="359470" y="234033"/>
                    <a:pt x="363238" y="235162"/>
                    <a:pt x="366628" y="237326"/>
                  </a:cubicBezTo>
                  <a:cubicBezTo>
                    <a:pt x="366628" y="237326"/>
                    <a:pt x="380756" y="246450"/>
                    <a:pt x="385371" y="249648"/>
                  </a:cubicBezTo>
                  <a:cubicBezTo>
                    <a:pt x="401854" y="261030"/>
                    <a:pt x="399876" y="279373"/>
                    <a:pt x="399876" y="279373"/>
                  </a:cubicBezTo>
                  <a:cubicBezTo>
                    <a:pt x="410990" y="279655"/>
                    <a:pt x="421822" y="283041"/>
                    <a:pt x="430016" y="289814"/>
                  </a:cubicBezTo>
                  <a:cubicBezTo>
                    <a:pt x="445180" y="302324"/>
                    <a:pt x="447535" y="313330"/>
                    <a:pt x="448382" y="316058"/>
                  </a:cubicBezTo>
                  <a:lnTo>
                    <a:pt x="481630" y="424515"/>
                  </a:lnTo>
                  <a:cubicBezTo>
                    <a:pt x="482855" y="428371"/>
                    <a:pt x="483608" y="432416"/>
                    <a:pt x="483891" y="436461"/>
                  </a:cubicBezTo>
                  <a:cubicBezTo>
                    <a:pt x="484644" y="448595"/>
                    <a:pt x="481159" y="460730"/>
                    <a:pt x="473718" y="470700"/>
                  </a:cubicBezTo>
                  <a:cubicBezTo>
                    <a:pt x="466372" y="480671"/>
                    <a:pt x="455823" y="487538"/>
                    <a:pt x="443956" y="490360"/>
                  </a:cubicBezTo>
                  <a:cubicBezTo>
                    <a:pt x="440000" y="491301"/>
                    <a:pt x="435950" y="491771"/>
                    <a:pt x="431805" y="491771"/>
                  </a:cubicBezTo>
                  <a:lnTo>
                    <a:pt x="325375" y="491771"/>
                  </a:lnTo>
                  <a:lnTo>
                    <a:pt x="337430" y="415296"/>
                  </a:lnTo>
                  <a:cubicBezTo>
                    <a:pt x="338749" y="406454"/>
                    <a:pt x="337807" y="397424"/>
                    <a:pt x="334605" y="389052"/>
                  </a:cubicBezTo>
                  <a:lnTo>
                    <a:pt x="323962" y="360927"/>
                  </a:lnTo>
                  <a:lnTo>
                    <a:pt x="337430" y="347476"/>
                  </a:lnTo>
                  <a:lnTo>
                    <a:pt x="307196" y="317281"/>
                  </a:lnTo>
                  <a:lnTo>
                    <a:pt x="276868" y="347476"/>
                  </a:lnTo>
                  <a:lnTo>
                    <a:pt x="290337" y="360927"/>
                  </a:lnTo>
                  <a:lnTo>
                    <a:pt x="279694" y="389052"/>
                  </a:lnTo>
                  <a:cubicBezTo>
                    <a:pt x="276586" y="397424"/>
                    <a:pt x="275644" y="406454"/>
                    <a:pt x="276963" y="415296"/>
                  </a:cubicBezTo>
                  <a:lnTo>
                    <a:pt x="288736" y="491771"/>
                  </a:lnTo>
                  <a:lnTo>
                    <a:pt x="182493" y="491771"/>
                  </a:lnTo>
                  <a:cubicBezTo>
                    <a:pt x="178443" y="491771"/>
                    <a:pt x="174299" y="491301"/>
                    <a:pt x="170437" y="490360"/>
                  </a:cubicBezTo>
                  <a:cubicBezTo>
                    <a:pt x="158570" y="487538"/>
                    <a:pt x="148021" y="480671"/>
                    <a:pt x="140675" y="470700"/>
                  </a:cubicBezTo>
                  <a:cubicBezTo>
                    <a:pt x="130785" y="457343"/>
                    <a:pt x="127865" y="440223"/>
                    <a:pt x="132669" y="424515"/>
                  </a:cubicBezTo>
                  <a:lnTo>
                    <a:pt x="166011" y="316058"/>
                  </a:lnTo>
                  <a:cubicBezTo>
                    <a:pt x="166858" y="313330"/>
                    <a:pt x="170908" y="300631"/>
                    <a:pt x="184377" y="289814"/>
                  </a:cubicBezTo>
                  <a:cubicBezTo>
                    <a:pt x="192666" y="283229"/>
                    <a:pt x="203403" y="279655"/>
                    <a:pt x="214517" y="279373"/>
                  </a:cubicBezTo>
                  <a:lnTo>
                    <a:pt x="214517" y="279279"/>
                  </a:lnTo>
                  <a:cubicBezTo>
                    <a:pt x="214140" y="273447"/>
                    <a:pt x="211880" y="260654"/>
                    <a:pt x="229022" y="249648"/>
                  </a:cubicBezTo>
                  <a:cubicBezTo>
                    <a:pt x="233731" y="246638"/>
                    <a:pt x="247765" y="237326"/>
                    <a:pt x="247765" y="237326"/>
                  </a:cubicBezTo>
                  <a:cubicBezTo>
                    <a:pt x="251061" y="235162"/>
                    <a:pt x="254923" y="234033"/>
                    <a:pt x="258879" y="234033"/>
                  </a:cubicBezTo>
                  <a:cubicBezTo>
                    <a:pt x="261328" y="234033"/>
                    <a:pt x="263494" y="234786"/>
                    <a:pt x="265754" y="235538"/>
                  </a:cubicBezTo>
                  <a:cubicBezTo>
                    <a:pt x="266790" y="236009"/>
                    <a:pt x="267826" y="236385"/>
                    <a:pt x="268768" y="236855"/>
                  </a:cubicBezTo>
                  <a:lnTo>
                    <a:pt x="269239" y="234598"/>
                  </a:lnTo>
                  <a:cubicBezTo>
                    <a:pt x="264436" y="231211"/>
                    <a:pt x="259726" y="227261"/>
                    <a:pt x="255205" y="222934"/>
                  </a:cubicBezTo>
                  <a:cubicBezTo>
                    <a:pt x="254923" y="222651"/>
                    <a:pt x="254735" y="222463"/>
                    <a:pt x="254546" y="222275"/>
                  </a:cubicBezTo>
                  <a:cubicBezTo>
                    <a:pt x="250025" y="217948"/>
                    <a:pt x="245693" y="213057"/>
                    <a:pt x="241548" y="207789"/>
                  </a:cubicBezTo>
                  <a:cubicBezTo>
                    <a:pt x="241454" y="207601"/>
                    <a:pt x="241266" y="207413"/>
                    <a:pt x="241077" y="207225"/>
                  </a:cubicBezTo>
                  <a:cubicBezTo>
                    <a:pt x="236933" y="201769"/>
                    <a:pt x="233072" y="196031"/>
                    <a:pt x="229681" y="189823"/>
                  </a:cubicBezTo>
                  <a:cubicBezTo>
                    <a:pt x="229587" y="189729"/>
                    <a:pt x="229587" y="189635"/>
                    <a:pt x="229493" y="189635"/>
                  </a:cubicBezTo>
                  <a:cubicBezTo>
                    <a:pt x="226008" y="183332"/>
                    <a:pt x="222899" y="176654"/>
                    <a:pt x="220356" y="169787"/>
                  </a:cubicBezTo>
                  <a:cubicBezTo>
                    <a:pt x="214140" y="168658"/>
                    <a:pt x="208301" y="165084"/>
                    <a:pt x="203497" y="159910"/>
                  </a:cubicBezTo>
                  <a:cubicBezTo>
                    <a:pt x="203309" y="159722"/>
                    <a:pt x="203214" y="159628"/>
                    <a:pt x="203120" y="159534"/>
                  </a:cubicBezTo>
                  <a:cubicBezTo>
                    <a:pt x="200860" y="157088"/>
                    <a:pt x="198976" y="154172"/>
                    <a:pt x="197281" y="151068"/>
                  </a:cubicBezTo>
                  <a:cubicBezTo>
                    <a:pt x="196998" y="150504"/>
                    <a:pt x="196716" y="149939"/>
                    <a:pt x="196433" y="149281"/>
                  </a:cubicBezTo>
                  <a:cubicBezTo>
                    <a:pt x="194832" y="146083"/>
                    <a:pt x="193513" y="142602"/>
                    <a:pt x="192666" y="138840"/>
                  </a:cubicBezTo>
                  <a:cubicBezTo>
                    <a:pt x="188145" y="118428"/>
                    <a:pt x="197092" y="99050"/>
                    <a:pt x="212727" y="95476"/>
                  </a:cubicBezTo>
                  <a:lnTo>
                    <a:pt x="212727" y="85787"/>
                  </a:lnTo>
                  <a:cubicBezTo>
                    <a:pt x="212727" y="38378"/>
                    <a:pt x="251155" y="0"/>
                    <a:pt x="298626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20" name="iṡḷiḍè">
              <a:extLst>
                <a:ext uri="{FF2B5EF4-FFF2-40B4-BE49-F238E27FC236}">
                  <a16:creationId xmlns:a16="http://schemas.microsoft.com/office/drawing/2014/main" xmlns="" id="{ECF22EF8-9A67-47D8-8A44-4C7C9923416D}"/>
                </a:ext>
              </a:extLst>
            </p:cNvPr>
            <p:cNvSpPr/>
            <p:nvPr/>
          </p:nvSpPr>
          <p:spPr bwMode="auto">
            <a:xfrm>
              <a:off x="5887109" y="2920347"/>
              <a:ext cx="654983" cy="484560"/>
            </a:xfrm>
            <a:custGeom>
              <a:avLst/>
              <a:gdLst>
                <a:gd name="T0" fmla="*/ 278945 h 440259"/>
                <a:gd name="T1" fmla="*/ 278945 h 440259"/>
                <a:gd name="T2" fmla="*/ 278945 h 440259"/>
                <a:gd name="T3" fmla="*/ 278945 h 440259"/>
                <a:gd name="T4" fmla="*/ 278945 h 440259"/>
                <a:gd name="T5" fmla="*/ 278945 h 440259"/>
                <a:gd name="T6" fmla="*/ 278945 h 440259"/>
                <a:gd name="T7" fmla="*/ 278945 h 440259"/>
                <a:gd name="T8" fmla="*/ 278945 h 440259"/>
                <a:gd name="T9" fmla="*/ 278945 h 440259"/>
                <a:gd name="T10" fmla="*/ 278945 h 440259"/>
                <a:gd name="T11" fmla="*/ 278945 h 440259"/>
                <a:gd name="T12" fmla="*/ 278945 h 440259"/>
                <a:gd name="T13" fmla="*/ 278945 h 440259"/>
                <a:gd name="T14" fmla="*/ 278945 h 440259"/>
                <a:gd name="T15" fmla="*/ 278945 h 440259"/>
                <a:gd name="T16" fmla="*/ 278945 h 440259"/>
                <a:gd name="T17" fmla="*/ 278945 h 440259"/>
                <a:gd name="T18" fmla="*/ 278945 h 440259"/>
                <a:gd name="T19" fmla="*/ 278945 h 440259"/>
                <a:gd name="T20" fmla="*/ 278945 h 440259"/>
                <a:gd name="T21" fmla="*/ 278945 h 440259"/>
                <a:gd name="T22" fmla="*/ 278945 h 440259"/>
                <a:gd name="T23" fmla="*/ 278945 h 440259"/>
                <a:gd name="T24" fmla="*/ 278945 h 440259"/>
                <a:gd name="T25" fmla="*/ 278945 h 440259"/>
                <a:gd name="T26" fmla="*/ 278945 h 440259"/>
                <a:gd name="T27" fmla="*/ 278945 h 440259"/>
                <a:gd name="T28" fmla="*/ 278945 h 440259"/>
                <a:gd name="T29" fmla="*/ 278945 h 440259"/>
                <a:gd name="T30" fmla="*/ 88862 h 440259"/>
                <a:gd name="T31" fmla="*/ 88862 h 440259"/>
                <a:gd name="T32" fmla="*/ 278945 h 440259"/>
                <a:gd name="T33" fmla="*/ 278945 h 440259"/>
                <a:gd name="T34" fmla="*/ 278945 h 440259"/>
                <a:gd name="T35" fmla="*/ 278945 h 440259"/>
                <a:gd name="T36" fmla="*/ 278945 h 440259"/>
                <a:gd name="T37" fmla="*/ 278945 h 440259"/>
                <a:gd name="T38" fmla="*/ 278945 h 440259"/>
                <a:gd name="T39" fmla="*/ 278945 h 440259"/>
                <a:gd name="T40" fmla="*/ 278945 h 440259"/>
                <a:gd name="T41" fmla="*/ 278945 h 440259"/>
                <a:gd name="T42" fmla="*/ 278945 h 440259"/>
                <a:gd name="T43" fmla="*/ 278945 h 440259"/>
                <a:gd name="T44" fmla="*/ 278945 h 440259"/>
                <a:gd name="T45" fmla="*/ 278945 h 440259"/>
                <a:gd name="T46" fmla="*/ 278945 h 440259"/>
                <a:gd name="T47" fmla="*/ 278945 h 440259"/>
                <a:gd name="T48" fmla="*/ 278945 h 440259"/>
                <a:gd name="T49" fmla="*/ 278945 h 440259"/>
                <a:gd name="T50" fmla="*/ 278945 h 440259"/>
                <a:gd name="T51" fmla="*/ 278945 h 440259"/>
                <a:gd name="T52" fmla="*/ 278945 h 440259"/>
                <a:gd name="T53" fmla="*/ 278945 h 440259"/>
                <a:gd name="T54" fmla="*/ 278945 h 440259"/>
                <a:gd name="T55" fmla="*/ 278945 h 440259"/>
                <a:gd name="T56" fmla="*/ 278945 h 440259"/>
                <a:gd name="T57" fmla="*/ 278945 h 440259"/>
                <a:gd name="T58" fmla="*/ 278945 h 440259"/>
                <a:gd name="T59" fmla="*/ 278945 h 440259"/>
                <a:gd name="T60" fmla="*/ 278945 h 440259"/>
                <a:gd name="T61" fmla="*/ 278945 h 440259"/>
                <a:gd name="T62" fmla="*/ 278945 h 440259"/>
                <a:gd name="T63" fmla="*/ 278945 h 440259"/>
                <a:gd name="T64" fmla="*/ 278945 h 440259"/>
                <a:gd name="T65" fmla="*/ 278945 h 440259"/>
                <a:gd name="T66" fmla="*/ 278945 h 440259"/>
                <a:gd name="T67" fmla="*/ 278945 h 440259"/>
                <a:gd name="T68" fmla="*/ 278945 h 440259"/>
                <a:gd name="T69" fmla="*/ 278945 h 440259"/>
                <a:gd name="T70" fmla="*/ 278945 h 440259"/>
                <a:gd name="T71" fmla="*/ 278945 h 440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608" h="4896">
                  <a:moveTo>
                    <a:pt x="6608" y="638"/>
                  </a:moveTo>
                  <a:lnTo>
                    <a:pt x="6608" y="2638"/>
                  </a:lnTo>
                  <a:cubicBezTo>
                    <a:pt x="6608" y="2638"/>
                    <a:pt x="6180" y="2723"/>
                    <a:pt x="6092" y="2734"/>
                  </a:cubicBezTo>
                  <a:cubicBezTo>
                    <a:pt x="6004" y="2745"/>
                    <a:pt x="5728" y="2834"/>
                    <a:pt x="5528" y="2642"/>
                  </a:cubicBezTo>
                  <a:cubicBezTo>
                    <a:pt x="5219" y="2346"/>
                    <a:pt x="4122" y="1254"/>
                    <a:pt x="4122" y="1254"/>
                  </a:cubicBezTo>
                  <a:cubicBezTo>
                    <a:pt x="4122" y="1254"/>
                    <a:pt x="3932" y="1069"/>
                    <a:pt x="3629" y="1229"/>
                  </a:cubicBezTo>
                  <a:cubicBezTo>
                    <a:pt x="3350" y="1376"/>
                    <a:pt x="2936" y="1592"/>
                    <a:pt x="2764" y="1675"/>
                  </a:cubicBezTo>
                  <a:cubicBezTo>
                    <a:pt x="2437" y="1849"/>
                    <a:pt x="2167" y="1574"/>
                    <a:pt x="2167" y="1364"/>
                  </a:cubicBezTo>
                  <a:cubicBezTo>
                    <a:pt x="2167" y="1201"/>
                    <a:pt x="2269" y="1090"/>
                    <a:pt x="2414" y="1009"/>
                  </a:cubicBezTo>
                  <a:cubicBezTo>
                    <a:pt x="2808" y="770"/>
                    <a:pt x="3637" y="305"/>
                    <a:pt x="3983" y="121"/>
                  </a:cubicBezTo>
                  <a:cubicBezTo>
                    <a:pt x="4193" y="9"/>
                    <a:pt x="4344" y="0"/>
                    <a:pt x="4633" y="243"/>
                  </a:cubicBezTo>
                  <a:cubicBezTo>
                    <a:pt x="4988" y="541"/>
                    <a:pt x="5304" y="814"/>
                    <a:pt x="5304" y="814"/>
                  </a:cubicBezTo>
                  <a:cubicBezTo>
                    <a:pt x="5304" y="814"/>
                    <a:pt x="5407" y="900"/>
                    <a:pt x="5571" y="865"/>
                  </a:cubicBezTo>
                  <a:cubicBezTo>
                    <a:pt x="5975" y="780"/>
                    <a:pt x="6608" y="638"/>
                    <a:pt x="6608" y="638"/>
                  </a:cubicBezTo>
                  <a:close/>
                  <a:moveTo>
                    <a:pt x="2241" y="4027"/>
                  </a:moveTo>
                  <a:cubicBezTo>
                    <a:pt x="2294" y="3891"/>
                    <a:pt x="2277" y="3738"/>
                    <a:pt x="2175" y="3633"/>
                  </a:cubicBezTo>
                  <a:cubicBezTo>
                    <a:pt x="2083" y="3540"/>
                    <a:pt x="1950" y="3515"/>
                    <a:pt x="1822" y="3544"/>
                  </a:cubicBezTo>
                  <a:cubicBezTo>
                    <a:pt x="1858" y="3418"/>
                    <a:pt x="1838" y="3283"/>
                    <a:pt x="1746" y="3188"/>
                  </a:cubicBezTo>
                  <a:cubicBezTo>
                    <a:pt x="1654" y="3095"/>
                    <a:pt x="1521" y="3070"/>
                    <a:pt x="1394" y="3099"/>
                  </a:cubicBezTo>
                  <a:cubicBezTo>
                    <a:pt x="1429" y="2973"/>
                    <a:pt x="1409" y="2838"/>
                    <a:pt x="1317" y="2744"/>
                  </a:cubicBezTo>
                  <a:cubicBezTo>
                    <a:pt x="1173" y="2596"/>
                    <a:pt x="924" y="2602"/>
                    <a:pt x="760" y="2758"/>
                  </a:cubicBezTo>
                  <a:cubicBezTo>
                    <a:pt x="597" y="2915"/>
                    <a:pt x="492" y="3198"/>
                    <a:pt x="638" y="3365"/>
                  </a:cubicBezTo>
                  <a:cubicBezTo>
                    <a:pt x="783" y="3531"/>
                    <a:pt x="950" y="3430"/>
                    <a:pt x="1077" y="3401"/>
                  </a:cubicBezTo>
                  <a:cubicBezTo>
                    <a:pt x="1042" y="3527"/>
                    <a:pt x="936" y="3645"/>
                    <a:pt x="1066" y="3810"/>
                  </a:cubicBezTo>
                  <a:cubicBezTo>
                    <a:pt x="1197" y="3975"/>
                    <a:pt x="1378" y="3875"/>
                    <a:pt x="1506" y="3846"/>
                  </a:cubicBezTo>
                  <a:cubicBezTo>
                    <a:pt x="1470" y="3972"/>
                    <a:pt x="1369" y="4101"/>
                    <a:pt x="1494" y="4254"/>
                  </a:cubicBezTo>
                  <a:cubicBezTo>
                    <a:pt x="1621" y="4408"/>
                    <a:pt x="1829" y="4326"/>
                    <a:pt x="1966" y="4283"/>
                  </a:cubicBezTo>
                  <a:cubicBezTo>
                    <a:pt x="1913" y="4419"/>
                    <a:pt x="1799" y="4566"/>
                    <a:pt x="1945" y="4730"/>
                  </a:cubicBezTo>
                  <a:cubicBezTo>
                    <a:pt x="2090" y="4896"/>
                    <a:pt x="2426" y="4819"/>
                    <a:pt x="2590" y="4663"/>
                  </a:cubicBezTo>
                  <a:cubicBezTo>
                    <a:pt x="2753" y="4506"/>
                    <a:pt x="2769" y="4258"/>
                    <a:pt x="2625" y="4110"/>
                  </a:cubicBezTo>
                  <a:cubicBezTo>
                    <a:pt x="2526" y="4008"/>
                    <a:pt x="2378" y="3985"/>
                    <a:pt x="2241" y="4027"/>
                  </a:cubicBezTo>
                  <a:close/>
                  <a:moveTo>
                    <a:pt x="5233" y="2987"/>
                  </a:moveTo>
                  <a:cubicBezTo>
                    <a:pt x="4047" y="1802"/>
                    <a:pt x="4605" y="2359"/>
                    <a:pt x="3967" y="1720"/>
                  </a:cubicBezTo>
                  <a:cubicBezTo>
                    <a:pt x="3967" y="1720"/>
                    <a:pt x="3775" y="1529"/>
                    <a:pt x="3523" y="1640"/>
                  </a:cubicBezTo>
                  <a:cubicBezTo>
                    <a:pt x="3346" y="1718"/>
                    <a:pt x="3117" y="1824"/>
                    <a:pt x="2945" y="1905"/>
                  </a:cubicBezTo>
                  <a:cubicBezTo>
                    <a:pt x="2757" y="2004"/>
                    <a:pt x="2621" y="2034"/>
                    <a:pt x="2557" y="2034"/>
                  </a:cubicBezTo>
                  <a:cubicBezTo>
                    <a:pt x="2192" y="2031"/>
                    <a:pt x="1896" y="1738"/>
                    <a:pt x="1896" y="1373"/>
                  </a:cubicBezTo>
                  <a:cubicBezTo>
                    <a:pt x="1896" y="1137"/>
                    <a:pt x="2022" y="931"/>
                    <a:pt x="2209" y="814"/>
                  </a:cubicBezTo>
                  <a:cubicBezTo>
                    <a:pt x="2472" y="632"/>
                    <a:pt x="3078" y="310"/>
                    <a:pt x="3078" y="310"/>
                  </a:cubicBezTo>
                  <a:cubicBezTo>
                    <a:pt x="3078" y="310"/>
                    <a:pt x="2894" y="76"/>
                    <a:pt x="2489" y="76"/>
                  </a:cubicBezTo>
                  <a:cubicBezTo>
                    <a:pt x="2085" y="76"/>
                    <a:pt x="1240" y="629"/>
                    <a:pt x="1240" y="629"/>
                  </a:cubicBezTo>
                  <a:cubicBezTo>
                    <a:pt x="1240" y="629"/>
                    <a:pt x="1000" y="783"/>
                    <a:pt x="659" y="644"/>
                  </a:cubicBezTo>
                  <a:lnTo>
                    <a:pt x="0" y="415"/>
                  </a:lnTo>
                  <a:lnTo>
                    <a:pt x="0" y="2704"/>
                  </a:lnTo>
                  <a:cubicBezTo>
                    <a:pt x="0" y="2704"/>
                    <a:pt x="188" y="2758"/>
                    <a:pt x="357" y="2827"/>
                  </a:cubicBezTo>
                  <a:cubicBezTo>
                    <a:pt x="395" y="2719"/>
                    <a:pt x="457" y="2618"/>
                    <a:pt x="542" y="2535"/>
                  </a:cubicBezTo>
                  <a:cubicBezTo>
                    <a:pt x="822" y="2268"/>
                    <a:pt x="1287" y="2265"/>
                    <a:pt x="1542" y="2528"/>
                  </a:cubicBezTo>
                  <a:cubicBezTo>
                    <a:pt x="1619" y="2608"/>
                    <a:pt x="1673" y="2703"/>
                    <a:pt x="1700" y="2808"/>
                  </a:cubicBezTo>
                  <a:cubicBezTo>
                    <a:pt x="1803" y="2840"/>
                    <a:pt x="1896" y="2896"/>
                    <a:pt x="1971" y="2973"/>
                  </a:cubicBezTo>
                  <a:cubicBezTo>
                    <a:pt x="2048" y="3053"/>
                    <a:pt x="2101" y="3148"/>
                    <a:pt x="2129" y="3253"/>
                  </a:cubicBezTo>
                  <a:cubicBezTo>
                    <a:pt x="2231" y="3285"/>
                    <a:pt x="2324" y="3341"/>
                    <a:pt x="2399" y="3418"/>
                  </a:cubicBezTo>
                  <a:cubicBezTo>
                    <a:pt x="2484" y="3505"/>
                    <a:pt x="2540" y="3611"/>
                    <a:pt x="2566" y="3725"/>
                  </a:cubicBezTo>
                  <a:cubicBezTo>
                    <a:pt x="2674" y="3756"/>
                    <a:pt x="2771" y="3814"/>
                    <a:pt x="2849" y="3894"/>
                  </a:cubicBezTo>
                  <a:cubicBezTo>
                    <a:pt x="3002" y="4051"/>
                    <a:pt x="3056" y="4265"/>
                    <a:pt x="3023" y="4471"/>
                  </a:cubicBezTo>
                  <a:cubicBezTo>
                    <a:pt x="3024" y="4471"/>
                    <a:pt x="3024" y="4471"/>
                    <a:pt x="3024" y="4472"/>
                  </a:cubicBezTo>
                  <a:cubicBezTo>
                    <a:pt x="3027" y="4475"/>
                    <a:pt x="3119" y="4578"/>
                    <a:pt x="3177" y="4636"/>
                  </a:cubicBezTo>
                  <a:cubicBezTo>
                    <a:pt x="3290" y="4749"/>
                    <a:pt x="3475" y="4749"/>
                    <a:pt x="3588" y="4636"/>
                  </a:cubicBezTo>
                  <a:cubicBezTo>
                    <a:pt x="3700" y="4523"/>
                    <a:pt x="3701" y="4339"/>
                    <a:pt x="3588" y="4225"/>
                  </a:cubicBezTo>
                  <a:cubicBezTo>
                    <a:pt x="3584" y="4221"/>
                    <a:pt x="3180" y="3799"/>
                    <a:pt x="3213" y="3766"/>
                  </a:cubicBezTo>
                  <a:cubicBezTo>
                    <a:pt x="3245" y="3734"/>
                    <a:pt x="3759" y="4269"/>
                    <a:pt x="3769" y="4279"/>
                  </a:cubicBezTo>
                  <a:cubicBezTo>
                    <a:pt x="3882" y="4391"/>
                    <a:pt x="4066" y="4391"/>
                    <a:pt x="4179" y="4279"/>
                  </a:cubicBezTo>
                  <a:cubicBezTo>
                    <a:pt x="4292" y="4166"/>
                    <a:pt x="4292" y="3981"/>
                    <a:pt x="4179" y="3868"/>
                  </a:cubicBezTo>
                  <a:cubicBezTo>
                    <a:pt x="4174" y="3863"/>
                    <a:pt x="4151" y="3841"/>
                    <a:pt x="4142" y="3832"/>
                  </a:cubicBezTo>
                  <a:cubicBezTo>
                    <a:pt x="4142" y="3832"/>
                    <a:pt x="3632" y="3378"/>
                    <a:pt x="3671" y="3339"/>
                  </a:cubicBezTo>
                  <a:cubicBezTo>
                    <a:pt x="3710" y="3300"/>
                    <a:pt x="4343" y="3891"/>
                    <a:pt x="4345" y="3891"/>
                  </a:cubicBezTo>
                  <a:cubicBezTo>
                    <a:pt x="4458" y="3993"/>
                    <a:pt x="4634" y="3992"/>
                    <a:pt x="4743" y="3883"/>
                  </a:cubicBezTo>
                  <a:cubicBezTo>
                    <a:pt x="4850" y="3776"/>
                    <a:pt x="4852" y="3608"/>
                    <a:pt x="4758" y="3494"/>
                  </a:cubicBezTo>
                  <a:cubicBezTo>
                    <a:pt x="4756" y="3488"/>
                    <a:pt x="4275" y="2986"/>
                    <a:pt x="4312" y="2948"/>
                  </a:cubicBezTo>
                  <a:cubicBezTo>
                    <a:pt x="4351" y="2910"/>
                    <a:pt x="4826" y="3400"/>
                    <a:pt x="4827" y="3401"/>
                  </a:cubicBezTo>
                  <a:cubicBezTo>
                    <a:pt x="4940" y="3513"/>
                    <a:pt x="5124" y="3513"/>
                    <a:pt x="5238" y="3401"/>
                  </a:cubicBezTo>
                  <a:cubicBezTo>
                    <a:pt x="5350" y="3288"/>
                    <a:pt x="5350" y="3103"/>
                    <a:pt x="5238" y="2990"/>
                  </a:cubicBezTo>
                  <a:cubicBezTo>
                    <a:pt x="5236" y="2989"/>
                    <a:pt x="5234" y="2988"/>
                    <a:pt x="5233" y="298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407612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Supporting text here.</a:t>
            </a:r>
          </a:p>
          <a:p>
            <a:pPr lvl="0"/>
            <a:r>
              <a:rPr lang="en-US" altLang="zh-CN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04F69230-F3A6-4586-9371-A858F4763E9F}"/>
              </a:ext>
            </a:extLst>
          </p:cNvPr>
          <p:cNvSpPr txBox="1"/>
          <p:nvPr/>
        </p:nvSpPr>
        <p:spPr>
          <a:xfrm>
            <a:off x="1734177" y="2758582"/>
            <a:ext cx="1985304" cy="1726148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233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B45D436E-108D-421C-AE23-030657880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F0CABF28-AA4C-4441-9FC9-BB0A034202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A297A312-D2E8-4785-A2F9-4A2ABDAAD4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grpSp>
        <p:nvGrpSpPr>
          <p:cNvPr id="5" name="20649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2B7AF888-60D5-4CF2-900E-2273FA7EB0B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123950"/>
            <a:ext cx="10850563" cy="5019675"/>
            <a:chOff x="669925" y="1123950"/>
            <a:chExt cx="10850563" cy="5019675"/>
          </a:xfrm>
        </p:grpSpPr>
        <p:grpSp>
          <p:nvGrpSpPr>
            <p:cNvPr id="6" name="îSḷîdè">
              <a:extLst>
                <a:ext uri="{FF2B5EF4-FFF2-40B4-BE49-F238E27FC236}">
                  <a16:creationId xmlns:a16="http://schemas.microsoft.com/office/drawing/2014/main" xmlns="" id="{0255D17B-9B8A-4BBF-B1FE-ACFB52B36C2B}"/>
                </a:ext>
              </a:extLst>
            </p:cNvPr>
            <p:cNvGrpSpPr/>
            <p:nvPr/>
          </p:nvGrpSpPr>
          <p:grpSpPr>
            <a:xfrm>
              <a:off x="7655735" y="1221513"/>
              <a:ext cx="3864753" cy="1773518"/>
              <a:chOff x="7655735" y="3429000"/>
              <a:chExt cx="3864753" cy="1773518"/>
            </a:xfrm>
          </p:grpSpPr>
          <p:sp>
            <p:nvSpPr>
              <p:cNvPr id="25" name="iṩlïḑe">
                <a:extLst>
                  <a:ext uri="{FF2B5EF4-FFF2-40B4-BE49-F238E27FC236}">
                    <a16:creationId xmlns:a16="http://schemas.microsoft.com/office/drawing/2014/main" xmlns="" id="{D8194D81-4362-4609-9D93-90759206E371}"/>
                  </a:ext>
                </a:extLst>
              </p:cNvPr>
              <p:cNvSpPr/>
              <p:nvPr/>
            </p:nvSpPr>
            <p:spPr>
              <a:xfrm>
                <a:off x="7655735" y="3870805"/>
                <a:ext cx="3864753" cy="13317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Unified fonts make reading more fluent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Adjust the spacing to adapt to Chinese typesetting, use the reference line in PPT.</a:t>
                </a:r>
              </a:p>
            </p:txBody>
          </p:sp>
          <p:sp>
            <p:nvSpPr>
              <p:cNvPr id="26" name="íṡļîḋè">
                <a:extLst>
                  <a:ext uri="{FF2B5EF4-FFF2-40B4-BE49-F238E27FC236}">
                    <a16:creationId xmlns:a16="http://schemas.microsoft.com/office/drawing/2014/main" xmlns="" id="{8E66B6F9-E7E3-455B-86A4-88E0AA22C1D6}"/>
                  </a:ext>
                </a:extLst>
              </p:cNvPr>
              <p:cNvSpPr txBox="1"/>
              <p:nvPr/>
            </p:nvSpPr>
            <p:spPr bwMode="auto">
              <a:xfrm>
                <a:off x="7655735" y="3429000"/>
                <a:ext cx="386475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sp>
          <p:nvSpPr>
            <p:cNvPr id="7" name="îṡļîḋè">
              <a:extLst>
                <a:ext uri="{FF2B5EF4-FFF2-40B4-BE49-F238E27FC236}">
                  <a16:creationId xmlns:a16="http://schemas.microsoft.com/office/drawing/2014/main" xmlns="" id="{23E92E94-F616-4564-89B4-507BA6988C8F}"/>
                </a:ext>
              </a:extLst>
            </p:cNvPr>
            <p:cNvSpPr/>
            <p:nvPr/>
          </p:nvSpPr>
          <p:spPr>
            <a:xfrm>
              <a:off x="2894631" y="2505558"/>
              <a:ext cx="2107934" cy="199562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 sz="900"/>
            </a:p>
          </p:txBody>
        </p:sp>
        <p:grpSp>
          <p:nvGrpSpPr>
            <p:cNvPr id="8" name="íṡľiḋê">
              <a:extLst>
                <a:ext uri="{FF2B5EF4-FFF2-40B4-BE49-F238E27FC236}">
                  <a16:creationId xmlns:a16="http://schemas.microsoft.com/office/drawing/2014/main" xmlns="" id="{6CE79BC3-FA81-4A6A-B550-1B1F316E93DE}"/>
                </a:ext>
              </a:extLst>
            </p:cNvPr>
            <p:cNvGrpSpPr/>
            <p:nvPr/>
          </p:nvGrpSpPr>
          <p:grpSpPr>
            <a:xfrm>
              <a:off x="2894631" y="4782103"/>
              <a:ext cx="2107934" cy="1111889"/>
              <a:chOff x="673100" y="1237334"/>
              <a:chExt cx="3228944" cy="1111889"/>
            </a:xfrm>
          </p:grpSpPr>
          <p:sp>
            <p:nvSpPr>
              <p:cNvPr id="23" name="îšľiḓe">
                <a:extLst>
                  <a:ext uri="{FF2B5EF4-FFF2-40B4-BE49-F238E27FC236}">
                    <a16:creationId xmlns:a16="http://schemas.microsoft.com/office/drawing/2014/main" xmlns="" id="{1F99983E-0DAE-4B9A-BBD2-705BE8046449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4" name="ïṧļiḍè">
                <a:extLst>
                  <a:ext uri="{FF2B5EF4-FFF2-40B4-BE49-F238E27FC236}">
                    <a16:creationId xmlns:a16="http://schemas.microsoft.com/office/drawing/2014/main" xmlns="" id="{7B8DC041-6B73-452D-8EBF-28BF4ED8E312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cxnSp>
          <p:nvCxnSpPr>
            <p:cNvPr id="9" name="直接连接符 8">
              <a:extLst>
                <a:ext uri="{FF2B5EF4-FFF2-40B4-BE49-F238E27FC236}">
                  <a16:creationId xmlns:a16="http://schemas.microsoft.com/office/drawing/2014/main" xmlns="" id="{F07839D6-7F5E-43A7-BEBC-79522DD6564D}"/>
                </a:ext>
              </a:extLst>
            </p:cNvPr>
            <p:cNvCxnSpPr>
              <a:cxnSpLocks/>
            </p:cNvCxnSpPr>
            <p:nvPr/>
          </p:nvCxnSpPr>
          <p:spPr>
            <a:xfrm>
              <a:off x="7503173" y="1123950"/>
              <a:ext cx="0" cy="3377236"/>
            </a:xfrm>
            <a:prstGeom prst="line">
              <a:avLst/>
            </a:prstGeom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íşlïďé">
              <a:extLst>
                <a:ext uri="{FF2B5EF4-FFF2-40B4-BE49-F238E27FC236}">
                  <a16:creationId xmlns:a16="http://schemas.microsoft.com/office/drawing/2014/main" xmlns="" id="{42418954-7ACC-4C07-84FA-F5682AB5AAE0}"/>
                </a:ext>
              </a:extLst>
            </p:cNvPr>
            <p:cNvGrpSpPr/>
            <p:nvPr/>
          </p:nvGrpSpPr>
          <p:grpSpPr>
            <a:xfrm>
              <a:off x="5119335" y="4782103"/>
              <a:ext cx="2107934" cy="1111889"/>
              <a:chOff x="673100" y="1237334"/>
              <a:chExt cx="3228944" cy="1111889"/>
            </a:xfrm>
          </p:grpSpPr>
          <p:sp>
            <p:nvSpPr>
              <p:cNvPr id="21" name="íŝḷîḍe">
                <a:extLst>
                  <a:ext uri="{FF2B5EF4-FFF2-40B4-BE49-F238E27FC236}">
                    <a16:creationId xmlns:a16="http://schemas.microsoft.com/office/drawing/2014/main" xmlns="" id="{BCFAF1FB-3E17-4964-A3C3-C9922EDFA34C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2" name="îśḷïḍè">
                <a:extLst>
                  <a:ext uri="{FF2B5EF4-FFF2-40B4-BE49-F238E27FC236}">
                    <a16:creationId xmlns:a16="http://schemas.microsoft.com/office/drawing/2014/main" xmlns="" id="{459681E0-DC8E-4621-8089-F76CD4DB367F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sp>
          <p:nvSpPr>
            <p:cNvPr id="11" name="iṡlîḑé">
              <a:extLst>
                <a:ext uri="{FF2B5EF4-FFF2-40B4-BE49-F238E27FC236}">
                  <a16:creationId xmlns:a16="http://schemas.microsoft.com/office/drawing/2014/main" xmlns="" id="{D60E3A67-F491-4B81-84E0-6214DE3BC4C8}"/>
                </a:ext>
              </a:extLst>
            </p:cNvPr>
            <p:cNvSpPr/>
            <p:nvPr/>
          </p:nvSpPr>
          <p:spPr>
            <a:xfrm>
              <a:off x="5119335" y="2505558"/>
              <a:ext cx="2107934" cy="19956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 sz="900"/>
            </a:p>
          </p:txBody>
        </p:sp>
        <p:sp>
          <p:nvSpPr>
            <p:cNvPr id="12" name="ïŝḷíďe">
              <a:extLst>
                <a:ext uri="{FF2B5EF4-FFF2-40B4-BE49-F238E27FC236}">
                  <a16:creationId xmlns:a16="http://schemas.microsoft.com/office/drawing/2014/main" xmlns="" id="{EA024B60-B644-4AE8-BF53-7EC880845FE1}"/>
                </a:ext>
              </a:extLst>
            </p:cNvPr>
            <p:cNvSpPr/>
            <p:nvPr/>
          </p:nvSpPr>
          <p:spPr bwMode="auto">
            <a:xfrm>
              <a:off x="5853821" y="3196120"/>
              <a:ext cx="638962" cy="614504"/>
            </a:xfrm>
            <a:custGeom>
              <a:avLst/>
              <a:gdLst>
                <a:gd name="connsiteX0" fmla="*/ 61288 w 609549"/>
                <a:gd name="connsiteY0" fmla="*/ 383285 h 586216"/>
                <a:gd name="connsiteX1" fmla="*/ 71162 w 609549"/>
                <a:gd name="connsiteY1" fmla="*/ 387101 h 586216"/>
                <a:gd name="connsiteX2" fmla="*/ 120018 w 609549"/>
                <a:gd name="connsiteY2" fmla="*/ 435892 h 586216"/>
                <a:gd name="connsiteX3" fmla="*/ 120018 w 609549"/>
                <a:gd name="connsiteY3" fmla="*/ 454200 h 586216"/>
                <a:gd name="connsiteX4" fmla="*/ 56639 w 609549"/>
                <a:gd name="connsiteY4" fmla="*/ 517543 h 586216"/>
                <a:gd name="connsiteX5" fmla="*/ 35592 w 609549"/>
                <a:gd name="connsiteY5" fmla="*/ 513644 h 586216"/>
                <a:gd name="connsiteX6" fmla="*/ 51877 w 609549"/>
                <a:gd name="connsiteY6" fmla="*/ 388099 h 586216"/>
                <a:gd name="connsiteX7" fmla="*/ 61288 w 609549"/>
                <a:gd name="connsiteY7" fmla="*/ 383285 h 586216"/>
                <a:gd name="connsiteX8" fmla="*/ 235245 w 609549"/>
                <a:gd name="connsiteY8" fmla="*/ 302810 h 586216"/>
                <a:gd name="connsiteX9" fmla="*/ 306042 w 609549"/>
                <a:gd name="connsiteY9" fmla="*/ 373466 h 586216"/>
                <a:gd name="connsiteX10" fmla="*/ 258717 w 609549"/>
                <a:gd name="connsiteY10" fmla="*/ 420680 h 586216"/>
                <a:gd name="connsiteX11" fmla="*/ 230246 w 609549"/>
                <a:gd name="connsiteY11" fmla="*/ 550152 h 586216"/>
                <a:gd name="connsiteX12" fmla="*/ 92223 w 609549"/>
                <a:gd name="connsiteY12" fmla="*/ 575305 h 586216"/>
                <a:gd name="connsiteX13" fmla="*/ 88748 w 609549"/>
                <a:gd name="connsiteY13" fmla="*/ 556143 h 586216"/>
                <a:gd name="connsiteX14" fmla="*/ 165115 w 609549"/>
                <a:gd name="connsiteY14" fmla="*/ 479877 h 586216"/>
                <a:gd name="connsiteX15" fmla="*/ 165115 w 609549"/>
                <a:gd name="connsiteY15" fmla="*/ 446308 h 586216"/>
                <a:gd name="connsiteX16" fmla="*/ 88700 w 609549"/>
                <a:gd name="connsiteY16" fmla="*/ 369995 h 586216"/>
                <a:gd name="connsiteX17" fmla="*/ 92128 w 609549"/>
                <a:gd name="connsiteY17" fmla="*/ 350976 h 586216"/>
                <a:gd name="connsiteX18" fmla="*/ 189111 w 609549"/>
                <a:gd name="connsiteY18" fmla="*/ 348884 h 586216"/>
                <a:gd name="connsiteX19" fmla="*/ 257958 w 609549"/>
                <a:gd name="connsiteY19" fmla="*/ 161679 h 586216"/>
                <a:gd name="connsiteX20" fmla="*/ 317251 w 609549"/>
                <a:gd name="connsiteY20" fmla="*/ 220879 h 586216"/>
                <a:gd name="connsiteX21" fmla="*/ 388070 w 609549"/>
                <a:gd name="connsiteY21" fmla="*/ 291586 h 586216"/>
                <a:gd name="connsiteX22" fmla="*/ 604906 w 609549"/>
                <a:gd name="connsiteY22" fmla="*/ 508130 h 586216"/>
                <a:gd name="connsiteX23" fmla="*/ 604906 w 609549"/>
                <a:gd name="connsiteY23" fmla="*/ 530526 h 586216"/>
                <a:gd name="connsiteX24" fmla="*/ 556567 w 609549"/>
                <a:gd name="connsiteY24" fmla="*/ 578789 h 586216"/>
                <a:gd name="connsiteX25" fmla="*/ 545327 w 609549"/>
                <a:gd name="connsiteY25" fmla="*/ 583449 h 586216"/>
                <a:gd name="connsiteX26" fmla="*/ 534135 w 609549"/>
                <a:gd name="connsiteY26" fmla="*/ 578789 h 586216"/>
                <a:gd name="connsiteX27" fmla="*/ 317251 w 609549"/>
                <a:gd name="connsiteY27" fmla="*/ 362293 h 586216"/>
                <a:gd name="connsiteX28" fmla="*/ 246481 w 609549"/>
                <a:gd name="connsiteY28" fmla="*/ 291586 h 586216"/>
                <a:gd name="connsiteX29" fmla="*/ 187140 w 609549"/>
                <a:gd name="connsiteY29" fmla="*/ 232339 h 586216"/>
                <a:gd name="connsiteX30" fmla="*/ 58606 w 609549"/>
                <a:gd name="connsiteY30" fmla="*/ 160814 h 586216"/>
                <a:gd name="connsiteX31" fmla="*/ 126401 w 609549"/>
                <a:gd name="connsiteY31" fmla="*/ 228498 h 586216"/>
                <a:gd name="connsiteX32" fmla="*/ 111975 w 609549"/>
                <a:gd name="connsiteY32" fmla="*/ 242899 h 586216"/>
                <a:gd name="connsiteX33" fmla="*/ 119307 w 609549"/>
                <a:gd name="connsiteY33" fmla="*/ 250219 h 586216"/>
                <a:gd name="connsiteX34" fmla="*/ 119307 w 609549"/>
                <a:gd name="connsiteY34" fmla="*/ 277692 h 586216"/>
                <a:gd name="connsiteX35" fmla="*/ 115641 w 609549"/>
                <a:gd name="connsiteY35" fmla="*/ 281352 h 586216"/>
                <a:gd name="connsiteX36" fmla="*/ 88123 w 609549"/>
                <a:gd name="connsiteY36" fmla="*/ 281352 h 586216"/>
                <a:gd name="connsiteX37" fmla="*/ 5712 w 609549"/>
                <a:gd name="connsiteY37" fmla="*/ 199029 h 586216"/>
                <a:gd name="connsiteX38" fmla="*/ 5712 w 609549"/>
                <a:gd name="connsiteY38" fmla="*/ 171604 h 586216"/>
                <a:gd name="connsiteX39" fmla="*/ 9378 w 609549"/>
                <a:gd name="connsiteY39" fmla="*/ 167944 h 586216"/>
                <a:gd name="connsiteX40" fmla="*/ 36849 w 609549"/>
                <a:gd name="connsiteY40" fmla="*/ 167944 h 586216"/>
                <a:gd name="connsiteX41" fmla="*/ 44180 w 609549"/>
                <a:gd name="connsiteY41" fmla="*/ 175264 h 586216"/>
                <a:gd name="connsiteX42" fmla="*/ 585775 w 609549"/>
                <a:gd name="connsiteY42" fmla="*/ 66370 h 586216"/>
                <a:gd name="connsiteX43" fmla="*/ 595263 w 609549"/>
                <a:gd name="connsiteY43" fmla="*/ 73839 h 586216"/>
                <a:gd name="connsiteX44" fmla="*/ 578978 w 609549"/>
                <a:gd name="connsiteY44" fmla="*/ 199341 h 586216"/>
                <a:gd name="connsiteX45" fmla="*/ 559693 w 609549"/>
                <a:gd name="connsiteY45" fmla="*/ 200387 h 586216"/>
                <a:gd name="connsiteX46" fmla="*/ 510789 w 609549"/>
                <a:gd name="connsiteY46" fmla="*/ 151612 h 586216"/>
                <a:gd name="connsiteX47" fmla="*/ 510789 w 609549"/>
                <a:gd name="connsiteY47" fmla="*/ 133262 h 586216"/>
                <a:gd name="connsiteX48" fmla="*/ 574216 w 609549"/>
                <a:gd name="connsiteY48" fmla="*/ 69988 h 586216"/>
                <a:gd name="connsiteX49" fmla="*/ 585775 w 609549"/>
                <a:gd name="connsiteY49" fmla="*/ 66370 h 586216"/>
                <a:gd name="connsiteX50" fmla="*/ 158702 w 609549"/>
                <a:gd name="connsiteY50" fmla="*/ 26758 h 586216"/>
                <a:gd name="connsiteX51" fmla="*/ 172463 w 609549"/>
                <a:gd name="connsiteY51" fmla="*/ 32464 h 586216"/>
                <a:gd name="connsiteX52" fmla="*/ 179701 w 609549"/>
                <a:gd name="connsiteY52" fmla="*/ 39691 h 586216"/>
                <a:gd name="connsiteX53" fmla="*/ 246935 w 609549"/>
                <a:gd name="connsiteY53" fmla="*/ 106831 h 586216"/>
                <a:gd name="connsiteX54" fmla="*/ 254886 w 609549"/>
                <a:gd name="connsiteY54" fmla="*/ 114819 h 586216"/>
                <a:gd name="connsiteX55" fmla="*/ 257600 w 609549"/>
                <a:gd name="connsiteY55" fmla="*/ 138879 h 586216"/>
                <a:gd name="connsiteX56" fmla="*/ 254886 w 609549"/>
                <a:gd name="connsiteY56" fmla="*/ 142255 h 586216"/>
                <a:gd name="connsiteX57" fmla="*/ 252315 w 609549"/>
                <a:gd name="connsiteY57" fmla="*/ 144823 h 586216"/>
                <a:gd name="connsiteX58" fmla="*/ 246696 w 609549"/>
                <a:gd name="connsiteY58" fmla="*/ 150434 h 586216"/>
                <a:gd name="connsiteX59" fmla="*/ 175892 w 609549"/>
                <a:gd name="connsiteY59" fmla="*/ 221140 h 586216"/>
                <a:gd name="connsiteX60" fmla="*/ 172463 w 609549"/>
                <a:gd name="connsiteY60" fmla="*/ 224611 h 586216"/>
                <a:gd name="connsiteX61" fmla="*/ 170130 w 609549"/>
                <a:gd name="connsiteY61" fmla="*/ 226560 h 586216"/>
                <a:gd name="connsiteX62" fmla="*/ 162274 w 609549"/>
                <a:gd name="connsiteY62" fmla="*/ 229936 h 586216"/>
                <a:gd name="connsiteX63" fmla="*/ 158702 w 609549"/>
                <a:gd name="connsiteY63" fmla="*/ 230269 h 586216"/>
                <a:gd name="connsiteX64" fmla="*/ 144942 w 609549"/>
                <a:gd name="connsiteY64" fmla="*/ 224611 h 586216"/>
                <a:gd name="connsiteX65" fmla="*/ 137609 w 609549"/>
                <a:gd name="connsiteY65" fmla="*/ 217288 h 586216"/>
                <a:gd name="connsiteX66" fmla="*/ 69804 w 609549"/>
                <a:gd name="connsiteY66" fmla="*/ 149578 h 586216"/>
                <a:gd name="connsiteX67" fmla="*/ 62519 w 609549"/>
                <a:gd name="connsiteY67" fmla="*/ 142255 h 586216"/>
                <a:gd name="connsiteX68" fmla="*/ 62519 w 609549"/>
                <a:gd name="connsiteY68" fmla="*/ 114819 h 586216"/>
                <a:gd name="connsiteX69" fmla="*/ 144942 w 609549"/>
                <a:gd name="connsiteY69" fmla="*/ 32464 h 586216"/>
                <a:gd name="connsiteX70" fmla="*/ 158702 w 609549"/>
                <a:gd name="connsiteY70" fmla="*/ 26758 h 586216"/>
                <a:gd name="connsiteX71" fmla="*/ 254809 w 609549"/>
                <a:gd name="connsiteY71" fmla="*/ 6542 h 586216"/>
                <a:gd name="connsiteX72" fmla="*/ 321015 w 609549"/>
                <a:gd name="connsiteY72" fmla="*/ 29913 h 586216"/>
                <a:gd name="connsiteX73" fmla="*/ 260017 w 609549"/>
                <a:gd name="connsiteY73" fmla="*/ 97465 h 586216"/>
                <a:gd name="connsiteX74" fmla="*/ 193067 w 609549"/>
                <a:gd name="connsiteY74" fmla="*/ 30626 h 586216"/>
                <a:gd name="connsiteX75" fmla="*/ 254809 w 609549"/>
                <a:gd name="connsiteY75" fmla="*/ 6542 h 586216"/>
                <a:gd name="connsiteX76" fmla="*/ 503105 w 609549"/>
                <a:gd name="connsiteY76" fmla="*/ 953 h 586216"/>
                <a:gd name="connsiteX77" fmla="*/ 538560 w 609549"/>
                <a:gd name="connsiteY77" fmla="*/ 10911 h 586216"/>
                <a:gd name="connsiteX78" fmla="*/ 542083 w 609549"/>
                <a:gd name="connsiteY78" fmla="*/ 30073 h 586216"/>
                <a:gd name="connsiteX79" fmla="*/ 465709 w 609549"/>
                <a:gd name="connsiteY79" fmla="*/ 106341 h 586216"/>
                <a:gd name="connsiteX80" fmla="*/ 465709 w 609549"/>
                <a:gd name="connsiteY80" fmla="*/ 139911 h 586216"/>
                <a:gd name="connsiteX81" fmla="*/ 542131 w 609549"/>
                <a:gd name="connsiteY81" fmla="*/ 216227 h 586216"/>
                <a:gd name="connsiteX82" fmla="*/ 538655 w 609549"/>
                <a:gd name="connsiteY82" fmla="*/ 235246 h 586216"/>
                <a:gd name="connsiteX83" fmla="*/ 442187 w 609549"/>
                <a:gd name="connsiteY83" fmla="*/ 237528 h 586216"/>
                <a:gd name="connsiteX84" fmla="*/ 399238 w 609549"/>
                <a:gd name="connsiteY84" fmla="*/ 280370 h 586216"/>
                <a:gd name="connsiteX85" fmla="*/ 328482 w 609549"/>
                <a:gd name="connsiteY85" fmla="*/ 209712 h 586216"/>
                <a:gd name="connsiteX86" fmla="*/ 372240 w 609549"/>
                <a:gd name="connsiteY86" fmla="*/ 166015 h 586216"/>
                <a:gd name="connsiteX87" fmla="*/ 400571 w 609549"/>
                <a:gd name="connsiteY87" fmla="*/ 36064 h 586216"/>
                <a:gd name="connsiteX88" fmla="*/ 503105 w 609549"/>
                <a:gd name="connsiteY88" fmla="*/ 953 h 58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609549" h="586216">
                  <a:moveTo>
                    <a:pt x="61288" y="383285"/>
                  </a:moveTo>
                  <a:cubicBezTo>
                    <a:pt x="64829" y="383106"/>
                    <a:pt x="68448" y="384367"/>
                    <a:pt x="71162" y="387101"/>
                  </a:cubicBezTo>
                  <a:lnTo>
                    <a:pt x="120018" y="435892"/>
                  </a:lnTo>
                  <a:cubicBezTo>
                    <a:pt x="125113" y="440933"/>
                    <a:pt x="125113" y="449160"/>
                    <a:pt x="120018" y="454200"/>
                  </a:cubicBezTo>
                  <a:lnTo>
                    <a:pt x="56639" y="517543"/>
                  </a:lnTo>
                  <a:cubicBezTo>
                    <a:pt x="50211" y="523963"/>
                    <a:pt x="39211" y="522013"/>
                    <a:pt x="35592" y="513644"/>
                  </a:cubicBezTo>
                  <a:cubicBezTo>
                    <a:pt x="17783" y="472794"/>
                    <a:pt x="23211" y="424288"/>
                    <a:pt x="51877" y="388099"/>
                  </a:cubicBezTo>
                  <a:cubicBezTo>
                    <a:pt x="54282" y="385079"/>
                    <a:pt x="57746" y="383463"/>
                    <a:pt x="61288" y="383285"/>
                  </a:cubicBezTo>
                  <a:close/>
                  <a:moveTo>
                    <a:pt x="235245" y="302810"/>
                  </a:moveTo>
                  <a:lnTo>
                    <a:pt x="306042" y="373466"/>
                  </a:lnTo>
                  <a:lnTo>
                    <a:pt x="258717" y="420680"/>
                  </a:lnTo>
                  <a:cubicBezTo>
                    <a:pt x="274667" y="464329"/>
                    <a:pt x="265192" y="515300"/>
                    <a:pt x="230246" y="550152"/>
                  </a:cubicBezTo>
                  <a:cubicBezTo>
                    <a:pt x="192919" y="587430"/>
                    <a:pt x="137644" y="595798"/>
                    <a:pt x="92223" y="575305"/>
                  </a:cubicBezTo>
                  <a:cubicBezTo>
                    <a:pt x="84701" y="571882"/>
                    <a:pt x="82892" y="561992"/>
                    <a:pt x="88748" y="556143"/>
                  </a:cubicBezTo>
                  <a:lnTo>
                    <a:pt x="165115" y="479877"/>
                  </a:lnTo>
                  <a:cubicBezTo>
                    <a:pt x="174399" y="470605"/>
                    <a:pt x="174399" y="455580"/>
                    <a:pt x="165115" y="446308"/>
                  </a:cubicBezTo>
                  <a:lnTo>
                    <a:pt x="88700" y="369995"/>
                  </a:lnTo>
                  <a:cubicBezTo>
                    <a:pt x="82844" y="364194"/>
                    <a:pt x="84653" y="354399"/>
                    <a:pt x="92128" y="350976"/>
                  </a:cubicBezTo>
                  <a:cubicBezTo>
                    <a:pt x="122789" y="337092"/>
                    <a:pt x="157973" y="336379"/>
                    <a:pt x="189111" y="348884"/>
                  </a:cubicBezTo>
                  <a:close/>
                  <a:moveTo>
                    <a:pt x="257958" y="161679"/>
                  </a:moveTo>
                  <a:lnTo>
                    <a:pt x="317251" y="220879"/>
                  </a:lnTo>
                  <a:lnTo>
                    <a:pt x="388070" y="291586"/>
                  </a:lnTo>
                  <a:lnTo>
                    <a:pt x="604906" y="508130"/>
                  </a:lnTo>
                  <a:cubicBezTo>
                    <a:pt x="611097" y="514311"/>
                    <a:pt x="611097" y="524344"/>
                    <a:pt x="604906" y="530526"/>
                  </a:cubicBezTo>
                  <a:lnTo>
                    <a:pt x="556567" y="578789"/>
                  </a:lnTo>
                  <a:cubicBezTo>
                    <a:pt x="553471" y="581880"/>
                    <a:pt x="549423" y="583449"/>
                    <a:pt x="545327" y="583449"/>
                  </a:cubicBezTo>
                  <a:cubicBezTo>
                    <a:pt x="541279" y="583449"/>
                    <a:pt x="537231" y="581880"/>
                    <a:pt x="534135" y="578789"/>
                  </a:cubicBezTo>
                  <a:lnTo>
                    <a:pt x="317251" y="362293"/>
                  </a:lnTo>
                  <a:lnTo>
                    <a:pt x="246481" y="291586"/>
                  </a:lnTo>
                  <a:lnTo>
                    <a:pt x="187140" y="232339"/>
                  </a:lnTo>
                  <a:close/>
                  <a:moveTo>
                    <a:pt x="58606" y="160814"/>
                  </a:moveTo>
                  <a:lnTo>
                    <a:pt x="126401" y="228498"/>
                  </a:lnTo>
                  <a:lnTo>
                    <a:pt x="111975" y="242899"/>
                  </a:lnTo>
                  <a:lnTo>
                    <a:pt x="119307" y="250219"/>
                  </a:lnTo>
                  <a:cubicBezTo>
                    <a:pt x="126877" y="257824"/>
                    <a:pt x="126877" y="270087"/>
                    <a:pt x="119307" y="277692"/>
                  </a:cubicBezTo>
                  <a:lnTo>
                    <a:pt x="115641" y="281352"/>
                  </a:lnTo>
                  <a:cubicBezTo>
                    <a:pt x="108024" y="288909"/>
                    <a:pt x="95741" y="288909"/>
                    <a:pt x="88123" y="281352"/>
                  </a:cubicBezTo>
                  <a:lnTo>
                    <a:pt x="5712" y="199029"/>
                  </a:lnTo>
                  <a:cubicBezTo>
                    <a:pt x="-1905" y="191424"/>
                    <a:pt x="-1905" y="179161"/>
                    <a:pt x="5712" y="171604"/>
                  </a:cubicBezTo>
                  <a:lnTo>
                    <a:pt x="9378" y="167944"/>
                  </a:lnTo>
                  <a:cubicBezTo>
                    <a:pt x="16948" y="160339"/>
                    <a:pt x="29231" y="160339"/>
                    <a:pt x="36849" y="167944"/>
                  </a:cubicBezTo>
                  <a:lnTo>
                    <a:pt x="44180" y="175264"/>
                  </a:lnTo>
                  <a:close/>
                  <a:moveTo>
                    <a:pt x="585775" y="66370"/>
                  </a:moveTo>
                  <a:cubicBezTo>
                    <a:pt x="589775" y="67101"/>
                    <a:pt x="593430" y="69680"/>
                    <a:pt x="595263" y="73839"/>
                  </a:cubicBezTo>
                  <a:cubicBezTo>
                    <a:pt x="613072" y="114675"/>
                    <a:pt x="607644" y="163212"/>
                    <a:pt x="578978" y="199341"/>
                  </a:cubicBezTo>
                  <a:cubicBezTo>
                    <a:pt x="574168" y="205379"/>
                    <a:pt x="565121" y="205854"/>
                    <a:pt x="559693" y="200387"/>
                  </a:cubicBezTo>
                  <a:lnTo>
                    <a:pt x="510789" y="151612"/>
                  </a:lnTo>
                  <a:cubicBezTo>
                    <a:pt x="505742" y="146526"/>
                    <a:pt x="505742" y="138349"/>
                    <a:pt x="510789" y="133262"/>
                  </a:cubicBezTo>
                  <a:lnTo>
                    <a:pt x="574216" y="69988"/>
                  </a:lnTo>
                  <a:cubicBezTo>
                    <a:pt x="577430" y="66756"/>
                    <a:pt x="581775" y="65639"/>
                    <a:pt x="585775" y="66370"/>
                  </a:cubicBezTo>
                  <a:close/>
                  <a:moveTo>
                    <a:pt x="158702" y="26758"/>
                  </a:moveTo>
                  <a:cubicBezTo>
                    <a:pt x="163655" y="26758"/>
                    <a:pt x="168654" y="28660"/>
                    <a:pt x="172463" y="32464"/>
                  </a:cubicBezTo>
                  <a:lnTo>
                    <a:pt x="179701" y="39691"/>
                  </a:lnTo>
                  <a:lnTo>
                    <a:pt x="246935" y="106831"/>
                  </a:lnTo>
                  <a:lnTo>
                    <a:pt x="254886" y="114819"/>
                  </a:lnTo>
                  <a:cubicBezTo>
                    <a:pt x="261457" y="121334"/>
                    <a:pt x="262362" y="131414"/>
                    <a:pt x="257600" y="138879"/>
                  </a:cubicBezTo>
                  <a:cubicBezTo>
                    <a:pt x="256839" y="140068"/>
                    <a:pt x="255934" y="141209"/>
                    <a:pt x="254886" y="142255"/>
                  </a:cubicBezTo>
                  <a:lnTo>
                    <a:pt x="252315" y="144823"/>
                  </a:lnTo>
                  <a:lnTo>
                    <a:pt x="246696" y="150434"/>
                  </a:lnTo>
                  <a:lnTo>
                    <a:pt x="175892" y="221140"/>
                  </a:lnTo>
                  <a:lnTo>
                    <a:pt x="172463" y="224611"/>
                  </a:lnTo>
                  <a:cubicBezTo>
                    <a:pt x="171702" y="225324"/>
                    <a:pt x="170940" y="225990"/>
                    <a:pt x="170130" y="226560"/>
                  </a:cubicBezTo>
                  <a:cubicBezTo>
                    <a:pt x="167749" y="228319"/>
                    <a:pt x="165083" y="229413"/>
                    <a:pt x="162274" y="229936"/>
                  </a:cubicBezTo>
                  <a:cubicBezTo>
                    <a:pt x="161083" y="230174"/>
                    <a:pt x="159893" y="230269"/>
                    <a:pt x="158702" y="230269"/>
                  </a:cubicBezTo>
                  <a:cubicBezTo>
                    <a:pt x="153703" y="230269"/>
                    <a:pt x="148751" y="228367"/>
                    <a:pt x="144942" y="224611"/>
                  </a:cubicBezTo>
                  <a:lnTo>
                    <a:pt x="137609" y="217288"/>
                  </a:lnTo>
                  <a:lnTo>
                    <a:pt x="69804" y="149578"/>
                  </a:lnTo>
                  <a:lnTo>
                    <a:pt x="62519" y="142255"/>
                  </a:lnTo>
                  <a:cubicBezTo>
                    <a:pt x="54900" y="134647"/>
                    <a:pt x="54900" y="122380"/>
                    <a:pt x="62519" y="114819"/>
                  </a:cubicBezTo>
                  <a:lnTo>
                    <a:pt x="144942" y="32464"/>
                  </a:lnTo>
                  <a:cubicBezTo>
                    <a:pt x="148751" y="28660"/>
                    <a:pt x="153750" y="26758"/>
                    <a:pt x="158702" y="26758"/>
                  </a:cubicBezTo>
                  <a:close/>
                  <a:moveTo>
                    <a:pt x="254809" y="6542"/>
                  </a:moveTo>
                  <a:cubicBezTo>
                    <a:pt x="277279" y="4029"/>
                    <a:pt x="300492" y="9424"/>
                    <a:pt x="321015" y="29913"/>
                  </a:cubicBezTo>
                  <a:cubicBezTo>
                    <a:pt x="380347" y="89193"/>
                    <a:pt x="337205" y="46124"/>
                    <a:pt x="260017" y="97465"/>
                  </a:cubicBezTo>
                  <a:lnTo>
                    <a:pt x="193067" y="30626"/>
                  </a:lnTo>
                  <a:cubicBezTo>
                    <a:pt x="210614" y="19479"/>
                    <a:pt x="232340" y="9056"/>
                    <a:pt x="254809" y="6542"/>
                  </a:cubicBezTo>
                  <a:close/>
                  <a:moveTo>
                    <a:pt x="503105" y="953"/>
                  </a:moveTo>
                  <a:cubicBezTo>
                    <a:pt x="515252" y="2468"/>
                    <a:pt x="527216" y="5788"/>
                    <a:pt x="538560" y="10911"/>
                  </a:cubicBezTo>
                  <a:cubicBezTo>
                    <a:pt x="546131" y="14334"/>
                    <a:pt x="547940" y="24224"/>
                    <a:pt x="542083" y="30073"/>
                  </a:cubicBezTo>
                  <a:lnTo>
                    <a:pt x="465709" y="106341"/>
                  </a:lnTo>
                  <a:cubicBezTo>
                    <a:pt x="456424" y="115613"/>
                    <a:pt x="456424" y="130639"/>
                    <a:pt x="465709" y="139911"/>
                  </a:cubicBezTo>
                  <a:lnTo>
                    <a:pt x="542131" y="216227"/>
                  </a:lnTo>
                  <a:cubicBezTo>
                    <a:pt x="547940" y="222028"/>
                    <a:pt x="546178" y="231823"/>
                    <a:pt x="538655" y="235246"/>
                  </a:cubicBezTo>
                  <a:cubicBezTo>
                    <a:pt x="508181" y="249035"/>
                    <a:pt x="473184" y="249844"/>
                    <a:pt x="442187" y="237528"/>
                  </a:cubicBezTo>
                  <a:lnTo>
                    <a:pt x="399238" y="280370"/>
                  </a:lnTo>
                  <a:lnTo>
                    <a:pt x="328482" y="209712"/>
                  </a:lnTo>
                  <a:lnTo>
                    <a:pt x="372240" y="166015"/>
                  </a:lnTo>
                  <a:cubicBezTo>
                    <a:pt x="356051" y="122270"/>
                    <a:pt x="365527" y="71060"/>
                    <a:pt x="400571" y="36064"/>
                  </a:cubicBezTo>
                  <a:cubicBezTo>
                    <a:pt x="428569" y="8106"/>
                    <a:pt x="466664" y="-3592"/>
                    <a:pt x="503105" y="953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xmlns="" id="{3DA7EF50-FC05-44A3-89B8-EA2860E55FF4}"/>
                </a:ext>
              </a:extLst>
            </p:cNvPr>
            <p:cNvCxnSpPr>
              <a:cxnSpLocks/>
            </p:cNvCxnSpPr>
            <p:nvPr/>
          </p:nvCxnSpPr>
          <p:spPr>
            <a:xfrm>
              <a:off x="5060951" y="4782103"/>
              <a:ext cx="0" cy="1361522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îşļiďê">
              <a:extLst>
                <a:ext uri="{FF2B5EF4-FFF2-40B4-BE49-F238E27FC236}">
                  <a16:creationId xmlns:a16="http://schemas.microsoft.com/office/drawing/2014/main" xmlns="" id="{4CDA7B2E-0C31-4D32-846F-AF6422355300}"/>
                </a:ext>
              </a:extLst>
            </p:cNvPr>
            <p:cNvSpPr/>
            <p:nvPr/>
          </p:nvSpPr>
          <p:spPr>
            <a:xfrm>
              <a:off x="669925" y="2505558"/>
              <a:ext cx="2107934" cy="19956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 sz="900"/>
            </a:p>
          </p:txBody>
        </p:sp>
        <p:sp>
          <p:nvSpPr>
            <p:cNvPr id="15" name="îṩḻiḋè">
              <a:extLst>
                <a:ext uri="{FF2B5EF4-FFF2-40B4-BE49-F238E27FC236}">
                  <a16:creationId xmlns:a16="http://schemas.microsoft.com/office/drawing/2014/main" xmlns="" id="{6A3A9DAD-E2E7-4F88-BDAD-79BCAA537143}"/>
                </a:ext>
              </a:extLst>
            </p:cNvPr>
            <p:cNvSpPr/>
            <p:nvPr/>
          </p:nvSpPr>
          <p:spPr bwMode="auto">
            <a:xfrm>
              <a:off x="1404411" y="3196024"/>
              <a:ext cx="638962" cy="614696"/>
            </a:xfrm>
            <a:custGeom>
              <a:avLst/>
              <a:gdLst>
                <a:gd name="connsiteX0" fmla="*/ 195114 w 608814"/>
                <a:gd name="connsiteY0" fmla="*/ 351627 h 585693"/>
                <a:gd name="connsiteX1" fmla="*/ 258290 w 608814"/>
                <a:gd name="connsiteY1" fmla="*/ 351627 h 585693"/>
                <a:gd name="connsiteX2" fmla="*/ 282731 w 608814"/>
                <a:gd name="connsiteY2" fmla="*/ 376018 h 585693"/>
                <a:gd name="connsiteX3" fmla="*/ 282731 w 608814"/>
                <a:gd name="connsiteY3" fmla="*/ 561210 h 585693"/>
                <a:gd name="connsiteX4" fmla="*/ 258290 w 608814"/>
                <a:gd name="connsiteY4" fmla="*/ 585693 h 585693"/>
                <a:gd name="connsiteX5" fmla="*/ 195114 w 608814"/>
                <a:gd name="connsiteY5" fmla="*/ 585693 h 585693"/>
                <a:gd name="connsiteX6" fmla="*/ 170673 w 608814"/>
                <a:gd name="connsiteY6" fmla="*/ 561210 h 585693"/>
                <a:gd name="connsiteX7" fmla="*/ 170673 w 608814"/>
                <a:gd name="connsiteY7" fmla="*/ 376018 h 585693"/>
                <a:gd name="connsiteX8" fmla="*/ 195114 w 608814"/>
                <a:gd name="connsiteY8" fmla="*/ 351627 h 585693"/>
                <a:gd name="connsiteX9" fmla="*/ 358100 w 608814"/>
                <a:gd name="connsiteY9" fmla="*/ 249872 h 585693"/>
                <a:gd name="connsiteX10" fmla="*/ 421316 w 608814"/>
                <a:gd name="connsiteY10" fmla="*/ 249872 h 585693"/>
                <a:gd name="connsiteX11" fmla="*/ 445737 w 608814"/>
                <a:gd name="connsiteY11" fmla="*/ 274267 h 585693"/>
                <a:gd name="connsiteX12" fmla="*/ 445737 w 608814"/>
                <a:gd name="connsiteY12" fmla="*/ 561206 h 585693"/>
                <a:gd name="connsiteX13" fmla="*/ 421316 w 608814"/>
                <a:gd name="connsiteY13" fmla="*/ 585693 h 585693"/>
                <a:gd name="connsiteX14" fmla="*/ 358100 w 608814"/>
                <a:gd name="connsiteY14" fmla="*/ 585693 h 585693"/>
                <a:gd name="connsiteX15" fmla="*/ 333679 w 608814"/>
                <a:gd name="connsiteY15" fmla="*/ 561206 h 585693"/>
                <a:gd name="connsiteX16" fmla="*/ 333679 w 608814"/>
                <a:gd name="connsiteY16" fmla="*/ 274267 h 585693"/>
                <a:gd name="connsiteX17" fmla="*/ 358100 w 608814"/>
                <a:gd name="connsiteY17" fmla="*/ 249872 h 585693"/>
                <a:gd name="connsiteX18" fmla="*/ 140260 w 608814"/>
                <a:gd name="connsiteY18" fmla="*/ 224680 h 585693"/>
                <a:gd name="connsiteX19" fmla="*/ 191844 w 608814"/>
                <a:gd name="connsiteY19" fmla="*/ 276122 h 585693"/>
                <a:gd name="connsiteX20" fmla="*/ 140260 w 608814"/>
                <a:gd name="connsiteY20" fmla="*/ 327564 h 585693"/>
                <a:gd name="connsiteX21" fmla="*/ 88676 w 608814"/>
                <a:gd name="connsiteY21" fmla="*/ 276122 h 585693"/>
                <a:gd name="connsiteX22" fmla="*/ 140260 w 608814"/>
                <a:gd name="connsiteY22" fmla="*/ 224680 h 585693"/>
                <a:gd name="connsiteX23" fmla="*/ 521177 w 608814"/>
                <a:gd name="connsiteY23" fmla="*/ 148117 h 585693"/>
                <a:gd name="connsiteX24" fmla="*/ 584301 w 608814"/>
                <a:gd name="connsiteY24" fmla="*/ 148117 h 585693"/>
                <a:gd name="connsiteX25" fmla="*/ 608814 w 608814"/>
                <a:gd name="connsiteY25" fmla="*/ 172601 h 585693"/>
                <a:gd name="connsiteX26" fmla="*/ 608814 w 608814"/>
                <a:gd name="connsiteY26" fmla="*/ 561209 h 585693"/>
                <a:gd name="connsiteX27" fmla="*/ 584301 w 608814"/>
                <a:gd name="connsiteY27" fmla="*/ 585693 h 585693"/>
                <a:gd name="connsiteX28" fmla="*/ 521177 w 608814"/>
                <a:gd name="connsiteY28" fmla="*/ 585693 h 585693"/>
                <a:gd name="connsiteX29" fmla="*/ 496756 w 608814"/>
                <a:gd name="connsiteY29" fmla="*/ 561209 h 585693"/>
                <a:gd name="connsiteX30" fmla="*/ 496756 w 608814"/>
                <a:gd name="connsiteY30" fmla="*/ 172601 h 585693"/>
                <a:gd name="connsiteX31" fmla="*/ 521177 w 608814"/>
                <a:gd name="connsiteY31" fmla="*/ 148117 h 585693"/>
                <a:gd name="connsiteX32" fmla="*/ 116229 w 608814"/>
                <a:gd name="connsiteY32" fmla="*/ 131322 h 585693"/>
                <a:gd name="connsiteX33" fmla="*/ 164246 w 608814"/>
                <a:gd name="connsiteY33" fmla="*/ 131322 h 585693"/>
                <a:gd name="connsiteX34" fmla="*/ 184061 w 608814"/>
                <a:gd name="connsiteY34" fmla="*/ 151113 h 585693"/>
                <a:gd name="connsiteX35" fmla="*/ 184061 w 608814"/>
                <a:gd name="connsiteY35" fmla="*/ 171457 h 585693"/>
                <a:gd name="connsiteX36" fmla="*/ 208669 w 608814"/>
                <a:gd name="connsiteY36" fmla="*/ 186094 h 585693"/>
                <a:gd name="connsiteX37" fmla="*/ 226641 w 608814"/>
                <a:gd name="connsiteY37" fmla="*/ 175692 h 585693"/>
                <a:gd name="connsiteX38" fmla="*/ 253737 w 608814"/>
                <a:gd name="connsiteY38" fmla="*/ 182964 h 585693"/>
                <a:gd name="connsiteX39" fmla="*/ 277792 w 608814"/>
                <a:gd name="connsiteY39" fmla="*/ 224572 h 585693"/>
                <a:gd name="connsiteX40" fmla="*/ 279727 w 608814"/>
                <a:gd name="connsiteY40" fmla="*/ 239577 h 585693"/>
                <a:gd name="connsiteX41" fmla="*/ 270511 w 608814"/>
                <a:gd name="connsiteY41" fmla="*/ 251544 h 585693"/>
                <a:gd name="connsiteX42" fmla="*/ 252355 w 608814"/>
                <a:gd name="connsiteY42" fmla="*/ 262038 h 585693"/>
                <a:gd name="connsiteX43" fmla="*/ 253829 w 608814"/>
                <a:gd name="connsiteY43" fmla="*/ 276122 h 585693"/>
                <a:gd name="connsiteX44" fmla="*/ 252355 w 608814"/>
                <a:gd name="connsiteY44" fmla="*/ 290206 h 585693"/>
                <a:gd name="connsiteX45" fmla="*/ 270511 w 608814"/>
                <a:gd name="connsiteY45" fmla="*/ 300700 h 585693"/>
                <a:gd name="connsiteX46" fmla="*/ 278714 w 608814"/>
                <a:gd name="connsiteY46" fmla="*/ 325094 h 585693"/>
                <a:gd name="connsiteX47" fmla="*/ 258253 w 608814"/>
                <a:gd name="connsiteY47" fmla="*/ 321136 h 585693"/>
                <a:gd name="connsiteX48" fmla="*/ 195858 w 608814"/>
                <a:gd name="connsiteY48" fmla="*/ 321136 h 585693"/>
                <a:gd name="connsiteX49" fmla="*/ 212171 w 608814"/>
                <a:gd name="connsiteY49" fmla="*/ 276122 h 585693"/>
                <a:gd name="connsiteX50" fmla="*/ 140191 w 608814"/>
                <a:gd name="connsiteY50" fmla="*/ 204320 h 585693"/>
                <a:gd name="connsiteX51" fmla="*/ 68304 w 608814"/>
                <a:gd name="connsiteY51" fmla="*/ 276122 h 585693"/>
                <a:gd name="connsiteX52" fmla="*/ 140191 w 608814"/>
                <a:gd name="connsiteY52" fmla="*/ 348016 h 585693"/>
                <a:gd name="connsiteX53" fmla="*/ 148486 w 608814"/>
                <a:gd name="connsiteY53" fmla="*/ 347095 h 585693"/>
                <a:gd name="connsiteX54" fmla="*/ 140099 w 608814"/>
                <a:gd name="connsiteY54" fmla="*/ 376000 h 585693"/>
                <a:gd name="connsiteX55" fmla="*/ 140099 w 608814"/>
                <a:gd name="connsiteY55" fmla="*/ 420922 h 585693"/>
                <a:gd name="connsiteX56" fmla="*/ 116229 w 608814"/>
                <a:gd name="connsiteY56" fmla="*/ 420922 h 585693"/>
                <a:gd name="connsiteX57" fmla="*/ 96413 w 608814"/>
                <a:gd name="connsiteY57" fmla="*/ 401131 h 585693"/>
                <a:gd name="connsiteX58" fmla="*/ 96413 w 608814"/>
                <a:gd name="connsiteY58" fmla="*/ 380787 h 585693"/>
                <a:gd name="connsiteX59" fmla="*/ 71806 w 608814"/>
                <a:gd name="connsiteY59" fmla="*/ 366150 h 585693"/>
                <a:gd name="connsiteX60" fmla="*/ 53742 w 608814"/>
                <a:gd name="connsiteY60" fmla="*/ 376552 h 585693"/>
                <a:gd name="connsiteX61" fmla="*/ 38719 w 608814"/>
                <a:gd name="connsiteY61" fmla="*/ 378577 h 585693"/>
                <a:gd name="connsiteX62" fmla="*/ 26738 w 608814"/>
                <a:gd name="connsiteY62" fmla="*/ 369372 h 585693"/>
                <a:gd name="connsiteX63" fmla="*/ 2683 w 608814"/>
                <a:gd name="connsiteY63" fmla="*/ 327764 h 585693"/>
                <a:gd name="connsiteX64" fmla="*/ 9872 w 608814"/>
                <a:gd name="connsiteY64" fmla="*/ 300700 h 585693"/>
                <a:gd name="connsiteX65" fmla="*/ 28120 w 608814"/>
                <a:gd name="connsiteY65" fmla="*/ 290206 h 585693"/>
                <a:gd name="connsiteX66" fmla="*/ 26645 w 608814"/>
                <a:gd name="connsiteY66" fmla="*/ 276122 h 585693"/>
                <a:gd name="connsiteX67" fmla="*/ 28120 w 608814"/>
                <a:gd name="connsiteY67" fmla="*/ 262038 h 585693"/>
                <a:gd name="connsiteX68" fmla="*/ 9872 w 608814"/>
                <a:gd name="connsiteY68" fmla="*/ 251544 h 585693"/>
                <a:gd name="connsiteX69" fmla="*/ 2683 w 608814"/>
                <a:gd name="connsiteY69" fmla="*/ 224572 h 585693"/>
                <a:gd name="connsiteX70" fmla="*/ 26738 w 608814"/>
                <a:gd name="connsiteY70" fmla="*/ 182964 h 585693"/>
                <a:gd name="connsiteX71" fmla="*/ 38719 w 608814"/>
                <a:gd name="connsiteY71" fmla="*/ 173759 h 585693"/>
                <a:gd name="connsiteX72" fmla="*/ 53742 w 608814"/>
                <a:gd name="connsiteY72" fmla="*/ 175692 h 585693"/>
                <a:gd name="connsiteX73" fmla="*/ 71806 w 608814"/>
                <a:gd name="connsiteY73" fmla="*/ 186094 h 585693"/>
                <a:gd name="connsiteX74" fmla="*/ 96413 w 608814"/>
                <a:gd name="connsiteY74" fmla="*/ 171457 h 585693"/>
                <a:gd name="connsiteX75" fmla="*/ 96413 w 608814"/>
                <a:gd name="connsiteY75" fmla="*/ 151113 h 585693"/>
                <a:gd name="connsiteX76" fmla="*/ 116229 w 608814"/>
                <a:gd name="connsiteY76" fmla="*/ 131322 h 585693"/>
                <a:gd name="connsiteX77" fmla="*/ 445756 w 608814"/>
                <a:gd name="connsiteY77" fmla="*/ 83476 h 585693"/>
                <a:gd name="connsiteX78" fmla="*/ 414140 w 608814"/>
                <a:gd name="connsiteY78" fmla="*/ 115044 h 585693"/>
                <a:gd name="connsiteX79" fmla="*/ 445756 w 608814"/>
                <a:gd name="connsiteY79" fmla="*/ 146520 h 585693"/>
                <a:gd name="connsiteX80" fmla="*/ 477371 w 608814"/>
                <a:gd name="connsiteY80" fmla="*/ 115044 h 585693"/>
                <a:gd name="connsiteX81" fmla="*/ 445756 w 608814"/>
                <a:gd name="connsiteY81" fmla="*/ 83476 h 585693"/>
                <a:gd name="connsiteX82" fmla="*/ 426676 w 608814"/>
                <a:gd name="connsiteY82" fmla="*/ 0 h 585693"/>
                <a:gd name="connsiteX83" fmla="*/ 464835 w 608814"/>
                <a:gd name="connsiteY83" fmla="*/ 0 h 585693"/>
                <a:gd name="connsiteX84" fmla="*/ 480597 w 608814"/>
                <a:gd name="connsiteY84" fmla="*/ 15738 h 585693"/>
                <a:gd name="connsiteX85" fmla="*/ 480597 w 608814"/>
                <a:gd name="connsiteY85" fmla="*/ 31936 h 585693"/>
                <a:gd name="connsiteX86" fmla="*/ 500138 w 608814"/>
                <a:gd name="connsiteY86" fmla="*/ 43533 h 585693"/>
                <a:gd name="connsiteX87" fmla="*/ 514425 w 608814"/>
                <a:gd name="connsiteY87" fmla="*/ 35249 h 585693"/>
                <a:gd name="connsiteX88" fmla="*/ 535901 w 608814"/>
                <a:gd name="connsiteY88" fmla="*/ 40956 h 585693"/>
                <a:gd name="connsiteX89" fmla="*/ 554981 w 608814"/>
                <a:gd name="connsiteY89" fmla="*/ 73996 h 585693"/>
                <a:gd name="connsiteX90" fmla="*/ 556640 w 608814"/>
                <a:gd name="connsiteY90" fmla="*/ 85961 h 585693"/>
                <a:gd name="connsiteX91" fmla="*/ 549266 w 608814"/>
                <a:gd name="connsiteY91" fmla="*/ 95440 h 585693"/>
                <a:gd name="connsiteX92" fmla="*/ 534887 w 608814"/>
                <a:gd name="connsiteY92" fmla="*/ 103815 h 585693"/>
                <a:gd name="connsiteX93" fmla="*/ 535993 w 608814"/>
                <a:gd name="connsiteY93" fmla="*/ 115044 h 585693"/>
                <a:gd name="connsiteX94" fmla="*/ 535717 w 608814"/>
                <a:gd name="connsiteY94" fmla="*/ 117621 h 585693"/>
                <a:gd name="connsiteX95" fmla="*/ 521153 w 608814"/>
                <a:gd name="connsiteY95" fmla="*/ 117621 h 585693"/>
                <a:gd name="connsiteX96" fmla="*/ 466126 w 608814"/>
                <a:gd name="connsiteY96" fmla="*/ 172565 h 585693"/>
                <a:gd name="connsiteX97" fmla="*/ 466126 w 608814"/>
                <a:gd name="connsiteY97" fmla="*/ 229719 h 585693"/>
                <a:gd name="connsiteX98" fmla="*/ 466126 w 608814"/>
                <a:gd name="connsiteY98" fmla="*/ 242604 h 585693"/>
                <a:gd name="connsiteX99" fmla="*/ 453590 w 608814"/>
                <a:gd name="connsiteY99" fmla="*/ 229995 h 585693"/>
                <a:gd name="connsiteX100" fmla="*/ 421330 w 608814"/>
                <a:gd name="connsiteY100" fmla="*/ 219319 h 585693"/>
                <a:gd name="connsiteX101" fmla="*/ 411928 w 608814"/>
                <a:gd name="connsiteY101" fmla="*/ 219319 h 585693"/>
                <a:gd name="connsiteX102" fmla="*/ 410914 w 608814"/>
                <a:gd name="connsiteY102" fmla="*/ 214257 h 585693"/>
                <a:gd name="connsiteX103" fmla="*/ 410914 w 608814"/>
                <a:gd name="connsiteY103" fmla="*/ 198059 h 585693"/>
                <a:gd name="connsiteX104" fmla="*/ 391373 w 608814"/>
                <a:gd name="connsiteY104" fmla="*/ 186463 h 585693"/>
                <a:gd name="connsiteX105" fmla="*/ 377086 w 608814"/>
                <a:gd name="connsiteY105" fmla="*/ 194746 h 585693"/>
                <a:gd name="connsiteX106" fmla="*/ 365104 w 608814"/>
                <a:gd name="connsiteY106" fmla="*/ 196310 h 585693"/>
                <a:gd name="connsiteX107" fmla="*/ 355610 w 608814"/>
                <a:gd name="connsiteY107" fmla="*/ 189040 h 585693"/>
                <a:gd name="connsiteX108" fmla="*/ 336530 w 608814"/>
                <a:gd name="connsiteY108" fmla="*/ 155999 h 585693"/>
                <a:gd name="connsiteX109" fmla="*/ 342245 w 608814"/>
                <a:gd name="connsiteY109" fmla="*/ 134463 h 585693"/>
                <a:gd name="connsiteX110" fmla="*/ 356716 w 608814"/>
                <a:gd name="connsiteY110" fmla="*/ 126180 h 585693"/>
                <a:gd name="connsiteX111" fmla="*/ 355518 w 608814"/>
                <a:gd name="connsiteY111" fmla="*/ 115044 h 585693"/>
                <a:gd name="connsiteX112" fmla="*/ 356716 w 608814"/>
                <a:gd name="connsiteY112" fmla="*/ 103815 h 585693"/>
                <a:gd name="connsiteX113" fmla="*/ 342245 w 608814"/>
                <a:gd name="connsiteY113" fmla="*/ 95440 h 585693"/>
                <a:gd name="connsiteX114" fmla="*/ 336530 w 608814"/>
                <a:gd name="connsiteY114" fmla="*/ 73996 h 585693"/>
                <a:gd name="connsiteX115" fmla="*/ 355610 w 608814"/>
                <a:gd name="connsiteY115" fmla="*/ 40956 h 585693"/>
                <a:gd name="connsiteX116" fmla="*/ 365104 w 608814"/>
                <a:gd name="connsiteY116" fmla="*/ 33685 h 585693"/>
                <a:gd name="connsiteX117" fmla="*/ 377086 w 608814"/>
                <a:gd name="connsiteY117" fmla="*/ 35249 h 585693"/>
                <a:gd name="connsiteX118" fmla="*/ 391373 w 608814"/>
                <a:gd name="connsiteY118" fmla="*/ 43533 h 585693"/>
                <a:gd name="connsiteX119" fmla="*/ 410914 w 608814"/>
                <a:gd name="connsiteY119" fmla="*/ 31936 h 585693"/>
                <a:gd name="connsiteX120" fmla="*/ 410914 w 608814"/>
                <a:gd name="connsiteY120" fmla="*/ 15738 h 585693"/>
                <a:gd name="connsiteX121" fmla="*/ 426676 w 608814"/>
                <a:gd name="connsiteY121" fmla="*/ 0 h 58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608814" h="585693">
                  <a:moveTo>
                    <a:pt x="195114" y="351627"/>
                  </a:moveTo>
                  <a:lnTo>
                    <a:pt x="258290" y="351627"/>
                  </a:lnTo>
                  <a:cubicBezTo>
                    <a:pt x="271848" y="351627"/>
                    <a:pt x="282731" y="362580"/>
                    <a:pt x="282731" y="376018"/>
                  </a:cubicBezTo>
                  <a:lnTo>
                    <a:pt x="282731" y="561210"/>
                  </a:lnTo>
                  <a:cubicBezTo>
                    <a:pt x="282731" y="574740"/>
                    <a:pt x="271848" y="585693"/>
                    <a:pt x="258290" y="585693"/>
                  </a:cubicBezTo>
                  <a:lnTo>
                    <a:pt x="195114" y="585693"/>
                  </a:lnTo>
                  <a:cubicBezTo>
                    <a:pt x="181556" y="585693"/>
                    <a:pt x="170673" y="574740"/>
                    <a:pt x="170673" y="561210"/>
                  </a:cubicBezTo>
                  <a:lnTo>
                    <a:pt x="170673" y="376018"/>
                  </a:lnTo>
                  <a:cubicBezTo>
                    <a:pt x="170673" y="362580"/>
                    <a:pt x="181556" y="351627"/>
                    <a:pt x="195114" y="351627"/>
                  </a:cubicBezTo>
                  <a:close/>
                  <a:moveTo>
                    <a:pt x="358100" y="249872"/>
                  </a:moveTo>
                  <a:lnTo>
                    <a:pt x="421316" y="249872"/>
                  </a:lnTo>
                  <a:cubicBezTo>
                    <a:pt x="434771" y="249872"/>
                    <a:pt x="445737" y="260735"/>
                    <a:pt x="445737" y="274267"/>
                  </a:cubicBezTo>
                  <a:lnTo>
                    <a:pt x="445737" y="561206"/>
                  </a:lnTo>
                  <a:cubicBezTo>
                    <a:pt x="445737" y="574738"/>
                    <a:pt x="434771" y="585693"/>
                    <a:pt x="421316" y="585693"/>
                  </a:cubicBezTo>
                  <a:lnTo>
                    <a:pt x="358100" y="585693"/>
                  </a:lnTo>
                  <a:cubicBezTo>
                    <a:pt x="344645" y="585693"/>
                    <a:pt x="333679" y="574738"/>
                    <a:pt x="333679" y="561206"/>
                  </a:cubicBezTo>
                  <a:lnTo>
                    <a:pt x="333679" y="274267"/>
                  </a:lnTo>
                  <a:cubicBezTo>
                    <a:pt x="333679" y="260735"/>
                    <a:pt x="344645" y="249872"/>
                    <a:pt x="358100" y="249872"/>
                  </a:cubicBezTo>
                  <a:close/>
                  <a:moveTo>
                    <a:pt x="140260" y="224680"/>
                  </a:moveTo>
                  <a:cubicBezTo>
                    <a:pt x="168749" y="224680"/>
                    <a:pt x="191844" y="247711"/>
                    <a:pt x="191844" y="276122"/>
                  </a:cubicBezTo>
                  <a:cubicBezTo>
                    <a:pt x="191844" y="304533"/>
                    <a:pt x="168749" y="327564"/>
                    <a:pt x="140260" y="327564"/>
                  </a:cubicBezTo>
                  <a:cubicBezTo>
                    <a:pt x="111771" y="327564"/>
                    <a:pt x="88676" y="304533"/>
                    <a:pt x="88676" y="276122"/>
                  </a:cubicBezTo>
                  <a:cubicBezTo>
                    <a:pt x="88676" y="247711"/>
                    <a:pt x="111771" y="224680"/>
                    <a:pt x="140260" y="224680"/>
                  </a:cubicBezTo>
                  <a:close/>
                  <a:moveTo>
                    <a:pt x="521177" y="148117"/>
                  </a:moveTo>
                  <a:lnTo>
                    <a:pt x="584301" y="148117"/>
                  </a:lnTo>
                  <a:cubicBezTo>
                    <a:pt x="597848" y="148117"/>
                    <a:pt x="608814" y="159070"/>
                    <a:pt x="608814" y="172601"/>
                  </a:cubicBezTo>
                  <a:lnTo>
                    <a:pt x="608814" y="561209"/>
                  </a:lnTo>
                  <a:cubicBezTo>
                    <a:pt x="608814" y="574740"/>
                    <a:pt x="597848" y="585693"/>
                    <a:pt x="584301" y="585693"/>
                  </a:cubicBezTo>
                  <a:lnTo>
                    <a:pt x="521177" y="585693"/>
                  </a:lnTo>
                  <a:cubicBezTo>
                    <a:pt x="507722" y="585693"/>
                    <a:pt x="496756" y="574740"/>
                    <a:pt x="496756" y="561209"/>
                  </a:cubicBezTo>
                  <a:lnTo>
                    <a:pt x="496756" y="172601"/>
                  </a:lnTo>
                  <a:cubicBezTo>
                    <a:pt x="496756" y="159070"/>
                    <a:pt x="507722" y="148117"/>
                    <a:pt x="521177" y="148117"/>
                  </a:cubicBezTo>
                  <a:close/>
                  <a:moveTo>
                    <a:pt x="116229" y="131322"/>
                  </a:moveTo>
                  <a:lnTo>
                    <a:pt x="164246" y="131322"/>
                  </a:lnTo>
                  <a:cubicBezTo>
                    <a:pt x="175214" y="131322"/>
                    <a:pt x="184061" y="140159"/>
                    <a:pt x="184061" y="151113"/>
                  </a:cubicBezTo>
                  <a:lnTo>
                    <a:pt x="184061" y="171457"/>
                  </a:lnTo>
                  <a:cubicBezTo>
                    <a:pt x="193001" y="175231"/>
                    <a:pt x="201019" y="180386"/>
                    <a:pt x="208669" y="186094"/>
                  </a:cubicBezTo>
                  <a:lnTo>
                    <a:pt x="226641" y="175692"/>
                  </a:lnTo>
                  <a:cubicBezTo>
                    <a:pt x="236134" y="170261"/>
                    <a:pt x="248300" y="173482"/>
                    <a:pt x="253737" y="182964"/>
                  </a:cubicBezTo>
                  <a:lnTo>
                    <a:pt x="277792" y="224572"/>
                  </a:lnTo>
                  <a:cubicBezTo>
                    <a:pt x="280465" y="229083"/>
                    <a:pt x="281110" y="234514"/>
                    <a:pt x="279727" y="239577"/>
                  </a:cubicBezTo>
                  <a:cubicBezTo>
                    <a:pt x="278437" y="244640"/>
                    <a:pt x="275119" y="248966"/>
                    <a:pt x="270511" y="251544"/>
                  </a:cubicBezTo>
                  <a:lnTo>
                    <a:pt x="252355" y="262038"/>
                  </a:lnTo>
                  <a:cubicBezTo>
                    <a:pt x="253000" y="266733"/>
                    <a:pt x="253829" y="271335"/>
                    <a:pt x="253829" y="276122"/>
                  </a:cubicBezTo>
                  <a:cubicBezTo>
                    <a:pt x="253829" y="281001"/>
                    <a:pt x="253000" y="285604"/>
                    <a:pt x="252355" y="290206"/>
                  </a:cubicBezTo>
                  <a:lnTo>
                    <a:pt x="270511" y="300700"/>
                  </a:lnTo>
                  <a:cubicBezTo>
                    <a:pt x="279174" y="305671"/>
                    <a:pt x="282308" y="316165"/>
                    <a:pt x="278714" y="325094"/>
                  </a:cubicBezTo>
                  <a:cubicBezTo>
                    <a:pt x="272354" y="322609"/>
                    <a:pt x="265442" y="321136"/>
                    <a:pt x="258253" y="321136"/>
                  </a:cubicBezTo>
                  <a:lnTo>
                    <a:pt x="195858" y="321136"/>
                  </a:lnTo>
                  <a:cubicBezTo>
                    <a:pt x="205904" y="308709"/>
                    <a:pt x="212171" y="293244"/>
                    <a:pt x="212171" y="276122"/>
                  </a:cubicBezTo>
                  <a:cubicBezTo>
                    <a:pt x="212171" y="236539"/>
                    <a:pt x="179914" y="204320"/>
                    <a:pt x="140191" y="204320"/>
                  </a:cubicBezTo>
                  <a:cubicBezTo>
                    <a:pt x="100561" y="204320"/>
                    <a:pt x="68304" y="236539"/>
                    <a:pt x="68304" y="276122"/>
                  </a:cubicBezTo>
                  <a:cubicBezTo>
                    <a:pt x="68304" y="315797"/>
                    <a:pt x="100561" y="348016"/>
                    <a:pt x="140191" y="348016"/>
                  </a:cubicBezTo>
                  <a:cubicBezTo>
                    <a:pt x="143048" y="348016"/>
                    <a:pt x="145721" y="347463"/>
                    <a:pt x="148486" y="347095"/>
                  </a:cubicBezTo>
                  <a:cubicBezTo>
                    <a:pt x="143233" y="355564"/>
                    <a:pt x="140099" y="365414"/>
                    <a:pt x="140099" y="376000"/>
                  </a:cubicBezTo>
                  <a:lnTo>
                    <a:pt x="140099" y="420922"/>
                  </a:lnTo>
                  <a:lnTo>
                    <a:pt x="116229" y="420922"/>
                  </a:lnTo>
                  <a:cubicBezTo>
                    <a:pt x="105261" y="420922"/>
                    <a:pt x="96413" y="412085"/>
                    <a:pt x="96413" y="401131"/>
                  </a:cubicBezTo>
                  <a:lnTo>
                    <a:pt x="96413" y="380787"/>
                  </a:lnTo>
                  <a:cubicBezTo>
                    <a:pt x="87474" y="377013"/>
                    <a:pt x="79455" y="371950"/>
                    <a:pt x="71806" y="366150"/>
                  </a:cubicBezTo>
                  <a:lnTo>
                    <a:pt x="53742" y="376552"/>
                  </a:lnTo>
                  <a:cubicBezTo>
                    <a:pt x="49226" y="379222"/>
                    <a:pt x="43788" y="379866"/>
                    <a:pt x="38719" y="378577"/>
                  </a:cubicBezTo>
                  <a:cubicBezTo>
                    <a:pt x="33650" y="377197"/>
                    <a:pt x="29318" y="373883"/>
                    <a:pt x="26738" y="369372"/>
                  </a:cubicBezTo>
                  <a:lnTo>
                    <a:pt x="2683" y="327764"/>
                  </a:lnTo>
                  <a:cubicBezTo>
                    <a:pt x="-2847" y="318282"/>
                    <a:pt x="471" y="306131"/>
                    <a:pt x="9872" y="300700"/>
                  </a:cubicBezTo>
                  <a:lnTo>
                    <a:pt x="28120" y="290206"/>
                  </a:lnTo>
                  <a:cubicBezTo>
                    <a:pt x="27475" y="285604"/>
                    <a:pt x="26645" y="281001"/>
                    <a:pt x="26645" y="276122"/>
                  </a:cubicBezTo>
                  <a:cubicBezTo>
                    <a:pt x="26645" y="271335"/>
                    <a:pt x="27475" y="266733"/>
                    <a:pt x="28120" y="262038"/>
                  </a:cubicBezTo>
                  <a:lnTo>
                    <a:pt x="9872" y="251544"/>
                  </a:lnTo>
                  <a:cubicBezTo>
                    <a:pt x="471" y="246113"/>
                    <a:pt x="-2847" y="233962"/>
                    <a:pt x="2683" y="224572"/>
                  </a:cubicBezTo>
                  <a:lnTo>
                    <a:pt x="26738" y="182964"/>
                  </a:lnTo>
                  <a:cubicBezTo>
                    <a:pt x="29318" y="178361"/>
                    <a:pt x="33650" y="175139"/>
                    <a:pt x="38719" y="173759"/>
                  </a:cubicBezTo>
                  <a:cubicBezTo>
                    <a:pt x="43788" y="172378"/>
                    <a:pt x="49226" y="173114"/>
                    <a:pt x="53742" y="175692"/>
                  </a:cubicBezTo>
                  <a:lnTo>
                    <a:pt x="71806" y="186094"/>
                  </a:lnTo>
                  <a:cubicBezTo>
                    <a:pt x="79455" y="180386"/>
                    <a:pt x="87474" y="175231"/>
                    <a:pt x="96413" y="171457"/>
                  </a:cubicBezTo>
                  <a:lnTo>
                    <a:pt x="96413" y="151113"/>
                  </a:lnTo>
                  <a:cubicBezTo>
                    <a:pt x="96413" y="140159"/>
                    <a:pt x="105261" y="131322"/>
                    <a:pt x="116229" y="131322"/>
                  </a:cubicBezTo>
                  <a:close/>
                  <a:moveTo>
                    <a:pt x="445756" y="83476"/>
                  </a:moveTo>
                  <a:cubicBezTo>
                    <a:pt x="428335" y="83476"/>
                    <a:pt x="414140" y="97557"/>
                    <a:pt x="414140" y="115044"/>
                  </a:cubicBezTo>
                  <a:cubicBezTo>
                    <a:pt x="414140" y="132438"/>
                    <a:pt x="428335" y="146520"/>
                    <a:pt x="445756" y="146520"/>
                  </a:cubicBezTo>
                  <a:cubicBezTo>
                    <a:pt x="463176" y="146520"/>
                    <a:pt x="477371" y="132438"/>
                    <a:pt x="477371" y="115044"/>
                  </a:cubicBezTo>
                  <a:cubicBezTo>
                    <a:pt x="477371" y="97557"/>
                    <a:pt x="463176" y="83476"/>
                    <a:pt x="445756" y="83476"/>
                  </a:cubicBezTo>
                  <a:close/>
                  <a:moveTo>
                    <a:pt x="426676" y="0"/>
                  </a:moveTo>
                  <a:lnTo>
                    <a:pt x="464835" y="0"/>
                  </a:lnTo>
                  <a:cubicBezTo>
                    <a:pt x="473500" y="0"/>
                    <a:pt x="480597" y="7087"/>
                    <a:pt x="480597" y="15738"/>
                  </a:cubicBezTo>
                  <a:lnTo>
                    <a:pt x="480597" y="31936"/>
                  </a:lnTo>
                  <a:cubicBezTo>
                    <a:pt x="487694" y="34881"/>
                    <a:pt x="494054" y="38931"/>
                    <a:pt x="500138" y="43533"/>
                  </a:cubicBezTo>
                  <a:lnTo>
                    <a:pt x="514425" y="35249"/>
                  </a:lnTo>
                  <a:cubicBezTo>
                    <a:pt x="521983" y="30924"/>
                    <a:pt x="531569" y="33501"/>
                    <a:pt x="535901" y="40956"/>
                  </a:cubicBezTo>
                  <a:lnTo>
                    <a:pt x="554981" y="73996"/>
                  </a:lnTo>
                  <a:cubicBezTo>
                    <a:pt x="557101" y="77585"/>
                    <a:pt x="557654" y="81911"/>
                    <a:pt x="556640" y="85961"/>
                  </a:cubicBezTo>
                  <a:cubicBezTo>
                    <a:pt x="555534" y="89918"/>
                    <a:pt x="552861" y="93415"/>
                    <a:pt x="549266" y="95440"/>
                  </a:cubicBezTo>
                  <a:lnTo>
                    <a:pt x="534887" y="103815"/>
                  </a:lnTo>
                  <a:cubicBezTo>
                    <a:pt x="535348" y="107497"/>
                    <a:pt x="535993" y="111178"/>
                    <a:pt x="535993" y="115044"/>
                  </a:cubicBezTo>
                  <a:cubicBezTo>
                    <a:pt x="535993" y="115872"/>
                    <a:pt x="535809" y="116700"/>
                    <a:pt x="535717" y="117621"/>
                  </a:cubicBezTo>
                  <a:lnTo>
                    <a:pt x="521153" y="117621"/>
                  </a:lnTo>
                  <a:cubicBezTo>
                    <a:pt x="490828" y="117621"/>
                    <a:pt x="466126" y="142286"/>
                    <a:pt x="466126" y="172565"/>
                  </a:cubicBezTo>
                  <a:lnTo>
                    <a:pt x="466126" y="229719"/>
                  </a:lnTo>
                  <a:lnTo>
                    <a:pt x="466126" y="242604"/>
                  </a:lnTo>
                  <a:cubicBezTo>
                    <a:pt x="462715" y="237726"/>
                    <a:pt x="458383" y="233493"/>
                    <a:pt x="453590" y="229995"/>
                  </a:cubicBezTo>
                  <a:cubicBezTo>
                    <a:pt x="444465" y="223369"/>
                    <a:pt x="433404" y="219319"/>
                    <a:pt x="421330" y="219319"/>
                  </a:cubicBezTo>
                  <a:lnTo>
                    <a:pt x="411928" y="219319"/>
                  </a:lnTo>
                  <a:cubicBezTo>
                    <a:pt x="411375" y="217755"/>
                    <a:pt x="410914" y="216098"/>
                    <a:pt x="410914" y="214257"/>
                  </a:cubicBezTo>
                  <a:lnTo>
                    <a:pt x="410914" y="198059"/>
                  </a:lnTo>
                  <a:cubicBezTo>
                    <a:pt x="403817" y="195114"/>
                    <a:pt x="397457" y="191064"/>
                    <a:pt x="391373" y="186463"/>
                  </a:cubicBezTo>
                  <a:lnTo>
                    <a:pt x="377086" y="194746"/>
                  </a:lnTo>
                  <a:cubicBezTo>
                    <a:pt x="373492" y="196863"/>
                    <a:pt x="369160" y="197415"/>
                    <a:pt x="365104" y="196310"/>
                  </a:cubicBezTo>
                  <a:cubicBezTo>
                    <a:pt x="361140" y="195206"/>
                    <a:pt x="357638" y="192629"/>
                    <a:pt x="355610" y="189040"/>
                  </a:cubicBezTo>
                  <a:lnTo>
                    <a:pt x="336530" y="155999"/>
                  </a:lnTo>
                  <a:cubicBezTo>
                    <a:pt x="332198" y="148452"/>
                    <a:pt x="334687" y="138881"/>
                    <a:pt x="342245" y="134463"/>
                  </a:cubicBezTo>
                  <a:lnTo>
                    <a:pt x="356716" y="126180"/>
                  </a:lnTo>
                  <a:cubicBezTo>
                    <a:pt x="356163" y="122498"/>
                    <a:pt x="355518" y="118817"/>
                    <a:pt x="355518" y="115044"/>
                  </a:cubicBezTo>
                  <a:cubicBezTo>
                    <a:pt x="355518" y="111178"/>
                    <a:pt x="356163" y="107497"/>
                    <a:pt x="356716" y="103815"/>
                  </a:cubicBezTo>
                  <a:lnTo>
                    <a:pt x="342245" y="95440"/>
                  </a:lnTo>
                  <a:cubicBezTo>
                    <a:pt x="334687" y="91115"/>
                    <a:pt x="332198" y="81543"/>
                    <a:pt x="336530" y="73996"/>
                  </a:cubicBezTo>
                  <a:lnTo>
                    <a:pt x="355610" y="40956"/>
                  </a:lnTo>
                  <a:cubicBezTo>
                    <a:pt x="357638" y="37366"/>
                    <a:pt x="361140" y="34789"/>
                    <a:pt x="365104" y="33685"/>
                  </a:cubicBezTo>
                  <a:cubicBezTo>
                    <a:pt x="369160" y="32580"/>
                    <a:pt x="373492" y="33133"/>
                    <a:pt x="377086" y="35249"/>
                  </a:cubicBezTo>
                  <a:lnTo>
                    <a:pt x="391373" y="43533"/>
                  </a:lnTo>
                  <a:cubicBezTo>
                    <a:pt x="397457" y="38931"/>
                    <a:pt x="403817" y="34881"/>
                    <a:pt x="410914" y="31936"/>
                  </a:cubicBezTo>
                  <a:lnTo>
                    <a:pt x="410914" y="15738"/>
                  </a:lnTo>
                  <a:cubicBezTo>
                    <a:pt x="410914" y="7087"/>
                    <a:pt x="418011" y="0"/>
                    <a:pt x="426676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6" name="îśļïďè">
              <a:extLst>
                <a:ext uri="{FF2B5EF4-FFF2-40B4-BE49-F238E27FC236}">
                  <a16:creationId xmlns:a16="http://schemas.microsoft.com/office/drawing/2014/main" xmlns="" id="{77B48230-3692-4647-B271-4E182209D431}"/>
                </a:ext>
              </a:extLst>
            </p:cNvPr>
            <p:cNvGrpSpPr/>
            <p:nvPr/>
          </p:nvGrpSpPr>
          <p:grpSpPr>
            <a:xfrm>
              <a:off x="669925" y="4782103"/>
              <a:ext cx="2107934" cy="1111889"/>
              <a:chOff x="673100" y="1237334"/>
              <a:chExt cx="3228944" cy="1111889"/>
            </a:xfrm>
          </p:grpSpPr>
          <p:sp>
            <p:nvSpPr>
              <p:cNvPr id="19" name="îşḻídê">
                <a:extLst>
                  <a:ext uri="{FF2B5EF4-FFF2-40B4-BE49-F238E27FC236}">
                    <a16:creationId xmlns:a16="http://schemas.microsoft.com/office/drawing/2014/main" xmlns="" id="{E26CEDCD-FBD0-42BF-9972-E83E8C37AF06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0" name="îŝļïdè">
                <a:extLst>
                  <a:ext uri="{FF2B5EF4-FFF2-40B4-BE49-F238E27FC236}">
                    <a16:creationId xmlns:a16="http://schemas.microsoft.com/office/drawing/2014/main" xmlns="" id="{AF5E67C2-4F6F-45AB-87D4-6CAF143E965D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xmlns="" id="{F3FE94AF-A3E2-440C-A254-BFBA0D2B9864}"/>
                </a:ext>
              </a:extLst>
            </p:cNvPr>
            <p:cNvCxnSpPr>
              <a:cxnSpLocks/>
            </p:cNvCxnSpPr>
            <p:nvPr/>
          </p:nvCxnSpPr>
          <p:spPr>
            <a:xfrm>
              <a:off x="2836245" y="4782103"/>
              <a:ext cx="0" cy="1361522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ï$lïḋé">
              <a:extLst>
                <a:ext uri="{FF2B5EF4-FFF2-40B4-BE49-F238E27FC236}">
                  <a16:creationId xmlns:a16="http://schemas.microsoft.com/office/drawing/2014/main" xmlns="" id="{2F918A95-5316-488C-87CE-F2AFECFD0CA7}"/>
                </a:ext>
              </a:extLst>
            </p:cNvPr>
            <p:cNvSpPr/>
            <p:nvPr/>
          </p:nvSpPr>
          <p:spPr bwMode="auto">
            <a:xfrm>
              <a:off x="3671123" y="3226417"/>
              <a:ext cx="554950" cy="553910"/>
            </a:xfrm>
            <a:custGeom>
              <a:avLst/>
              <a:gdLst>
                <a:gd name="connsiteX0" fmla="*/ 290910 w 605702"/>
                <a:gd name="connsiteY0" fmla="*/ 156336 h 604568"/>
                <a:gd name="connsiteX1" fmla="*/ 335849 w 605702"/>
                <a:gd name="connsiteY1" fmla="*/ 164992 h 604568"/>
                <a:gd name="connsiteX2" fmla="*/ 288310 w 605702"/>
                <a:gd name="connsiteY2" fmla="*/ 212456 h 604568"/>
                <a:gd name="connsiteX3" fmla="*/ 203632 w 605702"/>
                <a:gd name="connsiteY3" fmla="*/ 244717 h 604568"/>
                <a:gd name="connsiteX4" fmla="*/ 203632 w 605702"/>
                <a:gd name="connsiteY4" fmla="*/ 401388 h 604568"/>
                <a:gd name="connsiteX5" fmla="*/ 360547 w 605702"/>
                <a:gd name="connsiteY5" fmla="*/ 401388 h 604568"/>
                <a:gd name="connsiteX6" fmla="*/ 392859 w 605702"/>
                <a:gd name="connsiteY6" fmla="*/ 316749 h 604568"/>
                <a:gd name="connsiteX7" fmla="*/ 440397 w 605702"/>
                <a:gd name="connsiteY7" fmla="*/ 269284 h 604568"/>
                <a:gd name="connsiteX8" fmla="*/ 400287 w 605702"/>
                <a:gd name="connsiteY8" fmla="*/ 441065 h 604568"/>
                <a:gd name="connsiteX9" fmla="*/ 163892 w 605702"/>
                <a:gd name="connsiteY9" fmla="*/ 441065 h 604568"/>
                <a:gd name="connsiteX10" fmla="*/ 163892 w 605702"/>
                <a:gd name="connsiteY10" fmla="*/ 205040 h 604568"/>
                <a:gd name="connsiteX11" fmla="*/ 290910 w 605702"/>
                <a:gd name="connsiteY11" fmla="*/ 156336 h 604568"/>
                <a:gd name="connsiteX12" fmla="*/ 246542 w 605702"/>
                <a:gd name="connsiteY12" fmla="*/ 43775 h 604568"/>
                <a:gd name="connsiteX13" fmla="*/ 422196 w 605702"/>
                <a:gd name="connsiteY13" fmla="*/ 78723 h 604568"/>
                <a:gd name="connsiteX14" fmla="*/ 376794 w 605702"/>
                <a:gd name="connsiteY14" fmla="*/ 124054 h 604568"/>
                <a:gd name="connsiteX15" fmla="*/ 126109 w 605702"/>
                <a:gd name="connsiteY15" fmla="*/ 167345 h 604568"/>
                <a:gd name="connsiteX16" fmla="*/ 126109 w 605702"/>
                <a:gd name="connsiteY16" fmla="*/ 478820 h 604568"/>
                <a:gd name="connsiteX17" fmla="*/ 438073 w 605702"/>
                <a:gd name="connsiteY17" fmla="*/ 478820 h 604568"/>
                <a:gd name="connsiteX18" fmla="*/ 481432 w 605702"/>
                <a:gd name="connsiteY18" fmla="*/ 228527 h 604568"/>
                <a:gd name="connsiteX19" fmla="*/ 526741 w 605702"/>
                <a:gd name="connsiteY19" fmla="*/ 183011 h 604568"/>
                <a:gd name="connsiteX20" fmla="*/ 481432 w 605702"/>
                <a:gd name="connsiteY20" fmla="*/ 522111 h 604568"/>
                <a:gd name="connsiteX21" fmla="*/ 82657 w 605702"/>
                <a:gd name="connsiteY21" fmla="*/ 522111 h 604568"/>
                <a:gd name="connsiteX22" fmla="*/ 82657 w 605702"/>
                <a:gd name="connsiteY22" fmla="*/ 123961 h 604568"/>
                <a:gd name="connsiteX23" fmla="*/ 246542 w 605702"/>
                <a:gd name="connsiteY23" fmla="*/ 43775 h 604568"/>
                <a:gd name="connsiteX24" fmla="*/ 536061 w 605702"/>
                <a:gd name="connsiteY24" fmla="*/ 0 h 604568"/>
                <a:gd name="connsiteX25" fmla="*/ 544232 w 605702"/>
                <a:gd name="connsiteY25" fmla="*/ 61368 h 604568"/>
                <a:gd name="connsiteX26" fmla="*/ 605702 w 605702"/>
                <a:gd name="connsiteY26" fmla="*/ 69526 h 604568"/>
                <a:gd name="connsiteX27" fmla="*/ 524361 w 605702"/>
                <a:gd name="connsiteY27" fmla="*/ 150732 h 604568"/>
                <a:gd name="connsiteX28" fmla="*/ 498361 w 605702"/>
                <a:gd name="connsiteY28" fmla="*/ 147302 h 604568"/>
                <a:gd name="connsiteX29" fmla="*/ 337721 w 605702"/>
                <a:gd name="connsiteY29" fmla="*/ 307767 h 604568"/>
                <a:gd name="connsiteX30" fmla="*/ 339764 w 605702"/>
                <a:gd name="connsiteY30" fmla="*/ 323063 h 604568"/>
                <a:gd name="connsiteX31" fmla="*/ 282101 w 605702"/>
                <a:gd name="connsiteY31" fmla="*/ 380630 h 604568"/>
                <a:gd name="connsiteX32" fmla="*/ 224437 w 605702"/>
                <a:gd name="connsiteY32" fmla="*/ 323063 h 604568"/>
                <a:gd name="connsiteX33" fmla="*/ 282101 w 605702"/>
                <a:gd name="connsiteY33" fmla="*/ 265495 h 604568"/>
                <a:gd name="connsiteX34" fmla="*/ 297422 w 605702"/>
                <a:gd name="connsiteY34" fmla="*/ 267535 h 604568"/>
                <a:gd name="connsiteX35" fmla="*/ 458155 w 605702"/>
                <a:gd name="connsiteY35" fmla="*/ 107162 h 604568"/>
                <a:gd name="connsiteX36" fmla="*/ 454719 w 605702"/>
                <a:gd name="connsiteY36" fmla="*/ 81206 h 60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5702" h="604568">
                  <a:moveTo>
                    <a:pt x="290910" y="156336"/>
                  </a:moveTo>
                  <a:cubicBezTo>
                    <a:pt x="306137" y="157147"/>
                    <a:pt x="321272" y="160032"/>
                    <a:pt x="335849" y="164992"/>
                  </a:cubicBezTo>
                  <a:lnTo>
                    <a:pt x="288310" y="212456"/>
                  </a:lnTo>
                  <a:cubicBezTo>
                    <a:pt x="257856" y="210695"/>
                    <a:pt x="226844" y="221449"/>
                    <a:pt x="203632" y="244717"/>
                  </a:cubicBezTo>
                  <a:cubicBezTo>
                    <a:pt x="160271" y="287918"/>
                    <a:pt x="160271" y="358187"/>
                    <a:pt x="203632" y="401388"/>
                  </a:cubicBezTo>
                  <a:cubicBezTo>
                    <a:pt x="246900" y="444680"/>
                    <a:pt x="317279" y="444680"/>
                    <a:pt x="360547" y="401388"/>
                  </a:cubicBezTo>
                  <a:cubicBezTo>
                    <a:pt x="383852" y="378211"/>
                    <a:pt x="394623" y="347156"/>
                    <a:pt x="392859" y="316749"/>
                  </a:cubicBezTo>
                  <a:lnTo>
                    <a:pt x="440397" y="269284"/>
                  </a:lnTo>
                  <a:cubicBezTo>
                    <a:pt x="460267" y="327595"/>
                    <a:pt x="446897" y="394620"/>
                    <a:pt x="400287" y="441065"/>
                  </a:cubicBezTo>
                  <a:cubicBezTo>
                    <a:pt x="335106" y="506236"/>
                    <a:pt x="229073" y="506236"/>
                    <a:pt x="163892" y="441065"/>
                  </a:cubicBezTo>
                  <a:cubicBezTo>
                    <a:pt x="98619" y="375987"/>
                    <a:pt x="98619" y="270118"/>
                    <a:pt x="163892" y="205040"/>
                  </a:cubicBezTo>
                  <a:cubicBezTo>
                    <a:pt x="198711" y="170137"/>
                    <a:pt x="245228" y="153902"/>
                    <a:pt x="290910" y="156336"/>
                  </a:cubicBezTo>
                  <a:close/>
                  <a:moveTo>
                    <a:pt x="246542" y="43775"/>
                  </a:moveTo>
                  <a:cubicBezTo>
                    <a:pt x="306463" y="36243"/>
                    <a:pt x="368345" y="47900"/>
                    <a:pt x="422196" y="78723"/>
                  </a:cubicBezTo>
                  <a:lnTo>
                    <a:pt x="376794" y="124054"/>
                  </a:lnTo>
                  <a:cubicBezTo>
                    <a:pt x="294811" y="85305"/>
                    <a:pt x="193980" y="99581"/>
                    <a:pt x="126109" y="167345"/>
                  </a:cubicBezTo>
                  <a:cubicBezTo>
                    <a:pt x="39948" y="253371"/>
                    <a:pt x="39948" y="392793"/>
                    <a:pt x="126109" y="478820"/>
                  </a:cubicBezTo>
                  <a:cubicBezTo>
                    <a:pt x="212271" y="564846"/>
                    <a:pt x="351912" y="564846"/>
                    <a:pt x="438073" y="478820"/>
                  </a:cubicBezTo>
                  <a:cubicBezTo>
                    <a:pt x="505944" y="411055"/>
                    <a:pt x="520428" y="310382"/>
                    <a:pt x="481432" y="228527"/>
                  </a:cubicBezTo>
                  <a:lnTo>
                    <a:pt x="526741" y="183011"/>
                  </a:lnTo>
                  <a:cubicBezTo>
                    <a:pt x="588484" y="290544"/>
                    <a:pt x="573350" y="430244"/>
                    <a:pt x="481432" y="522111"/>
                  </a:cubicBezTo>
                  <a:cubicBezTo>
                    <a:pt x="371316" y="632054"/>
                    <a:pt x="192866" y="632054"/>
                    <a:pt x="82657" y="522111"/>
                  </a:cubicBezTo>
                  <a:cubicBezTo>
                    <a:pt x="-27552" y="412168"/>
                    <a:pt x="-27552" y="233997"/>
                    <a:pt x="82657" y="123961"/>
                  </a:cubicBezTo>
                  <a:cubicBezTo>
                    <a:pt x="128662" y="78028"/>
                    <a:pt x="186622" y="51307"/>
                    <a:pt x="246542" y="43775"/>
                  </a:cubicBezTo>
                  <a:close/>
                  <a:moveTo>
                    <a:pt x="536061" y="0"/>
                  </a:moveTo>
                  <a:lnTo>
                    <a:pt x="544232" y="61368"/>
                  </a:lnTo>
                  <a:lnTo>
                    <a:pt x="605702" y="69526"/>
                  </a:lnTo>
                  <a:lnTo>
                    <a:pt x="524361" y="150732"/>
                  </a:lnTo>
                  <a:lnTo>
                    <a:pt x="498361" y="147302"/>
                  </a:lnTo>
                  <a:lnTo>
                    <a:pt x="337721" y="307767"/>
                  </a:lnTo>
                  <a:cubicBezTo>
                    <a:pt x="339021" y="312588"/>
                    <a:pt x="339764" y="317779"/>
                    <a:pt x="339764" y="323063"/>
                  </a:cubicBezTo>
                  <a:cubicBezTo>
                    <a:pt x="339764" y="354859"/>
                    <a:pt x="313950" y="380630"/>
                    <a:pt x="282101" y="380630"/>
                  </a:cubicBezTo>
                  <a:cubicBezTo>
                    <a:pt x="250251" y="380630"/>
                    <a:pt x="224437" y="354859"/>
                    <a:pt x="224437" y="323063"/>
                  </a:cubicBezTo>
                  <a:cubicBezTo>
                    <a:pt x="224437" y="291266"/>
                    <a:pt x="250251" y="265495"/>
                    <a:pt x="282101" y="265495"/>
                  </a:cubicBezTo>
                  <a:cubicBezTo>
                    <a:pt x="287393" y="265495"/>
                    <a:pt x="292500" y="266237"/>
                    <a:pt x="297422" y="267535"/>
                  </a:cubicBezTo>
                  <a:lnTo>
                    <a:pt x="458155" y="107162"/>
                  </a:lnTo>
                  <a:lnTo>
                    <a:pt x="454719" y="812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86802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3EB01EDE-7E3E-4420-A3BF-3E2DC7AE24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4CF8B282-C617-48A9-A4C1-76292F7F48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53A0686F-62FC-44F8-B3D6-B3E1560B72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grpSp>
        <p:nvGrpSpPr>
          <p:cNvPr id="5" name="192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E9458211-4F85-4C0C-9064-5AF46C1B2D2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2053468"/>
            <a:ext cx="10858500" cy="3628471"/>
            <a:chOff x="660400" y="2053468"/>
            <a:chExt cx="10858500" cy="3628471"/>
          </a:xfrm>
        </p:grpSpPr>
        <p:grpSp>
          <p:nvGrpSpPr>
            <p:cNvPr id="6" name="iṥlíḓé">
              <a:extLst>
                <a:ext uri="{FF2B5EF4-FFF2-40B4-BE49-F238E27FC236}">
                  <a16:creationId xmlns:a16="http://schemas.microsoft.com/office/drawing/2014/main" xmlns="" id="{243BB1D3-59C2-4FF6-B55A-FD1F6D20E691}"/>
                </a:ext>
              </a:extLst>
            </p:cNvPr>
            <p:cNvGrpSpPr/>
            <p:nvPr/>
          </p:nvGrpSpPr>
          <p:grpSpPr>
            <a:xfrm>
              <a:off x="4924423" y="2073100"/>
              <a:ext cx="2343149" cy="3409535"/>
              <a:chOff x="4748744" y="1457816"/>
              <a:chExt cx="2709330" cy="3942368"/>
            </a:xfrm>
          </p:grpSpPr>
          <p:sp>
            <p:nvSpPr>
              <p:cNvPr id="38" name="îŝļïďê">
                <a:extLst>
                  <a:ext uri="{FF2B5EF4-FFF2-40B4-BE49-F238E27FC236}">
                    <a16:creationId xmlns:a16="http://schemas.microsoft.com/office/drawing/2014/main" xmlns="" id="{4A692A5F-FA6A-4C0E-959F-316A4E0833ED}"/>
                  </a:ext>
                </a:extLst>
              </p:cNvPr>
              <p:cNvSpPr/>
              <p:nvPr/>
            </p:nvSpPr>
            <p:spPr>
              <a:xfrm>
                <a:off x="5610225" y="4518053"/>
                <a:ext cx="986367" cy="88213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62" y="0"/>
                    </a:moveTo>
                    <a:cubicBezTo>
                      <a:pt x="789" y="0"/>
                      <a:pt x="0" y="971"/>
                      <a:pt x="0" y="2173"/>
                    </a:cubicBezTo>
                    <a:cubicBezTo>
                      <a:pt x="0" y="3375"/>
                      <a:pt x="789" y="4346"/>
                      <a:pt x="1762" y="4346"/>
                    </a:cubicBezTo>
                    <a:lnTo>
                      <a:pt x="19844" y="4346"/>
                    </a:lnTo>
                    <a:cubicBezTo>
                      <a:pt x="20816" y="4346"/>
                      <a:pt x="21600" y="3375"/>
                      <a:pt x="21600" y="2173"/>
                    </a:cubicBezTo>
                    <a:cubicBezTo>
                      <a:pt x="21600" y="971"/>
                      <a:pt x="20816" y="0"/>
                      <a:pt x="19844" y="0"/>
                    </a:cubicBezTo>
                    <a:lnTo>
                      <a:pt x="1762" y="0"/>
                    </a:lnTo>
                    <a:close/>
                    <a:moveTo>
                      <a:pt x="1762" y="5941"/>
                    </a:moveTo>
                    <a:cubicBezTo>
                      <a:pt x="789" y="5941"/>
                      <a:pt x="0" y="6911"/>
                      <a:pt x="0" y="8114"/>
                    </a:cubicBezTo>
                    <a:cubicBezTo>
                      <a:pt x="0" y="9316"/>
                      <a:pt x="789" y="10295"/>
                      <a:pt x="1762" y="10295"/>
                    </a:cubicBezTo>
                    <a:lnTo>
                      <a:pt x="19844" y="10295"/>
                    </a:lnTo>
                    <a:cubicBezTo>
                      <a:pt x="20816" y="10295"/>
                      <a:pt x="21600" y="9316"/>
                      <a:pt x="21600" y="8114"/>
                    </a:cubicBezTo>
                    <a:cubicBezTo>
                      <a:pt x="21600" y="6911"/>
                      <a:pt x="20816" y="5941"/>
                      <a:pt x="19844" y="5941"/>
                    </a:cubicBezTo>
                    <a:lnTo>
                      <a:pt x="1762" y="5941"/>
                    </a:lnTo>
                    <a:close/>
                    <a:moveTo>
                      <a:pt x="2935" y="11890"/>
                    </a:moveTo>
                    <a:cubicBezTo>
                      <a:pt x="2935" y="17257"/>
                      <a:pt x="6463" y="21600"/>
                      <a:pt x="10806" y="21600"/>
                    </a:cubicBezTo>
                    <a:cubicBezTo>
                      <a:pt x="15149" y="21600"/>
                      <a:pt x="18665" y="17257"/>
                      <a:pt x="18665" y="11890"/>
                    </a:cubicBezTo>
                    <a:lnTo>
                      <a:pt x="2935" y="1189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9" name="ïṣḷiḑé">
                <a:extLst>
                  <a:ext uri="{FF2B5EF4-FFF2-40B4-BE49-F238E27FC236}">
                    <a16:creationId xmlns:a16="http://schemas.microsoft.com/office/drawing/2014/main" xmlns="" id="{27F4F9DB-13C8-4A0D-95A9-4841A3AEE623}"/>
                  </a:ext>
                </a:extLst>
              </p:cNvPr>
              <p:cNvSpPr/>
              <p:nvPr/>
            </p:nvSpPr>
            <p:spPr>
              <a:xfrm rot="10800000" flipH="1">
                <a:off x="4748744" y="1457816"/>
                <a:ext cx="2709330" cy="29275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99" h="21600" extrusionOk="0">
                    <a:moveTo>
                      <a:pt x="7049" y="0"/>
                    </a:moveTo>
                    <a:cubicBezTo>
                      <a:pt x="6119" y="0"/>
                      <a:pt x="5347" y="496"/>
                      <a:pt x="4884" y="1296"/>
                    </a:cubicBezTo>
                    <a:cubicBezTo>
                      <a:pt x="4879" y="1304"/>
                      <a:pt x="4873" y="1309"/>
                      <a:pt x="4868" y="1317"/>
                    </a:cubicBezTo>
                    <a:cubicBezTo>
                      <a:pt x="4579" y="1826"/>
                      <a:pt x="4414" y="2458"/>
                      <a:pt x="4414" y="3163"/>
                    </a:cubicBezTo>
                    <a:cubicBezTo>
                      <a:pt x="4414" y="4287"/>
                      <a:pt x="4946" y="5167"/>
                      <a:pt x="5927" y="5792"/>
                    </a:cubicBezTo>
                    <a:cubicBezTo>
                      <a:pt x="6617" y="6233"/>
                      <a:pt x="7467" y="6205"/>
                      <a:pt x="8458" y="5707"/>
                    </a:cubicBezTo>
                    <a:cubicBezTo>
                      <a:pt x="8616" y="5627"/>
                      <a:pt x="8806" y="5692"/>
                      <a:pt x="8884" y="5853"/>
                    </a:cubicBezTo>
                    <a:cubicBezTo>
                      <a:pt x="8961" y="6015"/>
                      <a:pt x="8898" y="6210"/>
                      <a:pt x="8740" y="6290"/>
                    </a:cubicBezTo>
                    <a:cubicBezTo>
                      <a:pt x="7244" y="7042"/>
                      <a:pt x="6200" y="6737"/>
                      <a:pt x="5588" y="6347"/>
                    </a:cubicBezTo>
                    <a:cubicBezTo>
                      <a:pt x="4260" y="5500"/>
                      <a:pt x="3777" y="4241"/>
                      <a:pt x="3777" y="3163"/>
                    </a:cubicBezTo>
                    <a:cubicBezTo>
                      <a:pt x="3777" y="2561"/>
                      <a:pt x="3881" y="2004"/>
                      <a:pt x="4068" y="1512"/>
                    </a:cubicBezTo>
                    <a:cubicBezTo>
                      <a:pt x="2816" y="1773"/>
                      <a:pt x="1899" y="2928"/>
                      <a:pt x="1899" y="4353"/>
                    </a:cubicBezTo>
                    <a:cubicBezTo>
                      <a:pt x="1899" y="4842"/>
                      <a:pt x="1943" y="4968"/>
                      <a:pt x="2050" y="5275"/>
                    </a:cubicBezTo>
                    <a:cubicBezTo>
                      <a:pt x="2074" y="5342"/>
                      <a:pt x="2101" y="5418"/>
                      <a:pt x="2130" y="5503"/>
                    </a:cubicBezTo>
                    <a:cubicBezTo>
                      <a:pt x="2186" y="5673"/>
                      <a:pt x="2093" y="5857"/>
                      <a:pt x="1927" y="5915"/>
                    </a:cubicBezTo>
                    <a:cubicBezTo>
                      <a:pt x="1893" y="5926"/>
                      <a:pt x="1861" y="5935"/>
                      <a:pt x="1827" y="5935"/>
                    </a:cubicBezTo>
                    <a:cubicBezTo>
                      <a:pt x="1694" y="5935"/>
                      <a:pt x="1570" y="5847"/>
                      <a:pt x="1525" y="5711"/>
                    </a:cubicBezTo>
                    <a:cubicBezTo>
                      <a:pt x="1498" y="5630"/>
                      <a:pt x="1471" y="5559"/>
                      <a:pt x="1449" y="5495"/>
                    </a:cubicBezTo>
                    <a:cubicBezTo>
                      <a:pt x="1402" y="5361"/>
                      <a:pt x="1367" y="5252"/>
                      <a:pt x="1338" y="5136"/>
                    </a:cubicBezTo>
                    <a:cubicBezTo>
                      <a:pt x="965" y="5547"/>
                      <a:pt x="725" y="6087"/>
                      <a:pt x="645" y="7023"/>
                    </a:cubicBezTo>
                    <a:cubicBezTo>
                      <a:pt x="1242" y="6525"/>
                      <a:pt x="2001" y="6224"/>
                      <a:pt x="2830" y="6224"/>
                    </a:cubicBezTo>
                    <a:cubicBezTo>
                      <a:pt x="2831" y="6224"/>
                      <a:pt x="2834" y="6224"/>
                      <a:pt x="2834" y="6224"/>
                    </a:cubicBezTo>
                    <a:cubicBezTo>
                      <a:pt x="3606" y="6224"/>
                      <a:pt x="4337" y="6477"/>
                      <a:pt x="4947" y="6958"/>
                    </a:cubicBezTo>
                    <a:cubicBezTo>
                      <a:pt x="5087" y="7068"/>
                      <a:pt x="5111" y="7276"/>
                      <a:pt x="5003" y="7419"/>
                    </a:cubicBezTo>
                    <a:cubicBezTo>
                      <a:pt x="4896" y="7562"/>
                      <a:pt x="4697" y="7586"/>
                      <a:pt x="4557" y="7476"/>
                    </a:cubicBezTo>
                    <a:cubicBezTo>
                      <a:pt x="4059" y="7083"/>
                      <a:pt x="3461" y="6877"/>
                      <a:pt x="2830" y="6877"/>
                    </a:cubicBezTo>
                    <a:cubicBezTo>
                      <a:pt x="1269" y="6877"/>
                      <a:pt x="0" y="8176"/>
                      <a:pt x="0" y="9775"/>
                    </a:cubicBezTo>
                    <a:cubicBezTo>
                      <a:pt x="0" y="10440"/>
                      <a:pt x="216" y="11066"/>
                      <a:pt x="621" y="11585"/>
                    </a:cubicBezTo>
                    <a:cubicBezTo>
                      <a:pt x="626" y="11591"/>
                      <a:pt x="629" y="11599"/>
                      <a:pt x="633" y="11605"/>
                    </a:cubicBezTo>
                    <a:cubicBezTo>
                      <a:pt x="640" y="11616"/>
                      <a:pt x="647" y="11626"/>
                      <a:pt x="653" y="11638"/>
                    </a:cubicBezTo>
                    <a:cubicBezTo>
                      <a:pt x="658" y="11647"/>
                      <a:pt x="661" y="11657"/>
                      <a:pt x="665" y="11666"/>
                    </a:cubicBezTo>
                    <a:cubicBezTo>
                      <a:pt x="669" y="11676"/>
                      <a:pt x="674" y="11684"/>
                      <a:pt x="677" y="11695"/>
                    </a:cubicBezTo>
                    <a:cubicBezTo>
                      <a:pt x="680" y="11705"/>
                      <a:pt x="679" y="11713"/>
                      <a:pt x="681" y="11723"/>
                    </a:cubicBezTo>
                    <a:cubicBezTo>
                      <a:pt x="683" y="11734"/>
                      <a:pt x="688" y="11745"/>
                      <a:pt x="689" y="11756"/>
                    </a:cubicBezTo>
                    <a:cubicBezTo>
                      <a:pt x="690" y="11766"/>
                      <a:pt x="689" y="11778"/>
                      <a:pt x="689" y="11788"/>
                    </a:cubicBezTo>
                    <a:cubicBezTo>
                      <a:pt x="689" y="11799"/>
                      <a:pt x="690" y="11810"/>
                      <a:pt x="689" y="11821"/>
                    </a:cubicBezTo>
                    <a:cubicBezTo>
                      <a:pt x="688" y="11834"/>
                      <a:pt x="683" y="11845"/>
                      <a:pt x="681" y="11858"/>
                    </a:cubicBezTo>
                    <a:cubicBezTo>
                      <a:pt x="679" y="11865"/>
                      <a:pt x="679" y="11871"/>
                      <a:pt x="677" y="11878"/>
                    </a:cubicBezTo>
                    <a:lnTo>
                      <a:pt x="669" y="11907"/>
                    </a:lnTo>
                    <a:cubicBezTo>
                      <a:pt x="595" y="12167"/>
                      <a:pt x="546" y="12341"/>
                      <a:pt x="546" y="12596"/>
                    </a:cubicBezTo>
                    <a:cubicBezTo>
                      <a:pt x="546" y="13181"/>
                      <a:pt x="753" y="13727"/>
                      <a:pt x="1174" y="14255"/>
                    </a:cubicBezTo>
                    <a:cubicBezTo>
                      <a:pt x="1331" y="13954"/>
                      <a:pt x="1541" y="13684"/>
                      <a:pt x="1799" y="13456"/>
                    </a:cubicBezTo>
                    <a:cubicBezTo>
                      <a:pt x="2333" y="12983"/>
                      <a:pt x="3324" y="12473"/>
                      <a:pt x="5027" y="12726"/>
                    </a:cubicBezTo>
                    <a:cubicBezTo>
                      <a:pt x="5201" y="12752"/>
                      <a:pt x="5323" y="12919"/>
                      <a:pt x="5298" y="13097"/>
                    </a:cubicBezTo>
                    <a:cubicBezTo>
                      <a:pt x="5272" y="13275"/>
                      <a:pt x="5110" y="13397"/>
                      <a:pt x="4936" y="13370"/>
                    </a:cubicBezTo>
                    <a:cubicBezTo>
                      <a:pt x="3776" y="13197"/>
                      <a:pt x="2838" y="13399"/>
                      <a:pt x="2217" y="13949"/>
                    </a:cubicBezTo>
                    <a:cubicBezTo>
                      <a:pt x="1740" y="14371"/>
                      <a:pt x="1477" y="14979"/>
                      <a:pt x="1477" y="15665"/>
                    </a:cubicBezTo>
                    <a:cubicBezTo>
                      <a:pt x="1477" y="16627"/>
                      <a:pt x="2368" y="17561"/>
                      <a:pt x="3204" y="17952"/>
                    </a:cubicBezTo>
                    <a:cubicBezTo>
                      <a:pt x="3207" y="17953"/>
                      <a:pt x="3206" y="17955"/>
                      <a:pt x="3208" y="17956"/>
                    </a:cubicBezTo>
                    <a:cubicBezTo>
                      <a:pt x="3218" y="17961"/>
                      <a:pt x="3227" y="17966"/>
                      <a:pt x="3236" y="17972"/>
                    </a:cubicBezTo>
                    <a:cubicBezTo>
                      <a:pt x="3245" y="17978"/>
                      <a:pt x="3256" y="17982"/>
                      <a:pt x="3264" y="17988"/>
                    </a:cubicBezTo>
                    <a:cubicBezTo>
                      <a:pt x="3272" y="17995"/>
                      <a:pt x="3280" y="18002"/>
                      <a:pt x="3288" y="18009"/>
                    </a:cubicBezTo>
                    <a:cubicBezTo>
                      <a:pt x="3295" y="18016"/>
                      <a:pt x="3301" y="18026"/>
                      <a:pt x="3308" y="18033"/>
                    </a:cubicBezTo>
                    <a:cubicBezTo>
                      <a:pt x="3314" y="18041"/>
                      <a:pt x="3322" y="18049"/>
                      <a:pt x="3328" y="18058"/>
                    </a:cubicBezTo>
                    <a:cubicBezTo>
                      <a:pt x="3334" y="18067"/>
                      <a:pt x="3338" y="18073"/>
                      <a:pt x="3344" y="18082"/>
                    </a:cubicBezTo>
                    <a:cubicBezTo>
                      <a:pt x="3348" y="18090"/>
                      <a:pt x="3352" y="18102"/>
                      <a:pt x="3355" y="18111"/>
                    </a:cubicBezTo>
                    <a:cubicBezTo>
                      <a:pt x="3361" y="18122"/>
                      <a:pt x="3368" y="18132"/>
                      <a:pt x="3371" y="18143"/>
                    </a:cubicBezTo>
                    <a:cubicBezTo>
                      <a:pt x="3372" y="18146"/>
                      <a:pt x="3375" y="18145"/>
                      <a:pt x="3375" y="18147"/>
                    </a:cubicBezTo>
                    <a:cubicBezTo>
                      <a:pt x="3781" y="19429"/>
                      <a:pt x="4378" y="19894"/>
                      <a:pt x="5827" y="19961"/>
                    </a:cubicBezTo>
                    <a:cubicBezTo>
                      <a:pt x="5800" y="19794"/>
                      <a:pt x="5783" y="19625"/>
                      <a:pt x="5783" y="19452"/>
                    </a:cubicBezTo>
                    <a:cubicBezTo>
                      <a:pt x="5783" y="17906"/>
                      <a:pt x="6913" y="16647"/>
                      <a:pt x="8299" y="16647"/>
                    </a:cubicBezTo>
                    <a:cubicBezTo>
                      <a:pt x="8400" y="16647"/>
                      <a:pt x="8501" y="16655"/>
                      <a:pt x="8601" y="16668"/>
                    </a:cubicBezTo>
                    <a:cubicBezTo>
                      <a:pt x="8775" y="16691"/>
                      <a:pt x="8898" y="16852"/>
                      <a:pt x="8876" y="17031"/>
                    </a:cubicBezTo>
                    <a:cubicBezTo>
                      <a:pt x="8853" y="17209"/>
                      <a:pt x="8694" y="17334"/>
                      <a:pt x="8517" y="17312"/>
                    </a:cubicBezTo>
                    <a:cubicBezTo>
                      <a:pt x="8445" y="17302"/>
                      <a:pt x="8373" y="17300"/>
                      <a:pt x="8299" y="17300"/>
                    </a:cubicBezTo>
                    <a:cubicBezTo>
                      <a:pt x="7264" y="17300"/>
                      <a:pt x="6420" y="18266"/>
                      <a:pt x="6420" y="19452"/>
                    </a:cubicBezTo>
                    <a:cubicBezTo>
                      <a:pt x="6420" y="19914"/>
                      <a:pt x="6548" y="20352"/>
                      <a:pt x="6786" y="20724"/>
                    </a:cubicBezTo>
                    <a:cubicBezTo>
                      <a:pt x="7139" y="21274"/>
                      <a:pt x="7704" y="21600"/>
                      <a:pt x="8299" y="21600"/>
                    </a:cubicBezTo>
                    <a:cubicBezTo>
                      <a:pt x="9392" y="21600"/>
                      <a:pt x="9883" y="20523"/>
                      <a:pt x="9883" y="19452"/>
                    </a:cubicBezTo>
                    <a:cubicBezTo>
                      <a:pt x="9883" y="19412"/>
                      <a:pt x="9881" y="17747"/>
                      <a:pt x="9879" y="15473"/>
                    </a:cubicBezTo>
                    <a:cubicBezTo>
                      <a:pt x="9879" y="15473"/>
                      <a:pt x="9879" y="15470"/>
                      <a:pt x="9879" y="15469"/>
                    </a:cubicBezTo>
                    <a:cubicBezTo>
                      <a:pt x="9876" y="12424"/>
                      <a:pt x="7611" y="10215"/>
                      <a:pt x="4494" y="10215"/>
                    </a:cubicBezTo>
                    <a:cubicBezTo>
                      <a:pt x="3556" y="10215"/>
                      <a:pt x="2628" y="10446"/>
                      <a:pt x="1811" y="10879"/>
                    </a:cubicBezTo>
                    <a:cubicBezTo>
                      <a:pt x="1655" y="10962"/>
                      <a:pt x="1462" y="10897"/>
                      <a:pt x="1381" y="10737"/>
                    </a:cubicBezTo>
                    <a:cubicBezTo>
                      <a:pt x="1301" y="10577"/>
                      <a:pt x="1361" y="10384"/>
                      <a:pt x="1517" y="10301"/>
                    </a:cubicBezTo>
                    <a:cubicBezTo>
                      <a:pt x="2424" y="9819"/>
                      <a:pt x="3454" y="9563"/>
                      <a:pt x="4494" y="9563"/>
                    </a:cubicBezTo>
                    <a:cubicBezTo>
                      <a:pt x="6939" y="9563"/>
                      <a:pt x="8911" y="10787"/>
                      <a:pt x="9875" y="12697"/>
                    </a:cubicBezTo>
                    <a:cubicBezTo>
                      <a:pt x="9870" y="9079"/>
                      <a:pt x="9863" y="5013"/>
                      <a:pt x="9855" y="3273"/>
                    </a:cubicBezTo>
                    <a:lnTo>
                      <a:pt x="9855" y="3167"/>
                    </a:lnTo>
                    <a:cubicBezTo>
                      <a:pt x="9854" y="2675"/>
                      <a:pt x="9853" y="2117"/>
                      <a:pt x="9524" y="1492"/>
                    </a:cubicBezTo>
                    <a:cubicBezTo>
                      <a:pt x="9040" y="571"/>
                      <a:pt x="8091" y="0"/>
                      <a:pt x="7049" y="0"/>
                    </a:cubicBezTo>
                    <a:close/>
                    <a:moveTo>
                      <a:pt x="14547" y="0"/>
                    </a:moveTo>
                    <a:cubicBezTo>
                      <a:pt x="13505" y="0"/>
                      <a:pt x="12556" y="571"/>
                      <a:pt x="12072" y="1492"/>
                    </a:cubicBezTo>
                    <a:cubicBezTo>
                      <a:pt x="11743" y="2117"/>
                      <a:pt x="11746" y="2675"/>
                      <a:pt x="11745" y="3167"/>
                    </a:cubicBezTo>
                    <a:lnTo>
                      <a:pt x="11741" y="3273"/>
                    </a:lnTo>
                    <a:cubicBezTo>
                      <a:pt x="11733" y="5013"/>
                      <a:pt x="11730" y="9079"/>
                      <a:pt x="11725" y="12697"/>
                    </a:cubicBezTo>
                    <a:cubicBezTo>
                      <a:pt x="12689" y="10787"/>
                      <a:pt x="14661" y="9563"/>
                      <a:pt x="17106" y="9563"/>
                    </a:cubicBezTo>
                    <a:cubicBezTo>
                      <a:pt x="18146" y="9563"/>
                      <a:pt x="19176" y="9819"/>
                      <a:pt x="20083" y="10301"/>
                    </a:cubicBezTo>
                    <a:cubicBezTo>
                      <a:pt x="20239" y="10384"/>
                      <a:pt x="20299" y="10577"/>
                      <a:pt x="20219" y="10737"/>
                    </a:cubicBezTo>
                    <a:cubicBezTo>
                      <a:pt x="20138" y="10897"/>
                      <a:pt x="19945" y="10962"/>
                      <a:pt x="19789" y="10879"/>
                    </a:cubicBezTo>
                    <a:cubicBezTo>
                      <a:pt x="18972" y="10446"/>
                      <a:pt x="18044" y="10215"/>
                      <a:pt x="17106" y="10215"/>
                    </a:cubicBezTo>
                    <a:cubicBezTo>
                      <a:pt x="13989" y="10215"/>
                      <a:pt x="11724" y="12424"/>
                      <a:pt x="11721" y="15469"/>
                    </a:cubicBezTo>
                    <a:cubicBezTo>
                      <a:pt x="11721" y="15470"/>
                      <a:pt x="11721" y="15473"/>
                      <a:pt x="11721" y="15473"/>
                    </a:cubicBezTo>
                    <a:cubicBezTo>
                      <a:pt x="11719" y="17747"/>
                      <a:pt x="11717" y="19412"/>
                      <a:pt x="11717" y="19452"/>
                    </a:cubicBezTo>
                    <a:cubicBezTo>
                      <a:pt x="11717" y="20523"/>
                      <a:pt x="12208" y="21600"/>
                      <a:pt x="13301" y="21600"/>
                    </a:cubicBezTo>
                    <a:cubicBezTo>
                      <a:pt x="13896" y="21600"/>
                      <a:pt x="14461" y="21274"/>
                      <a:pt x="14814" y="20724"/>
                    </a:cubicBezTo>
                    <a:cubicBezTo>
                      <a:pt x="15052" y="20352"/>
                      <a:pt x="15176" y="19914"/>
                      <a:pt x="15176" y="19452"/>
                    </a:cubicBezTo>
                    <a:cubicBezTo>
                      <a:pt x="15176" y="18266"/>
                      <a:pt x="14336" y="17300"/>
                      <a:pt x="13301" y="17300"/>
                    </a:cubicBezTo>
                    <a:cubicBezTo>
                      <a:pt x="13227" y="17300"/>
                      <a:pt x="13151" y="17302"/>
                      <a:pt x="13079" y="17312"/>
                    </a:cubicBezTo>
                    <a:cubicBezTo>
                      <a:pt x="12902" y="17334"/>
                      <a:pt x="12747" y="17209"/>
                      <a:pt x="12724" y="17031"/>
                    </a:cubicBezTo>
                    <a:cubicBezTo>
                      <a:pt x="12702" y="16852"/>
                      <a:pt x="12825" y="16691"/>
                      <a:pt x="12999" y="16668"/>
                    </a:cubicBezTo>
                    <a:cubicBezTo>
                      <a:pt x="13099" y="16655"/>
                      <a:pt x="13200" y="16647"/>
                      <a:pt x="13301" y="16647"/>
                    </a:cubicBezTo>
                    <a:cubicBezTo>
                      <a:pt x="14687" y="16647"/>
                      <a:pt x="15813" y="17906"/>
                      <a:pt x="15813" y="19452"/>
                    </a:cubicBezTo>
                    <a:cubicBezTo>
                      <a:pt x="15813" y="19625"/>
                      <a:pt x="15800" y="19794"/>
                      <a:pt x="15773" y="19961"/>
                    </a:cubicBezTo>
                    <a:cubicBezTo>
                      <a:pt x="17222" y="19894"/>
                      <a:pt x="17819" y="19429"/>
                      <a:pt x="18225" y="18147"/>
                    </a:cubicBezTo>
                    <a:cubicBezTo>
                      <a:pt x="18225" y="18145"/>
                      <a:pt x="18228" y="18146"/>
                      <a:pt x="18229" y="18143"/>
                    </a:cubicBezTo>
                    <a:cubicBezTo>
                      <a:pt x="18232" y="18132"/>
                      <a:pt x="18235" y="18122"/>
                      <a:pt x="18241" y="18111"/>
                    </a:cubicBezTo>
                    <a:cubicBezTo>
                      <a:pt x="18245" y="18102"/>
                      <a:pt x="18248" y="18090"/>
                      <a:pt x="18252" y="18082"/>
                    </a:cubicBezTo>
                    <a:cubicBezTo>
                      <a:pt x="18258" y="18073"/>
                      <a:pt x="18266" y="18067"/>
                      <a:pt x="18272" y="18058"/>
                    </a:cubicBezTo>
                    <a:cubicBezTo>
                      <a:pt x="18278" y="18049"/>
                      <a:pt x="18286" y="18041"/>
                      <a:pt x="18292" y="18033"/>
                    </a:cubicBezTo>
                    <a:cubicBezTo>
                      <a:pt x="18299" y="18026"/>
                      <a:pt x="18305" y="18016"/>
                      <a:pt x="18312" y="18009"/>
                    </a:cubicBezTo>
                    <a:cubicBezTo>
                      <a:pt x="18320" y="18002"/>
                      <a:pt x="18328" y="17995"/>
                      <a:pt x="18336" y="17988"/>
                    </a:cubicBezTo>
                    <a:cubicBezTo>
                      <a:pt x="18344" y="17982"/>
                      <a:pt x="18351" y="17978"/>
                      <a:pt x="18360" y="17972"/>
                    </a:cubicBezTo>
                    <a:cubicBezTo>
                      <a:pt x="18369" y="17966"/>
                      <a:pt x="18378" y="17961"/>
                      <a:pt x="18388" y="17956"/>
                    </a:cubicBezTo>
                    <a:cubicBezTo>
                      <a:pt x="18390" y="17955"/>
                      <a:pt x="18393" y="17953"/>
                      <a:pt x="18396" y="17952"/>
                    </a:cubicBezTo>
                    <a:cubicBezTo>
                      <a:pt x="19232" y="17561"/>
                      <a:pt x="20123" y="16627"/>
                      <a:pt x="20123" y="15665"/>
                    </a:cubicBezTo>
                    <a:cubicBezTo>
                      <a:pt x="20123" y="14979"/>
                      <a:pt x="19860" y="14371"/>
                      <a:pt x="19383" y="13949"/>
                    </a:cubicBezTo>
                    <a:cubicBezTo>
                      <a:pt x="18762" y="13399"/>
                      <a:pt x="17820" y="13197"/>
                      <a:pt x="16660" y="13370"/>
                    </a:cubicBezTo>
                    <a:cubicBezTo>
                      <a:pt x="16486" y="13397"/>
                      <a:pt x="16328" y="13275"/>
                      <a:pt x="16302" y="13097"/>
                    </a:cubicBezTo>
                    <a:cubicBezTo>
                      <a:pt x="16277" y="12919"/>
                      <a:pt x="16395" y="12752"/>
                      <a:pt x="16569" y="12726"/>
                    </a:cubicBezTo>
                    <a:cubicBezTo>
                      <a:pt x="18272" y="12473"/>
                      <a:pt x="19264" y="12983"/>
                      <a:pt x="19797" y="13456"/>
                    </a:cubicBezTo>
                    <a:cubicBezTo>
                      <a:pt x="20055" y="13684"/>
                      <a:pt x="20265" y="13954"/>
                      <a:pt x="20422" y="14255"/>
                    </a:cubicBezTo>
                    <a:cubicBezTo>
                      <a:pt x="20843" y="13727"/>
                      <a:pt x="21050" y="13181"/>
                      <a:pt x="21050" y="12596"/>
                    </a:cubicBezTo>
                    <a:cubicBezTo>
                      <a:pt x="21050" y="12341"/>
                      <a:pt x="21005" y="12167"/>
                      <a:pt x="20931" y="11907"/>
                    </a:cubicBezTo>
                    <a:lnTo>
                      <a:pt x="20923" y="11878"/>
                    </a:lnTo>
                    <a:cubicBezTo>
                      <a:pt x="20921" y="11871"/>
                      <a:pt x="20921" y="11865"/>
                      <a:pt x="20919" y="11858"/>
                    </a:cubicBezTo>
                    <a:cubicBezTo>
                      <a:pt x="20917" y="11845"/>
                      <a:pt x="20912" y="11834"/>
                      <a:pt x="20911" y="11821"/>
                    </a:cubicBezTo>
                    <a:cubicBezTo>
                      <a:pt x="20910" y="11810"/>
                      <a:pt x="20911" y="11799"/>
                      <a:pt x="20911" y="11788"/>
                    </a:cubicBezTo>
                    <a:cubicBezTo>
                      <a:pt x="20911" y="11778"/>
                      <a:pt x="20910" y="11766"/>
                      <a:pt x="20911" y="11756"/>
                    </a:cubicBezTo>
                    <a:cubicBezTo>
                      <a:pt x="20912" y="11745"/>
                      <a:pt x="20913" y="11734"/>
                      <a:pt x="20915" y="11723"/>
                    </a:cubicBezTo>
                    <a:cubicBezTo>
                      <a:pt x="20917" y="11713"/>
                      <a:pt x="20920" y="11705"/>
                      <a:pt x="20923" y="11695"/>
                    </a:cubicBezTo>
                    <a:cubicBezTo>
                      <a:pt x="20926" y="11684"/>
                      <a:pt x="20931" y="11676"/>
                      <a:pt x="20935" y="11666"/>
                    </a:cubicBezTo>
                    <a:cubicBezTo>
                      <a:pt x="20939" y="11657"/>
                      <a:pt x="20942" y="11647"/>
                      <a:pt x="20947" y="11638"/>
                    </a:cubicBezTo>
                    <a:cubicBezTo>
                      <a:pt x="20953" y="11626"/>
                      <a:pt x="20960" y="11616"/>
                      <a:pt x="20967" y="11605"/>
                    </a:cubicBezTo>
                    <a:cubicBezTo>
                      <a:pt x="20971" y="11599"/>
                      <a:pt x="20974" y="11591"/>
                      <a:pt x="20979" y="11585"/>
                    </a:cubicBezTo>
                    <a:cubicBezTo>
                      <a:pt x="21384" y="11066"/>
                      <a:pt x="21600" y="10440"/>
                      <a:pt x="21600" y="9775"/>
                    </a:cubicBezTo>
                    <a:cubicBezTo>
                      <a:pt x="21600" y="8176"/>
                      <a:pt x="20327" y="6877"/>
                      <a:pt x="18766" y="6877"/>
                    </a:cubicBezTo>
                    <a:cubicBezTo>
                      <a:pt x="18135" y="6877"/>
                      <a:pt x="17541" y="7083"/>
                      <a:pt x="17043" y="7476"/>
                    </a:cubicBezTo>
                    <a:cubicBezTo>
                      <a:pt x="16903" y="7586"/>
                      <a:pt x="16700" y="7562"/>
                      <a:pt x="16593" y="7419"/>
                    </a:cubicBezTo>
                    <a:cubicBezTo>
                      <a:pt x="16485" y="7276"/>
                      <a:pt x="16513" y="7068"/>
                      <a:pt x="16653" y="6958"/>
                    </a:cubicBezTo>
                    <a:cubicBezTo>
                      <a:pt x="17263" y="6477"/>
                      <a:pt x="17994" y="6224"/>
                      <a:pt x="18766" y="6224"/>
                    </a:cubicBezTo>
                    <a:cubicBezTo>
                      <a:pt x="19595" y="6224"/>
                      <a:pt x="20358" y="6525"/>
                      <a:pt x="20955" y="7023"/>
                    </a:cubicBezTo>
                    <a:cubicBezTo>
                      <a:pt x="20875" y="6087"/>
                      <a:pt x="20635" y="5547"/>
                      <a:pt x="20262" y="5136"/>
                    </a:cubicBezTo>
                    <a:cubicBezTo>
                      <a:pt x="20233" y="5252"/>
                      <a:pt x="20194" y="5361"/>
                      <a:pt x="20147" y="5495"/>
                    </a:cubicBezTo>
                    <a:cubicBezTo>
                      <a:pt x="20125" y="5559"/>
                      <a:pt x="20102" y="5630"/>
                      <a:pt x="20075" y="5711"/>
                    </a:cubicBezTo>
                    <a:cubicBezTo>
                      <a:pt x="20030" y="5847"/>
                      <a:pt x="19906" y="5935"/>
                      <a:pt x="19773" y="5935"/>
                    </a:cubicBezTo>
                    <a:cubicBezTo>
                      <a:pt x="19739" y="5935"/>
                      <a:pt x="19703" y="5926"/>
                      <a:pt x="19669" y="5915"/>
                    </a:cubicBezTo>
                    <a:cubicBezTo>
                      <a:pt x="19503" y="5857"/>
                      <a:pt x="19414" y="5673"/>
                      <a:pt x="19470" y="5503"/>
                    </a:cubicBezTo>
                    <a:cubicBezTo>
                      <a:pt x="19499" y="5418"/>
                      <a:pt x="19526" y="5342"/>
                      <a:pt x="19550" y="5275"/>
                    </a:cubicBezTo>
                    <a:cubicBezTo>
                      <a:pt x="19657" y="4968"/>
                      <a:pt x="19701" y="4842"/>
                      <a:pt x="19701" y="4353"/>
                    </a:cubicBezTo>
                    <a:cubicBezTo>
                      <a:pt x="19701" y="2928"/>
                      <a:pt x="18784" y="1773"/>
                      <a:pt x="17532" y="1512"/>
                    </a:cubicBezTo>
                    <a:cubicBezTo>
                      <a:pt x="17719" y="2004"/>
                      <a:pt x="17819" y="2561"/>
                      <a:pt x="17819" y="3163"/>
                    </a:cubicBezTo>
                    <a:cubicBezTo>
                      <a:pt x="17819" y="4241"/>
                      <a:pt x="17340" y="5500"/>
                      <a:pt x="16012" y="6347"/>
                    </a:cubicBezTo>
                    <a:cubicBezTo>
                      <a:pt x="15400" y="6737"/>
                      <a:pt x="14356" y="7042"/>
                      <a:pt x="12860" y="6290"/>
                    </a:cubicBezTo>
                    <a:cubicBezTo>
                      <a:pt x="12702" y="6210"/>
                      <a:pt x="12635" y="6015"/>
                      <a:pt x="12712" y="5853"/>
                    </a:cubicBezTo>
                    <a:cubicBezTo>
                      <a:pt x="12790" y="5692"/>
                      <a:pt x="12980" y="5627"/>
                      <a:pt x="13138" y="5707"/>
                    </a:cubicBezTo>
                    <a:cubicBezTo>
                      <a:pt x="14129" y="6205"/>
                      <a:pt x="14983" y="6233"/>
                      <a:pt x="15673" y="5792"/>
                    </a:cubicBezTo>
                    <a:cubicBezTo>
                      <a:pt x="16654" y="5167"/>
                      <a:pt x="17182" y="4287"/>
                      <a:pt x="17182" y="3163"/>
                    </a:cubicBezTo>
                    <a:cubicBezTo>
                      <a:pt x="17182" y="2458"/>
                      <a:pt x="17021" y="1826"/>
                      <a:pt x="16732" y="1317"/>
                    </a:cubicBezTo>
                    <a:cubicBezTo>
                      <a:pt x="16727" y="1309"/>
                      <a:pt x="16721" y="1304"/>
                      <a:pt x="16716" y="1296"/>
                    </a:cubicBezTo>
                    <a:cubicBezTo>
                      <a:pt x="16253" y="496"/>
                      <a:pt x="15477" y="0"/>
                      <a:pt x="14547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7" name="íšlïḍe">
              <a:extLst>
                <a:ext uri="{FF2B5EF4-FFF2-40B4-BE49-F238E27FC236}">
                  <a16:creationId xmlns:a16="http://schemas.microsoft.com/office/drawing/2014/main" xmlns="" id="{384EECE6-6750-4830-AFC2-7CCDD805C813}"/>
                </a:ext>
              </a:extLst>
            </p:cNvPr>
            <p:cNvGrpSpPr/>
            <p:nvPr/>
          </p:nvGrpSpPr>
          <p:grpSpPr>
            <a:xfrm>
              <a:off x="660400" y="2053468"/>
              <a:ext cx="3789892" cy="1398764"/>
              <a:chOff x="660400" y="1130300"/>
              <a:chExt cx="3789892" cy="1398764"/>
            </a:xfrm>
          </p:grpSpPr>
          <p:grpSp>
            <p:nvGrpSpPr>
              <p:cNvPr id="32" name="íśļíďe">
                <a:extLst>
                  <a:ext uri="{FF2B5EF4-FFF2-40B4-BE49-F238E27FC236}">
                    <a16:creationId xmlns:a16="http://schemas.microsoft.com/office/drawing/2014/main" xmlns="" id="{A0E40038-FADE-47A4-A6DA-C1E1AAE0BE14}"/>
                  </a:ext>
                </a:extLst>
              </p:cNvPr>
              <p:cNvGrpSpPr/>
              <p:nvPr/>
            </p:nvGrpSpPr>
            <p:grpSpPr>
              <a:xfrm>
                <a:off x="3611106" y="1299732"/>
                <a:ext cx="839186" cy="773369"/>
                <a:chOff x="2690464" y="1737610"/>
                <a:chExt cx="839186" cy="773369"/>
              </a:xfrm>
            </p:grpSpPr>
            <p:sp>
              <p:nvSpPr>
                <p:cNvPr id="36" name="î$ľídé">
                  <a:extLst>
                    <a:ext uri="{FF2B5EF4-FFF2-40B4-BE49-F238E27FC236}">
                      <a16:creationId xmlns:a16="http://schemas.microsoft.com/office/drawing/2014/main" xmlns="" id="{DBD1D3B6-2A4B-444A-AFEE-C1F761B39F06}"/>
                    </a:ext>
                  </a:extLst>
                </p:cNvPr>
                <p:cNvSpPr/>
                <p:nvPr/>
              </p:nvSpPr>
              <p:spPr>
                <a:xfrm flipH="1">
                  <a:off x="2690464" y="1737610"/>
                  <a:ext cx="839186" cy="773369"/>
                </a:xfrm>
                <a:custGeom>
                  <a:avLst/>
                  <a:gdLst>
                    <a:gd name="connsiteX0" fmla="*/ 971829 w 2671591"/>
                    <a:gd name="connsiteY0" fmla="*/ 311 h 2234714"/>
                    <a:gd name="connsiteX1" fmla="*/ 1658132 w 2671591"/>
                    <a:gd name="connsiteY1" fmla="*/ 121675 h 2234714"/>
                    <a:gd name="connsiteX2" fmla="*/ 2391482 w 2671591"/>
                    <a:gd name="connsiteY2" fmla="*/ 570868 h 2234714"/>
                    <a:gd name="connsiteX3" fmla="*/ 2671591 w 2671591"/>
                    <a:gd name="connsiteY3" fmla="*/ 1127080 h 2234714"/>
                    <a:gd name="connsiteX4" fmla="*/ 2398520 w 2671591"/>
                    <a:gd name="connsiteY4" fmla="*/ 1555152 h 2234714"/>
                    <a:gd name="connsiteX5" fmla="*/ 1656724 w 2671591"/>
                    <a:gd name="connsiteY5" fmla="*/ 2040957 h 2234714"/>
                    <a:gd name="connsiteX6" fmla="*/ 436351 w 2671591"/>
                    <a:gd name="connsiteY6" fmla="*/ 2146567 h 2234714"/>
                    <a:gd name="connsiteX7" fmla="*/ 0 w 2671591"/>
                    <a:gd name="connsiteY7" fmla="*/ 1127080 h 2234714"/>
                    <a:gd name="connsiteX8" fmla="*/ 453241 w 2671591"/>
                    <a:gd name="connsiteY8" fmla="*/ 130124 h 2234714"/>
                    <a:gd name="connsiteX9" fmla="*/ 971829 w 2671591"/>
                    <a:gd name="connsiteY9" fmla="*/ 311 h 2234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671591" h="2234714">
                      <a:moveTo>
                        <a:pt x="971829" y="311"/>
                      </a:moveTo>
                      <a:cubicBezTo>
                        <a:pt x="1208558" y="-4512"/>
                        <a:pt x="1452273" y="47220"/>
                        <a:pt x="1658132" y="121675"/>
                      </a:cubicBezTo>
                      <a:cubicBezTo>
                        <a:pt x="1922757" y="217427"/>
                        <a:pt x="2191606" y="370914"/>
                        <a:pt x="2391482" y="570868"/>
                      </a:cubicBezTo>
                      <a:cubicBezTo>
                        <a:pt x="2536463" y="715906"/>
                        <a:pt x="2671591" y="914452"/>
                        <a:pt x="2671591" y="1127080"/>
                      </a:cubicBezTo>
                      <a:cubicBezTo>
                        <a:pt x="2671591" y="1267893"/>
                        <a:pt x="2492828" y="1465031"/>
                        <a:pt x="2398520" y="1555152"/>
                      </a:cubicBezTo>
                      <a:cubicBezTo>
                        <a:pt x="2188790" y="1755106"/>
                        <a:pt x="1919942" y="1922674"/>
                        <a:pt x="1656724" y="2040957"/>
                      </a:cubicBezTo>
                      <a:cubicBezTo>
                        <a:pt x="1309052" y="2194443"/>
                        <a:pt x="796691" y="2329623"/>
                        <a:pt x="436351" y="2146567"/>
                      </a:cubicBezTo>
                      <a:cubicBezTo>
                        <a:pt x="71787" y="1960693"/>
                        <a:pt x="0" y="1496010"/>
                        <a:pt x="0" y="1127080"/>
                      </a:cubicBezTo>
                      <a:cubicBezTo>
                        <a:pt x="0" y="742660"/>
                        <a:pt x="95716" y="334303"/>
                        <a:pt x="453241" y="130124"/>
                      </a:cubicBezTo>
                      <a:cubicBezTo>
                        <a:pt x="607811" y="42027"/>
                        <a:pt x="787708" y="4063"/>
                        <a:pt x="971829" y="311"/>
                      </a:cubicBezTo>
                      <a:close/>
                    </a:path>
                  </a:pathLst>
                </a:custGeom>
                <a:solidFill>
                  <a:schemeClr val="accent1">
                    <a:lumMod val="10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7" name="iS1iḍe">
                  <a:extLst>
                    <a:ext uri="{FF2B5EF4-FFF2-40B4-BE49-F238E27FC236}">
                      <a16:creationId xmlns:a16="http://schemas.microsoft.com/office/drawing/2014/main" xmlns="" id="{790E21E3-198E-4860-9E8B-A5E0A47BB631}"/>
                    </a:ext>
                  </a:extLst>
                </p:cNvPr>
                <p:cNvSpPr/>
                <p:nvPr/>
              </p:nvSpPr>
              <p:spPr>
                <a:xfrm>
                  <a:off x="3050443" y="1964717"/>
                  <a:ext cx="218292" cy="279328"/>
                </a:xfrm>
                <a:custGeom>
                  <a:avLst/>
                  <a:gdLst>
                    <a:gd name="T0" fmla="*/ 202 w 405"/>
                    <a:gd name="T1" fmla="*/ 0 h 519"/>
                    <a:gd name="T2" fmla="*/ 202 w 405"/>
                    <a:gd name="T3" fmla="*/ 117 h 519"/>
                    <a:gd name="T4" fmla="*/ 76 w 405"/>
                    <a:gd name="T5" fmla="*/ 106 h 519"/>
                    <a:gd name="T6" fmla="*/ 76 w 405"/>
                    <a:gd name="T7" fmla="*/ 2 h 519"/>
                    <a:gd name="T8" fmla="*/ 76 w 405"/>
                    <a:gd name="T9" fmla="*/ 106 h 519"/>
                    <a:gd name="T10" fmla="*/ 375 w 405"/>
                    <a:gd name="T11" fmla="*/ 46 h 519"/>
                    <a:gd name="T12" fmla="*/ 284 w 405"/>
                    <a:gd name="T13" fmla="*/ 46 h 519"/>
                    <a:gd name="T14" fmla="*/ 399 w 405"/>
                    <a:gd name="T15" fmla="*/ 126 h 519"/>
                    <a:gd name="T16" fmla="*/ 341 w 405"/>
                    <a:gd name="T17" fmla="*/ 120 h 519"/>
                    <a:gd name="T18" fmla="*/ 348 w 405"/>
                    <a:gd name="T19" fmla="*/ 208 h 519"/>
                    <a:gd name="T20" fmla="*/ 310 w 405"/>
                    <a:gd name="T21" fmla="*/ 208 h 519"/>
                    <a:gd name="T22" fmla="*/ 317 w 405"/>
                    <a:gd name="T23" fmla="*/ 120 h 519"/>
                    <a:gd name="T24" fmla="*/ 273 w 405"/>
                    <a:gd name="T25" fmla="*/ 120 h 519"/>
                    <a:gd name="T26" fmla="*/ 301 w 405"/>
                    <a:gd name="T27" fmla="*/ 155 h 519"/>
                    <a:gd name="T28" fmla="*/ 280 w 405"/>
                    <a:gd name="T29" fmla="*/ 327 h 519"/>
                    <a:gd name="T30" fmla="*/ 307 w 405"/>
                    <a:gd name="T31" fmla="*/ 463 h 519"/>
                    <a:gd name="T32" fmla="*/ 351 w 405"/>
                    <a:gd name="T33" fmla="*/ 463 h 519"/>
                    <a:gd name="T34" fmla="*/ 378 w 405"/>
                    <a:gd name="T35" fmla="*/ 284 h 519"/>
                    <a:gd name="T36" fmla="*/ 403 w 405"/>
                    <a:gd name="T37" fmla="*/ 265 h 519"/>
                    <a:gd name="T38" fmla="*/ 399 w 405"/>
                    <a:gd name="T39" fmla="*/ 126 h 519"/>
                    <a:gd name="T40" fmla="*/ 104 w 405"/>
                    <a:gd name="T41" fmla="*/ 155 h 519"/>
                    <a:gd name="T42" fmla="*/ 131 w 405"/>
                    <a:gd name="T43" fmla="*/ 120 h 519"/>
                    <a:gd name="T44" fmla="*/ 81 w 405"/>
                    <a:gd name="T45" fmla="*/ 130 h 519"/>
                    <a:gd name="T46" fmla="*/ 76 w 405"/>
                    <a:gd name="T47" fmla="*/ 226 h 519"/>
                    <a:gd name="T48" fmla="*/ 71 w 405"/>
                    <a:gd name="T49" fmla="*/ 130 h 519"/>
                    <a:gd name="T50" fmla="*/ 20 w 405"/>
                    <a:gd name="T51" fmla="*/ 120 h 519"/>
                    <a:gd name="T52" fmla="*/ 0 w 405"/>
                    <a:gd name="T53" fmla="*/ 266 h 519"/>
                    <a:gd name="T54" fmla="*/ 27 w 405"/>
                    <a:gd name="T55" fmla="*/ 285 h 519"/>
                    <a:gd name="T56" fmla="*/ 53 w 405"/>
                    <a:gd name="T57" fmla="*/ 463 h 519"/>
                    <a:gd name="T58" fmla="*/ 98 w 405"/>
                    <a:gd name="T59" fmla="*/ 463 h 519"/>
                    <a:gd name="T60" fmla="*/ 125 w 405"/>
                    <a:gd name="T61" fmla="*/ 329 h 519"/>
                    <a:gd name="T62" fmla="*/ 281 w 405"/>
                    <a:gd name="T63" fmla="*/ 139 h 519"/>
                    <a:gd name="T64" fmla="*/ 216 w 405"/>
                    <a:gd name="T65" fmla="*/ 132 h 519"/>
                    <a:gd name="T66" fmla="*/ 223 w 405"/>
                    <a:gd name="T67" fmla="*/ 232 h 519"/>
                    <a:gd name="T68" fmla="*/ 181 w 405"/>
                    <a:gd name="T69" fmla="*/ 232 h 519"/>
                    <a:gd name="T70" fmla="*/ 188 w 405"/>
                    <a:gd name="T71" fmla="*/ 132 h 519"/>
                    <a:gd name="T72" fmla="*/ 117 w 405"/>
                    <a:gd name="T73" fmla="*/ 155 h 519"/>
                    <a:gd name="T74" fmla="*/ 140 w 405"/>
                    <a:gd name="T75" fmla="*/ 319 h 519"/>
                    <a:gd name="T76" fmla="*/ 147 w 405"/>
                    <a:gd name="T77" fmla="*/ 489 h 519"/>
                    <a:gd name="T78" fmla="*/ 202 w 405"/>
                    <a:gd name="T79" fmla="*/ 505 h 519"/>
                    <a:gd name="T80" fmla="*/ 257 w 405"/>
                    <a:gd name="T81" fmla="*/ 489 h 519"/>
                    <a:gd name="T82" fmla="*/ 263 w 405"/>
                    <a:gd name="T83" fmla="*/ 318 h 519"/>
                    <a:gd name="T84" fmla="*/ 287 w 405"/>
                    <a:gd name="T85" fmla="*/ 155 h 5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405" h="519">
                      <a:moveTo>
                        <a:pt x="151" y="49"/>
                      </a:moveTo>
                      <a:cubicBezTo>
                        <a:pt x="151" y="17"/>
                        <a:pt x="174" y="0"/>
                        <a:pt x="202" y="0"/>
                      </a:cubicBezTo>
                      <a:cubicBezTo>
                        <a:pt x="231" y="0"/>
                        <a:pt x="254" y="17"/>
                        <a:pt x="254" y="49"/>
                      </a:cubicBezTo>
                      <a:cubicBezTo>
                        <a:pt x="254" y="82"/>
                        <a:pt x="231" y="117"/>
                        <a:pt x="202" y="117"/>
                      </a:cubicBezTo>
                      <a:cubicBezTo>
                        <a:pt x="174" y="117"/>
                        <a:pt x="151" y="82"/>
                        <a:pt x="151" y="49"/>
                      </a:cubicBezTo>
                      <a:close/>
                      <a:moveTo>
                        <a:pt x="76" y="106"/>
                      </a:moveTo>
                      <a:cubicBezTo>
                        <a:pt x="101" y="106"/>
                        <a:pt x="121" y="75"/>
                        <a:pt x="121" y="46"/>
                      </a:cubicBezTo>
                      <a:cubicBezTo>
                        <a:pt x="121" y="18"/>
                        <a:pt x="101" y="2"/>
                        <a:pt x="76" y="2"/>
                      </a:cubicBezTo>
                      <a:cubicBezTo>
                        <a:pt x="51" y="2"/>
                        <a:pt x="30" y="18"/>
                        <a:pt x="30" y="46"/>
                      </a:cubicBezTo>
                      <a:cubicBezTo>
                        <a:pt x="30" y="75"/>
                        <a:pt x="51" y="106"/>
                        <a:pt x="76" y="106"/>
                      </a:cubicBezTo>
                      <a:close/>
                      <a:moveTo>
                        <a:pt x="329" y="106"/>
                      </a:moveTo>
                      <a:cubicBezTo>
                        <a:pt x="354" y="106"/>
                        <a:pt x="375" y="75"/>
                        <a:pt x="375" y="46"/>
                      </a:cubicBezTo>
                      <a:cubicBezTo>
                        <a:pt x="375" y="18"/>
                        <a:pt x="354" y="2"/>
                        <a:pt x="329" y="2"/>
                      </a:cubicBezTo>
                      <a:cubicBezTo>
                        <a:pt x="304" y="2"/>
                        <a:pt x="284" y="18"/>
                        <a:pt x="284" y="46"/>
                      </a:cubicBezTo>
                      <a:cubicBezTo>
                        <a:pt x="284" y="75"/>
                        <a:pt x="304" y="106"/>
                        <a:pt x="329" y="106"/>
                      </a:cubicBezTo>
                      <a:close/>
                      <a:moveTo>
                        <a:pt x="399" y="126"/>
                      </a:moveTo>
                      <a:cubicBezTo>
                        <a:pt x="395" y="122"/>
                        <a:pt x="390" y="120"/>
                        <a:pt x="385" y="120"/>
                      </a:cubicBezTo>
                      <a:lnTo>
                        <a:pt x="341" y="120"/>
                      </a:lnTo>
                      <a:lnTo>
                        <a:pt x="334" y="130"/>
                      </a:lnTo>
                      <a:lnTo>
                        <a:pt x="348" y="208"/>
                      </a:lnTo>
                      <a:lnTo>
                        <a:pt x="329" y="226"/>
                      </a:lnTo>
                      <a:lnTo>
                        <a:pt x="310" y="208"/>
                      </a:lnTo>
                      <a:lnTo>
                        <a:pt x="324" y="130"/>
                      </a:lnTo>
                      <a:lnTo>
                        <a:pt x="317" y="120"/>
                      </a:lnTo>
                      <a:lnTo>
                        <a:pt x="274" y="120"/>
                      </a:lnTo>
                      <a:cubicBezTo>
                        <a:pt x="273" y="120"/>
                        <a:pt x="273" y="120"/>
                        <a:pt x="273" y="120"/>
                      </a:cubicBezTo>
                      <a:cubicBezTo>
                        <a:pt x="279" y="121"/>
                        <a:pt x="286" y="125"/>
                        <a:pt x="290" y="129"/>
                      </a:cubicBezTo>
                      <a:cubicBezTo>
                        <a:pt x="297" y="136"/>
                        <a:pt x="301" y="146"/>
                        <a:pt x="301" y="155"/>
                      </a:cubicBezTo>
                      <a:lnTo>
                        <a:pt x="300" y="295"/>
                      </a:lnTo>
                      <a:cubicBezTo>
                        <a:pt x="299" y="310"/>
                        <a:pt x="292" y="321"/>
                        <a:pt x="280" y="327"/>
                      </a:cubicBezTo>
                      <a:lnTo>
                        <a:pt x="280" y="436"/>
                      </a:lnTo>
                      <a:cubicBezTo>
                        <a:pt x="280" y="451"/>
                        <a:pt x="292" y="463"/>
                        <a:pt x="307" y="463"/>
                      </a:cubicBezTo>
                      <a:cubicBezTo>
                        <a:pt x="316" y="463"/>
                        <a:pt x="324" y="458"/>
                        <a:pt x="329" y="451"/>
                      </a:cubicBezTo>
                      <a:cubicBezTo>
                        <a:pt x="334" y="458"/>
                        <a:pt x="342" y="463"/>
                        <a:pt x="351" y="463"/>
                      </a:cubicBezTo>
                      <a:cubicBezTo>
                        <a:pt x="366" y="463"/>
                        <a:pt x="378" y="451"/>
                        <a:pt x="378" y="436"/>
                      </a:cubicBezTo>
                      <a:lnTo>
                        <a:pt x="378" y="284"/>
                      </a:lnTo>
                      <a:cubicBezTo>
                        <a:pt x="380" y="284"/>
                        <a:pt x="381" y="284"/>
                        <a:pt x="383" y="284"/>
                      </a:cubicBezTo>
                      <a:cubicBezTo>
                        <a:pt x="395" y="285"/>
                        <a:pt x="403" y="276"/>
                        <a:pt x="403" y="265"/>
                      </a:cubicBezTo>
                      <a:lnTo>
                        <a:pt x="405" y="140"/>
                      </a:lnTo>
                      <a:cubicBezTo>
                        <a:pt x="405" y="135"/>
                        <a:pt x="403" y="129"/>
                        <a:pt x="399" y="126"/>
                      </a:cubicBezTo>
                      <a:close/>
                      <a:moveTo>
                        <a:pt x="104" y="297"/>
                      </a:moveTo>
                      <a:lnTo>
                        <a:pt x="104" y="155"/>
                      </a:lnTo>
                      <a:cubicBezTo>
                        <a:pt x="104" y="138"/>
                        <a:pt x="116" y="123"/>
                        <a:pt x="132" y="120"/>
                      </a:cubicBezTo>
                      <a:cubicBezTo>
                        <a:pt x="132" y="120"/>
                        <a:pt x="131" y="120"/>
                        <a:pt x="131" y="120"/>
                      </a:cubicBezTo>
                      <a:lnTo>
                        <a:pt x="88" y="120"/>
                      </a:lnTo>
                      <a:lnTo>
                        <a:pt x="81" y="130"/>
                      </a:lnTo>
                      <a:lnTo>
                        <a:pt x="94" y="208"/>
                      </a:lnTo>
                      <a:lnTo>
                        <a:pt x="76" y="226"/>
                      </a:lnTo>
                      <a:lnTo>
                        <a:pt x="57" y="208"/>
                      </a:lnTo>
                      <a:lnTo>
                        <a:pt x="71" y="130"/>
                      </a:lnTo>
                      <a:lnTo>
                        <a:pt x="63" y="120"/>
                      </a:lnTo>
                      <a:lnTo>
                        <a:pt x="20" y="120"/>
                      </a:lnTo>
                      <a:cubicBezTo>
                        <a:pt x="9" y="120"/>
                        <a:pt x="0" y="129"/>
                        <a:pt x="0" y="140"/>
                      </a:cubicBezTo>
                      <a:lnTo>
                        <a:pt x="0" y="266"/>
                      </a:lnTo>
                      <a:cubicBezTo>
                        <a:pt x="0" y="277"/>
                        <a:pt x="9" y="286"/>
                        <a:pt x="20" y="286"/>
                      </a:cubicBezTo>
                      <a:cubicBezTo>
                        <a:pt x="22" y="286"/>
                        <a:pt x="25" y="286"/>
                        <a:pt x="27" y="285"/>
                      </a:cubicBezTo>
                      <a:lnTo>
                        <a:pt x="27" y="436"/>
                      </a:lnTo>
                      <a:cubicBezTo>
                        <a:pt x="27" y="451"/>
                        <a:pt x="39" y="463"/>
                        <a:pt x="53" y="463"/>
                      </a:cubicBezTo>
                      <a:cubicBezTo>
                        <a:pt x="63" y="463"/>
                        <a:pt x="71" y="458"/>
                        <a:pt x="76" y="451"/>
                      </a:cubicBezTo>
                      <a:cubicBezTo>
                        <a:pt x="80" y="458"/>
                        <a:pt x="89" y="463"/>
                        <a:pt x="98" y="463"/>
                      </a:cubicBezTo>
                      <a:cubicBezTo>
                        <a:pt x="113" y="463"/>
                        <a:pt x="125" y="451"/>
                        <a:pt x="125" y="436"/>
                      </a:cubicBezTo>
                      <a:lnTo>
                        <a:pt x="125" y="329"/>
                      </a:lnTo>
                      <a:cubicBezTo>
                        <a:pt x="112" y="324"/>
                        <a:pt x="104" y="311"/>
                        <a:pt x="104" y="297"/>
                      </a:cubicBezTo>
                      <a:close/>
                      <a:moveTo>
                        <a:pt x="281" y="139"/>
                      </a:moveTo>
                      <a:cubicBezTo>
                        <a:pt x="277" y="135"/>
                        <a:pt x="271" y="132"/>
                        <a:pt x="265" y="132"/>
                      </a:cubicBezTo>
                      <a:lnTo>
                        <a:pt x="216" y="132"/>
                      </a:lnTo>
                      <a:lnTo>
                        <a:pt x="208" y="144"/>
                      </a:lnTo>
                      <a:lnTo>
                        <a:pt x="223" y="232"/>
                      </a:lnTo>
                      <a:lnTo>
                        <a:pt x="202" y="252"/>
                      </a:lnTo>
                      <a:lnTo>
                        <a:pt x="181" y="232"/>
                      </a:lnTo>
                      <a:lnTo>
                        <a:pt x="197" y="144"/>
                      </a:lnTo>
                      <a:lnTo>
                        <a:pt x="188" y="132"/>
                      </a:lnTo>
                      <a:lnTo>
                        <a:pt x="140" y="132"/>
                      </a:lnTo>
                      <a:cubicBezTo>
                        <a:pt x="127" y="132"/>
                        <a:pt x="117" y="142"/>
                        <a:pt x="117" y="155"/>
                      </a:cubicBezTo>
                      <a:lnTo>
                        <a:pt x="117" y="297"/>
                      </a:lnTo>
                      <a:cubicBezTo>
                        <a:pt x="117" y="309"/>
                        <a:pt x="127" y="319"/>
                        <a:pt x="140" y="319"/>
                      </a:cubicBezTo>
                      <a:cubicBezTo>
                        <a:pt x="142" y="319"/>
                        <a:pt x="145" y="319"/>
                        <a:pt x="147" y="318"/>
                      </a:cubicBezTo>
                      <a:lnTo>
                        <a:pt x="147" y="489"/>
                      </a:lnTo>
                      <a:cubicBezTo>
                        <a:pt x="147" y="505"/>
                        <a:pt x="161" y="519"/>
                        <a:pt x="177" y="519"/>
                      </a:cubicBezTo>
                      <a:cubicBezTo>
                        <a:pt x="188" y="519"/>
                        <a:pt x="197" y="513"/>
                        <a:pt x="202" y="505"/>
                      </a:cubicBezTo>
                      <a:cubicBezTo>
                        <a:pt x="208" y="513"/>
                        <a:pt x="217" y="519"/>
                        <a:pt x="227" y="519"/>
                      </a:cubicBezTo>
                      <a:cubicBezTo>
                        <a:pt x="244" y="519"/>
                        <a:pt x="257" y="505"/>
                        <a:pt x="257" y="489"/>
                      </a:cubicBezTo>
                      <a:lnTo>
                        <a:pt x="257" y="317"/>
                      </a:lnTo>
                      <a:cubicBezTo>
                        <a:pt x="259" y="317"/>
                        <a:pt x="261" y="318"/>
                        <a:pt x="263" y="318"/>
                      </a:cubicBezTo>
                      <a:cubicBezTo>
                        <a:pt x="276" y="318"/>
                        <a:pt x="286" y="308"/>
                        <a:pt x="286" y="295"/>
                      </a:cubicBezTo>
                      <a:lnTo>
                        <a:pt x="287" y="155"/>
                      </a:lnTo>
                      <a:cubicBezTo>
                        <a:pt x="287" y="149"/>
                        <a:pt x="285" y="143"/>
                        <a:pt x="281" y="13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miter lim="400000"/>
                </a:ln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33" name="ísļídé">
                <a:extLst>
                  <a:ext uri="{FF2B5EF4-FFF2-40B4-BE49-F238E27FC236}">
                    <a16:creationId xmlns:a16="http://schemas.microsoft.com/office/drawing/2014/main" xmlns="" id="{EDBB9C6A-0731-49BB-9ED8-F2D130B14518}"/>
                  </a:ext>
                </a:extLst>
              </p:cNvPr>
              <p:cNvGrpSpPr/>
              <p:nvPr/>
            </p:nvGrpSpPr>
            <p:grpSpPr>
              <a:xfrm>
                <a:off x="660400" y="1130300"/>
                <a:ext cx="2780600" cy="1398764"/>
                <a:chOff x="660400" y="1247775"/>
                <a:chExt cx="2780600" cy="1398764"/>
              </a:xfrm>
            </p:grpSpPr>
            <p:sp>
              <p:nvSpPr>
                <p:cNvPr id="34" name="ïṡḻiḓê">
                  <a:extLst>
                    <a:ext uri="{FF2B5EF4-FFF2-40B4-BE49-F238E27FC236}">
                      <a16:creationId xmlns:a16="http://schemas.microsoft.com/office/drawing/2014/main" xmlns="" id="{7E8B7DB2-F464-43BC-8CD2-36414589E78B}"/>
                    </a:ext>
                  </a:extLst>
                </p:cNvPr>
                <p:cNvSpPr/>
                <p:nvPr/>
              </p:nvSpPr>
              <p:spPr bwMode="auto">
                <a:xfrm>
                  <a:off x="660400" y="1247775"/>
                  <a:ext cx="2780600" cy="458056"/>
                </a:xfrm>
                <a:prstGeom prst="rect">
                  <a:avLst/>
                </a:prstGeom>
                <a:noFill/>
                <a:ln w="38100"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wrap="square" lIns="91440" tIns="45720" rIns="91440" bIns="45720" rtlCol="0" anchor="ctr">
                  <a:normAutofit/>
                </a:bodyPr>
                <a:lstStyle/>
                <a:p>
                  <a:r>
                    <a:rPr lang="en-US" altLang="zh-CN" sz="1600" b="1" dirty="0">
                      <a:solidFill>
                        <a:schemeClr val="tx1"/>
                      </a:solidFill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" name="ïṩḷidé">
                  <a:extLst>
                    <a:ext uri="{FF2B5EF4-FFF2-40B4-BE49-F238E27FC236}">
                      <a16:creationId xmlns:a16="http://schemas.microsoft.com/office/drawing/2014/main" xmlns="" id="{27909AC5-9D38-4E2F-8BFF-DB5993EB7FA6}"/>
                    </a:ext>
                  </a:extLst>
                </p:cNvPr>
                <p:cNvSpPr/>
                <p:nvPr/>
              </p:nvSpPr>
              <p:spPr bwMode="auto">
                <a:xfrm>
                  <a:off x="660400" y="1734613"/>
                  <a:ext cx="2780600" cy="91192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…...</a:t>
                  </a:r>
                </a:p>
              </p:txBody>
            </p:sp>
          </p:grpSp>
        </p:grpSp>
        <p:grpSp>
          <p:nvGrpSpPr>
            <p:cNvPr id="8" name="ïšḷíḑê">
              <a:extLst>
                <a:ext uri="{FF2B5EF4-FFF2-40B4-BE49-F238E27FC236}">
                  <a16:creationId xmlns:a16="http://schemas.microsoft.com/office/drawing/2014/main" xmlns="" id="{2E44918D-F7D0-4497-8737-1B30110D94C3}"/>
                </a:ext>
              </a:extLst>
            </p:cNvPr>
            <p:cNvGrpSpPr/>
            <p:nvPr/>
          </p:nvGrpSpPr>
          <p:grpSpPr>
            <a:xfrm>
              <a:off x="7860225" y="2053468"/>
              <a:ext cx="3658675" cy="1398764"/>
              <a:chOff x="7860225" y="1130300"/>
              <a:chExt cx="3658675" cy="1398764"/>
            </a:xfrm>
          </p:grpSpPr>
          <p:grpSp>
            <p:nvGrpSpPr>
              <p:cNvPr id="26" name="íśľíďè">
                <a:extLst>
                  <a:ext uri="{FF2B5EF4-FFF2-40B4-BE49-F238E27FC236}">
                    <a16:creationId xmlns:a16="http://schemas.microsoft.com/office/drawing/2014/main" xmlns="" id="{7F010837-D0E8-4C93-8EE0-9BE92392976C}"/>
                  </a:ext>
                </a:extLst>
              </p:cNvPr>
              <p:cNvGrpSpPr/>
              <p:nvPr/>
            </p:nvGrpSpPr>
            <p:grpSpPr>
              <a:xfrm>
                <a:off x="7860225" y="1299732"/>
                <a:ext cx="839186" cy="773369"/>
                <a:chOff x="8672118" y="1723119"/>
                <a:chExt cx="839186" cy="773369"/>
              </a:xfrm>
            </p:grpSpPr>
            <p:sp>
              <p:nvSpPr>
                <p:cNvPr id="30" name="ï$ľîḓe">
                  <a:extLst>
                    <a:ext uri="{FF2B5EF4-FFF2-40B4-BE49-F238E27FC236}">
                      <a16:creationId xmlns:a16="http://schemas.microsoft.com/office/drawing/2014/main" xmlns="" id="{7538D5EF-09A7-41A6-B403-72A42CF782CE}"/>
                    </a:ext>
                  </a:extLst>
                </p:cNvPr>
                <p:cNvSpPr/>
                <p:nvPr/>
              </p:nvSpPr>
              <p:spPr>
                <a:xfrm>
                  <a:off x="8672118" y="1723119"/>
                  <a:ext cx="839186" cy="773369"/>
                </a:xfrm>
                <a:custGeom>
                  <a:avLst/>
                  <a:gdLst>
                    <a:gd name="connsiteX0" fmla="*/ 971829 w 2671591"/>
                    <a:gd name="connsiteY0" fmla="*/ 311 h 2234714"/>
                    <a:gd name="connsiteX1" fmla="*/ 1658132 w 2671591"/>
                    <a:gd name="connsiteY1" fmla="*/ 121675 h 2234714"/>
                    <a:gd name="connsiteX2" fmla="*/ 2391482 w 2671591"/>
                    <a:gd name="connsiteY2" fmla="*/ 570868 h 2234714"/>
                    <a:gd name="connsiteX3" fmla="*/ 2671591 w 2671591"/>
                    <a:gd name="connsiteY3" fmla="*/ 1127080 h 2234714"/>
                    <a:gd name="connsiteX4" fmla="*/ 2398520 w 2671591"/>
                    <a:gd name="connsiteY4" fmla="*/ 1555152 h 2234714"/>
                    <a:gd name="connsiteX5" fmla="*/ 1656724 w 2671591"/>
                    <a:gd name="connsiteY5" fmla="*/ 2040957 h 2234714"/>
                    <a:gd name="connsiteX6" fmla="*/ 436351 w 2671591"/>
                    <a:gd name="connsiteY6" fmla="*/ 2146567 h 2234714"/>
                    <a:gd name="connsiteX7" fmla="*/ 0 w 2671591"/>
                    <a:gd name="connsiteY7" fmla="*/ 1127080 h 2234714"/>
                    <a:gd name="connsiteX8" fmla="*/ 453241 w 2671591"/>
                    <a:gd name="connsiteY8" fmla="*/ 130124 h 2234714"/>
                    <a:gd name="connsiteX9" fmla="*/ 971829 w 2671591"/>
                    <a:gd name="connsiteY9" fmla="*/ 311 h 2234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671591" h="2234714">
                      <a:moveTo>
                        <a:pt x="971829" y="311"/>
                      </a:moveTo>
                      <a:cubicBezTo>
                        <a:pt x="1208558" y="-4512"/>
                        <a:pt x="1452273" y="47220"/>
                        <a:pt x="1658132" y="121675"/>
                      </a:cubicBezTo>
                      <a:cubicBezTo>
                        <a:pt x="1922757" y="217427"/>
                        <a:pt x="2191606" y="370914"/>
                        <a:pt x="2391482" y="570868"/>
                      </a:cubicBezTo>
                      <a:cubicBezTo>
                        <a:pt x="2536463" y="715906"/>
                        <a:pt x="2671591" y="914452"/>
                        <a:pt x="2671591" y="1127080"/>
                      </a:cubicBezTo>
                      <a:cubicBezTo>
                        <a:pt x="2671591" y="1267893"/>
                        <a:pt x="2492828" y="1465031"/>
                        <a:pt x="2398520" y="1555152"/>
                      </a:cubicBezTo>
                      <a:cubicBezTo>
                        <a:pt x="2188790" y="1755106"/>
                        <a:pt x="1919942" y="1922674"/>
                        <a:pt x="1656724" y="2040957"/>
                      </a:cubicBezTo>
                      <a:cubicBezTo>
                        <a:pt x="1309052" y="2194443"/>
                        <a:pt x="796691" y="2329623"/>
                        <a:pt x="436351" y="2146567"/>
                      </a:cubicBezTo>
                      <a:cubicBezTo>
                        <a:pt x="71787" y="1960693"/>
                        <a:pt x="0" y="1496010"/>
                        <a:pt x="0" y="1127080"/>
                      </a:cubicBezTo>
                      <a:cubicBezTo>
                        <a:pt x="0" y="742660"/>
                        <a:pt x="95716" y="334303"/>
                        <a:pt x="453241" y="130124"/>
                      </a:cubicBezTo>
                      <a:cubicBezTo>
                        <a:pt x="607811" y="42027"/>
                        <a:pt x="787708" y="4063"/>
                        <a:pt x="971829" y="311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1" name="íşľiďé">
                  <a:extLst>
                    <a:ext uri="{FF2B5EF4-FFF2-40B4-BE49-F238E27FC236}">
                      <a16:creationId xmlns:a16="http://schemas.microsoft.com/office/drawing/2014/main" xmlns="" id="{6F5BCD4B-EF33-449C-AF9A-861434952151}"/>
                    </a:ext>
                  </a:extLst>
                </p:cNvPr>
                <p:cNvSpPr/>
                <p:nvPr/>
              </p:nvSpPr>
              <p:spPr>
                <a:xfrm>
                  <a:off x="8910167" y="1964691"/>
                  <a:ext cx="279328" cy="273034"/>
                </a:xfrm>
                <a:custGeom>
                  <a:avLst/>
                  <a:gdLst>
                    <a:gd name="connsiteX0" fmla="*/ 163904 w 607933"/>
                    <a:gd name="connsiteY0" fmla="*/ 368072 h 594235"/>
                    <a:gd name="connsiteX1" fmla="*/ 194698 w 607933"/>
                    <a:gd name="connsiteY1" fmla="*/ 416677 h 594235"/>
                    <a:gd name="connsiteX2" fmla="*/ 52648 w 607933"/>
                    <a:gd name="connsiteY2" fmla="*/ 475202 h 594235"/>
                    <a:gd name="connsiteX3" fmla="*/ 303966 w 607933"/>
                    <a:gd name="connsiteY3" fmla="*/ 542654 h 594235"/>
                    <a:gd name="connsiteX4" fmla="*/ 555285 w 607933"/>
                    <a:gd name="connsiteY4" fmla="*/ 475202 h 594235"/>
                    <a:gd name="connsiteX5" fmla="*/ 412242 w 607933"/>
                    <a:gd name="connsiteY5" fmla="*/ 416677 h 594235"/>
                    <a:gd name="connsiteX6" fmla="*/ 444030 w 607933"/>
                    <a:gd name="connsiteY6" fmla="*/ 368072 h 594235"/>
                    <a:gd name="connsiteX7" fmla="*/ 607933 w 607933"/>
                    <a:gd name="connsiteY7" fmla="*/ 475202 h 594235"/>
                    <a:gd name="connsiteX8" fmla="*/ 303966 w 607933"/>
                    <a:gd name="connsiteY8" fmla="*/ 594235 h 594235"/>
                    <a:gd name="connsiteX9" fmla="*/ 0 w 607933"/>
                    <a:gd name="connsiteY9" fmla="*/ 475202 h 594235"/>
                    <a:gd name="connsiteX10" fmla="*/ 163904 w 607933"/>
                    <a:gd name="connsiteY10" fmla="*/ 368072 h 594235"/>
                    <a:gd name="connsiteX11" fmla="*/ 304444 w 607933"/>
                    <a:gd name="connsiteY11" fmla="*/ 119134 h 594235"/>
                    <a:gd name="connsiteX12" fmla="*/ 368550 w 607933"/>
                    <a:gd name="connsiteY12" fmla="*/ 183559 h 594235"/>
                    <a:gd name="connsiteX13" fmla="*/ 304444 w 607933"/>
                    <a:gd name="connsiteY13" fmla="*/ 247984 h 594235"/>
                    <a:gd name="connsiteX14" fmla="*/ 240338 w 607933"/>
                    <a:gd name="connsiteY14" fmla="*/ 183559 h 594235"/>
                    <a:gd name="connsiteX15" fmla="*/ 304444 w 607933"/>
                    <a:gd name="connsiteY15" fmla="*/ 119134 h 594235"/>
                    <a:gd name="connsiteX16" fmla="*/ 304941 w 607933"/>
                    <a:gd name="connsiteY16" fmla="*/ 78375 h 594235"/>
                    <a:gd name="connsiteX17" fmla="*/ 198655 w 607933"/>
                    <a:gd name="connsiteY17" fmla="*/ 183536 h 594235"/>
                    <a:gd name="connsiteX18" fmla="*/ 304941 w 607933"/>
                    <a:gd name="connsiteY18" fmla="*/ 288698 h 594235"/>
                    <a:gd name="connsiteX19" fmla="*/ 410234 w 607933"/>
                    <a:gd name="connsiteY19" fmla="*/ 183536 h 594235"/>
                    <a:gd name="connsiteX20" fmla="*/ 304941 w 607933"/>
                    <a:gd name="connsiteY20" fmla="*/ 78375 h 594235"/>
                    <a:gd name="connsiteX21" fmla="*/ 304941 w 607933"/>
                    <a:gd name="connsiteY21" fmla="*/ 0 h 594235"/>
                    <a:gd name="connsiteX22" fmla="*/ 482747 w 607933"/>
                    <a:gd name="connsiteY22" fmla="*/ 178576 h 594235"/>
                    <a:gd name="connsiteX23" fmla="*/ 338714 w 607933"/>
                    <a:gd name="connsiteY23" fmla="*/ 454376 h 594235"/>
                    <a:gd name="connsiteX24" fmla="*/ 304941 w 607933"/>
                    <a:gd name="connsiteY24" fmla="*/ 472234 h 594235"/>
                    <a:gd name="connsiteX25" fmla="*/ 270175 w 607933"/>
                    <a:gd name="connsiteY25" fmla="*/ 454376 h 594235"/>
                    <a:gd name="connsiteX26" fmla="*/ 126142 w 607933"/>
                    <a:gd name="connsiteY26" fmla="*/ 178576 h 594235"/>
                    <a:gd name="connsiteX27" fmla="*/ 304941 w 607933"/>
                    <a:gd name="connsiteY27" fmla="*/ 0 h 5942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607933" h="594235">
                      <a:moveTo>
                        <a:pt x="163904" y="368072"/>
                      </a:moveTo>
                      <a:cubicBezTo>
                        <a:pt x="173837" y="383943"/>
                        <a:pt x="183771" y="399814"/>
                        <a:pt x="194698" y="416677"/>
                      </a:cubicBezTo>
                      <a:cubicBezTo>
                        <a:pt x="100329" y="430564"/>
                        <a:pt x="52648" y="460323"/>
                        <a:pt x="52648" y="475202"/>
                      </a:cubicBezTo>
                      <a:cubicBezTo>
                        <a:pt x="52648" y="495041"/>
                        <a:pt x="138076" y="542654"/>
                        <a:pt x="303966" y="542654"/>
                      </a:cubicBezTo>
                      <a:cubicBezTo>
                        <a:pt x="469857" y="542654"/>
                        <a:pt x="555285" y="495041"/>
                        <a:pt x="555285" y="475202"/>
                      </a:cubicBezTo>
                      <a:cubicBezTo>
                        <a:pt x="555285" y="460323"/>
                        <a:pt x="506611" y="430564"/>
                        <a:pt x="412242" y="416677"/>
                      </a:cubicBezTo>
                      <a:cubicBezTo>
                        <a:pt x="424162" y="399814"/>
                        <a:pt x="434096" y="383943"/>
                        <a:pt x="444030" y="368072"/>
                      </a:cubicBezTo>
                      <a:cubicBezTo>
                        <a:pt x="536412" y="385927"/>
                        <a:pt x="607933" y="421637"/>
                        <a:pt x="607933" y="475202"/>
                      </a:cubicBezTo>
                      <a:cubicBezTo>
                        <a:pt x="607933" y="553565"/>
                        <a:pt x="454956" y="594235"/>
                        <a:pt x="303966" y="594235"/>
                      </a:cubicBezTo>
                      <a:cubicBezTo>
                        <a:pt x="152977" y="594235"/>
                        <a:pt x="0" y="553565"/>
                        <a:pt x="0" y="475202"/>
                      </a:cubicBezTo>
                      <a:cubicBezTo>
                        <a:pt x="0" y="421637"/>
                        <a:pt x="70528" y="385927"/>
                        <a:pt x="163904" y="368072"/>
                      </a:cubicBezTo>
                      <a:close/>
                      <a:moveTo>
                        <a:pt x="304444" y="119134"/>
                      </a:moveTo>
                      <a:cubicBezTo>
                        <a:pt x="339849" y="119134"/>
                        <a:pt x="368550" y="147978"/>
                        <a:pt x="368550" y="183559"/>
                      </a:cubicBezTo>
                      <a:cubicBezTo>
                        <a:pt x="368550" y="219140"/>
                        <a:pt x="339849" y="247984"/>
                        <a:pt x="304444" y="247984"/>
                      </a:cubicBezTo>
                      <a:cubicBezTo>
                        <a:pt x="269039" y="247984"/>
                        <a:pt x="240338" y="219140"/>
                        <a:pt x="240338" y="183559"/>
                      </a:cubicBezTo>
                      <a:cubicBezTo>
                        <a:pt x="240338" y="147978"/>
                        <a:pt x="269039" y="119134"/>
                        <a:pt x="304444" y="119134"/>
                      </a:cubicBezTo>
                      <a:close/>
                      <a:moveTo>
                        <a:pt x="304941" y="78375"/>
                      </a:moveTo>
                      <a:cubicBezTo>
                        <a:pt x="246335" y="78375"/>
                        <a:pt x="198655" y="125003"/>
                        <a:pt x="198655" y="183536"/>
                      </a:cubicBezTo>
                      <a:cubicBezTo>
                        <a:pt x="198655" y="242070"/>
                        <a:pt x="246335" y="288698"/>
                        <a:pt x="304941" y="288698"/>
                      </a:cubicBezTo>
                      <a:cubicBezTo>
                        <a:pt x="362554" y="288698"/>
                        <a:pt x="410234" y="242070"/>
                        <a:pt x="410234" y="183536"/>
                      </a:cubicBezTo>
                      <a:cubicBezTo>
                        <a:pt x="410234" y="125003"/>
                        <a:pt x="362554" y="78375"/>
                        <a:pt x="304941" y="78375"/>
                      </a:cubicBezTo>
                      <a:close/>
                      <a:moveTo>
                        <a:pt x="304941" y="0"/>
                      </a:moveTo>
                      <a:cubicBezTo>
                        <a:pt x="403281" y="0"/>
                        <a:pt x="482747" y="80359"/>
                        <a:pt x="482747" y="178576"/>
                      </a:cubicBezTo>
                      <a:cubicBezTo>
                        <a:pt x="482747" y="249014"/>
                        <a:pt x="391361" y="383938"/>
                        <a:pt x="338714" y="454376"/>
                      </a:cubicBezTo>
                      <a:cubicBezTo>
                        <a:pt x="330768" y="465289"/>
                        <a:pt x="317854" y="472234"/>
                        <a:pt x="304941" y="472234"/>
                      </a:cubicBezTo>
                      <a:cubicBezTo>
                        <a:pt x="291035" y="472234"/>
                        <a:pt x="278121" y="465289"/>
                        <a:pt x="270175" y="454376"/>
                      </a:cubicBezTo>
                      <a:cubicBezTo>
                        <a:pt x="217528" y="383938"/>
                        <a:pt x="126142" y="249014"/>
                        <a:pt x="126142" y="178576"/>
                      </a:cubicBezTo>
                      <a:cubicBezTo>
                        <a:pt x="126142" y="80359"/>
                        <a:pt x="205608" y="0"/>
                        <a:pt x="30494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miter lim="400000"/>
                </a:ln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27" name="ïṥḷidè">
                <a:extLst>
                  <a:ext uri="{FF2B5EF4-FFF2-40B4-BE49-F238E27FC236}">
                    <a16:creationId xmlns:a16="http://schemas.microsoft.com/office/drawing/2014/main" xmlns="" id="{0F74B0BA-B8CE-43BA-A11D-7C0B1F2E9E5E}"/>
                  </a:ext>
                </a:extLst>
              </p:cNvPr>
              <p:cNvGrpSpPr/>
              <p:nvPr/>
            </p:nvGrpSpPr>
            <p:grpSpPr>
              <a:xfrm>
                <a:off x="8738300" y="1130300"/>
                <a:ext cx="2780600" cy="1398764"/>
                <a:chOff x="660400" y="1247775"/>
                <a:chExt cx="2780600" cy="1398764"/>
              </a:xfrm>
            </p:grpSpPr>
            <p:sp>
              <p:nvSpPr>
                <p:cNvPr id="28" name="î$ḻîḓé">
                  <a:extLst>
                    <a:ext uri="{FF2B5EF4-FFF2-40B4-BE49-F238E27FC236}">
                      <a16:creationId xmlns:a16="http://schemas.microsoft.com/office/drawing/2014/main" xmlns="" id="{6E5832AA-6FAD-4BEB-BCCB-53F219B590E7}"/>
                    </a:ext>
                  </a:extLst>
                </p:cNvPr>
                <p:cNvSpPr/>
                <p:nvPr/>
              </p:nvSpPr>
              <p:spPr bwMode="auto">
                <a:xfrm>
                  <a:off x="660400" y="1247775"/>
                  <a:ext cx="2780600" cy="458056"/>
                </a:xfrm>
                <a:prstGeom prst="rect">
                  <a:avLst/>
                </a:prstGeom>
                <a:noFill/>
                <a:ln w="38100"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wrap="square" lIns="91440" tIns="45720" rIns="91440" bIns="45720" rtlCol="0" anchor="ctr">
                  <a:normAutofit/>
                </a:bodyPr>
                <a:lstStyle/>
                <a:p>
                  <a:pPr algn="r"/>
                  <a:r>
                    <a:rPr lang="en-US" altLang="zh-CN" sz="1600" b="1" dirty="0">
                      <a:solidFill>
                        <a:schemeClr val="tx1"/>
                      </a:solidFill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" name="îṣľîḓé">
                  <a:extLst>
                    <a:ext uri="{FF2B5EF4-FFF2-40B4-BE49-F238E27FC236}">
                      <a16:creationId xmlns:a16="http://schemas.microsoft.com/office/drawing/2014/main" xmlns="" id="{AE7BBCDE-F1D8-4E5C-A744-F082E8E2BFCF}"/>
                    </a:ext>
                  </a:extLst>
                </p:cNvPr>
                <p:cNvSpPr/>
                <p:nvPr/>
              </p:nvSpPr>
              <p:spPr bwMode="auto">
                <a:xfrm>
                  <a:off x="660400" y="1734613"/>
                  <a:ext cx="2780600" cy="91192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 algn="r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marL="171450" indent="-171450" algn="r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…...</a:t>
                  </a:r>
                </a:p>
              </p:txBody>
            </p:sp>
          </p:grpSp>
        </p:grpSp>
        <p:grpSp>
          <p:nvGrpSpPr>
            <p:cNvPr id="9" name="ïṩļîḓè">
              <a:extLst>
                <a:ext uri="{FF2B5EF4-FFF2-40B4-BE49-F238E27FC236}">
                  <a16:creationId xmlns:a16="http://schemas.microsoft.com/office/drawing/2014/main" xmlns="" id="{19D6D948-A5E6-4601-88DE-30C3A54FA72A}"/>
                </a:ext>
              </a:extLst>
            </p:cNvPr>
            <p:cNvGrpSpPr/>
            <p:nvPr/>
          </p:nvGrpSpPr>
          <p:grpSpPr>
            <a:xfrm>
              <a:off x="660400" y="3812168"/>
              <a:ext cx="3789892" cy="1398764"/>
              <a:chOff x="660400" y="1130300"/>
              <a:chExt cx="3789892" cy="1398764"/>
            </a:xfrm>
          </p:grpSpPr>
          <p:grpSp>
            <p:nvGrpSpPr>
              <p:cNvPr id="20" name="ïSļïḓê">
                <a:extLst>
                  <a:ext uri="{FF2B5EF4-FFF2-40B4-BE49-F238E27FC236}">
                    <a16:creationId xmlns:a16="http://schemas.microsoft.com/office/drawing/2014/main" xmlns="" id="{3407889A-A88C-4E2A-B76D-E319B568CEF1}"/>
                  </a:ext>
                </a:extLst>
              </p:cNvPr>
              <p:cNvGrpSpPr/>
              <p:nvPr/>
            </p:nvGrpSpPr>
            <p:grpSpPr>
              <a:xfrm>
                <a:off x="3611106" y="1299732"/>
                <a:ext cx="839186" cy="773369"/>
                <a:chOff x="2690464" y="1737610"/>
                <a:chExt cx="839186" cy="773369"/>
              </a:xfrm>
            </p:grpSpPr>
            <p:sp>
              <p:nvSpPr>
                <p:cNvPr id="24" name="ïŝḻïde">
                  <a:extLst>
                    <a:ext uri="{FF2B5EF4-FFF2-40B4-BE49-F238E27FC236}">
                      <a16:creationId xmlns:a16="http://schemas.microsoft.com/office/drawing/2014/main" xmlns="" id="{A99B45BF-8082-46A3-AFC2-EE084C644E98}"/>
                    </a:ext>
                  </a:extLst>
                </p:cNvPr>
                <p:cNvSpPr/>
                <p:nvPr/>
              </p:nvSpPr>
              <p:spPr>
                <a:xfrm flipH="1">
                  <a:off x="2690464" y="1737610"/>
                  <a:ext cx="839186" cy="773369"/>
                </a:xfrm>
                <a:custGeom>
                  <a:avLst/>
                  <a:gdLst>
                    <a:gd name="connsiteX0" fmla="*/ 971829 w 2671591"/>
                    <a:gd name="connsiteY0" fmla="*/ 311 h 2234714"/>
                    <a:gd name="connsiteX1" fmla="*/ 1658132 w 2671591"/>
                    <a:gd name="connsiteY1" fmla="*/ 121675 h 2234714"/>
                    <a:gd name="connsiteX2" fmla="*/ 2391482 w 2671591"/>
                    <a:gd name="connsiteY2" fmla="*/ 570868 h 2234714"/>
                    <a:gd name="connsiteX3" fmla="*/ 2671591 w 2671591"/>
                    <a:gd name="connsiteY3" fmla="*/ 1127080 h 2234714"/>
                    <a:gd name="connsiteX4" fmla="*/ 2398520 w 2671591"/>
                    <a:gd name="connsiteY4" fmla="*/ 1555152 h 2234714"/>
                    <a:gd name="connsiteX5" fmla="*/ 1656724 w 2671591"/>
                    <a:gd name="connsiteY5" fmla="*/ 2040957 h 2234714"/>
                    <a:gd name="connsiteX6" fmla="*/ 436351 w 2671591"/>
                    <a:gd name="connsiteY6" fmla="*/ 2146567 h 2234714"/>
                    <a:gd name="connsiteX7" fmla="*/ 0 w 2671591"/>
                    <a:gd name="connsiteY7" fmla="*/ 1127080 h 2234714"/>
                    <a:gd name="connsiteX8" fmla="*/ 453241 w 2671591"/>
                    <a:gd name="connsiteY8" fmla="*/ 130124 h 2234714"/>
                    <a:gd name="connsiteX9" fmla="*/ 971829 w 2671591"/>
                    <a:gd name="connsiteY9" fmla="*/ 311 h 2234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671591" h="2234714">
                      <a:moveTo>
                        <a:pt x="971829" y="311"/>
                      </a:moveTo>
                      <a:cubicBezTo>
                        <a:pt x="1208558" y="-4512"/>
                        <a:pt x="1452273" y="47220"/>
                        <a:pt x="1658132" y="121675"/>
                      </a:cubicBezTo>
                      <a:cubicBezTo>
                        <a:pt x="1922757" y="217427"/>
                        <a:pt x="2191606" y="370914"/>
                        <a:pt x="2391482" y="570868"/>
                      </a:cubicBezTo>
                      <a:cubicBezTo>
                        <a:pt x="2536463" y="715906"/>
                        <a:pt x="2671591" y="914452"/>
                        <a:pt x="2671591" y="1127080"/>
                      </a:cubicBezTo>
                      <a:cubicBezTo>
                        <a:pt x="2671591" y="1267893"/>
                        <a:pt x="2492828" y="1465031"/>
                        <a:pt x="2398520" y="1555152"/>
                      </a:cubicBezTo>
                      <a:cubicBezTo>
                        <a:pt x="2188790" y="1755106"/>
                        <a:pt x="1919942" y="1922674"/>
                        <a:pt x="1656724" y="2040957"/>
                      </a:cubicBezTo>
                      <a:cubicBezTo>
                        <a:pt x="1309052" y="2194443"/>
                        <a:pt x="796691" y="2329623"/>
                        <a:pt x="436351" y="2146567"/>
                      </a:cubicBezTo>
                      <a:cubicBezTo>
                        <a:pt x="71787" y="1960693"/>
                        <a:pt x="0" y="1496010"/>
                        <a:pt x="0" y="1127080"/>
                      </a:cubicBezTo>
                      <a:cubicBezTo>
                        <a:pt x="0" y="742660"/>
                        <a:pt x="95716" y="334303"/>
                        <a:pt x="453241" y="130124"/>
                      </a:cubicBezTo>
                      <a:cubicBezTo>
                        <a:pt x="607811" y="42027"/>
                        <a:pt x="787708" y="4063"/>
                        <a:pt x="971829" y="311"/>
                      </a:cubicBezTo>
                      <a:close/>
                    </a:path>
                  </a:pathLst>
                </a:custGeom>
                <a:solidFill>
                  <a:schemeClr val="accent1">
                    <a:lumMod val="10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5" name="ïŝlîḑê">
                  <a:extLst>
                    <a:ext uri="{FF2B5EF4-FFF2-40B4-BE49-F238E27FC236}">
                      <a16:creationId xmlns:a16="http://schemas.microsoft.com/office/drawing/2014/main" xmlns="" id="{E771F4BD-34ED-4D02-986C-325A7AA2DA70}"/>
                    </a:ext>
                  </a:extLst>
                </p:cNvPr>
                <p:cNvSpPr/>
                <p:nvPr/>
              </p:nvSpPr>
              <p:spPr>
                <a:xfrm>
                  <a:off x="3050443" y="1964717"/>
                  <a:ext cx="218292" cy="279328"/>
                </a:xfrm>
                <a:custGeom>
                  <a:avLst/>
                  <a:gdLst>
                    <a:gd name="T0" fmla="*/ 202 w 405"/>
                    <a:gd name="T1" fmla="*/ 0 h 519"/>
                    <a:gd name="T2" fmla="*/ 202 w 405"/>
                    <a:gd name="T3" fmla="*/ 117 h 519"/>
                    <a:gd name="T4" fmla="*/ 76 w 405"/>
                    <a:gd name="T5" fmla="*/ 106 h 519"/>
                    <a:gd name="T6" fmla="*/ 76 w 405"/>
                    <a:gd name="T7" fmla="*/ 2 h 519"/>
                    <a:gd name="T8" fmla="*/ 76 w 405"/>
                    <a:gd name="T9" fmla="*/ 106 h 519"/>
                    <a:gd name="T10" fmla="*/ 375 w 405"/>
                    <a:gd name="T11" fmla="*/ 46 h 519"/>
                    <a:gd name="T12" fmla="*/ 284 w 405"/>
                    <a:gd name="T13" fmla="*/ 46 h 519"/>
                    <a:gd name="T14" fmla="*/ 399 w 405"/>
                    <a:gd name="T15" fmla="*/ 126 h 519"/>
                    <a:gd name="T16" fmla="*/ 341 w 405"/>
                    <a:gd name="T17" fmla="*/ 120 h 519"/>
                    <a:gd name="T18" fmla="*/ 348 w 405"/>
                    <a:gd name="T19" fmla="*/ 208 h 519"/>
                    <a:gd name="T20" fmla="*/ 310 w 405"/>
                    <a:gd name="T21" fmla="*/ 208 h 519"/>
                    <a:gd name="T22" fmla="*/ 317 w 405"/>
                    <a:gd name="T23" fmla="*/ 120 h 519"/>
                    <a:gd name="T24" fmla="*/ 273 w 405"/>
                    <a:gd name="T25" fmla="*/ 120 h 519"/>
                    <a:gd name="T26" fmla="*/ 301 w 405"/>
                    <a:gd name="T27" fmla="*/ 155 h 519"/>
                    <a:gd name="T28" fmla="*/ 280 w 405"/>
                    <a:gd name="T29" fmla="*/ 327 h 519"/>
                    <a:gd name="T30" fmla="*/ 307 w 405"/>
                    <a:gd name="T31" fmla="*/ 463 h 519"/>
                    <a:gd name="T32" fmla="*/ 351 w 405"/>
                    <a:gd name="T33" fmla="*/ 463 h 519"/>
                    <a:gd name="T34" fmla="*/ 378 w 405"/>
                    <a:gd name="T35" fmla="*/ 284 h 519"/>
                    <a:gd name="T36" fmla="*/ 403 w 405"/>
                    <a:gd name="T37" fmla="*/ 265 h 519"/>
                    <a:gd name="T38" fmla="*/ 399 w 405"/>
                    <a:gd name="T39" fmla="*/ 126 h 519"/>
                    <a:gd name="T40" fmla="*/ 104 w 405"/>
                    <a:gd name="T41" fmla="*/ 155 h 519"/>
                    <a:gd name="T42" fmla="*/ 131 w 405"/>
                    <a:gd name="T43" fmla="*/ 120 h 519"/>
                    <a:gd name="T44" fmla="*/ 81 w 405"/>
                    <a:gd name="T45" fmla="*/ 130 h 519"/>
                    <a:gd name="T46" fmla="*/ 76 w 405"/>
                    <a:gd name="T47" fmla="*/ 226 h 519"/>
                    <a:gd name="T48" fmla="*/ 71 w 405"/>
                    <a:gd name="T49" fmla="*/ 130 h 519"/>
                    <a:gd name="T50" fmla="*/ 20 w 405"/>
                    <a:gd name="T51" fmla="*/ 120 h 519"/>
                    <a:gd name="T52" fmla="*/ 0 w 405"/>
                    <a:gd name="T53" fmla="*/ 266 h 519"/>
                    <a:gd name="T54" fmla="*/ 27 w 405"/>
                    <a:gd name="T55" fmla="*/ 285 h 519"/>
                    <a:gd name="T56" fmla="*/ 53 w 405"/>
                    <a:gd name="T57" fmla="*/ 463 h 519"/>
                    <a:gd name="T58" fmla="*/ 98 w 405"/>
                    <a:gd name="T59" fmla="*/ 463 h 519"/>
                    <a:gd name="T60" fmla="*/ 125 w 405"/>
                    <a:gd name="T61" fmla="*/ 329 h 519"/>
                    <a:gd name="T62" fmla="*/ 281 w 405"/>
                    <a:gd name="T63" fmla="*/ 139 h 519"/>
                    <a:gd name="T64" fmla="*/ 216 w 405"/>
                    <a:gd name="T65" fmla="*/ 132 h 519"/>
                    <a:gd name="T66" fmla="*/ 223 w 405"/>
                    <a:gd name="T67" fmla="*/ 232 h 519"/>
                    <a:gd name="T68" fmla="*/ 181 w 405"/>
                    <a:gd name="T69" fmla="*/ 232 h 519"/>
                    <a:gd name="T70" fmla="*/ 188 w 405"/>
                    <a:gd name="T71" fmla="*/ 132 h 519"/>
                    <a:gd name="T72" fmla="*/ 117 w 405"/>
                    <a:gd name="T73" fmla="*/ 155 h 519"/>
                    <a:gd name="T74" fmla="*/ 140 w 405"/>
                    <a:gd name="T75" fmla="*/ 319 h 519"/>
                    <a:gd name="T76" fmla="*/ 147 w 405"/>
                    <a:gd name="T77" fmla="*/ 489 h 519"/>
                    <a:gd name="T78" fmla="*/ 202 w 405"/>
                    <a:gd name="T79" fmla="*/ 505 h 519"/>
                    <a:gd name="T80" fmla="*/ 257 w 405"/>
                    <a:gd name="T81" fmla="*/ 489 h 519"/>
                    <a:gd name="T82" fmla="*/ 263 w 405"/>
                    <a:gd name="T83" fmla="*/ 318 h 519"/>
                    <a:gd name="T84" fmla="*/ 287 w 405"/>
                    <a:gd name="T85" fmla="*/ 155 h 5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405" h="519">
                      <a:moveTo>
                        <a:pt x="151" y="49"/>
                      </a:moveTo>
                      <a:cubicBezTo>
                        <a:pt x="151" y="17"/>
                        <a:pt x="174" y="0"/>
                        <a:pt x="202" y="0"/>
                      </a:cubicBezTo>
                      <a:cubicBezTo>
                        <a:pt x="231" y="0"/>
                        <a:pt x="254" y="17"/>
                        <a:pt x="254" y="49"/>
                      </a:cubicBezTo>
                      <a:cubicBezTo>
                        <a:pt x="254" y="82"/>
                        <a:pt x="231" y="117"/>
                        <a:pt x="202" y="117"/>
                      </a:cubicBezTo>
                      <a:cubicBezTo>
                        <a:pt x="174" y="117"/>
                        <a:pt x="151" y="82"/>
                        <a:pt x="151" y="49"/>
                      </a:cubicBezTo>
                      <a:close/>
                      <a:moveTo>
                        <a:pt x="76" y="106"/>
                      </a:moveTo>
                      <a:cubicBezTo>
                        <a:pt x="101" y="106"/>
                        <a:pt x="121" y="75"/>
                        <a:pt x="121" y="46"/>
                      </a:cubicBezTo>
                      <a:cubicBezTo>
                        <a:pt x="121" y="18"/>
                        <a:pt x="101" y="2"/>
                        <a:pt x="76" y="2"/>
                      </a:cubicBezTo>
                      <a:cubicBezTo>
                        <a:pt x="51" y="2"/>
                        <a:pt x="30" y="18"/>
                        <a:pt x="30" y="46"/>
                      </a:cubicBezTo>
                      <a:cubicBezTo>
                        <a:pt x="30" y="75"/>
                        <a:pt x="51" y="106"/>
                        <a:pt x="76" y="106"/>
                      </a:cubicBezTo>
                      <a:close/>
                      <a:moveTo>
                        <a:pt x="329" y="106"/>
                      </a:moveTo>
                      <a:cubicBezTo>
                        <a:pt x="354" y="106"/>
                        <a:pt x="375" y="75"/>
                        <a:pt x="375" y="46"/>
                      </a:cubicBezTo>
                      <a:cubicBezTo>
                        <a:pt x="375" y="18"/>
                        <a:pt x="354" y="2"/>
                        <a:pt x="329" y="2"/>
                      </a:cubicBezTo>
                      <a:cubicBezTo>
                        <a:pt x="304" y="2"/>
                        <a:pt x="284" y="18"/>
                        <a:pt x="284" y="46"/>
                      </a:cubicBezTo>
                      <a:cubicBezTo>
                        <a:pt x="284" y="75"/>
                        <a:pt x="304" y="106"/>
                        <a:pt x="329" y="106"/>
                      </a:cubicBezTo>
                      <a:close/>
                      <a:moveTo>
                        <a:pt x="399" y="126"/>
                      </a:moveTo>
                      <a:cubicBezTo>
                        <a:pt x="395" y="122"/>
                        <a:pt x="390" y="120"/>
                        <a:pt x="385" y="120"/>
                      </a:cubicBezTo>
                      <a:lnTo>
                        <a:pt x="341" y="120"/>
                      </a:lnTo>
                      <a:lnTo>
                        <a:pt x="334" y="130"/>
                      </a:lnTo>
                      <a:lnTo>
                        <a:pt x="348" y="208"/>
                      </a:lnTo>
                      <a:lnTo>
                        <a:pt x="329" y="226"/>
                      </a:lnTo>
                      <a:lnTo>
                        <a:pt x="310" y="208"/>
                      </a:lnTo>
                      <a:lnTo>
                        <a:pt x="324" y="130"/>
                      </a:lnTo>
                      <a:lnTo>
                        <a:pt x="317" y="120"/>
                      </a:lnTo>
                      <a:lnTo>
                        <a:pt x="274" y="120"/>
                      </a:lnTo>
                      <a:cubicBezTo>
                        <a:pt x="273" y="120"/>
                        <a:pt x="273" y="120"/>
                        <a:pt x="273" y="120"/>
                      </a:cubicBezTo>
                      <a:cubicBezTo>
                        <a:pt x="279" y="121"/>
                        <a:pt x="286" y="125"/>
                        <a:pt x="290" y="129"/>
                      </a:cubicBezTo>
                      <a:cubicBezTo>
                        <a:pt x="297" y="136"/>
                        <a:pt x="301" y="146"/>
                        <a:pt x="301" y="155"/>
                      </a:cubicBezTo>
                      <a:lnTo>
                        <a:pt x="300" y="295"/>
                      </a:lnTo>
                      <a:cubicBezTo>
                        <a:pt x="299" y="310"/>
                        <a:pt x="292" y="321"/>
                        <a:pt x="280" y="327"/>
                      </a:cubicBezTo>
                      <a:lnTo>
                        <a:pt x="280" y="436"/>
                      </a:lnTo>
                      <a:cubicBezTo>
                        <a:pt x="280" y="451"/>
                        <a:pt x="292" y="463"/>
                        <a:pt x="307" y="463"/>
                      </a:cubicBezTo>
                      <a:cubicBezTo>
                        <a:pt x="316" y="463"/>
                        <a:pt x="324" y="458"/>
                        <a:pt x="329" y="451"/>
                      </a:cubicBezTo>
                      <a:cubicBezTo>
                        <a:pt x="334" y="458"/>
                        <a:pt x="342" y="463"/>
                        <a:pt x="351" y="463"/>
                      </a:cubicBezTo>
                      <a:cubicBezTo>
                        <a:pt x="366" y="463"/>
                        <a:pt x="378" y="451"/>
                        <a:pt x="378" y="436"/>
                      </a:cubicBezTo>
                      <a:lnTo>
                        <a:pt x="378" y="284"/>
                      </a:lnTo>
                      <a:cubicBezTo>
                        <a:pt x="380" y="284"/>
                        <a:pt x="381" y="284"/>
                        <a:pt x="383" y="284"/>
                      </a:cubicBezTo>
                      <a:cubicBezTo>
                        <a:pt x="395" y="285"/>
                        <a:pt x="403" y="276"/>
                        <a:pt x="403" y="265"/>
                      </a:cubicBezTo>
                      <a:lnTo>
                        <a:pt x="405" y="140"/>
                      </a:lnTo>
                      <a:cubicBezTo>
                        <a:pt x="405" y="135"/>
                        <a:pt x="403" y="129"/>
                        <a:pt x="399" y="126"/>
                      </a:cubicBezTo>
                      <a:close/>
                      <a:moveTo>
                        <a:pt x="104" y="297"/>
                      </a:moveTo>
                      <a:lnTo>
                        <a:pt x="104" y="155"/>
                      </a:lnTo>
                      <a:cubicBezTo>
                        <a:pt x="104" y="138"/>
                        <a:pt x="116" y="123"/>
                        <a:pt x="132" y="120"/>
                      </a:cubicBezTo>
                      <a:cubicBezTo>
                        <a:pt x="132" y="120"/>
                        <a:pt x="131" y="120"/>
                        <a:pt x="131" y="120"/>
                      </a:cubicBezTo>
                      <a:lnTo>
                        <a:pt x="88" y="120"/>
                      </a:lnTo>
                      <a:lnTo>
                        <a:pt x="81" y="130"/>
                      </a:lnTo>
                      <a:lnTo>
                        <a:pt x="94" y="208"/>
                      </a:lnTo>
                      <a:lnTo>
                        <a:pt x="76" y="226"/>
                      </a:lnTo>
                      <a:lnTo>
                        <a:pt x="57" y="208"/>
                      </a:lnTo>
                      <a:lnTo>
                        <a:pt x="71" y="130"/>
                      </a:lnTo>
                      <a:lnTo>
                        <a:pt x="63" y="120"/>
                      </a:lnTo>
                      <a:lnTo>
                        <a:pt x="20" y="120"/>
                      </a:lnTo>
                      <a:cubicBezTo>
                        <a:pt x="9" y="120"/>
                        <a:pt x="0" y="129"/>
                        <a:pt x="0" y="140"/>
                      </a:cubicBezTo>
                      <a:lnTo>
                        <a:pt x="0" y="266"/>
                      </a:lnTo>
                      <a:cubicBezTo>
                        <a:pt x="0" y="277"/>
                        <a:pt x="9" y="286"/>
                        <a:pt x="20" y="286"/>
                      </a:cubicBezTo>
                      <a:cubicBezTo>
                        <a:pt x="22" y="286"/>
                        <a:pt x="25" y="286"/>
                        <a:pt x="27" y="285"/>
                      </a:cubicBezTo>
                      <a:lnTo>
                        <a:pt x="27" y="436"/>
                      </a:lnTo>
                      <a:cubicBezTo>
                        <a:pt x="27" y="451"/>
                        <a:pt x="39" y="463"/>
                        <a:pt x="53" y="463"/>
                      </a:cubicBezTo>
                      <a:cubicBezTo>
                        <a:pt x="63" y="463"/>
                        <a:pt x="71" y="458"/>
                        <a:pt x="76" y="451"/>
                      </a:cubicBezTo>
                      <a:cubicBezTo>
                        <a:pt x="80" y="458"/>
                        <a:pt x="89" y="463"/>
                        <a:pt x="98" y="463"/>
                      </a:cubicBezTo>
                      <a:cubicBezTo>
                        <a:pt x="113" y="463"/>
                        <a:pt x="125" y="451"/>
                        <a:pt x="125" y="436"/>
                      </a:cubicBezTo>
                      <a:lnTo>
                        <a:pt x="125" y="329"/>
                      </a:lnTo>
                      <a:cubicBezTo>
                        <a:pt x="112" y="324"/>
                        <a:pt x="104" y="311"/>
                        <a:pt x="104" y="297"/>
                      </a:cubicBezTo>
                      <a:close/>
                      <a:moveTo>
                        <a:pt x="281" y="139"/>
                      </a:moveTo>
                      <a:cubicBezTo>
                        <a:pt x="277" y="135"/>
                        <a:pt x="271" y="132"/>
                        <a:pt x="265" y="132"/>
                      </a:cubicBezTo>
                      <a:lnTo>
                        <a:pt x="216" y="132"/>
                      </a:lnTo>
                      <a:lnTo>
                        <a:pt x="208" y="144"/>
                      </a:lnTo>
                      <a:lnTo>
                        <a:pt x="223" y="232"/>
                      </a:lnTo>
                      <a:lnTo>
                        <a:pt x="202" y="252"/>
                      </a:lnTo>
                      <a:lnTo>
                        <a:pt x="181" y="232"/>
                      </a:lnTo>
                      <a:lnTo>
                        <a:pt x="197" y="144"/>
                      </a:lnTo>
                      <a:lnTo>
                        <a:pt x="188" y="132"/>
                      </a:lnTo>
                      <a:lnTo>
                        <a:pt x="140" y="132"/>
                      </a:lnTo>
                      <a:cubicBezTo>
                        <a:pt x="127" y="132"/>
                        <a:pt x="117" y="142"/>
                        <a:pt x="117" y="155"/>
                      </a:cubicBezTo>
                      <a:lnTo>
                        <a:pt x="117" y="297"/>
                      </a:lnTo>
                      <a:cubicBezTo>
                        <a:pt x="117" y="309"/>
                        <a:pt x="127" y="319"/>
                        <a:pt x="140" y="319"/>
                      </a:cubicBezTo>
                      <a:cubicBezTo>
                        <a:pt x="142" y="319"/>
                        <a:pt x="145" y="319"/>
                        <a:pt x="147" y="318"/>
                      </a:cubicBezTo>
                      <a:lnTo>
                        <a:pt x="147" y="489"/>
                      </a:lnTo>
                      <a:cubicBezTo>
                        <a:pt x="147" y="505"/>
                        <a:pt x="161" y="519"/>
                        <a:pt x="177" y="519"/>
                      </a:cubicBezTo>
                      <a:cubicBezTo>
                        <a:pt x="188" y="519"/>
                        <a:pt x="197" y="513"/>
                        <a:pt x="202" y="505"/>
                      </a:cubicBezTo>
                      <a:cubicBezTo>
                        <a:pt x="208" y="513"/>
                        <a:pt x="217" y="519"/>
                        <a:pt x="227" y="519"/>
                      </a:cubicBezTo>
                      <a:cubicBezTo>
                        <a:pt x="244" y="519"/>
                        <a:pt x="257" y="505"/>
                        <a:pt x="257" y="489"/>
                      </a:cubicBezTo>
                      <a:lnTo>
                        <a:pt x="257" y="317"/>
                      </a:lnTo>
                      <a:cubicBezTo>
                        <a:pt x="259" y="317"/>
                        <a:pt x="261" y="318"/>
                        <a:pt x="263" y="318"/>
                      </a:cubicBezTo>
                      <a:cubicBezTo>
                        <a:pt x="276" y="318"/>
                        <a:pt x="286" y="308"/>
                        <a:pt x="286" y="295"/>
                      </a:cubicBezTo>
                      <a:lnTo>
                        <a:pt x="287" y="155"/>
                      </a:lnTo>
                      <a:cubicBezTo>
                        <a:pt x="287" y="149"/>
                        <a:pt x="285" y="143"/>
                        <a:pt x="281" y="13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miter lim="400000"/>
                </a:ln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21" name="íṧļîḓê">
                <a:extLst>
                  <a:ext uri="{FF2B5EF4-FFF2-40B4-BE49-F238E27FC236}">
                    <a16:creationId xmlns:a16="http://schemas.microsoft.com/office/drawing/2014/main" xmlns="" id="{57D8ED3A-4E6E-4C85-A4C8-85DF40AB318E}"/>
                  </a:ext>
                </a:extLst>
              </p:cNvPr>
              <p:cNvGrpSpPr/>
              <p:nvPr/>
            </p:nvGrpSpPr>
            <p:grpSpPr>
              <a:xfrm>
                <a:off x="660400" y="1130300"/>
                <a:ext cx="2780600" cy="1398764"/>
                <a:chOff x="660400" y="1247775"/>
                <a:chExt cx="2780600" cy="1398764"/>
              </a:xfrm>
            </p:grpSpPr>
            <p:sp>
              <p:nvSpPr>
                <p:cNvPr id="22" name="iṡliḑè">
                  <a:extLst>
                    <a:ext uri="{FF2B5EF4-FFF2-40B4-BE49-F238E27FC236}">
                      <a16:creationId xmlns:a16="http://schemas.microsoft.com/office/drawing/2014/main" xmlns="" id="{CB5C9583-EA5F-42E8-9CA6-53FBB25FAA8F}"/>
                    </a:ext>
                  </a:extLst>
                </p:cNvPr>
                <p:cNvSpPr/>
                <p:nvPr/>
              </p:nvSpPr>
              <p:spPr bwMode="auto">
                <a:xfrm>
                  <a:off x="660400" y="1247775"/>
                  <a:ext cx="2780600" cy="458056"/>
                </a:xfrm>
                <a:prstGeom prst="rect">
                  <a:avLst/>
                </a:prstGeom>
                <a:noFill/>
                <a:ln w="38100"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wrap="square" lIns="91440" tIns="45720" rIns="91440" bIns="45720" rtlCol="0" anchor="ctr">
                  <a:normAutofit/>
                </a:bodyPr>
                <a:lstStyle/>
                <a:p>
                  <a:r>
                    <a:rPr lang="en-US" altLang="zh-CN" sz="1600" b="1" dirty="0">
                      <a:solidFill>
                        <a:schemeClr val="tx1"/>
                      </a:solidFill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3" name="îṧľíḑè">
                  <a:extLst>
                    <a:ext uri="{FF2B5EF4-FFF2-40B4-BE49-F238E27FC236}">
                      <a16:creationId xmlns:a16="http://schemas.microsoft.com/office/drawing/2014/main" xmlns="" id="{DC424CB4-8BB6-4C4E-99E7-A429F8FC3582}"/>
                    </a:ext>
                  </a:extLst>
                </p:cNvPr>
                <p:cNvSpPr/>
                <p:nvPr/>
              </p:nvSpPr>
              <p:spPr bwMode="auto">
                <a:xfrm>
                  <a:off x="660400" y="1734613"/>
                  <a:ext cx="2780600" cy="91192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…...</a:t>
                  </a:r>
                </a:p>
              </p:txBody>
            </p:sp>
          </p:grpSp>
        </p:grpSp>
        <p:grpSp>
          <p:nvGrpSpPr>
            <p:cNvPr id="10" name="iSlíḑe">
              <a:extLst>
                <a:ext uri="{FF2B5EF4-FFF2-40B4-BE49-F238E27FC236}">
                  <a16:creationId xmlns:a16="http://schemas.microsoft.com/office/drawing/2014/main" xmlns="" id="{374EBC8B-1F41-40C1-A99A-BAC4FBD88E4C}"/>
                </a:ext>
              </a:extLst>
            </p:cNvPr>
            <p:cNvGrpSpPr/>
            <p:nvPr/>
          </p:nvGrpSpPr>
          <p:grpSpPr>
            <a:xfrm>
              <a:off x="7860225" y="3812168"/>
              <a:ext cx="3658675" cy="1398764"/>
              <a:chOff x="7860225" y="1130300"/>
              <a:chExt cx="3658675" cy="1398764"/>
            </a:xfrm>
          </p:grpSpPr>
          <p:grpSp>
            <p:nvGrpSpPr>
              <p:cNvPr id="14" name="îşľíḑè">
                <a:extLst>
                  <a:ext uri="{FF2B5EF4-FFF2-40B4-BE49-F238E27FC236}">
                    <a16:creationId xmlns:a16="http://schemas.microsoft.com/office/drawing/2014/main" xmlns="" id="{E986C858-0D76-4DA2-ADFE-130AD22D9E83}"/>
                  </a:ext>
                </a:extLst>
              </p:cNvPr>
              <p:cNvGrpSpPr/>
              <p:nvPr/>
            </p:nvGrpSpPr>
            <p:grpSpPr>
              <a:xfrm>
                <a:off x="7860225" y="1299732"/>
                <a:ext cx="839186" cy="773369"/>
                <a:chOff x="8672118" y="1723119"/>
                <a:chExt cx="839186" cy="773369"/>
              </a:xfrm>
            </p:grpSpPr>
            <p:sp>
              <p:nvSpPr>
                <p:cNvPr id="18" name="iśḷiḍè">
                  <a:extLst>
                    <a:ext uri="{FF2B5EF4-FFF2-40B4-BE49-F238E27FC236}">
                      <a16:creationId xmlns:a16="http://schemas.microsoft.com/office/drawing/2014/main" xmlns="" id="{157A3727-AFAE-449B-8185-74F55F3C0787}"/>
                    </a:ext>
                  </a:extLst>
                </p:cNvPr>
                <p:cNvSpPr/>
                <p:nvPr/>
              </p:nvSpPr>
              <p:spPr>
                <a:xfrm>
                  <a:off x="8672118" y="1723119"/>
                  <a:ext cx="839186" cy="773369"/>
                </a:xfrm>
                <a:custGeom>
                  <a:avLst/>
                  <a:gdLst>
                    <a:gd name="connsiteX0" fmla="*/ 971829 w 2671591"/>
                    <a:gd name="connsiteY0" fmla="*/ 311 h 2234714"/>
                    <a:gd name="connsiteX1" fmla="*/ 1658132 w 2671591"/>
                    <a:gd name="connsiteY1" fmla="*/ 121675 h 2234714"/>
                    <a:gd name="connsiteX2" fmla="*/ 2391482 w 2671591"/>
                    <a:gd name="connsiteY2" fmla="*/ 570868 h 2234714"/>
                    <a:gd name="connsiteX3" fmla="*/ 2671591 w 2671591"/>
                    <a:gd name="connsiteY3" fmla="*/ 1127080 h 2234714"/>
                    <a:gd name="connsiteX4" fmla="*/ 2398520 w 2671591"/>
                    <a:gd name="connsiteY4" fmla="*/ 1555152 h 2234714"/>
                    <a:gd name="connsiteX5" fmla="*/ 1656724 w 2671591"/>
                    <a:gd name="connsiteY5" fmla="*/ 2040957 h 2234714"/>
                    <a:gd name="connsiteX6" fmla="*/ 436351 w 2671591"/>
                    <a:gd name="connsiteY6" fmla="*/ 2146567 h 2234714"/>
                    <a:gd name="connsiteX7" fmla="*/ 0 w 2671591"/>
                    <a:gd name="connsiteY7" fmla="*/ 1127080 h 2234714"/>
                    <a:gd name="connsiteX8" fmla="*/ 453241 w 2671591"/>
                    <a:gd name="connsiteY8" fmla="*/ 130124 h 2234714"/>
                    <a:gd name="connsiteX9" fmla="*/ 971829 w 2671591"/>
                    <a:gd name="connsiteY9" fmla="*/ 311 h 2234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671591" h="2234714">
                      <a:moveTo>
                        <a:pt x="971829" y="311"/>
                      </a:moveTo>
                      <a:cubicBezTo>
                        <a:pt x="1208558" y="-4512"/>
                        <a:pt x="1452273" y="47220"/>
                        <a:pt x="1658132" y="121675"/>
                      </a:cubicBezTo>
                      <a:cubicBezTo>
                        <a:pt x="1922757" y="217427"/>
                        <a:pt x="2191606" y="370914"/>
                        <a:pt x="2391482" y="570868"/>
                      </a:cubicBezTo>
                      <a:cubicBezTo>
                        <a:pt x="2536463" y="715906"/>
                        <a:pt x="2671591" y="914452"/>
                        <a:pt x="2671591" y="1127080"/>
                      </a:cubicBezTo>
                      <a:cubicBezTo>
                        <a:pt x="2671591" y="1267893"/>
                        <a:pt x="2492828" y="1465031"/>
                        <a:pt x="2398520" y="1555152"/>
                      </a:cubicBezTo>
                      <a:cubicBezTo>
                        <a:pt x="2188790" y="1755106"/>
                        <a:pt x="1919942" y="1922674"/>
                        <a:pt x="1656724" y="2040957"/>
                      </a:cubicBezTo>
                      <a:cubicBezTo>
                        <a:pt x="1309052" y="2194443"/>
                        <a:pt x="796691" y="2329623"/>
                        <a:pt x="436351" y="2146567"/>
                      </a:cubicBezTo>
                      <a:cubicBezTo>
                        <a:pt x="71787" y="1960693"/>
                        <a:pt x="0" y="1496010"/>
                        <a:pt x="0" y="1127080"/>
                      </a:cubicBezTo>
                      <a:cubicBezTo>
                        <a:pt x="0" y="742660"/>
                        <a:pt x="95716" y="334303"/>
                        <a:pt x="453241" y="130124"/>
                      </a:cubicBezTo>
                      <a:cubicBezTo>
                        <a:pt x="607811" y="42027"/>
                        <a:pt x="787708" y="4063"/>
                        <a:pt x="971829" y="311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19" name="íṡľïḓê">
                  <a:extLst>
                    <a:ext uri="{FF2B5EF4-FFF2-40B4-BE49-F238E27FC236}">
                      <a16:creationId xmlns:a16="http://schemas.microsoft.com/office/drawing/2014/main" xmlns="" id="{B22C1678-5709-42F8-9D62-12F1CAE4293F}"/>
                    </a:ext>
                  </a:extLst>
                </p:cNvPr>
                <p:cNvSpPr/>
                <p:nvPr/>
              </p:nvSpPr>
              <p:spPr>
                <a:xfrm>
                  <a:off x="8910167" y="1964691"/>
                  <a:ext cx="279328" cy="273034"/>
                </a:xfrm>
                <a:custGeom>
                  <a:avLst/>
                  <a:gdLst>
                    <a:gd name="connsiteX0" fmla="*/ 163904 w 607933"/>
                    <a:gd name="connsiteY0" fmla="*/ 368072 h 594235"/>
                    <a:gd name="connsiteX1" fmla="*/ 194698 w 607933"/>
                    <a:gd name="connsiteY1" fmla="*/ 416677 h 594235"/>
                    <a:gd name="connsiteX2" fmla="*/ 52648 w 607933"/>
                    <a:gd name="connsiteY2" fmla="*/ 475202 h 594235"/>
                    <a:gd name="connsiteX3" fmla="*/ 303966 w 607933"/>
                    <a:gd name="connsiteY3" fmla="*/ 542654 h 594235"/>
                    <a:gd name="connsiteX4" fmla="*/ 555285 w 607933"/>
                    <a:gd name="connsiteY4" fmla="*/ 475202 h 594235"/>
                    <a:gd name="connsiteX5" fmla="*/ 412242 w 607933"/>
                    <a:gd name="connsiteY5" fmla="*/ 416677 h 594235"/>
                    <a:gd name="connsiteX6" fmla="*/ 444030 w 607933"/>
                    <a:gd name="connsiteY6" fmla="*/ 368072 h 594235"/>
                    <a:gd name="connsiteX7" fmla="*/ 607933 w 607933"/>
                    <a:gd name="connsiteY7" fmla="*/ 475202 h 594235"/>
                    <a:gd name="connsiteX8" fmla="*/ 303966 w 607933"/>
                    <a:gd name="connsiteY8" fmla="*/ 594235 h 594235"/>
                    <a:gd name="connsiteX9" fmla="*/ 0 w 607933"/>
                    <a:gd name="connsiteY9" fmla="*/ 475202 h 594235"/>
                    <a:gd name="connsiteX10" fmla="*/ 163904 w 607933"/>
                    <a:gd name="connsiteY10" fmla="*/ 368072 h 594235"/>
                    <a:gd name="connsiteX11" fmla="*/ 304444 w 607933"/>
                    <a:gd name="connsiteY11" fmla="*/ 119134 h 594235"/>
                    <a:gd name="connsiteX12" fmla="*/ 368550 w 607933"/>
                    <a:gd name="connsiteY12" fmla="*/ 183559 h 594235"/>
                    <a:gd name="connsiteX13" fmla="*/ 304444 w 607933"/>
                    <a:gd name="connsiteY13" fmla="*/ 247984 h 594235"/>
                    <a:gd name="connsiteX14" fmla="*/ 240338 w 607933"/>
                    <a:gd name="connsiteY14" fmla="*/ 183559 h 594235"/>
                    <a:gd name="connsiteX15" fmla="*/ 304444 w 607933"/>
                    <a:gd name="connsiteY15" fmla="*/ 119134 h 594235"/>
                    <a:gd name="connsiteX16" fmla="*/ 304941 w 607933"/>
                    <a:gd name="connsiteY16" fmla="*/ 78375 h 594235"/>
                    <a:gd name="connsiteX17" fmla="*/ 198655 w 607933"/>
                    <a:gd name="connsiteY17" fmla="*/ 183536 h 594235"/>
                    <a:gd name="connsiteX18" fmla="*/ 304941 w 607933"/>
                    <a:gd name="connsiteY18" fmla="*/ 288698 h 594235"/>
                    <a:gd name="connsiteX19" fmla="*/ 410234 w 607933"/>
                    <a:gd name="connsiteY19" fmla="*/ 183536 h 594235"/>
                    <a:gd name="connsiteX20" fmla="*/ 304941 w 607933"/>
                    <a:gd name="connsiteY20" fmla="*/ 78375 h 594235"/>
                    <a:gd name="connsiteX21" fmla="*/ 304941 w 607933"/>
                    <a:gd name="connsiteY21" fmla="*/ 0 h 594235"/>
                    <a:gd name="connsiteX22" fmla="*/ 482747 w 607933"/>
                    <a:gd name="connsiteY22" fmla="*/ 178576 h 594235"/>
                    <a:gd name="connsiteX23" fmla="*/ 338714 w 607933"/>
                    <a:gd name="connsiteY23" fmla="*/ 454376 h 594235"/>
                    <a:gd name="connsiteX24" fmla="*/ 304941 w 607933"/>
                    <a:gd name="connsiteY24" fmla="*/ 472234 h 594235"/>
                    <a:gd name="connsiteX25" fmla="*/ 270175 w 607933"/>
                    <a:gd name="connsiteY25" fmla="*/ 454376 h 594235"/>
                    <a:gd name="connsiteX26" fmla="*/ 126142 w 607933"/>
                    <a:gd name="connsiteY26" fmla="*/ 178576 h 594235"/>
                    <a:gd name="connsiteX27" fmla="*/ 304941 w 607933"/>
                    <a:gd name="connsiteY27" fmla="*/ 0 h 5942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607933" h="594235">
                      <a:moveTo>
                        <a:pt x="163904" y="368072"/>
                      </a:moveTo>
                      <a:cubicBezTo>
                        <a:pt x="173837" y="383943"/>
                        <a:pt x="183771" y="399814"/>
                        <a:pt x="194698" y="416677"/>
                      </a:cubicBezTo>
                      <a:cubicBezTo>
                        <a:pt x="100329" y="430564"/>
                        <a:pt x="52648" y="460323"/>
                        <a:pt x="52648" y="475202"/>
                      </a:cubicBezTo>
                      <a:cubicBezTo>
                        <a:pt x="52648" y="495041"/>
                        <a:pt x="138076" y="542654"/>
                        <a:pt x="303966" y="542654"/>
                      </a:cubicBezTo>
                      <a:cubicBezTo>
                        <a:pt x="469857" y="542654"/>
                        <a:pt x="555285" y="495041"/>
                        <a:pt x="555285" y="475202"/>
                      </a:cubicBezTo>
                      <a:cubicBezTo>
                        <a:pt x="555285" y="460323"/>
                        <a:pt x="506611" y="430564"/>
                        <a:pt x="412242" y="416677"/>
                      </a:cubicBezTo>
                      <a:cubicBezTo>
                        <a:pt x="424162" y="399814"/>
                        <a:pt x="434096" y="383943"/>
                        <a:pt x="444030" y="368072"/>
                      </a:cubicBezTo>
                      <a:cubicBezTo>
                        <a:pt x="536412" y="385927"/>
                        <a:pt x="607933" y="421637"/>
                        <a:pt x="607933" y="475202"/>
                      </a:cubicBezTo>
                      <a:cubicBezTo>
                        <a:pt x="607933" y="553565"/>
                        <a:pt x="454956" y="594235"/>
                        <a:pt x="303966" y="594235"/>
                      </a:cubicBezTo>
                      <a:cubicBezTo>
                        <a:pt x="152977" y="594235"/>
                        <a:pt x="0" y="553565"/>
                        <a:pt x="0" y="475202"/>
                      </a:cubicBezTo>
                      <a:cubicBezTo>
                        <a:pt x="0" y="421637"/>
                        <a:pt x="70528" y="385927"/>
                        <a:pt x="163904" y="368072"/>
                      </a:cubicBezTo>
                      <a:close/>
                      <a:moveTo>
                        <a:pt x="304444" y="119134"/>
                      </a:moveTo>
                      <a:cubicBezTo>
                        <a:pt x="339849" y="119134"/>
                        <a:pt x="368550" y="147978"/>
                        <a:pt x="368550" y="183559"/>
                      </a:cubicBezTo>
                      <a:cubicBezTo>
                        <a:pt x="368550" y="219140"/>
                        <a:pt x="339849" y="247984"/>
                        <a:pt x="304444" y="247984"/>
                      </a:cubicBezTo>
                      <a:cubicBezTo>
                        <a:pt x="269039" y="247984"/>
                        <a:pt x="240338" y="219140"/>
                        <a:pt x="240338" y="183559"/>
                      </a:cubicBezTo>
                      <a:cubicBezTo>
                        <a:pt x="240338" y="147978"/>
                        <a:pt x="269039" y="119134"/>
                        <a:pt x="304444" y="119134"/>
                      </a:cubicBezTo>
                      <a:close/>
                      <a:moveTo>
                        <a:pt x="304941" y="78375"/>
                      </a:moveTo>
                      <a:cubicBezTo>
                        <a:pt x="246335" y="78375"/>
                        <a:pt x="198655" y="125003"/>
                        <a:pt x="198655" y="183536"/>
                      </a:cubicBezTo>
                      <a:cubicBezTo>
                        <a:pt x="198655" y="242070"/>
                        <a:pt x="246335" y="288698"/>
                        <a:pt x="304941" y="288698"/>
                      </a:cubicBezTo>
                      <a:cubicBezTo>
                        <a:pt x="362554" y="288698"/>
                        <a:pt x="410234" y="242070"/>
                        <a:pt x="410234" y="183536"/>
                      </a:cubicBezTo>
                      <a:cubicBezTo>
                        <a:pt x="410234" y="125003"/>
                        <a:pt x="362554" y="78375"/>
                        <a:pt x="304941" y="78375"/>
                      </a:cubicBezTo>
                      <a:close/>
                      <a:moveTo>
                        <a:pt x="304941" y="0"/>
                      </a:moveTo>
                      <a:cubicBezTo>
                        <a:pt x="403281" y="0"/>
                        <a:pt x="482747" y="80359"/>
                        <a:pt x="482747" y="178576"/>
                      </a:cubicBezTo>
                      <a:cubicBezTo>
                        <a:pt x="482747" y="249014"/>
                        <a:pt x="391361" y="383938"/>
                        <a:pt x="338714" y="454376"/>
                      </a:cubicBezTo>
                      <a:cubicBezTo>
                        <a:pt x="330768" y="465289"/>
                        <a:pt x="317854" y="472234"/>
                        <a:pt x="304941" y="472234"/>
                      </a:cubicBezTo>
                      <a:cubicBezTo>
                        <a:pt x="291035" y="472234"/>
                        <a:pt x="278121" y="465289"/>
                        <a:pt x="270175" y="454376"/>
                      </a:cubicBezTo>
                      <a:cubicBezTo>
                        <a:pt x="217528" y="383938"/>
                        <a:pt x="126142" y="249014"/>
                        <a:pt x="126142" y="178576"/>
                      </a:cubicBezTo>
                      <a:cubicBezTo>
                        <a:pt x="126142" y="80359"/>
                        <a:pt x="205608" y="0"/>
                        <a:pt x="30494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miter lim="400000"/>
                </a:ln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15" name="ís1iḍé">
                <a:extLst>
                  <a:ext uri="{FF2B5EF4-FFF2-40B4-BE49-F238E27FC236}">
                    <a16:creationId xmlns:a16="http://schemas.microsoft.com/office/drawing/2014/main" xmlns="" id="{6A844F26-4E76-41BC-9244-CE4000FCA61D}"/>
                  </a:ext>
                </a:extLst>
              </p:cNvPr>
              <p:cNvGrpSpPr/>
              <p:nvPr/>
            </p:nvGrpSpPr>
            <p:grpSpPr>
              <a:xfrm>
                <a:off x="8738300" y="1130300"/>
                <a:ext cx="2780600" cy="1398764"/>
                <a:chOff x="660400" y="1247775"/>
                <a:chExt cx="2780600" cy="1398764"/>
              </a:xfrm>
            </p:grpSpPr>
            <p:sp>
              <p:nvSpPr>
                <p:cNvPr id="16" name="iṥḻíḋe">
                  <a:extLst>
                    <a:ext uri="{FF2B5EF4-FFF2-40B4-BE49-F238E27FC236}">
                      <a16:creationId xmlns:a16="http://schemas.microsoft.com/office/drawing/2014/main" xmlns="" id="{2A09F212-D250-442C-8DC3-357B6D7406F7}"/>
                    </a:ext>
                  </a:extLst>
                </p:cNvPr>
                <p:cNvSpPr/>
                <p:nvPr/>
              </p:nvSpPr>
              <p:spPr bwMode="auto">
                <a:xfrm>
                  <a:off x="660400" y="1247775"/>
                  <a:ext cx="2780600" cy="458056"/>
                </a:xfrm>
                <a:prstGeom prst="rect">
                  <a:avLst/>
                </a:prstGeom>
                <a:noFill/>
                <a:ln w="38100"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wrap="square" lIns="91440" tIns="45720" rIns="91440" bIns="45720" rtlCol="0" anchor="ctr">
                  <a:normAutofit/>
                </a:bodyPr>
                <a:lstStyle/>
                <a:p>
                  <a:pPr algn="r"/>
                  <a:r>
                    <a:rPr lang="en-US" altLang="zh-CN" sz="1600" b="1" dirty="0">
                      <a:solidFill>
                        <a:schemeClr val="tx1"/>
                      </a:solidFill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" name="íšḷiḑè">
                  <a:extLst>
                    <a:ext uri="{FF2B5EF4-FFF2-40B4-BE49-F238E27FC236}">
                      <a16:creationId xmlns:a16="http://schemas.microsoft.com/office/drawing/2014/main" xmlns="" id="{0BED07C5-A395-44C4-8FC6-E60F58F21F00}"/>
                    </a:ext>
                  </a:extLst>
                </p:cNvPr>
                <p:cNvSpPr/>
                <p:nvPr/>
              </p:nvSpPr>
              <p:spPr bwMode="auto">
                <a:xfrm>
                  <a:off x="660400" y="1734613"/>
                  <a:ext cx="2780600" cy="91192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 algn="r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marL="171450" indent="-171450" algn="r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…...</a:t>
                  </a:r>
                </a:p>
              </p:txBody>
            </p:sp>
          </p:grpSp>
        </p:grpSp>
        <p:cxnSp>
          <p:nvCxnSpPr>
            <p:cNvPr id="11" name="直接连接符 10">
              <a:extLst>
                <a:ext uri="{FF2B5EF4-FFF2-40B4-BE49-F238E27FC236}">
                  <a16:creationId xmlns:a16="http://schemas.microsoft.com/office/drawing/2014/main" xmlns="" id="{1849B262-1170-4AEA-A19A-926E34073888}"/>
                </a:ext>
              </a:extLst>
            </p:cNvPr>
            <p:cNvCxnSpPr/>
            <p:nvPr/>
          </p:nvCxnSpPr>
          <p:spPr>
            <a:xfrm>
              <a:off x="660400" y="3677168"/>
              <a:ext cx="378989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xmlns="" id="{4EF5A0E5-886A-4E13-A111-6B3BE6C3B80E}"/>
                </a:ext>
              </a:extLst>
            </p:cNvPr>
            <p:cNvCxnSpPr/>
            <p:nvPr/>
          </p:nvCxnSpPr>
          <p:spPr>
            <a:xfrm>
              <a:off x="7729008" y="3677168"/>
              <a:ext cx="378989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íṥ1iďe">
              <a:extLst>
                <a:ext uri="{FF2B5EF4-FFF2-40B4-BE49-F238E27FC236}">
                  <a16:creationId xmlns:a16="http://schemas.microsoft.com/office/drawing/2014/main" xmlns="" id="{3309C4E1-3BB0-4B86-8499-996E9CB8CBE2}"/>
                </a:ext>
              </a:extLst>
            </p:cNvPr>
            <p:cNvSpPr/>
            <p:nvPr/>
          </p:nvSpPr>
          <p:spPr bwMode="auto">
            <a:xfrm>
              <a:off x="5381034" y="5636220"/>
              <a:ext cx="1429933" cy="45719"/>
            </a:xfrm>
            <a:prstGeom prst="ellipse">
              <a:avLst/>
            </a:prstGeom>
            <a:solidFill>
              <a:schemeClr val="bg1">
                <a:lumMod val="95000"/>
                <a:alpha val="70000"/>
              </a:schemeClr>
            </a:solidFill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dk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5346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1285461B-E30C-4E59-ABEB-94FE4D74B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C01D19DE-D7CD-4D1C-8F1E-9648DD30E5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D51477C2-211C-483F-A61B-4DB7D6DF5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/>
          </a:p>
        </p:txBody>
      </p:sp>
      <p:grpSp>
        <p:nvGrpSpPr>
          <p:cNvPr id="5" name="20750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E2816A0E-B3A5-4C7A-9390-A6A107FB9EEF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2102028"/>
            <a:ext cx="10728244" cy="3274427"/>
            <a:chOff x="660400" y="2102028"/>
            <a:chExt cx="10728244" cy="3274427"/>
          </a:xfrm>
        </p:grpSpPr>
        <p:sp>
          <p:nvSpPr>
            <p:cNvPr id="6" name="îṩľiďé">
              <a:extLst>
                <a:ext uri="{FF2B5EF4-FFF2-40B4-BE49-F238E27FC236}">
                  <a16:creationId xmlns:a16="http://schemas.microsoft.com/office/drawing/2014/main" xmlns="" id="{4064EDAD-A902-4AF8-9A9B-AEE057DF9674}"/>
                </a:ext>
              </a:extLst>
            </p:cNvPr>
            <p:cNvSpPr/>
            <p:nvPr/>
          </p:nvSpPr>
          <p:spPr bwMode="auto">
            <a:xfrm>
              <a:off x="8922866" y="2496310"/>
              <a:ext cx="2465778" cy="2284480"/>
            </a:xfrm>
            <a:custGeom>
              <a:avLst/>
              <a:gdLst>
                <a:gd name="connsiteX0" fmla="*/ 445285 w 605804"/>
                <a:gd name="connsiteY0" fmla="*/ 326174 h 561262"/>
                <a:gd name="connsiteX1" fmla="*/ 441943 w 605804"/>
                <a:gd name="connsiteY1" fmla="*/ 329512 h 561262"/>
                <a:gd name="connsiteX2" fmla="*/ 441943 w 605804"/>
                <a:gd name="connsiteY2" fmla="*/ 343787 h 561262"/>
                <a:gd name="connsiteX3" fmla="*/ 419754 w 605804"/>
                <a:gd name="connsiteY3" fmla="*/ 353799 h 561262"/>
                <a:gd name="connsiteX4" fmla="*/ 410470 w 605804"/>
                <a:gd name="connsiteY4" fmla="*/ 376603 h 561262"/>
                <a:gd name="connsiteX5" fmla="*/ 419290 w 605804"/>
                <a:gd name="connsiteY5" fmla="*/ 399778 h 561262"/>
                <a:gd name="connsiteX6" fmla="*/ 447420 w 605804"/>
                <a:gd name="connsiteY6" fmla="*/ 415352 h 561262"/>
                <a:gd name="connsiteX7" fmla="*/ 458375 w 605804"/>
                <a:gd name="connsiteY7" fmla="*/ 422397 h 561262"/>
                <a:gd name="connsiteX8" fmla="*/ 461532 w 605804"/>
                <a:gd name="connsiteY8" fmla="*/ 432409 h 561262"/>
                <a:gd name="connsiteX9" fmla="*/ 458561 w 605804"/>
                <a:gd name="connsiteY9" fmla="*/ 441493 h 561262"/>
                <a:gd name="connsiteX10" fmla="*/ 449648 w 605804"/>
                <a:gd name="connsiteY10" fmla="*/ 444923 h 561262"/>
                <a:gd name="connsiteX11" fmla="*/ 438136 w 605804"/>
                <a:gd name="connsiteY11" fmla="*/ 440474 h 561262"/>
                <a:gd name="connsiteX12" fmla="*/ 433773 w 605804"/>
                <a:gd name="connsiteY12" fmla="*/ 429350 h 561262"/>
                <a:gd name="connsiteX13" fmla="*/ 429966 w 605804"/>
                <a:gd name="connsiteY13" fmla="*/ 426012 h 561262"/>
                <a:gd name="connsiteX14" fmla="*/ 410377 w 605804"/>
                <a:gd name="connsiteY14" fmla="*/ 426383 h 561262"/>
                <a:gd name="connsiteX15" fmla="*/ 406571 w 605804"/>
                <a:gd name="connsiteY15" fmla="*/ 430369 h 561262"/>
                <a:gd name="connsiteX16" fmla="*/ 416690 w 605804"/>
                <a:gd name="connsiteY16" fmla="*/ 454471 h 561262"/>
                <a:gd name="connsiteX17" fmla="*/ 441943 w 605804"/>
                <a:gd name="connsiteY17" fmla="*/ 465317 h 561262"/>
                <a:gd name="connsiteX18" fmla="*/ 441943 w 605804"/>
                <a:gd name="connsiteY18" fmla="*/ 478666 h 561262"/>
                <a:gd name="connsiteX19" fmla="*/ 445285 w 605804"/>
                <a:gd name="connsiteY19" fmla="*/ 482003 h 561262"/>
                <a:gd name="connsiteX20" fmla="*/ 457261 w 605804"/>
                <a:gd name="connsiteY20" fmla="*/ 482003 h 561262"/>
                <a:gd name="connsiteX21" fmla="*/ 460603 w 605804"/>
                <a:gd name="connsiteY21" fmla="*/ 478666 h 561262"/>
                <a:gd name="connsiteX22" fmla="*/ 460603 w 605804"/>
                <a:gd name="connsiteY22" fmla="*/ 464854 h 561262"/>
                <a:gd name="connsiteX23" fmla="*/ 480471 w 605804"/>
                <a:gd name="connsiteY23" fmla="*/ 455213 h 561262"/>
                <a:gd name="connsiteX24" fmla="*/ 489477 w 605804"/>
                <a:gd name="connsiteY24" fmla="*/ 432316 h 561262"/>
                <a:gd name="connsiteX25" fmla="*/ 480564 w 605804"/>
                <a:gd name="connsiteY25" fmla="*/ 409326 h 561262"/>
                <a:gd name="connsiteX26" fmla="*/ 452619 w 605804"/>
                <a:gd name="connsiteY26" fmla="*/ 393104 h 561262"/>
                <a:gd name="connsiteX27" fmla="*/ 441479 w 605804"/>
                <a:gd name="connsiteY27" fmla="*/ 385966 h 561262"/>
                <a:gd name="connsiteX28" fmla="*/ 438229 w 605804"/>
                <a:gd name="connsiteY28" fmla="*/ 376789 h 561262"/>
                <a:gd name="connsiteX29" fmla="*/ 441107 w 605804"/>
                <a:gd name="connsiteY29" fmla="*/ 367704 h 561262"/>
                <a:gd name="connsiteX30" fmla="*/ 449741 w 605804"/>
                <a:gd name="connsiteY30" fmla="*/ 364089 h 561262"/>
                <a:gd name="connsiteX31" fmla="*/ 458932 w 605804"/>
                <a:gd name="connsiteY31" fmla="*/ 368446 h 561262"/>
                <a:gd name="connsiteX32" fmla="*/ 462275 w 605804"/>
                <a:gd name="connsiteY32" fmla="*/ 378272 h 561262"/>
                <a:gd name="connsiteX33" fmla="*/ 466081 w 605804"/>
                <a:gd name="connsiteY33" fmla="*/ 381609 h 561262"/>
                <a:gd name="connsiteX34" fmla="*/ 485763 w 605804"/>
                <a:gd name="connsiteY34" fmla="*/ 381424 h 561262"/>
                <a:gd name="connsiteX35" fmla="*/ 489569 w 605804"/>
                <a:gd name="connsiteY35" fmla="*/ 377438 h 561262"/>
                <a:gd name="connsiteX36" fmla="*/ 481307 w 605804"/>
                <a:gd name="connsiteY36" fmla="*/ 355931 h 561262"/>
                <a:gd name="connsiteX37" fmla="*/ 460603 w 605804"/>
                <a:gd name="connsiteY37" fmla="*/ 344344 h 561262"/>
                <a:gd name="connsiteX38" fmla="*/ 460603 w 605804"/>
                <a:gd name="connsiteY38" fmla="*/ 329512 h 561262"/>
                <a:gd name="connsiteX39" fmla="*/ 457261 w 605804"/>
                <a:gd name="connsiteY39" fmla="*/ 326174 h 561262"/>
                <a:gd name="connsiteX40" fmla="*/ 434887 w 605804"/>
                <a:gd name="connsiteY40" fmla="*/ 246823 h 561262"/>
                <a:gd name="connsiteX41" fmla="*/ 461718 w 605804"/>
                <a:gd name="connsiteY41" fmla="*/ 246823 h 561262"/>
                <a:gd name="connsiteX42" fmla="*/ 461718 w 605804"/>
                <a:gd name="connsiteY42" fmla="*/ 278063 h 561262"/>
                <a:gd name="connsiteX43" fmla="*/ 574517 w 605804"/>
                <a:gd name="connsiteY43" fmla="*/ 390694 h 561262"/>
                <a:gd name="connsiteX44" fmla="*/ 605804 w 605804"/>
                <a:gd name="connsiteY44" fmla="*/ 390694 h 561262"/>
                <a:gd name="connsiteX45" fmla="*/ 605804 w 605804"/>
                <a:gd name="connsiteY45" fmla="*/ 417391 h 561262"/>
                <a:gd name="connsiteX46" fmla="*/ 574517 w 605804"/>
                <a:gd name="connsiteY46" fmla="*/ 417391 h 561262"/>
                <a:gd name="connsiteX47" fmla="*/ 461718 w 605804"/>
                <a:gd name="connsiteY47" fmla="*/ 529929 h 561262"/>
                <a:gd name="connsiteX48" fmla="*/ 461718 w 605804"/>
                <a:gd name="connsiteY48" fmla="*/ 561262 h 561262"/>
                <a:gd name="connsiteX49" fmla="*/ 434887 w 605804"/>
                <a:gd name="connsiteY49" fmla="*/ 561262 h 561262"/>
                <a:gd name="connsiteX50" fmla="*/ 434887 w 605804"/>
                <a:gd name="connsiteY50" fmla="*/ 530115 h 561262"/>
                <a:gd name="connsiteX51" fmla="*/ 322087 w 605804"/>
                <a:gd name="connsiteY51" fmla="*/ 417484 h 561262"/>
                <a:gd name="connsiteX52" fmla="*/ 290800 w 605804"/>
                <a:gd name="connsiteY52" fmla="*/ 417484 h 561262"/>
                <a:gd name="connsiteX53" fmla="*/ 290800 w 605804"/>
                <a:gd name="connsiteY53" fmla="*/ 390694 h 561262"/>
                <a:gd name="connsiteX54" fmla="*/ 322087 w 605804"/>
                <a:gd name="connsiteY54" fmla="*/ 390694 h 561262"/>
                <a:gd name="connsiteX55" fmla="*/ 434887 w 605804"/>
                <a:gd name="connsiteY55" fmla="*/ 278063 h 561262"/>
                <a:gd name="connsiteX56" fmla="*/ 229238 w 605804"/>
                <a:gd name="connsiteY56" fmla="*/ 401 h 561262"/>
                <a:gd name="connsiteX57" fmla="*/ 284946 w 605804"/>
                <a:gd name="connsiteY57" fmla="*/ 12174 h 561262"/>
                <a:gd name="connsiteX58" fmla="*/ 312057 w 605804"/>
                <a:gd name="connsiteY58" fmla="*/ 37295 h 561262"/>
                <a:gd name="connsiteX59" fmla="*/ 341954 w 605804"/>
                <a:gd name="connsiteY59" fmla="*/ 131662 h 561262"/>
                <a:gd name="connsiteX60" fmla="*/ 339911 w 605804"/>
                <a:gd name="connsiteY60" fmla="*/ 140098 h 561262"/>
                <a:gd name="connsiteX61" fmla="*/ 347896 w 605804"/>
                <a:gd name="connsiteY61" fmla="*/ 179773 h 561262"/>
                <a:gd name="connsiteX62" fmla="*/ 328677 w 605804"/>
                <a:gd name="connsiteY62" fmla="*/ 213144 h 561262"/>
                <a:gd name="connsiteX63" fmla="*/ 315214 w 605804"/>
                <a:gd name="connsiteY63" fmla="*/ 249945 h 561262"/>
                <a:gd name="connsiteX64" fmla="*/ 315214 w 605804"/>
                <a:gd name="connsiteY64" fmla="*/ 295831 h 561262"/>
                <a:gd name="connsiteX65" fmla="*/ 317628 w 605804"/>
                <a:gd name="connsiteY65" fmla="*/ 299632 h 561262"/>
                <a:gd name="connsiteX66" fmla="*/ 334712 w 605804"/>
                <a:gd name="connsiteY66" fmla="*/ 308438 h 561262"/>
                <a:gd name="connsiteX67" fmla="*/ 303794 w 605804"/>
                <a:gd name="connsiteY67" fmla="*/ 368877 h 561262"/>
                <a:gd name="connsiteX68" fmla="*/ 290795 w 605804"/>
                <a:gd name="connsiteY68" fmla="*/ 368877 h 561262"/>
                <a:gd name="connsiteX69" fmla="*/ 268976 w 605804"/>
                <a:gd name="connsiteY69" fmla="*/ 390662 h 561262"/>
                <a:gd name="connsiteX70" fmla="*/ 268976 w 605804"/>
                <a:gd name="connsiteY70" fmla="*/ 417359 h 561262"/>
                <a:gd name="connsiteX71" fmla="*/ 290795 w 605804"/>
                <a:gd name="connsiteY71" fmla="*/ 439050 h 561262"/>
                <a:gd name="connsiteX72" fmla="*/ 303794 w 605804"/>
                <a:gd name="connsiteY72" fmla="*/ 439050 h 561262"/>
                <a:gd name="connsiteX73" fmla="*/ 328398 w 605804"/>
                <a:gd name="connsiteY73" fmla="*/ 491332 h 561262"/>
                <a:gd name="connsiteX74" fmla="*/ 267769 w 605804"/>
                <a:gd name="connsiteY74" fmla="*/ 491332 h 561262"/>
                <a:gd name="connsiteX75" fmla="*/ 205655 w 605804"/>
                <a:gd name="connsiteY75" fmla="*/ 491332 h 561262"/>
                <a:gd name="connsiteX76" fmla="*/ 0 w 605804"/>
                <a:gd name="connsiteY76" fmla="*/ 491332 h 561262"/>
                <a:gd name="connsiteX77" fmla="*/ 0 w 605804"/>
                <a:gd name="connsiteY77" fmla="*/ 424775 h 561262"/>
                <a:gd name="connsiteX78" fmla="*/ 16991 w 605804"/>
                <a:gd name="connsiteY78" fmla="*/ 388529 h 561262"/>
                <a:gd name="connsiteX79" fmla="*/ 155704 w 605804"/>
                <a:gd name="connsiteY79" fmla="*/ 299632 h 561262"/>
                <a:gd name="connsiteX80" fmla="*/ 157839 w 605804"/>
                <a:gd name="connsiteY80" fmla="*/ 295831 h 561262"/>
                <a:gd name="connsiteX81" fmla="*/ 157839 w 605804"/>
                <a:gd name="connsiteY81" fmla="*/ 249945 h 561262"/>
                <a:gd name="connsiteX82" fmla="*/ 144376 w 605804"/>
                <a:gd name="connsiteY82" fmla="*/ 213144 h 561262"/>
                <a:gd name="connsiteX83" fmla="*/ 125157 w 605804"/>
                <a:gd name="connsiteY83" fmla="*/ 179773 h 561262"/>
                <a:gd name="connsiteX84" fmla="*/ 132678 w 605804"/>
                <a:gd name="connsiteY84" fmla="*/ 140098 h 561262"/>
                <a:gd name="connsiteX85" fmla="*/ 130728 w 605804"/>
                <a:gd name="connsiteY85" fmla="*/ 131662 h 561262"/>
                <a:gd name="connsiteX86" fmla="*/ 130449 w 605804"/>
                <a:gd name="connsiteY86" fmla="*/ 85313 h 561262"/>
                <a:gd name="connsiteX87" fmla="*/ 157561 w 605804"/>
                <a:gd name="connsiteY87" fmla="*/ 37852 h 561262"/>
                <a:gd name="connsiteX88" fmla="*/ 182722 w 605804"/>
                <a:gd name="connsiteY88" fmla="*/ 17087 h 561262"/>
                <a:gd name="connsiteX89" fmla="*/ 207141 w 605804"/>
                <a:gd name="connsiteY89" fmla="*/ 4665 h 561262"/>
                <a:gd name="connsiteX90" fmla="*/ 229238 w 605804"/>
                <a:gd name="connsiteY90" fmla="*/ 401 h 561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605804" h="561262">
                  <a:moveTo>
                    <a:pt x="445285" y="326174"/>
                  </a:moveTo>
                  <a:cubicBezTo>
                    <a:pt x="443428" y="326174"/>
                    <a:pt x="441943" y="327658"/>
                    <a:pt x="441943" y="329512"/>
                  </a:cubicBezTo>
                  <a:lnTo>
                    <a:pt x="441943" y="343787"/>
                  </a:lnTo>
                  <a:cubicBezTo>
                    <a:pt x="432752" y="345085"/>
                    <a:pt x="425510" y="348422"/>
                    <a:pt x="419754" y="353799"/>
                  </a:cubicBezTo>
                  <a:cubicBezTo>
                    <a:pt x="413627" y="359732"/>
                    <a:pt x="410470" y="367333"/>
                    <a:pt x="410470" y="376603"/>
                  </a:cubicBezTo>
                  <a:cubicBezTo>
                    <a:pt x="410470" y="386800"/>
                    <a:pt x="413441" y="394494"/>
                    <a:pt x="419290" y="399778"/>
                  </a:cubicBezTo>
                  <a:cubicBezTo>
                    <a:pt x="425139" y="405155"/>
                    <a:pt x="434516" y="410346"/>
                    <a:pt x="447420" y="415352"/>
                  </a:cubicBezTo>
                  <a:cubicBezTo>
                    <a:pt x="452619" y="417762"/>
                    <a:pt x="456333" y="420080"/>
                    <a:pt x="458375" y="422397"/>
                  </a:cubicBezTo>
                  <a:cubicBezTo>
                    <a:pt x="460511" y="424807"/>
                    <a:pt x="461532" y="428145"/>
                    <a:pt x="461532" y="432409"/>
                  </a:cubicBezTo>
                  <a:cubicBezTo>
                    <a:pt x="461532" y="436117"/>
                    <a:pt x="460511" y="439083"/>
                    <a:pt x="458561" y="441493"/>
                  </a:cubicBezTo>
                  <a:cubicBezTo>
                    <a:pt x="456519" y="443811"/>
                    <a:pt x="453548" y="444923"/>
                    <a:pt x="449648" y="444923"/>
                  </a:cubicBezTo>
                  <a:cubicBezTo>
                    <a:pt x="444914" y="444923"/>
                    <a:pt x="441107" y="443440"/>
                    <a:pt x="438136" y="440474"/>
                  </a:cubicBezTo>
                  <a:cubicBezTo>
                    <a:pt x="435630" y="438156"/>
                    <a:pt x="434237" y="434263"/>
                    <a:pt x="433773" y="429350"/>
                  </a:cubicBezTo>
                  <a:cubicBezTo>
                    <a:pt x="433680" y="427403"/>
                    <a:pt x="431916" y="426012"/>
                    <a:pt x="429966" y="426012"/>
                  </a:cubicBezTo>
                  <a:lnTo>
                    <a:pt x="410377" y="426383"/>
                  </a:lnTo>
                  <a:cubicBezTo>
                    <a:pt x="408242" y="426383"/>
                    <a:pt x="406385" y="428237"/>
                    <a:pt x="406571" y="430369"/>
                  </a:cubicBezTo>
                  <a:cubicBezTo>
                    <a:pt x="407035" y="440752"/>
                    <a:pt x="410470" y="448724"/>
                    <a:pt x="416690" y="454471"/>
                  </a:cubicBezTo>
                  <a:cubicBezTo>
                    <a:pt x="423375" y="460497"/>
                    <a:pt x="431916" y="464112"/>
                    <a:pt x="441943" y="465317"/>
                  </a:cubicBezTo>
                  <a:lnTo>
                    <a:pt x="441943" y="478666"/>
                  </a:lnTo>
                  <a:cubicBezTo>
                    <a:pt x="441943" y="480520"/>
                    <a:pt x="443428" y="482003"/>
                    <a:pt x="445285" y="482003"/>
                  </a:cubicBezTo>
                  <a:lnTo>
                    <a:pt x="457261" y="482003"/>
                  </a:lnTo>
                  <a:cubicBezTo>
                    <a:pt x="459118" y="482003"/>
                    <a:pt x="460603" y="480520"/>
                    <a:pt x="460603" y="478666"/>
                  </a:cubicBezTo>
                  <a:lnTo>
                    <a:pt x="460603" y="464854"/>
                  </a:lnTo>
                  <a:cubicBezTo>
                    <a:pt x="468773" y="463371"/>
                    <a:pt x="475365" y="460126"/>
                    <a:pt x="480471" y="455213"/>
                  </a:cubicBezTo>
                  <a:cubicBezTo>
                    <a:pt x="486506" y="449466"/>
                    <a:pt x="489477" y="441864"/>
                    <a:pt x="489477" y="432316"/>
                  </a:cubicBezTo>
                  <a:cubicBezTo>
                    <a:pt x="489477" y="422397"/>
                    <a:pt x="486506" y="414610"/>
                    <a:pt x="480564" y="409326"/>
                  </a:cubicBezTo>
                  <a:cubicBezTo>
                    <a:pt x="474622" y="403857"/>
                    <a:pt x="465245" y="398573"/>
                    <a:pt x="452619" y="393104"/>
                  </a:cubicBezTo>
                  <a:cubicBezTo>
                    <a:pt x="447142" y="390694"/>
                    <a:pt x="443428" y="388283"/>
                    <a:pt x="441479" y="385966"/>
                  </a:cubicBezTo>
                  <a:cubicBezTo>
                    <a:pt x="439436" y="383648"/>
                    <a:pt x="438508" y="380682"/>
                    <a:pt x="438229" y="376789"/>
                  </a:cubicBezTo>
                  <a:cubicBezTo>
                    <a:pt x="438229" y="373081"/>
                    <a:pt x="439250" y="370022"/>
                    <a:pt x="441107" y="367704"/>
                  </a:cubicBezTo>
                  <a:cubicBezTo>
                    <a:pt x="442964" y="365294"/>
                    <a:pt x="445935" y="364089"/>
                    <a:pt x="449741" y="364089"/>
                  </a:cubicBezTo>
                  <a:cubicBezTo>
                    <a:pt x="453548" y="364089"/>
                    <a:pt x="456519" y="365479"/>
                    <a:pt x="458932" y="368446"/>
                  </a:cubicBezTo>
                  <a:cubicBezTo>
                    <a:pt x="460789" y="370763"/>
                    <a:pt x="461903" y="374008"/>
                    <a:pt x="462275" y="378272"/>
                  </a:cubicBezTo>
                  <a:cubicBezTo>
                    <a:pt x="462367" y="380311"/>
                    <a:pt x="464131" y="381609"/>
                    <a:pt x="466081" y="381609"/>
                  </a:cubicBezTo>
                  <a:lnTo>
                    <a:pt x="485763" y="381424"/>
                  </a:lnTo>
                  <a:cubicBezTo>
                    <a:pt x="487991" y="381424"/>
                    <a:pt x="489755" y="379570"/>
                    <a:pt x="489569" y="377438"/>
                  </a:cubicBezTo>
                  <a:cubicBezTo>
                    <a:pt x="489105" y="368909"/>
                    <a:pt x="486227" y="361771"/>
                    <a:pt x="481307" y="355931"/>
                  </a:cubicBezTo>
                  <a:cubicBezTo>
                    <a:pt x="476108" y="349906"/>
                    <a:pt x="469145" y="346012"/>
                    <a:pt x="460603" y="344344"/>
                  </a:cubicBezTo>
                  <a:lnTo>
                    <a:pt x="460603" y="329512"/>
                  </a:lnTo>
                  <a:cubicBezTo>
                    <a:pt x="460603" y="327658"/>
                    <a:pt x="459118" y="326174"/>
                    <a:pt x="457261" y="326174"/>
                  </a:cubicBezTo>
                  <a:close/>
                  <a:moveTo>
                    <a:pt x="434887" y="246823"/>
                  </a:moveTo>
                  <a:lnTo>
                    <a:pt x="461718" y="246823"/>
                  </a:lnTo>
                  <a:lnTo>
                    <a:pt x="461718" y="278063"/>
                  </a:lnTo>
                  <a:cubicBezTo>
                    <a:pt x="521042" y="284367"/>
                    <a:pt x="568204" y="331458"/>
                    <a:pt x="574517" y="390694"/>
                  </a:cubicBezTo>
                  <a:lnTo>
                    <a:pt x="605804" y="390694"/>
                  </a:lnTo>
                  <a:lnTo>
                    <a:pt x="605804" y="417391"/>
                  </a:lnTo>
                  <a:lnTo>
                    <a:pt x="574517" y="417391"/>
                  </a:lnTo>
                  <a:cubicBezTo>
                    <a:pt x="568204" y="476534"/>
                    <a:pt x="521042" y="523626"/>
                    <a:pt x="461718" y="529929"/>
                  </a:cubicBezTo>
                  <a:lnTo>
                    <a:pt x="461718" y="561262"/>
                  </a:lnTo>
                  <a:lnTo>
                    <a:pt x="434887" y="561262"/>
                  </a:lnTo>
                  <a:lnTo>
                    <a:pt x="434887" y="530115"/>
                  </a:lnTo>
                  <a:cubicBezTo>
                    <a:pt x="375563" y="523811"/>
                    <a:pt x="328400" y="476719"/>
                    <a:pt x="322087" y="417484"/>
                  </a:cubicBezTo>
                  <a:lnTo>
                    <a:pt x="290800" y="417484"/>
                  </a:lnTo>
                  <a:lnTo>
                    <a:pt x="290800" y="390694"/>
                  </a:lnTo>
                  <a:lnTo>
                    <a:pt x="322087" y="390694"/>
                  </a:lnTo>
                  <a:cubicBezTo>
                    <a:pt x="328400" y="331458"/>
                    <a:pt x="375563" y="284367"/>
                    <a:pt x="434887" y="278063"/>
                  </a:cubicBezTo>
                  <a:close/>
                  <a:moveTo>
                    <a:pt x="229238" y="401"/>
                  </a:moveTo>
                  <a:cubicBezTo>
                    <a:pt x="253564" y="-1638"/>
                    <a:pt x="271855" y="4387"/>
                    <a:pt x="284946" y="12174"/>
                  </a:cubicBezTo>
                  <a:cubicBezTo>
                    <a:pt x="304629" y="22927"/>
                    <a:pt x="312057" y="37295"/>
                    <a:pt x="312057" y="37295"/>
                  </a:cubicBezTo>
                  <a:cubicBezTo>
                    <a:pt x="312057" y="37295"/>
                    <a:pt x="357180" y="40447"/>
                    <a:pt x="341954" y="131662"/>
                  </a:cubicBezTo>
                  <a:cubicBezTo>
                    <a:pt x="341396" y="134443"/>
                    <a:pt x="340654" y="137224"/>
                    <a:pt x="339911" y="140098"/>
                  </a:cubicBezTo>
                  <a:cubicBezTo>
                    <a:pt x="348453" y="140098"/>
                    <a:pt x="357273" y="146772"/>
                    <a:pt x="347896" y="179773"/>
                  </a:cubicBezTo>
                  <a:cubicBezTo>
                    <a:pt x="340561" y="205450"/>
                    <a:pt x="333876" y="212773"/>
                    <a:pt x="328677" y="213144"/>
                  </a:cubicBezTo>
                  <a:cubicBezTo>
                    <a:pt x="326820" y="224917"/>
                    <a:pt x="322270" y="237709"/>
                    <a:pt x="315214" y="249945"/>
                  </a:cubicBezTo>
                  <a:lnTo>
                    <a:pt x="315214" y="295831"/>
                  </a:lnTo>
                  <a:cubicBezTo>
                    <a:pt x="315214" y="297407"/>
                    <a:pt x="316142" y="298890"/>
                    <a:pt x="317628" y="299632"/>
                  </a:cubicBezTo>
                  <a:cubicBezTo>
                    <a:pt x="320785" y="301115"/>
                    <a:pt x="326727" y="304267"/>
                    <a:pt x="334712" y="308438"/>
                  </a:cubicBezTo>
                  <a:cubicBezTo>
                    <a:pt x="320135" y="325773"/>
                    <a:pt x="309364" y="346259"/>
                    <a:pt x="303794" y="368877"/>
                  </a:cubicBezTo>
                  <a:lnTo>
                    <a:pt x="290795" y="368877"/>
                  </a:lnTo>
                  <a:cubicBezTo>
                    <a:pt x="278818" y="368877"/>
                    <a:pt x="268976" y="378611"/>
                    <a:pt x="268976" y="390662"/>
                  </a:cubicBezTo>
                  <a:lnTo>
                    <a:pt x="268976" y="417359"/>
                  </a:lnTo>
                  <a:cubicBezTo>
                    <a:pt x="268976" y="429317"/>
                    <a:pt x="278818" y="439050"/>
                    <a:pt x="290795" y="439050"/>
                  </a:cubicBezTo>
                  <a:lnTo>
                    <a:pt x="303794" y="439050"/>
                  </a:lnTo>
                  <a:cubicBezTo>
                    <a:pt x="308529" y="458239"/>
                    <a:pt x="317071" y="475944"/>
                    <a:pt x="328398" y="491332"/>
                  </a:cubicBezTo>
                  <a:lnTo>
                    <a:pt x="267769" y="491332"/>
                  </a:lnTo>
                  <a:lnTo>
                    <a:pt x="205655" y="491332"/>
                  </a:lnTo>
                  <a:lnTo>
                    <a:pt x="0" y="491332"/>
                  </a:lnTo>
                  <a:lnTo>
                    <a:pt x="0" y="424775"/>
                  </a:lnTo>
                  <a:cubicBezTo>
                    <a:pt x="0" y="410777"/>
                    <a:pt x="6221" y="397429"/>
                    <a:pt x="16991" y="388529"/>
                  </a:cubicBezTo>
                  <a:cubicBezTo>
                    <a:pt x="77341" y="338936"/>
                    <a:pt x="142519" y="306121"/>
                    <a:pt x="155704" y="299632"/>
                  </a:cubicBezTo>
                  <a:cubicBezTo>
                    <a:pt x="157189" y="299076"/>
                    <a:pt x="158211" y="297407"/>
                    <a:pt x="157839" y="295831"/>
                  </a:cubicBezTo>
                  <a:lnTo>
                    <a:pt x="157839" y="249945"/>
                  </a:lnTo>
                  <a:cubicBezTo>
                    <a:pt x="150690" y="237709"/>
                    <a:pt x="146233" y="224731"/>
                    <a:pt x="144376" y="213144"/>
                  </a:cubicBezTo>
                  <a:cubicBezTo>
                    <a:pt x="139270" y="212773"/>
                    <a:pt x="132492" y="205450"/>
                    <a:pt x="125157" y="179773"/>
                  </a:cubicBezTo>
                  <a:cubicBezTo>
                    <a:pt x="115965" y="147236"/>
                    <a:pt x="124322" y="140376"/>
                    <a:pt x="132678" y="140098"/>
                  </a:cubicBezTo>
                  <a:cubicBezTo>
                    <a:pt x="131935" y="137224"/>
                    <a:pt x="131192" y="134536"/>
                    <a:pt x="130728" y="131662"/>
                  </a:cubicBezTo>
                  <a:cubicBezTo>
                    <a:pt x="127478" y="115255"/>
                    <a:pt x="126643" y="100052"/>
                    <a:pt x="130449" y="85313"/>
                  </a:cubicBezTo>
                  <a:cubicBezTo>
                    <a:pt x="135092" y="65661"/>
                    <a:pt x="145676" y="49995"/>
                    <a:pt x="157561" y="37852"/>
                  </a:cubicBezTo>
                  <a:cubicBezTo>
                    <a:pt x="165174" y="29879"/>
                    <a:pt x="173716" y="22834"/>
                    <a:pt x="182722" y="17087"/>
                  </a:cubicBezTo>
                  <a:cubicBezTo>
                    <a:pt x="190150" y="12081"/>
                    <a:pt x="198227" y="7632"/>
                    <a:pt x="207141" y="4665"/>
                  </a:cubicBezTo>
                  <a:cubicBezTo>
                    <a:pt x="214011" y="2255"/>
                    <a:pt x="221439" y="772"/>
                    <a:pt x="229238" y="40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xmlns="" id="{C356B647-E262-4C18-A2CD-5156325586B7}"/>
                </a:ext>
              </a:extLst>
            </p:cNvPr>
            <p:cNvCxnSpPr/>
            <p:nvPr/>
          </p:nvCxnSpPr>
          <p:spPr>
            <a:xfrm>
              <a:off x="673100" y="3673077"/>
              <a:ext cx="789178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ïṣḻíḍè">
              <a:extLst>
                <a:ext uri="{FF2B5EF4-FFF2-40B4-BE49-F238E27FC236}">
                  <a16:creationId xmlns:a16="http://schemas.microsoft.com/office/drawing/2014/main" xmlns="" id="{ABA86A3B-6F4C-480B-8352-60D8E2AABCF7}"/>
                </a:ext>
              </a:extLst>
            </p:cNvPr>
            <p:cNvGrpSpPr/>
            <p:nvPr/>
          </p:nvGrpSpPr>
          <p:grpSpPr>
            <a:xfrm>
              <a:off x="660400" y="2817130"/>
              <a:ext cx="2272396" cy="2534343"/>
              <a:chOff x="1334404" y="2841915"/>
              <a:chExt cx="2272396" cy="2534343"/>
            </a:xfrm>
          </p:grpSpPr>
          <p:sp>
            <p:nvSpPr>
              <p:cNvPr id="20" name="íṧḷiḑé">
                <a:extLst>
                  <a:ext uri="{FF2B5EF4-FFF2-40B4-BE49-F238E27FC236}">
                    <a16:creationId xmlns:a16="http://schemas.microsoft.com/office/drawing/2014/main" xmlns="" id="{4D5B9CF6-5EA9-42DD-8F17-EED8B0DBBC1D}"/>
                  </a:ext>
                </a:extLst>
              </p:cNvPr>
              <p:cNvSpPr/>
              <p:nvPr/>
            </p:nvSpPr>
            <p:spPr>
              <a:xfrm>
                <a:off x="2369703" y="3569762"/>
                <a:ext cx="201798" cy="201798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/>
              </a:p>
            </p:txBody>
          </p:sp>
          <p:grpSp>
            <p:nvGrpSpPr>
              <p:cNvPr id="21" name="îśḷídè">
                <a:extLst>
                  <a:ext uri="{FF2B5EF4-FFF2-40B4-BE49-F238E27FC236}">
                    <a16:creationId xmlns:a16="http://schemas.microsoft.com/office/drawing/2014/main" xmlns="" id="{9EFE604B-3DC7-4C87-B9B0-C20C97902484}"/>
                  </a:ext>
                </a:extLst>
              </p:cNvPr>
              <p:cNvGrpSpPr/>
              <p:nvPr/>
            </p:nvGrpSpPr>
            <p:grpSpPr>
              <a:xfrm>
                <a:off x="1334404" y="4067497"/>
                <a:ext cx="2272396" cy="1308761"/>
                <a:chOff x="7904480" y="3920238"/>
                <a:chExt cx="2537460" cy="1308761"/>
              </a:xfrm>
            </p:grpSpPr>
            <p:sp>
              <p:nvSpPr>
                <p:cNvPr id="23" name="i$ļîḋê">
                  <a:extLst>
                    <a:ext uri="{FF2B5EF4-FFF2-40B4-BE49-F238E27FC236}">
                      <a16:creationId xmlns:a16="http://schemas.microsoft.com/office/drawing/2014/main" xmlns="" id="{31FF9E10-2E50-4C35-8D6A-CD2C4399430A}"/>
                    </a:ext>
                  </a:extLst>
                </p:cNvPr>
                <p:cNvSpPr txBox="1"/>
                <p:nvPr/>
              </p:nvSpPr>
              <p:spPr bwMode="auto">
                <a:xfrm>
                  <a:off x="7904480" y="3920238"/>
                  <a:ext cx="2537460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b="1" dirty="0"/>
                    <a:t>Text here</a:t>
                  </a:r>
                </a:p>
              </p:txBody>
            </p:sp>
            <p:sp>
              <p:nvSpPr>
                <p:cNvPr id="24" name="îṡḻîḑe">
                  <a:extLst>
                    <a:ext uri="{FF2B5EF4-FFF2-40B4-BE49-F238E27FC236}">
                      <a16:creationId xmlns:a16="http://schemas.microsoft.com/office/drawing/2014/main" xmlns="" id="{6987B6D3-A240-4E55-9F01-F769AF3DBEB8}"/>
                    </a:ext>
                  </a:extLst>
                </p:cNvPr>
                <p:cNvSpPr/>
                <p:nvPr/>
              </p:nvSpPr>
              <p:spPr bwMode="auto">
                <a:xfrm>
                  <a:off x="7904480" y="4362044"/>
                  <a:ext cx="2537460" cy="8669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</p:grpSp>
          <p:sp>
            <p:nvSpPr>
              <p:cNvPr id="22" name="îṩḻiḍè">
                <a:extLst>
                  <a:ext uri="{FF2B5EF4-FFF2-40B4-BE49-F238E27FC236}">
                    <a16:creationId xmlns:a16="http://schemas.microsoft.com/office/drawing/2014/main" xmlns="" id="{F55B8E4A-B077-4BF7-9FD5-0BA8EC15E69D}"/>
                  </a:ext>
                </a:extLst>
              </p:cNvPr>
              <p:cNvSpPr/>
              <p:nvPr/>
            </p:nvSpPr>
            <p:spPr bwMode="auto">
              <a:xfrm>
                <a:off x="2211070" y="2841915"/>
                <a:ext cx="519064" cy="419137"/>
              </a:xfrm>
              <a:custGeom>
                <a:avLst/>
                <a:gdLst>
                  <a:gd name="connsiteX0" fmla="*/ 499361 w 608838"/>
                  <a:gd name="connsiteY0" fmla="*/ 285654 h 491629"/>
                  <a:gd name="connsiteX1" fmla="*/ 499361 w 608838"/>
                  <a:gd name="connsiteY1" fmla="*/ 344437 h 491629"/>
                  <a:gd name="connsiteX2" fmla="*/ 558245 w 608838"/>
                  <a:gd name="connsiteY2" fmla="*/ 344437 h 491629"/>
                  <a:gd name="connsiteX3" fmla="*/ 558245 w 608838"/>
                  <a:gd name="connsiteY3" fmla="*/ 285654 h 491629"/>
                  <a:gd name="connsiteX4" fmla="*/ 50593 w 608838"/>
                  <a:gd name="connsiteY4" fmla="*/ 285654 h 491629"/>
                  <a:gd name="connsiteX5" fmla="*/ 50593 w 608838"/>
                  <a:gd name="connsiteY5" fmla="*/ 344437 h 491629"/>
                  <a:gd name="connsiteX6" fmla="*/ 109477 w 608838"/>
                  <a:gd name="connsiteY6" fmla="*/ 344437 h 491629"/>
                  <a:gd name="connsiteX7" fmla="*/ 109477 w 608838"/>
                  <a:gd name="connsiteY7" fmla="*/ 285654 h 491629"/>
                  <a:gd name="connsiteX8" fmla="*/ 324062 w 608838"/>
                  <a:gd name="connsiteY8" fmla="*/ 265425 h 491629"/>
                  <a:gd name="connsiteX9" fmla="*/ 324062 w 608838"/>
                  <a:gd name="connsiteY9" fmla="*/ 329947 h 491629"/>
                  <a:gd name="connsiteX10" fmla="*/ 388693 w 608838"/>
                  <a:gd name="connsiteY10" fmla="*/ 329947 h 491629"/>
                  <a:gd name="connsiteX11" fmla="*/ 388693 w 608838"/>
                  <a:gd name="connsiteY11" fmla="*/ 265425 h 491629"/>
                  <a:gd name="connsiteX12" fmla="*/ 220144 w 608838"/>
                  <a:gd name="connsiteY12" fmla="*/ 265425 h 491629"/>
                  <a:gd name="connsiteX13" fmla="*/ 220144 w 608838"/>
                  <a:gd name="connsiteY13" fmla="*/ 329947 h 491629"/>
                  <a:gd name="connsiteX14" fmla="*/ 284775 w 608838"/>
                  <a:gd name="connsiteY14" fmla="*/ 329947 h 491629"/>
                  <a:gd name="connsiteX15" fmla="*/ 284775 w 608838"/>
                  <a:gd name="connsiteY15" fmla="*/ 265425 h 491629"/>
                  <a:gd name="connsiteX16" fmla="*/ 499361 w 608838"/>
                  <a:gd name="connsiteY16" fmla="*/ 191225 h 491629"/>
                  <a:gd name="connsiteX17" fmla="*/ 499361 w 608838"/>
                  <a:gd name="connsiteY17" fmla="*/ 250008 h 491629"/>
                  <a:gd name="connsiteX18" fmla="*/ 558245 w 608838"/>
                  <a:gd name="connsiteY18" fmla="*/ 250008 h 491629"/>
                  <a:gd name="connsiteX19" fmla="*/ 558245 w 608838"/>
                  <a:gd name="connsiteY19" fmla="*/ 191225 h 491629"/>
                  <a:gd name="connsiteX20" fmla="*/ 50593 w 608838"/>
                  <a:gd name="connsiteY20" fmla="*/ 191225 h 491629"/>
                  <a:gd name="connsiteX21" fmla="*/ 50593 w 608838"/>
                  <a:gd name="connsiteY21" fmla="*/ 250008 h 491629"/>
                  <a:gd name="connsiteX22" fmla="*/ 109477 w 608838"/>
                  <a:gd name="connsiteY22" fmla="*/ 250008 h 491629"/>
                  <a:gd name="connsiteX23" fmla="*/ 109477 w 608838"/>
                  <a:gd name="connsiteY23" fmla="*/ 191225 h 491629"/>
                  <a:gd name="connsiteX24" fmla="*/ 324062 w 608838"/>
                  <a:gd name="connsiteY24" fmla="*/ 161682 h 491629"/>
                  <a:gd name="connsiteX25" fmla="*/ 324062 w 608838"/>
                  <a:gd name="connsiteY25" fmla="*/ 226204 h 491629"/>
                  <a:gd name="connsiteX26" fmla="*/ 388693 w 608838"/>
                  <a:gd name="connsiteY26" fmla="*/ 226204 h 491629"/>
                  <a:gd name="connsiteX27" fmla="*/ 388693 w 608838"/>
                  <a:gd name="connsiteY27" fmla="*/ 161682 h 491629"/>
                  <a:gd name="connsiteX28" fmla="*/ 220144 w 608838"/>
                  <a:gd name="connsiteY28" fmla="*/ 161682 h 491629"/>
                  <a:gd name="connsiteX29" fmla="*/ 220144 w 608838"/>
                  <a:gd name="connsiteY29" fmla="*/ 226204 h 491629"/>
                  <a:gd name="connsiteX30" fmla="*/ 284775 w 608838"/>
                  <a:gd name="connsiteY30" fmla="*/ 226204 h 491629"/>
                  <a:gd name="connsiteX31" fmla="*/ 284775 w 608838"/>
                  <a:gd name="connsiteY31" fmla="*/ 161682 h 491629"/>
                  <a:gd name="connsiteX32" fmla="*/ 499361 w 608838"/>
                  <a:gd name="connsiteY32" fmla="*/ 96797 h 491629"/>
                  <a:gd name="connsiteX33" fmla="*/ 499361 w 608838"/>
                  <a:gd name="connsiteY33" fmla="*/ 155579 h 491629"/>
                  <a:gd name="connsiteX34" fmla="*/ 558245 w 608838"/>
                  <a:gd name="connsiteY34" fmla="*/ 155579 h 491629"/>
                  <a:gd name="connsiteX35" fmla="*/ 558245 w 608838"/>
                  <a:gd name="connsiteY35" fmla="*/ 96797 h 491629"/>
                  <a:gd name="connsiteX36" fmla="*/ 50593 w 608838"/>
                  <a:gd name="connsiteY36" fmla="*/ 96797 h 491629"/>
                  <a:gd name="connsiteX37" fmla="*/ 50593 w 608838"/>
                  <a:gd name="connsiteY37" fmla="*/ 155579 h 491629"/>
                  <a:gd name="connsiteX38" fmla="*/ 109477 w 608838"/>
                  <a:gd name="connsiteY38" fmla="*/ 155579 h 491629"/>
                  <a:gd name="connsiteX39" fmla="*/ 109477 w 608838"/>
                  <a:gd name="connsiteY39" fmla="*/ 96797 h 491629"/>
                  <a:gd name="connsiteX40" fmla="*/ 324062 w 608838"/>
                  <a:gd name="connsiteY40" fmla="*/ 57938 h 491629"/>
                  <a:gd name="connsiteX41" fmla="*/ 324062 w 608838"/>
                  <a:gd name="connsiteY41" fmla="*/ 122461 h 491629"/>
                  <a:gd name="connsiteX42" fmla="*/ 388693 w 608838"/>
                  <a:gd name="connsiteY42" fmla="*/ 122461 h 491629"/>
                  <a:gd name="connsiteX43" fmla="*/ 388693 w 608838"/>
                  <a:gd name="connsiteY43" fmla="*/ 57938 h 491629"/>
                  <a:gd name="connsiteX44" fmla="*/ 220144 w 608838"/>
                  <a:gd name="connsiteY44" fmla="*/ 57938 h 491629"/>
                  <a:gd name="connsiteX45" fmla="*/ 220144 w 608838"/>
                  <a:gd name="connsiteY45" fmla="*/ 122461 h 491629"/>
                  <a:gd name="connsiteX46" fmla="*/ 284775 w 608838"/>
                  <a:gd name="connsiteY46" fmla="*/ 122461 h 491629"/>
                  <a:gd name="connsiteX47" fmla="*/ 284775 w 608838"/>
                  <a:gd name="connsiteY47" fmla="*/ 57938 h 491629"/>
                  <a:gd name="connsiteX48" fmla="*/ 469401 w 608838"/>
                  <a:gd name="connsiteY48" fmla="*/ 44033 h 491629"/>
                  <a:gd name="connsiteX49" fmla="*/ 608838 w 608838"/>
                  <a:gd name="connsiteY49" fmla="*/ 44033 h 491629"/>
                  <a:gd name="connsiteX50" fmla="*/ 608838 w 608838"/>
                  <a:gd name="connsiteY50" fmla="*/ 491629 h 491629"/>
                  <a:gd name="connsiteX51" fmla="*/ 510950 w 608838"/>
                  <a:gd name="connsiteY51" fmla="*/ 491629 h 491629"/>
                  <a:gd name="connsiteX52" fmla="*/ 510950 w 608838"/>
                  <a:gd name="connsiteY52" fmla="*/ 391651 h 491629"/>
                  <a:gd name="connsiteX53" fmla="*/ 469401 w 608838"/>
                  <a:gd name="connsiteY53" fmla="*/ 391651 h 491629"/>
                  <a:gd name="connsiteX54" fmla="*/ 0 w 608838"/>
                  <a:gd name="connsiteY54" fmla="*/ 44033 h 491629"/>
                  <a:gd name="connsiteX55" fmla="*/ 139437 w 608838"/>
                  <a:gd name="connsiteY55" fmla="*/ 44033 h 491629"/>
                  <a:gd name="connsiteX56" fmla="*/ 139437 w 608838"/>
                  <a:gd name="connsiteY56" fmla="*/ 391651 h 491629"/>
                  <a:gd name="connsiteX57" fmla="*/ 97889 w 608838"/>
                  <a:gd name="connsiteY57" fmla="*/ 391651 h 491629"/>
                  <a:gd name="connsiteX58" fmla="*/ 97889 w 608838"/>
                  <a:gd name="connsiteY58" fmla="*/ 491629 h 491629"/>
                  <a:gd name="connsiteX59" fmla="*/ 0 w 608838"/>
                  <a:gd name="connsiteY59" fmla="*/ 491629 h 491629"/>
                  <a:gd name="connsiteX60" fmla="*/ 164558 w 608838"/>
                  <a:gd name="connsiteY60" fmla="*/ 0 h 491629"/>
                  <a:gd name="connsiteX61" fmla="*/ 444279 w 608838"/>
                  <a:gd name="connsiteY61" fmla="*/ 0 h 491629"/>
                  <a:gd name="connsiteX62" fmla="*/ 444279 w 608838"/>
                  <a:gd name="connsiteY62" fmla="*/ 491629 h 491629"/>
                  <a:gd name="connsiteX63" fmla="*/ 336781 w 608838"/>
                  <a:gd name="connsiteY63" fmla="*/ 491629 h 491629"/>
                  <a:gd name="connsiteX64" fmla="*/ 336781 w 608838"/>
                  <a:gd name="connsiteY64" fmla="*/ 381866 h 491629"/>
                  <a:gd name="connsiteX65" fmla="*/ 272056 w 608838"/>
                  <a:gd name="connsiteY65" fmla="*/ 381866 h 491629"/>
                  <a:gd name="connsiteX66" fmla="*/ 272056 w 608838"/>
                  <a:gd name="connsiteY66" fmla="*/ 491629 h 491629"/>
                  <a:gd name="connsiteX67" fmla="*/ 164558 w 608838"/>
                  <a:gd name="connsiteY67" fmla="*/ 491629 h 491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08838" h="491629">
                    <a:moveTo>
                      <a:pt x="499361" y="285654"/>
                    </a:moveTo>
                    <a:lnTo>
                      <a:pt x="499361" y="344437"/>
                    </a:lnTo>
                    <a:lnTo>
                      <a:pt x="558245" y="344437"/>
                    </a:lnTo>
                    <a:lnTo>
                      <a:pt x="558245" y="285654"/>
                    </a:lnTo>
                    <a:close/>
                    <a:moveTo>
                      <a:pt x="50593" y="285654"/>
                    </a:moveTo>
                    <a:lnTo>
                      <a:pt x="50593" y="344437"/>
                    </a:lnTo>
                    <a:lnTo>
                      <a:pt x="109477" y="344437"/>
                    </a:lnTo>
                    <a:lnTo>
                      <a:pt x="109477" y="285654"/>
                    </a:lnTo>
                    <a:close/>
                    <a:moveTo>
                      <a:pt x="324062" y="265425"/>
                    </a:moveTo>
                    <a:lnTo>
                      <a:pt x="324062" y="329947"/>
                    </a:lnTo>
                    <a:lnTo>
                      <a:pt x="388693" y="329947"/>
                    </a:lnTo>
                    <a:lnTo>
                      <a:pt x="388693" y="265425"/>
                    </a:lnTo>
                    <a:close/>
                    <a:moveTo>
                      <a:pt x="220144" y="265425"/>
                    </a:moveTo>
                    <a:lnTo>
                      <a:pt x="220144" y="329947"/>
                    </a:lnTo>
                    <a:lnTo>
                      <a:pt x="284775" y="329947"/>
                    </a:lnTo>
                    <a:lnTo>
                      <a:pt x="284775" y="265425"/>
                    </a:lnTo>
                    <a:close/>
                    <a:moveTo>
                      <a:pt x="499361" y="191225"/>
                    </a:moveTo>
                    <a:lnTo>
                      <a:pt x="499361" y="250008"/>
                    </a:lnTo>
                    <a:lnTo>
                      <a:pt x="558245" y="250008"/>
                    </a:lnTo>
                    <a:lnTo>
                      <a:pt x="558245" y="191225"/>
                    </a:lnTo>
                    <a:close/>
                    <a:moveTo>
                      <a:pt x="50593" y="191225"/>
                    </a:moveTo>
                    <a:lnTo>
                      <a:pt x="50593" y="250008"/>
                    </a:lnTo>
                    <a:lnTo>
                      <a:pt x="109477" y="250008"/>
                    </a:lnTo>
                    <a:lnTo>
                      <a:pt x="109477" y="191225"/>
                    </a:lnTo>
                    <a:close/>
                    <a:moveTo>
                      <a:pt x="324062" y="161682"/>
                    </a:moveTo>
                    <a:lnTo>
                      <a:pt x="324062" y="226204"/>
                    </a:lnTo>
                    <a:lnTo>
                      <a:pt x="388693" y="226204"/>
                    </a:lnTo>
                    <a:lnTo>
                      <a:pt x="388693" y="161682"/>
                    </a:lnTo>
                    <a:close/>
                    <a:moveTo>
                      <a:pt x="220144" y="161682"/>
                    </a:moveTo>
                    <a:lnTo>
                      <a:pt x="220144" y="226204"/>
                    </a:lnTo>
                    <a:lnTo>
                      <a:pt x="284775" y="226204"/>
                    </a:lnTo>
                    <a:lnTo>
                      <a:pt x="284775" y="161682"/>
                    </a:lnTo>
                    <a:close/>
                    <a:moveTo>
                      <a:pt x="499361" y="96797"/>
                    </a:moveTo>
                    <a:lnTo>
                      <a:pt x="499361" y="155579"/>
                    </a:lnTo>
                    <a:lnTo>
                      <a:pt x="558245" y="155579"/>
                    </a:lnTo>
                    <a:lnTo>
                      <a:pt x="558245" y="96797"/>
                    </a:lnTo>
                    <a:close/>
                    <a:moveTo>
                      <a:pt x="50593" y="96797"/>
                    </a:moveTo>
                    <a:lnTo>
                      <a:pt x="50593" y="155579"/>
                    </a:lnTo>
                    <a:lnTo>
                      <a:pt x="109477" y="155579"/>
                    </a:lnTo>
                    <a:lnTo>
                      <a:pt x="109477" y="96797"/>
                    </a:lnTo>
                    <a:close/>
                    <a:moveTo>
                      <a:pt x="324062" y="57938"/>
                    </a:moveTo>
                    <a:lnTo>
                      <a:pt x="324062" y="122461"/>
                    </a:lnTo>
                    <a:lnTo>
                      <a:pt x="388693" y="122461"/>
                    </a:lnTo>
                    <a:lnTo>
                      <a:pt x="388693" y="57938"/>
                    </a:lnTo>
                    <a:close/>
                    <a:moveTo>
                      <a:pt x="220144" y="57938"/>
                    </a:moveTo>
                    <a:lnTo>
                      <a:pt x="220144" y="122461"/>
                    </a:lnTo>
                    <a:lnTo>
                      <a:pt x="284775" y="122461"/>
                    </a:lnTo>
                    <a:lnTo>
                      <a:pt x="284775" y="57938"/>
                    </a:lnTo>
                    <a:close/>
                    <a:moveTo>
                      <a:pt x="469401" y="44033"/>
                    </a:moveTo>
                    <a:lnTo>
                      <a:pt x="608838" y="44033"/>
                    </a:lnTo>
                    <a:lnTo>
                      <a:pt x="608838" y="491629"/>
                    </a:lnTo>
                    <a:lnTo>
                      <a:pt x="510950" y="491629"/>
                    </a:lnTo>
                    <a:lnTo>
                      <a:pt x="510950" y="391651"/>
                    </a:lnTo>
                    <a:lnTo>
                      <a:pt x="469401" y="391651"/>
                    </a:lnTo>
                    <a:close/>
                    <a:moveTo>
                      <a:pt x="0" y="44033"/>
                    </a:moveTo>
                    <a:lnTo>
                      <a:pt x="139437" y="44033"/>
                    </a:lnTo>
                    <a:lnTo>
                      <a:pt x="139437" y="391651"/>
                    </a:lnTo>
                    <a:lnTo>
                      <a:pt x="97889" y="391651"/>
                    </a:lnTo>
                    <a:lnTo>
                      <a:pt x="97889" y="491629"/>
                    </a:lnTo>
                    <a:lnTo>
                      <a:pt x="0" y="491629"/>
                    </a:lnTo>
                    <a:close/>
                    <a:moveTo>
                      <a:pt x="164558" y="0"/>
                    </a:moveTo>
                    <a:lnTo>
                      <a:pt x="444279" y="0"/>
                    </a:lnTo>
                    <a:lnTo>
                      <a:pt x="444279" y="491629"/>
                    </a:lnTo>
                    <a:lnTo>
                      <a:pt x="336781" y="491629"/>
                    </a:lnTo>
                    <a:lnTo>
                      <a:pt x="336781" y="381866"/>
                    </a:lnTo>
                    <a:lnTo>
                      <a:pt x="272056" y="381866"/>
                    </a:lnTo>
                    <a:lnTo>
                      <a:pt x="272056" y="491629"/>
                    </a:lnTo>
                    <a:lnTo>
                      <a:pt x="164558" y="491629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9" name="ïṩḻîḋe">
              <a:extLst>
                <a:ext uri="{FF2B5EF4-FFF2-40B4-BE49-F238E27FC236}">
                  <a16:creationId xmlns:a16="http://schemas.microsoft.com/office/drawing/2014/main" xmlns="" id="{9DF3A06E-56EC-462B-A033-85FADCE76751}"/>
                </a:ext>
              </a:extLst>
            </p:cNvPr>
            <p:cNvSpPr/>
            <p:nvPr/>
          </p:nvSpPr>
          <p:spPr>
            <a:xfrm>
              <a:off x="4466060" y="3569762"/>
              <a:ext cx="201798" cy="20179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/>
            </a:p>
          </p:txBody>
        </p:sp>
        <p:grpSp>
          <p:nvGrpSpPr>
            <p:cNvPr id="10" name="íşḻïḍê">
              <a:extLst>
                <a:ext uri="{FF2B5EF4-FFF2-40B4-BE49-F238E27FC236}">
                  <a16:creationId xmlns:a16="http://schemas.microsoft.com/office/drawing/2014/main" xmlns="" id="{F7E517CD-4C60-49AE-BE86-43AFEB82EC88}"/>
                </a:ext>
              </a:extLst>
            </p:cNvPr>
            <p:cNvGrpSpPr/>
            <p:nvPr/>
          </p:nvGrpSpPr>
          <p:grpSpPr>
            <a:xfrm>
              <a:off x="3430761" y="2102028"/>
              <a:ext cx="2272396" cy="1308761"/>
              <a:chOff x="7904480" y="3920238"/>
              <a:chExt cx="2537460" cy="1308761"/>
            </a:xfrm>
          </p:grpSpPr>
          <p:sp>
            <p:nvSpPr>
              <p:cNvPr id="18" name="iṡľiḍè">
                <a:extLst>
                  <a:ext uri="{FF2B5EF4-FFF2-40B4-BE49-F238E27FC236}">
                    <a16:creationId xmlns:a16="http://schemas.microsoft.com/office/drawing/2014/main" xmlns="" id="{88EA16AD-9CD0-4525-80CB-DF5344A44788}"/>
                  </a:ext>
                </a:extLst>
              </p:cNvPr>
              <p:cNvSpPr txBox="1"/>
              <p:nvPr/>
            </p:nvSpPr>
            <p:spPr bwMode="auto">
              <a:xfrm>
                <a:off x="7904480" y="3920238"/>
                <a:ext cx="2537460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/>
                  <a:t>Text here</a:t>
                </a:r>
              </a:p>
            </p:txBody>
          </p:sp>
          <p:sp>
            <p:nvSpPr>
              <p:cNvPr id="19" name="isliḑé">
                <a:extLst>
                  <a:ext uri="{FF2B5EF4-FFF2-40B4-BE49-F238E27FC236}">
                    <a16:creationId xmlns:a16="http://schemas.microsoft.com/office/drawing/2014/main" xmlns="" id="{DBC3E14E-9951-440D-A9AC-7235DB5C45DA}"/>
                  </a:ext>
                </a:extLst>
              </p:cNvPr>
              <p:cNvSpPr/>
              <p:nvPr/>
            </p:nvSpPr>
            <p:spPr bwMode="auto">
              <a:xfrm>
                <a:off x="7904480" y="4362044"/>
                <a:ext cx="2537460" cy="8669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sp>
          <p:nvSpPr>
            <p:cNvPr id="11" name="îsḻîḓé">
              <a:extLst>
                <a:ext uri="{FF2B5EF4-FFF2-40B4-BE49-F238E27FC236}">
                  <a16:creationId xmlns:a16="http://schemas.microsoft.com/office/drawing/2014/main" xmlns="" id="{E731736B-1923-48B3-A633-7B9D45C5CEB9}"/>
                </a:ext>
              </a:extLst>
            </p:cNvPr>
            <p:cNvSpPr/>
            <p:nvPr/>
          </p:nvSpPr>
          <p:spPr bwMode="auto">
            <a:xfrm>
              <a:off x="4312951" y="3930140"/>
              <a:ext cx="508016" cy="519064"/>
            </a:xfrm>
            <a:custGeom>
              <a:avLst/>
              <a:gdLst>
                <a:gd name="connsiteX0" fmla="*/ 232613 w 595120"/>
                <a:gd name="connsiteY0" fmla="*/ 116080 h 608062"/>
                <a:gd name="connsiteX1" fmla="*/ 257134 w 595120"/>
                <a:gd name="connsiteY1" fmla="*/ 116080 h 608062"/>
                <a:gd name="connsiteX2" fmla="*/ 287215 w 595120"/>
                <a:gd name="connsiteY2" fmla="*/ 195186 h 608062"/>
                <a:gd name="connsiteX3" fmla="*/ 280961 w 595120"/>
                <a:gd name="connsiteY3" fmla="*/ 161878 h 608062"/>
                <a:gd name="connsiteX4" fmla="*/ 282053 w 595120"/>
                <a:gd name="connsiteY4" fmla="*/ 155137 h 608062"/>
                <a:gd name="connsiteX5" fmla="*/ 291782 w 595120"/>
                <a:gd name="connsiteY5" fmla="*/ 137492 h 608062"/>
                <a:gd name="connsiteX6" fmla="*/ 282847 w 595120"/>
                <a:gd name="connsiteY6" fmla="*/ 121235 h 608062"/>
                <a:gd name="connsiteX7" fmla="*/ 282847 w 595120"/>
                <a:gd name="connsiteY7" fmla="*/ 117765 h 608062"/>
                <a:gd name="connsiteX8" fmla="*/ 285924 w 595120"/>
                <a:gd name="connsiteY8" fmla="*/ 116080 h 608062"/>
                <a:gd name="connsiteX9" fmla="*/ 309552 w 595120"/>
                <a:gd name="connsiteY9" fmla="*/ 116080 h 608062"/>
                <a:gd name="connsiteX10" fmla="*/ 312629 w 595120"/>
                <a:gd name="connsiteY10" fmla="*/ 117765 h 608062"/>
                <a:gd name="connsiteX11" fmla="*/ 312629 w 595120"/>
                <a:gd name="connsiteY11" fmla="*/ 121235 h 608062"/>
                <a:gd name="connsiteX12" fmla="*/ 304390 w 595120"/>
                <a:gd name="connsiteY12" fmla="*/ 137492 h 608062"/>
                <a:gd name="connsiteX13" fmla="*/ 314118 w 595120"/>
                <a:gd name="connsiteY13" fmla="*/ 155137 h 608062"/>
                <a:gd name="connsiteX14" fmla="*/ 315111 w 595120"/>
                <a:gd name="connsiteY14" fmla="*/ 161977 h 608062"/>
                <a:gd name="connsiteX15" fmla="*/ 308063 w 595120"/>
                <a:gd name="connsiteY15" fmla="*/ 195186 h 608062"/>
                <a:gd name="connsiteX16" fmla="*/ 338342 w 595120"/>
                <a:gd name="connsiteY16" fmla="*/ 116080 h 608062"/>
                <a:gd name="connsiteX17" fmla="*/ 362466 w 595120"/>
                <a:gd name="connsiteY17" fmla="*/ 116080 h 608062"/>
                <a:gd name="connsiteX18" fmla="*/ 419748 w 595120"/>
                <a:gd name="connsiteY18" fmla="*/ 172882 h 608062"/>
                <a:gd name="connsiteX19" fmla="*/ 420145 w 595120"/>
                <a:gd name="connsiteY19" fmla="*/ 262991 h 608062"/>
                <a:gd name="connsiteX20" fmla="*/ 420641 w 595120"/>
                <a:gd name="connsiteY20" fmla="*/ 350324 h 608062"/>
                <a:gd name="connsiteX21" fmla="*/ 396517 w 595120"/>
                <a:gd name="connsiteY21" fmla="*/ 374611 h 608062"/>
                <a:gd name="connsiteX22" fmla="*/ 396418 w 595120"/>
                <a:gd name="connsiteY22" fmla="*/ 374611 h 608062"/>
                <a:gd name="connsiteX23" fmla="*/ 372195 w 595120"/>
                <a:gd name="connsiteY23" fmla="*/ 350523 h 608062"/>
                <a:gd name="connsiteX24" fmla="*/ 371798 w 595120"/>
                <a:gd name="connsiteY24" fmla="*/ 262793 h 608062"/>
                <a:gd name="connsiteX25" fmla="*/ 371301 w 595120"/>
                <a:gd name="connsiteY25" fmla="*/ 173179 h 608062"/>
                <a:gd name="connsiteX26" fmla="*/ 366139 w 595120"/>
                <a:gd name="connsiteY26" fmla="*/ 168421 h 608062"/>
                <a:gd name="connsiteX27" fmla="*/ 361274 w 595120"/>
                <a:gd name="connsiteY27" fmla="*/ 173476 h 608062"/>
                <a:gd name="connsiteX28" fmla="*/ 361771 w 595120"/>
                <a:gd name="connsiteY28" fmla="*/ 579116 h 608062"/>
                <a:gd name="connsiteX29" fmla="*/ 332683 w 595120"/>
                <a:gd name="connsiteY29" fmla="*/ 608062 h 608062"/>
                <a:gd name="connsiteX30" fmla="*/ 303695 w 595120"/>
                <a:gd name="connsiteY30" fmla="*/ 579116 h 608062"/>
                <a:gd name="connsiteX31" fmla="*/ 303695 w 595120"/>
                <a:gd name="connsiteY31" fmla="*/ 353695 h 608062"/>
                <a:gd name="connsiteX32" fmla="*/ 297440 w 595120"/>
                <a:gd name="connsiteY32" fmla="*/ 347450 h 608062"/>
                <a:gd name="connsiteX33" fmla="*/ 291186 w 595120"/>
                <a:gd name="connsiteY33" fmla="*/ 353695 h 608062"/>
                <a:gd name="connsiteX34" fmla="*/ 291186 w 595120"/>
                <a:gd name="connsiteY34" fmla="*/ 579116 h 608062"/>
                <a:gd name="connsiteX35" fmla="*/ 262098 w 595120"/>
                <a:gd name="connsiteY35" fmla="*/ 608062 h 608062"/>
                <a:gd name="connsiteX36" fmla="*/ 233110 w 595120"/>
                <a:gd name="connsiteY36" fmla="*/ 579116 h 608062"/>
                <a:gd name="connsiteX37" fmla="*/ 233110 w 595120"/>
                <a:gd name="connsiteY37" fmla="*/ 172386 h 608062"/>
                <a:gd name="connsiteX38" fmla="*/ 228940 w 595120"/>
                <a:gd name="connsiteY38" fmla="*/ 167727 h 608062"/>
                <a:gd name="connsiteX39" fmla="*/ 223976 w 595120"/>
                <a:gd name="connsiteY39" fmla="*/ 171395 h 608062"/>
                <a:gd name="connsiteX40" fmla="*/ 223381 w 595120"/>
                <a:gd name="connsiteY40" fmla="*/ 260017 h 608062"/>
                <a:gd name="connsiteX41" fmla="*/ 222884 w 595120"/>
                <a:gd name="connsiteY41" fmla="*/ 350523 h 608062"/>
                <a:gd name="connsiteX42" fmla="*/ 198661 w 595120"/>
                <a:gd name="connsiteY42" fmla="*/ 374611 h 608062"/>
                <a:gd name="connsiteX43" fmla="*/ 198562 w 595120"/>
                <a:gd name="connsiteY43" fmla="*/ 374611 h 608062"/>
                <a:gd name="connsiteX44" fmla="*/ 174537 w 595120"/>
                <a:gd name="connsiteY44" fmla="*/ 350324 h 608062"/>
                <a:gd name="connsiteX45" fmla="*/ 174934 w 595120"/>
                <a:gd name="connsiteY45" fmla="*/ 260711 h 608062"/>
                <a:gd name="connsiteX46" fmla="*/ 175431 w 595120"/>
                <a:gd name="connsiteY46" fmla="*/ 172882 h 608062"/>
                <a:gd name="connsiteX47" fmla="*/ 232613 w 595120"/>
                <a:gd name="connsiteY47" fmla="*/ 116080 h 608062"/>
                <a:gd name="connsiteX48" fmla="*/ 54022 w 595120"/>
                <a:gd name="connsiteY48" fmla="*/ 107683 h 608062"/>
                <a:gd name="connsiteX49" fmla="*/ 180436 w 595120"/>
                <a:gd name="connsiteY49" fmla="*/ 108080 h 608062"/>
                <a:gd name="connsiteX50" fmla="*/ 148957 w 595120"/>
                <a:gd name="connsiteY50" fmla="*/ 172807 h 608062"/>
                <a:gd name="connsiteX51" fmla="*/ 148063 w 595120"/>
                <a:gd name="connsiteY51" fmla="*/ 350236 h 608062"/>
                <a:gd name="connsiteX52" fmla="*/ 173783 w 595120"/>
                <a:gd name="connsiteY52" fmla="*/ 394444 h 608062"/>
                <a:gd name="connsiteX53" fmla="*/ 173783 w 595120"/>
                <a:gd name="connsiteY53" fmla="*/ 537379 h 608062"/>
                <a:gd name="connsiteX54" fmla="*/ 146871 w 595120"/>
                <a:gd name="connsiteY54" fmla="*/ 564241 h 608062"/>
                <a:gd name="connsiteX55" fmla="*/ 119960 w 595120"/>
                <a:gd name="connsiteY55" fmla="*/ 537379 h 608062"/>
                <a:gd name="connsiteX56" fmla="*/ 119960 w 595120"/>
                <a:gd name="connsiteY56" fmla="*/ 328231 h 608062"/>
                <a:gd name="connsiteX57" fmla="*/ 114101 w 595120"/>
                <a:gd name="connsiteY57" fmla="*/ 322482 h 608062"/>
                <a:gd name="connsiteX58" fmla="*/ 108341 w 595120"/>
                <a:gd name="connsiteY58" fmla="*/ 328231 h 608062"/>
                <a:gd name="connsiteX59" fmla="*/ 108341 w 595120"/>
                <a:gd name="connsiteY59" fmla="*/ 537379 h 608062"/>
                <a:gd name="connsiteX60" fmla="*/ 81330 w 595120"/>
                <a:gd name="connsiteY60" fmla="*/ 564241 h 608062"/>
                <a:gd name="connsiteX61" fmla="*/ 54419 w 595120"/>
                <a:gd name="connsiteY61" fmla="*/ 537379 h 608062"/>
                <a:gd name="connsiteX62" fmla="*/ 54419 w 595120"/>
                <a:gd name="connsiteY62" fmla="*/ 160714 h 608062"/>
                <a:gd name="connsiteX63" fmla="*/ 50149 w 595120"/>
                <a:gd name="connsiteY63" fmla="*/ 156352 h 608062"/>
                <a:gd name="connsiteX64" fmla="*/ 45779 w 595120"/>
                <a:gd name="connsiteY64" fmla="*/ 160714 h 608062"/>
                <a:gd name="connsiteX65" fmla="*/ 44886 w 595120"/>
                <a:gd name="connsiteY65" fmla="*/ 325356 h 608062"/>
                <a:gd name="connsiteX66" fmla="*/ 22443 w 595120"/>
                <a:gd name="connsiteY66" fmla="*/ 347659 h 608062"/>
                <a:gd name="connsiteX67" fmla="*/ 22343 w 595120"/>
                <a:gd name="connsiteY67" fmla="*/ 347659 h 608062"/>
                <a:gd name="connsiteX68" fmla="*/ 0 w 595120"/>
                <a:gd name="connsiteY68" fmla="*/ 325059 h 608062"/>
                <a:gd name="connsiteX69" fmla="*/ 894 w 595120"/>
                <a:gd name="connsiteY69" fmla="*/ 160516 h 608062"/>
                <a:gd name="connsiteX70" fmla="*/ 54022 w 595120"/>
                <a:gd name="connsiteY70" fmla="*/ 107683 h 608062"/>
                <a:gd name="connsiteX71" fmla="*/ 520495 w 595120"/>
                <a:gd name="connsiteY71" fmla="*/ 107634 h 608062"/>
                <a:gd name="connsiteX72" fmla="*/ 541197 w 595120"/>
                <a:gd name="connsiteY72" fmla="*/ 107641 h 608062"/>
                <a:gd name="connsiteX73" fmla="*/ 594325 w 595120"/>
                <a:gd name="connsiteY73" fmla="*/ 160478 h 608062"/>
                <a:gd name="connsiteX74" fmla="*/ 595120 w 595120"/>
                <a:gd name="connsiteY74" fmla="*/ 325037 h 608062"/>
                <a:gd name="connsiteX75" fmla="*/ 572776 w 595120"/>
                <a:gd name="connsiteY75" fmla="*/ 347639 h 608062"/>
                <a:gd name="connsiteX76" fmla="*/ 572677 w 595120"/>
                <a:gd name="connsiteY76" fmla="*/ 347639 h 608062"/>
                <a:gd name="connsiteX77" fmla="*/ 550234 w 595120"/>
                <a:gd name="connsiteY77" fmla="*/ 325334 h 608062"/>
                <a:gd name="connsiteX78" fmla="*/ 549340 w 595120"/>
                <a:gd name="connsiteY78" fmla="*/ 160677 h 608062"/>
                <a:gd name="connsiteX79" fmla="*/ 549340 w 595120"/>
                <a:gd name="connsiteY79" fmla="*/ 160578 h 608062"/>
                <a:gd name="connsiteX80" fmla="*/ 544673 w 595120"/>
                <a:gd name="connsiteY80" fmla="*/ 155918 h 608062"/>
                <a:gd name="connsiteX81" fmla="*/ 540006 w 595120"/>
                <a:gd name="connsiteY81" fmla="*/ 160578 h 608062"/>
                <a:gd name="connsiteX82" fmla="*/ 540502 w 595120"/>
                <a:gd name="connsiteY82" fmla="*/ 537377 h 608062"/>
                <a:gd name="connsiteX83" fmla="*/ 513492 w 595120"/>
                <a:gd name="connsiteY83" fmla="*/ 564241 h 608062"/>
                <a:gd name="connsiteX84" fmla="*/ 486580 w 595120"/>
                <a:gd name="connsiteY84" fmla="*/ 537377 h 608062"/>
                <a:gd name="connsiteX85" fmla="*/ 486580 w 595120"/>
                <a:gd name="connsiteY85" fmla="*/ 328209 h 608062"/>
                <a:gd name="connsiteX86" fmla="*/ 480820 w 595120"/>
                <a:gd name="connsiteY86" fmla="*/ 322459 h 608062"/>
                <a:gd name="connsiteX87" fmla="*/ 474961 w 595120"/>
                <a:gd name="connsiteY87" fmla="*/ 328209 h 608062"/>
                <a:gd name="connsiteX88" fmla="*/ 474961 w 595120"/>
                <a:gd name="connsiteY88" fmla="*/ 537377 h 608062"/>
                <a:gd name="connsiteX89" fmla="*/ 448050 w 595120"/>
                <a:gd name="connsiteY89" fmla="*/ 564241 h 608062"/>
                <a:gd name="connsiteX90" fmla="*/ 421138 w 595120"/>
                <a:gd name="connsiteY90" fmla="*/ 537377 h 608062"/>
                <a:gd name="connsiteX91" fmla="*/ 421138 w 595120"/>
                <a:gd name="connsiteY91" fmla="*/ 394627 h 608062"/>
                <a:gd name="connsiteX92" fmla="*/ 447057 w 595120"/>
                <a:gd name="connsiteY92" fmla="*/ 350216 h 608062"/>
                <a:gd name="connsiteX93" fmla="*/ 446163 w 595120"/>
                <a:gd name="connsiteY93" fmla="*/ 172771 h 608062"/>
                <a:gd name="connsiteX94" fmla="*/ 414783 w 595120"/>
                <a:gd name="connsiteY94" fmla="*/ 108038 h 608062"/>
                <a:gd name="connsiteX95" fmla="*/ 520495 w 595120"/>
                <a:gd name="connsiteY95" fmla="*/ 107634 h 608062"/>
                <a:gd name="connsiteX96" fmla="*/ 481094 w 595120"/>
                <a:gd name="connsiteY96" fmla="*/ 0 h 608062"/>
                <a:gd name="connsiteX97" fmla="*/ 527547 w 595120"/>
                <a:gd name="connsiteY97" fmla="*/ 46482 h 608062"/>
                <a:gd name="connsiteX98" fmla="*/ 511864 w 595120"/>
                <a:gd name="connsiteY98" fmla="*/ 81269 h 608062"/>
                <a:gd name="connsiteX99" fmla="*/ 481094 w 595120"/>
                <a:gd name="connsiteY99" fmla="*/ 92864 h 608062"/>
                <a:gd name="connsiteX100" fmla="*/ 450324 w 595120"/>
                <a:gd name="connsiteY100" fmla="*/ 81269 h 608062"/>
                <a:gd name="connsiteX101" fmla="*/ 434542 w 595120"/>
                <a:gd name="connsiteY101" fmla="*/ 46482 h 608062"/>
                <a:gd name="connsiteX102" fmla="*/ 481094 w 595120"/>
                <a:gd name="connsiteY102" fmla="*/ 0 h 608062"/>
                <a:gd name="connsiteX103" fmla="*/ 297750 w 595120"/>
                <a:gd name="connsiteY103" fmla="*/ 0 h 608062"/>
                <a:gd name="connsiteX104" fmla="*/ 301424 w 595120"/>
                <a:gd name="connsiteY104" fmla="*/ 99 h 608062"/>
                <a:gd name="connsiteX105" fmla="*/ 305097 w 595120"/>
                <a:gd name="connsiteY105" fmla="*/ 496 h 608062"/>
                <a:gd name="connsiteX106" fmla="*/ 308473 w 595120"/>
                <a:gd name="connsiteY106" fmla="*/ 1190 h 608062"/>
                <a:gd name="connsiteX107" fmla="*/ 310458 w 595120"/>
                <a:gd name="connsiteY107" fmla="*/ 1586 h 608062"/>
                <a:gd name="connsiteX108" fmla="*/ 316415 w 595120"/>
                <a:gd name="connsiteY108" fmla="*/ 3569 h 608062"/>
                <a:gd name="connsiteX109" fmla="*/ 347887 w 595120"/>
                <a:gd name="connsiteY109" fmla="*/ 50066 h 608062"/>
                <a:gd name="connsiteX110" fmla="*/ 329917 w 595120"/>
                <a:gd name="connsiteY110" fmla="*/ 88434 h 608062"/>
                <a:gd name="connsiteX111" fmla="*/ 328428 w 595120"/>
                <a:gd name="connsiteY111" fmla="*/ 89623 h 608062"/>
                <a:gd name="connsiteX112" fmla="*/ 297750 w 595120"/>
                <a:gd name="connsiteY112" fmla="*/ 100132 h 608062"/>
                <a:gd name="connsiteX113" fmla="*/ 267073 w 595120"/>
                <a:gd name="connsiteY113" fmla="*/ 89623 h 608062"/>
                <a:gd name="connsiteX114" fmla="*/ 264095 w 595120"/>
                <a:gd name="connsiteY114" fmla="*/ 87145 h 608062"/>
                <a:gd name="connsiteX115" fmla="*/ 262307 w 595120"/>
                <a:gd name="connsiteY115" fmla="*/ 85459 h 608062"/>
                <a:gd name="connsiteX116" fmla="*/ 257641 w 595120"/>
                <a:gd name="connsiteY116" fmla="*/ 80007 h 608062"/>
                <a:gd name="connsiteX117" fmla="*/ 256251 w 595120"/>
                <a:gd name="connsiteY117" fmla="*/ 78024 h 608062"/>
                <a:gd name="connsiteX118" fmla="*/ 253670 w 595120"/>
                <a:gd name="connsiteY118" fmla="*/ 73959 h 608062"/>
                <a:gd name="connsiteX119" fmla="*/ 251585 w 595120"/>
                <a:gd name="connsiteY119" fmla="*/ 69498 h 608062"/>
                <a:gd name="connsiteX120" fmla="*/ 249202 w 595120"/>
                <a:gd name="connsiteY120" fmla="*/ 62558 h 608062"/>
                <a:gd name="connsiteX121" fmla="*/ 247614 w 595120"/>
                <a:gd name="connsiteY121" fmla="*/ 50066 h 608062"/>
                <a:gd name="connsiteX122" fmla="*/ 269753 w 595120"/>
                <a:gd name="connsiteY122" fmla="*/ 8526 h 608062"/>
                <a:gd name="connsiteX123" fmla="*/ 273923 w 595120"/>
                <a:gd name="connsiteY123" fmla="*/ 6048 h 608062"/>
                <a:gd name="connsiteX124" fmla="*/ 278292 w 595120"/>
                <a:gd name="connsiteY124" fmla="*/ 3966 h 608062"/>
                <a:gd name="connsiteX125" fmla="*/ 280575 w 595120"/>
                <a:gd name="connsiteY125" fmla="*/ 3074 h 608062"/>
                <a:gd name="connsiteX126" fmla="*/ 285241 w 595120"/>
                <a:gd name="connsiteY126" fmla="*/ 1586 h 608062"/>
                <a:gd name="connsiteX127" fmla="*/ 287624 w 595120"/>
                <a:gd name="connsiteY127" fmla="*/ 992 h 608062"/>
                <a:gd name="connsiteX128" fmla="*/ 292687 w 595120"/>
                <a:gd name="connsiteY128" fmla="*/ 298 h 608062"/>
                <a:gd name="connsiteX129" fmla="*/ 297750 w 595120"/>
                <a:gd name="connsiteY129" fmla="*/ 0 h 608062"/>
                <a:gd name="connsiteX130" fmla="*/ 114407 w 595120"/>
                <a:gd name="connsiteY130" fmla="*/ 0 h 608062"/>
                <a:gd name="connsiteX131" fmla="*/ 160959 w 595120"/>
                <a:gd name="connsiteY131" fmla="*/ 46482 h 608062"/>
                <a:gd name="connsiteX132" fmla="*/ 160661 w 595120"/>
                <a:gd name="connsiteY132" fmla="*/ 51536 h 608062"/>
                <a:gd name="connsiteX133" fmla="*/ 159867 w 595120"/>
                <a:gd name="connsiteY133" fmla="*/ 56492 h 608062"/>
                <a:gd name="connsiteX134" fmla="*/ 159272 w 595120"/>
                <a:gd name="connsiteY134" fmla="*/ 58969 h 608062"/>
                <a:gd name="connsiteX135" fmla="*/ 145177 w 595120"/>
                <a:gd name="connsiteY135" fmla="*/ 81269 h 608062"/>
                <a:gd name="connsiteX136" fmla="*/ 114407 w 595120"/>
                <a:gd name="connsiteY136" fmla="*/ 92864 h 608062"/>
                <a:gd name="connsiteX137" fmla="*/ 83637 w 595120"/>
                <a:gd name="connsiteY137" fmla="*/ 81269 h 608062"/>
                <a:gd name="connsiteX138" fmla="*/ 81949 w 595120"/>
                <a:gd name="connsiteY138" fmla="*/ 79584 h 608062"/>
                <a:gd name="connsiteX139" fmla="*/ 69641 w 595120"/>
                <a:gd name="connsiteY139" fmla="*/ 58969 h 608062"/>
                <a:gd name="connsiteX140" fmla="*/ 69046 w 595120"/>
                <a:gd name="connsiteY140" fmla="*/ 56492 h 608062"/>
                <a:gd name="connsiteX141" fmla="*/ 68252 w 595120"/>
                <a:gd name="connsiteY141" fmla="*/ 51536 h 608062"/>
                <a:gd name="connsiteX142" fmla="*/ 67954 w 595120"/>
                <a:gd name="connsiteY142" fmla="*/ 46482 h 608062"/>
                <a:gd name="connsiteX143" fmla="*/ 114407 w 595120"/>
                <a:gd name="connsiteY143" fmla="*/ 0 h 608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595120" h="608062">
                  <a:moveTo>
                    <a:pt x="232613" y="116080"/>
                  </a:moveTo>
                  <a:lnTo>
                    <a:pt x="257134" y="116080"/>
                  </a:lnTo>
                  <a:cubicBezTo>
                    <a:pt x="260113" y="123713"/>
                    <a:pt x="283839" y="186760"/>
                    <a:pt x="287215" y="195186"/>
                  </a:cubicBezTo>
                  <a:lnTo>
                    <a:pt x="280961" y="161878"/>
                  </a:lnTo>
                  <a:cubicBezTo>
                    <a:pt x="280563" y="159598"/>
                    <a:pt x="280961" y="157219"/>
                    <a:pt x="282053" y="155137"/>
                  </a:cubicBezTo>
                  <a:lnTo>
                    <a:pt x="291782" y="137492"/>
                  </a:lnTo>
                  <a:lnTo>
                    <a:pt x="282847" y="121235"/>
                  </a:lnTo>
                  <a:cubicBezTo>
                    <a:pt x="282251" y="120145"/>
                    <a:pt x="282251" y="118856"/>
                    <a:pt x="282847" y="117765"/>
                  </a:cubicBezTo>
                  <a:cubicBezTo>
                    <a:pt x="283542" y="116675"/>
                    <a:pt x="284634" y="116080"/>
                    <a:pt x="285924" y="116080"/>
                  </a:cubicBezTo>
                  <a:lnTo>
                    <a:pt x="309552" y="116080"/>
                  </a:lnTo>
                  <a:cubicBezTo>
                    <a:pt x="310842" y="116080"/>
                    <a:pt x="312034" y="116675"/>
                    <a:pt x="312629" y="117765"/>
                  </a:cubicBezTo>
                  <a:cubicBezTo>
                    <a:pt x="313225" y="118856"/>
                    <a:pt x="313324" y="120145"/>
                    <a:pt x="312629" y="121235"/>
                  </a:cubicBezTo>
                  <a:lnTo>
                    <a:pt x="304390" y="137492"/>
                  </a:lnTo>
                  <a:lnTo>
                    <a:pt x="314118" y="155137"/>
                  </a:lnTo>
                  <a:cubicBezTo>
                    <a:pt x="315211" y="157219"/>
                    <a:pt x="315608" y="159598"/>
                    <a:pt x="315111" y="161977"/>
                  </a:cubicBezTo>
                  <a:lnTo>
                    <a:pt x="308063" y="195186"/>
                  </a:lnTo>
                  <a:cubicBezTo>
                    <a:pt x="311537" y="186165"/>
                    <a:pt x="335363" y="123912"/>
                    <a:pt x="338342" y="116080"/>
                  </a:cubicBezTo>
                  <a:lnTo>
                    <a:pt x="362466" y="116080"/>
                  </a:lnTo>
                  <a:cubicBezTo>
                    <a:pt x="393837" y="116080"/>
                    <a:pt x="419549" y="141557"/>
                    <a:pt x="419748" y="172882"/>
                  </a:cubicBezTo>
                  <a:lnTo>
                    <a:pt x="420145" y="262991"/>
                  </a:lnTo>
                  <a:lnTo>
                    <a:pt x="420641" y="350324"/>
                  </a:lnTo>
                  <a:cubicBezTo>
                    <a:pt x="420641" y="363707"/>
                    <a:pt x="409919" y="374512"/>
                    <a:pt x="396517" y="374611"/>
                  </a:cubicBezTo>
                  <a:lnTo>
                    <a:pt x="396418" y="374611"/>
                  </a:lnTo>
                  <a:cubicBezTo>
                    <a:pt x="383115" y="374611"/>
                    <a:pt x="372294" y="363905"/>
                    <a:pt x="372195" y="350523"/>
                  </a:cubicBezTo>
                  <a:lnTo>
                    <a:pt x="371798" y="262793"/>
                  </a:lnTo>
                  <a:lnTo>
                    <a:pt x="371301" y="173179"/>
                  </a:lnTo>
                  <a:cubicBezTo>
                    <a:pt x="371202" y="170403"/>
                    <a:pt x="368819" y="168322"/>
                    <a:pt x="366139" y="168421"/>
                  </a:cubicBezTo>
                  <a:cubicBezTo>
                    <a:pt x="363359" y="168520"/>
                    <a:pt x="361274" y="170800"/>
                    <a:pt x="361274" y="173476"/>
                  </a:cubicBezTo>
                  <a:cubicBezTo>
                    <a:pt x="361374" y="211939"/>
                    <a:pt x="361771" y="368663"/>
                    <a:pt x="361771" y="579116"/>
                  </a:cubicBezTo>
                  <a:cubicBezTo>
                    <a:pt x="361771" y="595076"/>
                    <a:pt x="348766" y="608062"/>
                    <a:pt x="332683" y="608062"/>
                  </a:cubicBezTo>
                  <a:cubicBezTo>
                    <a:pt x="316600" y="608062"/>
                    <a:pt x="303695" y="595076"/>
                    <a:pt x="303695" y="579116"/>
                  </a:cubicBezTo>
                  <a:lnTo>
                    <a:pt x="303695" y="353695"/>
                  </a:lnTo>
                  <a:cubicBezTo>
                    <a:pt x="303695" y="350324"/>
                    <a:pt x="300915" y="347450"/>
                    <a:pt x="297440" y="347450"/>
                  </a:cubicBezTo>
                  <a:cubicBezTo>
                    <a:pt x="293966" y="347450"/>
                    <a:pt x="291186" y="350324"/>
                    <a:pt x="291186" y="353695"/>
                  </a:cubicBezTo>
                  <a:lnTo>
                    <a:pt x="291186" y="579116"/>
                  </a:lnTo>
                  <a:cubicBezTo>
                    <a:pt x="291186" y="595076"/>
                    <a:pt x="278181" y="608062"/>
                    <a:pt x="262098" y="608062"/>
                  </a:cubicBezTo>
                  <a:cubicBezTo>
                    <a:pt x="246115" y="608062"/>
                    <a:pt x="233110" y="595076"/>
                    <a:pt x="233110" y="579116"/>
                  </a:cubicBezTo>
                  <a:lnTo>
                    <a:pt x="233110" y="172386"/>
                  </a:lnTo>
                  <a:cubicBezTo>
                    <a:pt x="233110" y="170007"/>
                    <a:pt x="231323" y="168024"/>
                    <a:pt x="228940" y="167727"/>
                  </a:cubicBezTo>
                  <a:cubicBezTo>
                    <a:pt x="226657" y="167529"/>
                    <a:pt x="224473" y="169115"/>
                    <a:pt x="223976" y="171395"/>
                  </a:cubicBezTo>
                  <a:cubicBezTo>
                    <a:pt x="223679" y="172683"/>
                    <a:pt x="223778" y="166934"/>
                    <a:pt x="223381" y="260017"/>
                  </a:cubicBezTo>
                  <a:lnTo>
                    <a:pt x="222884" y="350523"/>
                  </a:lnTo>
                  <a:cubicBezTo>
                    <a:pt x="222785" y="363905"/>
                    <a:pt x="211964" y="374611"/>
                    <a:pt x="198661" y="374611"/>
                  </a:cubicBezTo>
                  <a:lnTo>
                    <a:pt x="198562" y="374611"/>
                  </a:lnTo>
                  <a:cubicBezTo>
                    <a:pt x="185259" y="374512"/>
                    <a:pt x="174438" y="363707"/>
                    <a:pt x="174537" y="350324"/>
                  </a:cubicBezTo>
                  <a:lnTo>
                    <a:pt x="174934" y="260711"/>
                  </a:lnTo>
                  <a:lnTo>
                    <a:pt x="175431" y="172882"/>
                  </a:lnTo>
                  <a:cubicBezTo>
                    <a:pt x="175530" y="141656"/>
                    <a:pt x="201143" y="116080"/>
                    <a:pt x="232613" y="116080"/>
                  </a:cubicBezTo>
                  <a:close/>
                  <a:moveTo>
                    <a:pt x="54022" y="107683"/>
                  </a:moveTo>
                  <a:cubicBezTo>
                    <a:pt x="54022" y="107683"/>
                    <a:pt x="178450" y="107881"/>
                    <a:pt x="180436" y="108080"/>
                  </a:cubicBezTo>
                  <a:cubicBezTo>
                    <a:pt x="161370" y="123345"/>
                    <a:pt x="149056" y="146638"/>
                    <a:pt x="148957" y="172807"/>
                  </a:cubicBezTo>
                  <a:lnTo>
                    <a:pt x="148063" y="350236"/>
                  </a:lnTo>
                  <a:cubicBezTo>
                    <a:pt x="147963" y="369168"/>
                    <a:pt x="158390" y="385722"/>
                    <a:pt x="173783" y="394444"/>
                  </a:cubicBezTo>
                  <a:lnTo>
                    <a:pt x="173783" y="537379"/>
                  </a:lnTo>
                  <a:cubicBezTo>
                    <a:pt x="173783" y="552247"/>
                    <a:pt x="161767" y="564241"/>
                    <a:pt x="146871" y="564241"/>
                  </a:cubicBezTo>
                  <a:cubicBezTo>
                    <a:pt x="131975" y="564241"/>
                    <a:pt x="119960" y="552247"/>
                    <a:pt x="119960" y="537379"/>
                  </a:cubicBezTo>
                  <a:lnTo>
                    <a:pt x="119960" y="328231"/>
                  </a:lnTo>
                  <a:cubicBezTo>
                    <a:pt x="119960" y="325059"/>
                    <a:pt x="117378" y="322482"/>
                    <a:pt x="114101" y="322482"/>
                  </a:cubicBezTo>
                  <a:cubicBezTo>
                    <a:pt x="110923" y="322482"/>
                    <a:pt x="108341" y="325059"/>
                    <a:pt x="108341" y="328231"/>
                  </a:cubicBezTo>
                  <a:lnTo>
                    <a:pt x="108341" y="537379"/>
                  </a:lnTo>
                  <a:cubicBezTo>
                    <a:pt x="108341" y="552247"/>
                    <a:pt x="96226" y="564241"/>
                    <a:pt x="81330" y="564241"/>
                  </a:cubicBezTo>
                  <a:cubicBezTo>
                    <a:pt x="66534" y="564241"/>
                    <a:pt x="54419" y="552247"/>
                    <a:pt x="54419" y="537379"/>
                  </a:cubicBezTo>
                  <a:lnTo>
                    <a:pt x="54419" y="160714"/>
                  </a:lnTo>
                  <a:cubicBezTo>
                    <a:pt x="54419" y="158335"/>
                    <a:pt x="52532" y="156451"/>
                    <a:pt x="50149" y="156352"/>
                  </a:cubicBezTo>
                  <a:cubicBezTo>
                    <a:pt x="47765" y="156352"/>
                    <a:pt x="45779" y="158335"/>
                    <a:pt x="45779" y="160714"/>
                  </a:cubicBezTo>
                  <a:lnTo>
                    <a:pt x="44886" y="325356"/>
                  </a:lnTo>
                  <a:cubicBezTo>
                    <a:pt x="44886" y="337647"/>
                    <a:pt x="34856" y="347659"/>
                    <a:pt x="22443" y="347659"/>
                  </a:cubicBezTo>
                  <a:lnTo>
                    <a:pt x="22343" y="347659"/>
                  </a:lnTo>
                  <a:cubicBezTo>
                    <a:pt x="9930" y="347560"/>
                    <a:pt x="0" y="337449"/>
                    <a:pt x="0" y="325059"/>
                  </a:cubicBezTo>
                  <a:lnTo>
                    <a:pt x="894" y="160516"/>
                  </a:lnTo>
                  <a:cubicBezTo>
                    <a:pt x="993" y="131374"/>
                    <a:pt x="24826" y="107683"/>
                    <a:pt x="54022" y="107683"/>
                  </a:cubicBezTo>
                  <a:close/>
                  <a:moveTo>
                    <a:pt x="520495" y="107634"/>
                  </a:moveTo>
                  <a:cubicBezTo>
                    <a:pt x="532204" y="107635"/>
                    <a:pt x="540303" y="107641"/>
                    <a:pt x="541197" y="107641"/>
                  </a:cubicBezTo>
                  <a:cubicBezTo>
                    <a:pt x="570294" y="107641"/>
                    <a:pt x="594127" y="131334"/>
                    <a:pt x="594325" y="160478"/>
                  </a:cubicBezTo>
                  <a:lnTo>
                    <a:pt x="595120" y="325037"/>
                  </a:lnTo>
                  <a:cubicBezTo>
                    <a:pt x="595219" y="337428"/>
                    <a:pt x="585189" y="347540"/>
                    <a:pt x="572776" y="347639"/>
                  </a:cubicBezTo>
                  <a:lnTo>
                    <a:pt x="572677" y="347639"/>
                  </a:lnTo>
                  <a:cubicBezTo>
                    <a:pt x="560264" y="347639"/>
                    <a:pt x="550234" y="337627"/>
                    <a:pt x="550234" y="325334"/>
                  </a:cubicBezTo>
                  <a:lnTo>
                    <a:pt x="549340" y="160677"/>
                  </a:lnTo>
                  <a:lnTo>
                    <a:pt x="549340" y="160578"/>
                  </a:lnTo>
                  <a:cubicBezTo>
                    <a:pt x="549340" y="158000"/>
                    <a:pt x="547255" y="155918"/>
                    <a:pt x="544673" y="155918"/>
                  </a:cubicBezTo>
                  <a:cubicBezTo>
                    <a:pt x="542091" y="155918"/>
                    <a:pt x="540006" y="158000"/>
                    <a:pt x="540006" y="160578"/>
                  </a:cubicBezTo>
                  <a:cubicBezTo>
                    <a:pt x="540006" y="385408"/>
                    <a:pt x="540502" y="181693"/>
                    <a:pt x="540502" y="537377"/>
                  </a:cubicBezTo>
                  <a:cubicBezTo>
                    <a:pt x="540502" y="552246"/>
                    <a:pt x="528387" y="564241"/>
                    <a:pt x="513492" y="564241"/>
                  </a:cubicBezTo>
                  <a:cubicBezTo>
                    <a:pt x="498695" y="564241"/>
                    <a:pt x="486580" y="552246"/>
                    <a:pt x="486580" y="537377"/>
                  </a:cubicBezTo>
                  <a:lnTo>
                    <a:pt x="486580" y="328209"/>
                  </a:lnTo>
                  <a:cubicBezTo>
                    <a:pt x="486580" y="325037"/>
                    <a:pt x="483998" y="322459"/>
                    <a:pt x="480820" y="322459"/>
                  </a:cubicBezTo>
                  <a:cubicBezTo>
                    <a:pt x="477543" y="322459"/>
                    <a:pt x="474961" y="325037"/>
                    <a:pt x="474961" y="328209"/>
                  </a:cubicBezTo>
                  <a:lnTo>
                    <a:pt x="474961" y="537377"/>
                  </a:lnTo>
                  <a:cubicBezTo>
                    <a:pt x="474961" y="552246"/>
                    <a:pt x="462946" y="564241"/>
                    <a:pt x="448050" y="564241"/>
                  </a:cubicBezTo>
                  <a:cubicBezTo>
                    <a:pt x="433154" y="564241"/>
                    <a:pt x="421138" y="552246"/>
                    <a:pt x="421138" y="537377"/>
                  </a:cubicBezTo>
                  <a:lnTo>
                    <a:pt x="421138" y="394627"/>
                  </a:lnTo>
                  <a:cubicBezTo>
                    <a:pt x="436630" y="385904"/>
                    <a:pt x="447156" y="369250"/>
                    <a:pt x="447057" y="350216"/>
                  </a:cubicBezTo>
                  <a:lnTo>
                    <a:pt x="446163" y="172771"/>
                  </a:lnTo>
                  <a:cubicBezTo>
                    <a:pt x="446064" y="146600"/>
                    <a:pt x="433750" y="123304"/>
                    <a:pt x="414783" y="108038"/>
                  </a:cubicBezTo>
                  <a:cubicBezTo>
                    <a:pt x="417762" y="107666"/>
                    <a:pt x="485369" y="107629"/>
                    <a:pt x="520495" y="107634"/>
                  </a:cubicBezTo>
                  <a:close/>
                  <a:moveTo>
                    <a:pt x="481094" y="0"/>
                  </a:moveTo>
                  <a:cubicBezTo>
                    <a:pt x="506703" y="0"/>
                    <a:pt x="527547" y="20813"/>
                    <a:pt x="527547" y="46482"/>
                  </a:cubicBezTo>
                  <a:cubicBezTo>
                    <a:pt x="527547" y="60258"/>
                    <a:pt x="521492" y="72745"/>
                    <a:pt x="511864" y="81269"/>
                  </a:cubicBezTo>
                  <a:cubicBezTo>
                    <a:pt x="503626" y="88504"/>
                    <a:pt x="492906" y="92864"/>
                    <a:pt x="481094" y="92864"/>
                  </a:cubicBezTo>
                  <a:cubicBezTo>
                    <a:pt x="469282" y="92864"/>
                    <a:pt x="458463" y="88504"/>
                    <a:pt x="450324" y="81269"/>
                  </a:cubicBezTo>
                  <a:cubicBezTo>
                    <a:pt x="440696" y="72745"/>
                    <a:pt x="434542" y="60258"/>
                    <a:pt x="434542" y="46482"/>
                  </a:cubicBezTo>
                  <a:cubicBezTo>
                    <a:pt x="434542" y="20813"/>
                    <a:pt x="455386" y="0"/>
                    <a:pt x="481094" y="0"/>
                  </a:cubicBezTo>
                  <a:close/>
                  <a:moveTo>
                    <a:pt x="297750" y="0"/>
                  </a:moveTo>
                  <a:cubicBezTo>
                    <a:pt x="299041" y="0"/>
                    <a:pt x="300233" y="0"/>
                    <a:pt x="301424" y="99"/>
                  </a:cubicBezTo>
                  <a:cubicBezTo>
                    <a:pt x="302715" y="199"/>
                    <a:pt x="303906" y="397"/>
                    <a:pt x="305097" y="496"/>
                  </a:cubicBezTo>
                  <a:cubicBezTo>
                    <a:pt x="306189" y="694"/>
                    <a:pt x="307281" y="893"/>
                    <a:pt x="308473" y="1190"/>
                  </a:cubicBezTo>
                  <a:cubicBezTo>
                    <a:pt x="309068" y="1289"/>
                    <a:pt x="309763" y="1487"/>
                    <a:pt x="310458" y="1586"/>
                  </a:cubicBezTo>
                  <a:cubicBezTo>
                    <a:pt x="312444" y="2181"/>
                    <a:pt x="314430" y="2776"/>
                    <a:pt x="316415" y="3569"/>
                  </a:cubicBezTo>
                  <a:cubicBezTo>
                    <a:pt x="334881" y="11005"/>
                    <a:pt x="347887" y="28949"/>
                    <a:pt x="347887" y="50066"/>
                  </a:cubicBezTo>
                  <a:cubicBezTo>
                    <a:pt x="347887" y="65532"/>
                    <a:pt x="340937" y="79313"/>
                    <a:pt x="329917" y="88434"/>
                  </a:cubicBezTo>
                  <a:cubicBezTo>
                    <a:pt x="329421" y="88830"/>
                    <a:pt x="328924" y="89227"/>
                    <a:pt x="328428" y="89623"/>
                  </a:cubicBezTo>
                  <a:cubicBezTo>
                    <a:pt x="319989" y="96167"/>
                    <a:pt x="309366" y="100132"/>
                    <a:pt x="297750" y="100132"/>
                  </a:cubicBezTo>
                  <a:cubicBezTo>
                    <a:pt x="286234" y="100132"/>
                    <a:pt x="275611" y="96167"/>
                    <a:pt x="267073" y="89623"/>
                  </a:cubicBezTo>
                  <a:cubicBezTo>
                    <a:pt x="266080" y="88830"/>
                    <a:pt x="264988" y="88037"/>
                    <a:pt x="264095" y="87145"/>
                  </a:cubicBezTo>
                  <a:cubicBezTo>
                    <a:pt x="263499" y="86550"/>
                    <a:pt x="262903" y="86054"/>
                    <a:pt x="262307" y="85459"/>
                  </a:cubicBezTo>
                  <a:cubicBezTo>
                    <a:pt x="260620" y="83774"/>
                    <a:pt x="259031" y="81890"/>
                    <a:pt x="257641" y="80007"/>
                  </a:cubicBezTo>
                  <a:cubicBezTo>
                    <a:pt x="257145" y="79313"/>
                    <a:pt x="256648" y="78718"/>
                    <a:pt x="256251" y="78024"/>
                  </a:cubicBezTo>
                  <a:cubicBezTo>
                    <a:pt x="255259" y="76735"/>
                    <a:pt x="254464" y="75347"/>
                    <a:pt x="253670" y="73959"/>
                  </a:cubicBezTo>
                  <a:cubicBezTo>
                    <a:pt x="252876" y="72472"/>
                    <a:pt x="252181" y="71084"/>
                    <a:pt x="251585" y="69498"/>
                  </a:cubicBezTo>
                  <a:cubicBezTo>
                    <a:pt x="250592" y="67317"/>
                    <a:pt x="249798" y="64937"/>
                    <a:pt x="249202" y="62558"/>
                  </a:cubicBezTo>
                  <a:cubicBezTo>
                    <a:pt x="248210" y="58592"/>
                    <a:pt x="247614" y="54329"/>
                    <a:pt x="247614" y="50066"/>
                  </a:cubicBezTo>
                  <a:cubicBezTo>
                    <a:pt x="247614" y="32816"/>
                    <a:pt x="256450" y="17548"/>
                    <a:pt x="269753" y="8526"/>
                  </a:cubicBezTo>
                  <a:cubicBezTo>
                    <a:pt x="271044" y="7634"/>
                    <a:pt x="272434" y="6841"/>
                    <a:pt x="273923" y="6048"/>
                  </a:cubicBezTo>
                  <a:cubicBezTo>
                    <a:pt x="275313" y="5255"/>
                    <a:pt x="276802" y="4561"/>
                    <a:pt x="278292" y="3966"/>
                  </a:cubicBezTo>
                  <a:cubicBezTo>
                    <a:pt x="278987" y="3569"/>
                    <a:pt x="279781" y="3272"/>
                    <a:pt x="280575" y="3074"/>
                  </a:cubicBezTo>
                  <a:cubicBezTo>
                    <a:pt x="282064" y="2479"/>
                    <a:pt x="283653" y="1983"/>
                    <a:pt x="285241" y="1586"/>
                  </a:cubicBezTo>
                  <a:cubicBezTo>
                    <a:pt x="286035" y="1388"/>
                    <a:pt x="286830" y="1190"/>
                    <a:pt x="287624" y="992"/>
                  </a:cubicBezTo>
                  <a:cubicBezTo>
                    <a:pt x="289312" y="694"/>
                    <a:pt x="290999" y="397"/>
                    <a:pt x="292687" y="298"/>
                  </a:cubicBezTo>
                  <a:cubicBezTo>
                    <a:pt x="294375" y="99"/>
                    <a:pt x="296063" y="0"/>
                    <a:pt x="297750" y="0"/>
                  </a:cubicBezTo>
                  <a:close/>
                  <a:moveTo>
                    <a:pt x="114407" y="0"/>
                  </a:moveTo>
                  <a:cubicBezTo>
                    <a:pt x="140115" y="0"/>
                    <a:pt x="160959" y="20813"/>
                    <a:pt x="160959" y="46482"/>
                  </a:cubicBezTo>
                  <a:cubicBezTo>
                    <a:pt x="160959" y="48167"/>
                    <a:pt x="160860" y="49851"/>
                    <a:pt x="160661" y="51536"/>
                  </a:cubicBezTo>
                  <a:cubicBezTo>
                    <a:pt x="160463" y="53221"/>
                    <a:pt x="160165" y="54906"/>
                    <a:pt x="159867" y="56492"/>
                  </a:cubicBezTo>
                  <a:cubicBezTo>
                    <a:pt x="159669" y="57384"/>
                    <a:pt x="159470" y="58177"/>
                    <a:pt x="159272" y="58969"/>
                  </a:cubicBezTo>
                  <a:cubicBezTo>
                    <a:pt x="156790" y="67691"/>
                    <a:pt x="151827" y="75421"/>
                    <a:pt x="145177" y="81269"/>
                  </a:cubicBezTo>
                  <a:cubicBezTo>
                    <a:pt x="137038" y="88504"/>
                    <a:pt x="126219" y="92864"/>
                    <a:pt x="114407" y="92864"/>
                  </a:cubicBezTo>
                  <a:cubicBezTo>
                    <a:pt x="102595" y="92864"/>
                    <a:pt x="91875" y="88504"/>
                    <a:pt x="83637" y="81269"/>
                  </a:cubicBezTo>
                  <a:cubicBezTo>
                    <a:pt x="83041" y="80674"/>
                    <a:pt x="82446" y="80178"/>
                    <a:pt x="81949" y="79584"/>
                  </a:cubicBezTo>
                  <a:cubicBezTo>
                    <a:pt x="76192" y="73935"/>
                    <a:pt x="71825" y="66898"/>
                    <a:pt x="69641" y="58969"/>
                  </a:cubicBezTo>
                  <a:cubicBezTo>
                    <a:pt x="69443" y="58177"/>
                    <a:pt x="69244" y="57384"/>
                    <a:pt x="69046" y="56492"/>
                  </a:cubicBezTo>
                  <a:cubicBezTo>
                    <a:pt x="68649" y="54906"/>
                    <a:pt x="68450" y="53221"/>
                    <a:pt x="68252" y="51536"/>
                  </a:cubicBezTo>
                  <a:cubicBezTo>
                    <a:pt x="68053" y="49851"/>
                    <a:pt x="67954" y="48167"/>
                    <a:pt x="67954" y="46482"/>
                  </a:cubicBezTo>
                  <a:cubicBezTo>
                    <a:pt x="67954" y="20813"/>
                    <a:pt x="88798" y="0"/>
                    <a:pt x="114407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 dirty="0">
                <a:solidFill>
                  <a:schemeClr val="bg1"/>
                </a:solidFill>
              </a:endParaRPr>
            </a:p>
          </p:txBody>
        </p:sp>
        <p:grpSp>
          <p:nvGrpSpPr>
            <p:cNvPr id="12" name="ïŝḻiḋe">
              <a:extLst>
                <a:ext uri="{FF2B5EF4-FFF2-40B4-BE49-F238E27FC236}">
                  <a16:creationId xmlns:a16="http://schemas.microsoft.com/office/drawing/2014/main" xmlns="" id="{EF7DC748-A820-44D0-AD22-4B0BABB3D5E4}"/>
                </a:ext>
              </a:extLst>
            </p:cNvPr>
            <p:cNvGrpSpPr/>
            <p:nvPr/>
          </p:nvGrpSpPr>
          <p:grpSpPr>
            <a:xfrm>
              <a:off x="6201121" y="2792149"/>
              <a:ext cx="2272396" cy="2584306"/>
              <a:chOff x="1334404" y="2791952"/>
              <a:chExt cx="2272396" cy="2584306"/>
            </a:xfrm>
          </p:grpSpPr>
          <p:sp>
            <p:nvSpPr>
              <p:cNvPr id="13" name="îšḻiḍé">
                <a:extLst>
                  <a:ext uri="{FF2B5EF4-FFF2-40B4-BE49-F238E27FC236}">
                    <a16:creationId xmlns:a16="http://schemas.microsoft.com/office/drawing/2014/main" xmlns="" id="{16B75F80-7D31-429B-B6A7-EB16CD0214AE}"/>
                  </a:ext>
                </a:extLst>
              </p:cNvPr>
              <p:cNvSpPr/>
              <p:nvPr/>
            </p:nvSpPr>
            <p:spPr>
              <a:xfrm>
                <a:off x="2369703" y="3569762"/>
                <a:ext cx="201798" cy="201798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/>
              </a:p>
            </p:txBody>
          </p:sp>
          <p:grpSp>
            <p:nvGrpSpPr>
              <p:cNvPr id="14" name="îṡļidè">
                <a:extLst>
                  <a:ext uri="{FF2B5EF4-FFF2-40B4-BE49-F238E27FC236}">
                    <a16:creationId xmlns:a16="http://schemas.microsoft.com/office/drawing/2014/main" xmlns="" id="{FA957D06-FDB2-4EB4-940A-23BF74220D0F}"/>
                  </a:ext>
                </a:extLst>
              </p:cNvPr>
              <p:cNvGrpSpPr/>
              <p:nvPr/>
            </p:nvGrpSpPr>
            <p:grpSpPr>
              <a:xfrm>
                <a:off x="1334404" y="4067497"/>
                <a:ext cx="2272396" cy="1308761"/>
                <a:chOff x="7904480" y="3920238"/>
                <a:chExt cx="2537460" cy="1308761"/>
              </a:xfrm>
            </p:grpSpPr>
            <p:sp>
              <p:nvSpPr>
                <p:cNvPr id="16" name="ïṡľíde">
                  <a:extLst>
                    <a:ext uri="{FF2B5EF4-FFF2-40B4-BE49-F238E27FC236}">
                      <a16:creationId xmlns:a16="http://schemas.microsoft.com/office/drawing/2014/main" xmlns="" id="{007CB814-AA0F-4E23-961B-192DC0ED6122}"/>
                    </a:ext>
                  </a:extLst>
                </p:cNvPr>
                <p:cNvSpPr txBox="1"/>
                <p:nvPr/>
              </p:nvSpPr>
              <p:spPr bwMode="auto">
                <a:xfrm>
                  <a:off x="7904480" y="3920238"/>
                  <a:ext cx="2537460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b="1" dirty="0"/>
                    <a:t>Text here</a:t>
                  </a:r>
                </a:p>
              </p:txBody>
            </p:sp>
            <p:sp>
              <p:nvSpPr>
                <p:cNvPr id="17" name="ïṡḻíḍê">
                  <a:extLst>
                    <a:ext uri="{FF2B5EF4-FFF2-40B4-BE49-F238E27FC236}">
                      <a16:creationId xmlns:a16="http://schemas.microsoft.com/office/drawing/2014/main" xmlns="" id="{FB6094C0-9EB5-406C-A62E-44B08D1E07CE}"/>
                    </a:ext>
                  </a:extLst>
                </p:cNvPr>
                <p:cNvSpPr/>
                <p:nvPr/>
              </p:nvSpPr>
              <p:spPr bwMode="auto">
                <a:xfrm>
                  <a:off x="7904480" y="4362044"/>
                  <a:ext cx="2537460" cy="8669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</p:grpSp>
          <p:sp>
            <p:nvSpPr>
              <p:cNvPr id="15" name="îṡ1îḑè">
                <a:extLst>
                  <a:ext uri="{FF2B5EF4-FFF2-40B4-BE49-F238E27FC236}">
                    <a16:creationId xmlns:a16="http://schemas.microsoft.com/office/drawing/2014/main" xmlns="" id="{BD2B8EC3-873C-41AF-A6F6-3B257F8739A6}"/>
                  </a:ext>
                </a:extLst>
              </p:cNvPr>
              <p:cNvSpPr/>
              <p:nvPr/>
            </p:nvSpPr>
            <p:spPr bwMode="auto">
              <a:xfrm>
                <a:off x="2226466" y="2791952"/>
                <a:ext cx="488271" cy="519064"/>
              </a:xfrm>
              <a:custGeom>
                <a:avLst/>
                <a:gdLst>
                  <a:gd name="T0" fmla="*/ 5573 w 7665"/>
                  <a:gd name="T1" fmla="*/ 3911 h 8160"/>
                  <a:gd name="T2" fmla="*/ 4313 w 7665"/>
                  <a:gd name="T3" fmla="*/ 3955 h 8160"/>
                  <a:gd name="T4" fmla="*/ 3511 w 7665"/>
                  <a:gd name="T5" fmla="*/ 2721 h 8160"/>
                  <a:gd name="T6" fmla="*/ 4612 w 7665"/>
                  <a:gd name="T7" fmla="*/ 2386 h 8160"/>
                  <a:gd name="T8" fmla="*/ 5309 w 7665"/>
                  <a:gd name="T9" fmla="*/ 2472 h 8160"/>
                  <a:gd name="T10" fmla="*/ 3648 w 7665"/>
                  <a:gd name="T11" fmla="*/ 7533 h 8160"/>
                  <a:gd name="T12" fmla="*/ 5037 w 7665"/>
                  <a:gd name="T13" fmla="*/ 6233 h 8160"/>
                  <a:gd name="T14" fmla="*/ 4919 w 7665"/>
                  <a:gd name="T15" fmla="*/ 6025 h 8160"/>
                  <a:gd name="T16" fmla="*/ 3511 w 7665"/>
                  <a:gd name="T17" fmla="*/ 7213 h 8160"/>
                  <a:gd name="T18" fmla="*/ 3577 w 7665"/>
                  <a:gd name="T19" fmla="*/ 7514 h 8160"/>
                  <a:gd name="T20" fmla="*/ 5309 w 7665"/>
                  <a:gd name="T21" fmla="*/ 5688 h 8160"/>
                  <a:gd name="T22" fmla="*/ 5573 w 7665"/>
                  <a:gd name="T23" fmla="*/ 4249 h 8160"/>
                  <a:gd name="T24" fmla="*/ 4561 w 7665"/>
                  <a:gd name="T25" fmla="*/ 4206 h 8160"/>
                  <a:gd name="T26" fmla="*/ 4857 w 7665"/>
                  <a:gd name="T27" fmla="*/ 5774 h 8160"/>
                  <a:gd name="T28" fmla="*/ 5309 w 7665"/>
                  <a:gd name="T29" fmla="*/ 5688 h 8160"/>
                  <a:gd name="T30" fmla="*/ 5589 w 7665"/>
                  <a:gd name="T31" fmla="*/ 2569 h 8160"/>
                  <a:gd name="T32" fmla="*/ 5973 w 7665"/>
                  <a:gd name="T33" fmla="*/ 3955 h 8160"/>
                  <a:gd name="T34" fmla="*/ 7625 w 7665"/>
                  <a:gd name="T35" fmla="*/ 3911 h 8160"/>
                  <a:gd name="T36" fmla="*/ 7338 w 7665"/>
                  <a:gd name="T37" fmla="*/ 2468 h 8160"/>
                  <a:gd name="T38" fmla="*/ 5718 w 7665"/>
                  <a:gd name="T39" fmla="*/ 2386 h 8160"/>
                  <a:gd name="T40" fmla="*/ 6930 w 7665"/>
                  <a:gd name="T41" fmla="*/ 6025 h 8160"/>
                  <a:gd name="T42" fmla="*/ 5368 w 7665"/>
                  <a:gd name="T43" fmla="*/ 6100 h 8160"/>
                  <a:gd name="T44" fmla="*/ 3511 w 7665"/>
                  <a:gd name="T45" fmla="*/ 7950 h 8160"/>
                  <a:gd name="T46" fmla="*/ 3649 w 7665"/>
                  <a:gd name="T47" fmla="*/ 8107 h 8160"/>
                  <a:gd name="T48" fmla="*/ 7051 w 7665"/>
                  <a:gd name="T49" fmla="*/ 6096 h 8160"/>
                  <a:gd name="T50" fmla="*/ 7525 w 7665"/>
                  <a:gd name="T51" fmla="*/ 4206 h 8160"/>
                  <a:gd name="T52" fmla="*/ 5836 w 7665"/>
                  <a:gd name="T53" fmla="*/ 4335 h 8160"/>
                  <a:gd name="T54" fmla="*/ 5606 w 7665"/>
                  <a:gd name="T55" fmla="*/ 5716 h 8160"/>
                  <a:gd name="T56" fmla="*/ 7212 w 7665"/>
                  <a:gd name="T57" fmla="*/ 5774 h 8160"/>
                  <a:gd name="T58" fmla="*/ 7662 w 7665"/>
                  <a:gd name="T59" fmla="*/ 4352 h 8160"/>
                  <a:gd name="T60" fmla="*/ 7525 w 7665"/>
                  <a:gd name="T61" fmla="*/ 4206 h 8160"/>
                  <a:gd name="T62" fmla="*/ 5368 w 7665"/>
                  <a:gd name="T63" fmla="*/ 2061 h 8160"/>
                  <a:gd name="T64" fmla="*/ 6930 w 7665"/>
                  <a:gd name="T65" fmla="*/ 2136 h 8160"/>
                  <a:gd name="T66" fmla="*/ 7046 w 7665"/>
                  <a:gd name="T67" fmla="*/ 1924 h 8160"/>
                  <a:gd name="T68" fmla="*/ 3511 w 7665"/>
                  <a:gd name="T69" fmla="*/ 210 h 8160"/>
                  <a:gd name="T70" fmla="*/ 4320 w 7665"/>
                  <a:gd name="T71" fmla="*/ 1361 h 8160"/>
                  <a:gd name="T72" fmla="*/ 4686 w 7665"/>
                  <a:gd name="T73" fmla="*/ 2136 h 8160"/>
                  <a:gd name="T74" fmla="*/ 5039 w 7665"/>
                  <a:gd name="T75" fmla="*/ 2066 h 8160"/>
                  <a:gd name="T76" fmla="*/ 3713 w 7665"/>
                  <a:gd name="T77" fmla="*/ 642 h 8160"/>
                  <a:gd name="T78" fmla="*/ 3511 w 7665"/>
                  <a:gd name="T79" fmla="*/ 764 h 8160"/>
                  <a:gd name="T80" fmla="*/ 4320 w 7665"/>
                  <a:gd name="T81" fmla="*/ 1361 h 8160"/>
                  <a:gd name="T82" fmla="*/ 1517 w 7665"/>
                  <a:gd name="T83" fmla="*/ 2691 h 8160"/>
                  <a:gd name="T84" fmla="*/ 2294 w 7665"/>
                  <a:gd name="T85" fmla="*/ 2147 h 8160"/>
                  <a:gd name="T86" fmla="*/ 3899 w 7665"/>
                  <a:gd name="T87" fmla="*/ 2648 h 8160"/>
                  <a:gd name="T88" fmla="*/ 4226 w 7665"/>
                  <a:gd name="T89" fmla="*/ 1509 h 8160"/>
                  <a:gd name="T90" fmla="*/ 2941 w 7665"/>
                  <a:gd name="T91" fmla="*/ 575 h 8160"/>
                  <a:gd name="T92" fmla="*/ 1792 w 7665"/>
                  <a:gd name="T93" fmla="*/ 575 h 8160"/>
                  <a:gd name="T94" fmla="*/ 198 w 7665"/>
                  <a:gd name="T95" fmla="*/ 2794 h 8160"/>
                  <a:gd name="T96" fmla="*/ 2199 w 7665"/>
                  <a:gd name="T97" fmla="*/ 4658 h 8160"/>
                  <a:gd name="T98" fmla="*/ 3415 w 7665"/>
                  <a:gd name="T99" fmla="*/ 5443 h 8160"/>
                  <a:gd name="T100" fmla="*/ 999 w 7665"/>
                  <a:gd name="T101" fmla="*/ 5469 h 8160"/>
                  <a:gd name="T102" fmla="*/ 0 w 7665"/>
                  <a:gd name="T103" fmla="*/ 5961 h 8160"/>
                  <a:gd name="T104" fmla="*/ 1792 w 7665"/>
                  <a:gd name="T105" fmla="*/ 7111 h 8160"/>
                  <a:gd name="T106" fmla="*/ 2367 w 7665"/>
                  <a:gd name="T107" fmla="*/ 8160 h 8160"/>
                  <a:gd name="T108" fmla="*/ 2941 w 7665"/>
                  <a:gd name="T109" fmla="*/ 7158 h 8160"/>
                  <a:gd name="T110" fmla="*/ 4735 w 7665"/>
                  <a:gd name="T111" fmla="*/ 5296 h 8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665" h="8160">
                    <a:moveTo>
                      <a:pt x="5610" y="3809"/>
                    </a:moveTo>
                    <a:cubicBezTo>
                      <a:pt x="5613" y="3847"/>
                      <a:pt x="5599" y="3884"/>
                      <a:pt x="5573" y="3911"/>
                    </a:cubicBezTo>
                    <a:cubicBezTo>
                      <a:pt x="5547" y="3939"/>
                      <a:pt x="5511" y="3955"/>
                      <a:pt x="5473" y="3955"/>
                    </a:cubicBezTo>
                    <a:lnTo>
                      <a:pt x="4313" y="3955"/>
                    </a:lnTo>
                    <a:cubicBezTo>
                      <a:pt x="4087" y="3768"/>
                      <a:pt x="3811" y="3628"/>
                      <a:pt x="3511" y="3515"/>
                    </a:cubicBezTo>
                    <a:lnTo>
                      <a:pt x="3511" y="2721"/>
                    </a:lnTo>
                    <a:cubicBezTo>
                      <a:pt x="3637" y="2788"/>
                      <a:pt x="3761" y="2824"/>
                      <a:pt x="3899" y="2824"/>
                    </a:cubicBezTo>
                    <a:cubicBezTo>
                      <a:pt x="4217" y="2824"/>
                      <a:pt x="4484" y="2647"/>
                      <a:pt x="4612" y="2386"/>
                    </a:cubicBezTo>
                    <a:lnTo>
                      <a:pt x="5182" y="2386"/>
                    </a:lnTo>
                    <a:cubicBezTo>
                      <a:pt x="5238" y="2386"/>
                      <a:pt x="5288" y="2420"/>
                      <a:pt x="5309" y="2472"/>
                    </a:cubicBezTo>
                    <a:cubicBezTo>
                      <a:pt x="5480" y="2893"/>
                      <a:pt x="5582" y="3343"/>
                      <a:pt x="5610" y="3809"/>
                    </a:cubicBezTo>
                    <a:close/>
                    <a:moveTo>
                      <a:pt x="3648" y="7533"/>
                    </a:moveTo>
                    <a:cubicBezTo>
                      <a:pt x="3670" y="7533"/>
                      <a:pt x="3693" y="7528"/>
                      <a:pt x="3713" y="7518"/>
                    </a:cubicBezTo>
                    <a:cubicBezTo>
                      <a:pt x="4244" y="7237"/>
                      <a:pt x="4702" y="6793"/>
                      <a:pt x="5037" y="6233"/>
                    </a:cubicBezTo>
                    <a:cubicBezTo>
                      <a:pt x="5063" y="6190"/>
                      <a:pt x="5063" y="6137"/>
                      <a:pt x="5039" y="6094"/>
                    </a:cubicBezTo>
                    <a:cubicBezTo>
                      <a:pt x="5015" y="6051"/>
                      <a:pt x="4969" y="6025"/>
                      <a:pt x="4919" y="6025"/>
                    </a:cubicBezTo>
                    <a:lnTo>
                      <a:pt x="4793" y="6025"/>
                    </a:lnTo>
                    <a:cubicBezTo>
                      <a:pt x="4595" y="6595"/>
                      <a:pt x="4150" y="7008"/>
                      <a:pt x="3511" y="7213"/>
                    </a:cubicBezTo>
                    <a:lnTo>
                      <a:pt x="3511" y="7396"/>
                    </a:lnTo>
                    <a:cubicBezTo>
                      <a:pt x="3511" y="7444"/>
                      <a:pt x="3536" y="7489"/>
                      <a:pt x="3577" y="7514"/>
                    </a:cubicBezTo>
                    <a:cubicBezTo>
                      <a:pt x="3599" y="7527"/>
                      <a:pt x="3624" y="7533"/>
                      <a:pt x="3648" y="7533"/>
                    </a:cubicBezTo>
                    <a:close/>
                    <a:moveTo>
                      <a:pt x="5309" y="5688"/>
                    </a:moveTo>
                    <a:cubicBezTo>
                      <a:pt x="5480" y="5267"/>
                      <a:pt x="5582" y="4817"/>
                      <a:pt x="5610" y="4351"/>
                    </a:cubicBezTo>
                    <a:cubicBezTo>
                      <a:pt x="5613" y="4314"/>
                      <a:pt x="5599" y="4277"/>
                      <a:pt x="5573" y="4249"/>
                    </a:cubicBezTo>
                    <a:cubicBezTo>
                      <a:pt x="5547" y="4221"/>
                      <a:pt x="5511" y="4206"/>
                      <a:pt x="5473" y="4206"/>
                    </a:cubicBezTo>
                    <a:lnTo>
                      <a:pt x="4561" y="4206"/>
                    </a:lnTo>
                    <a:cubicBezTo>
                      <a:pt x="4779" y="4480"/>
                      <a:pt x="4911" y="4831"/>
                      <a:pt x="4911" y="5296"/>
                    </a:cubicBezTo>
                    <a:cubicBezTo>
                      <a:pt x="4911" y="5465"/>
                      <a:pt x="4889" y="5622"/>
                      <a:pt x="4857" y="5774"/>
                    </a:cubicBezTo>
                    <a:lnTo>
                      <a:pt x="5181" y="5774"/>
                    </a:lnTo>
                    <a:cubicBezTo>
                      <a:pt x="5238" y="5774"/>
                      <a:pt x="5288" y="5740"/>
                      <a:pt x="5309" y="5688"/>
                    </a:cubicBezTo>
                    <a:close/>
                    <a:moveTo>
                      <a:pt x="5606" y="2444"/>
                    </a:moveTo>
                    <a:cubicBezTo>
                      <a:pt x="5580" y="2481"/>
                      <a:pt x="5574" y="2527"/>
                      <a:pt x="5589" y="2569"/>
                    </a:cubicBezTo>
                    <a:cubicBezTo>
                      <a:pt x="5729" y="2964"/>
                      <a:pt x="5812" y="3386"/>
                      <a:pt x="5836" y="3824"/>
                    </a:cubicBezTo>
                    <a:cubicBezTo>
                      <a:pt x="5840" y="3898"/>
                      <a:pt x="5900" y="3955"/>
                      <a:pt x="5973" y="3955"/>
                    </a:cubicBezTo>
                    <a:lnTo>
                      <a:pt x="7525" y="3955"/>
                    </a:lnTo>
                    <a:cubicBezTo>
                      <a:pt x="7563" y="3955"/>
                      <a:pt x="7599" y="3939"/>
                      <a:pt x="7625" y="3911"/>
                    </a:cubicBezTo>
                    <a:cubicBezTo>
                      <a:pt x="7651" y="3883"/>
                      <a:pt x="7664" y="3846"/>
                      <a:pt x="7662" y="3808"/>
                    </a:cubicBezTo>
                    <a:cubicBezTo>
                      <a:pt x="7630" y="3339"/>
                      <a:pt x="7521" y="2888"/>
                      <a:pt x="7338" y="2468"/>
                    </a:cubicBezTo>
                    <a:cubicBezTo>
                      <a:pt x="7316" y="2418"/>
                      <a:pt x="7266" y="2386"/>
                      <a:pt x="7212" y="2386"/>
                    </a:cubicBezTo>
                    <a:lnTo>
                      <a:pt x="5718" y="2386"/>
                    </a:lnTo>
                    <a:cubicBezTo>
                      <a:pt x="5674" y="2386"/>
                      <a:pt x="5632" y="2408"/>
                      <a:pt x="5606" y="2444"/>
                    </a:cubicBezTo>
                    <a:close/>
                    <a:moveTo>
                      <a:pt x="6930" y="6025"/>
                    </a:moveTo>
                    <a:lnTo>
                      <a:pt x="5491" y="6025"/>
                    </a:lnTo>
                    <a:cubicBezTo>
                      <a:pt x="5439" y="6025"/>
                      <a:pt x="5392" y="6054"/>
                      <a:pt x="5368" y="6100"/>
                    </a:cubicBezTo>
                    <a:cubicBezTo>
                      <a:pt x="4966" y="6890"/>
                      <a:pt x="4335" y="7502"/>
                      <a:pt x="3594" y="7824"/>
                    </a:cubicBezTo>
                    <a:cubicBezTo>
                      <a:pt x="3544" y="7846"/>
                      <a:pt x="3511" y="7895"/>
                      <a:pt x="3511" y="7950"/>
                    </a:cubicBezTo>
                    <a:lnTo>
                      <a:pt x="3511" y="7969"/>
                    </a:lnTo>
                    <a:cubicBezTo>
                      <a:pt x="3511" y="8046"/>
                      <a:pt x="3573" y="8107"/>
                      <a:pt x="3649" y="8107"/>
                    </a:cubicBezTo>
                    <a:cubicBezTo>
                      <a:pt x="5031" y="8107"/>
                      <a:pt x="6301" y="7407"/>
                      <a:pt x="7046" y="6236"/>
                    </a:cubicBezTo>
                    <a:cubicBezTo>
                      <a:pt x="7073" y="6194"/>
                      <a:pt x="7075" y="6140"/>
                      <a:pt x="7051" y="6096"/>
                    </a:cubicBezTo>
                    <a:cubicBezTo>
                      <a:pt x="7026" y="6052"/>
                      <a:pt x="6980" y="6025"/>
                      <a:pt x="6930" y="6025"/>
                    </a:cubicBezTo>
                    <a:close/>
                    <a:moveTo>
                      <a:pt x="7525" y="4206"/>
                    </a:moveTo>
                    <a:lnTo>
                      <a:pt x="5974" y="4206"/>
                    </a:lnTo>
                    <a:cubicBezTo>
                      <a:pt x="5901" y="4206"/>
                      <a:pt x="5840" y="4263"/>
                      <a:pt x="5836" y="4335"/>
                    </a:cubicBezTo>
                    <a:cubicBezTo>
                      <a:pt x="5812" y="4774"/>
                      <a:pt x="5729" y="5196"/>
                      <a:pt x="5589" y="5591"/>
                    </a:cubicBezTo>
                    <a:cubicBezTo>
                      <a:pt x="5574" y="5632"/>
                      <a:pt x="5580" y="5679"/>
                      <a:pt x="5606" y="5716"/>
                    </a:cubicBezTo>
                    <a:cubicBezTo>
                      <a:pt x="5632" y="5752"/>
                      <a:pt x="5674" y="5774"/>
                      <a:pt x="5718" y="5774"/>
                    </a:cubicBezTo>
                    <a:lnTo>
                      <a:pt x="7212" y="5774"/>
                    </a:lnTo>
                    <a:cubicBezTo>
                      <a:pt x="7266" y="5774"/>
                      <a:pt x="7316" y="5742"/>
                      <a:pt x="7338" y="5692"/>
                    </a:cubicBezTo>
                    <a:cubicBezTo>
                      <a:pt x="7522" y="5273"/>
                      <a:pt x="7630" y="4822"/>
                      <a:pt x="7662" y="4352"/>
                    </a:cubicBezTo>
                    <a:cubicBezTo>
                      <a:pt x="7665" y="4314"/>
                      <a:pt x="7651" y="4277"/>
                      <a:pt x="7625" y="4249"/>
                    </a:cubicBezTo>
                    <a:cubicBezTo>
                      <a:pt x="7599" y="4221"/>
                      <a:pt x="7563" y="4206"/>
                      <a:pt x="7525" y="4206"/>
                    </a:cubicBezTo>
                    <a:close/>
                    <a:moveTo>
                      <a:pt x="3594" y="336"/>
                    </a:moveTo>
                    <a:cubicBezTo>
                      <a:pt x="4335" y="658"/>
                      <a:pt x="4966" y="1270"/>
                      <a:pt x="5368" y="2061"/>
                    </a:cubicBezTo>
                    <a:cubicBezTo>
                      <a:pt x="5392" y="2107"/>
                      <a:pt x="5439" y="2136"/>
                      <a:pt x="5491" y="2136"/>
                    </a:cubicBezTo>
                    <a:lnTo>
                      <a:pt x="6930" y="2136"/>
                    </a:lnTo>
                    <a:cubicBezTo>
                      <a:pt x="6980" y="2136"/>
                      <a:pt x="7026" y="2108"/>
                      <a:pt x="7051" y="2064"/>
                    </a:cubicBezTo>
                    <a:cubicBezTo>
                      <a:pt x="7075" y="2020"/>
                      <a:pt x="7073" y="1967"/>
                      <a:pt x="7046" y="1924"/>
                    </a:cubicBezTo>
                    <a:cubicBezTo>
                      <a:pt x="6301" y="752"/>
                      <a:pt x="5031" y="53"/>
                      <a:pt x="3648" y="53"/>
                    </a:cubicBezTo>
                    <a:cubicBezTo>
                      <a:pt x="3572" y="53"/>
                      <a:pt x="3511" y="134"/>
                      <a:pt x="3511" y="210"/>
                    </a:cubicBezTo>
                    <a:cubicBezTo>
                      <a:pt x="3511" y="265"/>
                      <a:pt x="3543" y="314"/>
                      <a:pt x="3594" y="336"/>
                    </a:cubicBezTo>
                    <a:close/>
                    <a:moveTo>
                      <a:pt x="4320" y="1361"/>
                    </a:moveTo>
                    <a:cubicBezTo>
                      <a:pt x="4499" y="1464"/>
                      <a:pt x="4696" y="1698"/>
                      <a:pt x="4696" y="2036"/>
                    </a:cubicBezTo>
                    <a:cubicBezTo>
                      <a:pt x="4696" y="2070"/>
                      <a:pt x="4690" y="2103"/>
                      <a:pt x="4686" y="2136"/>
                    </a:cubicBezTo>
                    <a:lnTo>
                      <a:pt x="4920" y="2136"/>
                    </a:lnTo>
                    <a:cubicBezTo>
                      <a:pt x="4969" y="2136"/>
                      <a:pt x="5015" y="2109"/>
                      <a:pt x="5039" y="2066"/>
                    </a:cubicBezTo>
                    <a:cubicBezTo>
                      <a:pt x="5064" y="2023"/>
                      <a:pt x="5063" y="1970"/>
                      <a:pt x="5038" y="1928"/>
                    </a:cubicBezTo>
                    <a:cubicBezTo>
                      <a:pt x="4702" y="1367"/>
                      <a:pt x="4244" y="923"/>
                      <a:pt x="3713" y="642"/>
                    </a:cubicBezTo>
                    <a:cubicBezTo>
                      <a:pt x="3670" y="620"/>
                      <a:pt x="3619" y="622"/>
                      <a:pt x="3577" y="646"/>
                    </a:cubicBezTo>
                    <a:cubicBezTo>
                      <a:pt x="3536" y="671"/>
                      <a:pt x="3511" y="716"/>
                      <a:pt x="3511" y="764"/>
                    </a:cubicBezTo>
                    <a:lnTo>
                      <a:pt x="3511" y="987"/>
                    </a:lnTo>
                    <a:cubicBezTo>
                      <a:pt x="3800" y="1079"/>
                      <a:pt x="4072" y="1202"/>
                      <a:pt x="4320" y="1361"/>
                    </a:cubicBezTo>
                    <a:close/>
                    <a:moveTo>
                      <a:pt x="2820" y="3484"/>
                    </a:moveTo>
                    <a:cubicBezTo>
                      <a:pt x="1775" y="3217"/>
                      <a:pt x="1517" y="3088"/>
                      <a:pt x="1517" y="2691"/>
                    </a:cubicBezTo>
                    <a:lnTo>
                      <a:pt x="1517" y="2673"/>
                    </a:lnTo>
                    <a:cubicBezTo>
                      <a:pt x="1517" y="2380"/>
                      <a:pt x="1784" y="2147"/>
                      <a:pt x="2294" y="2147"/>
                    </a:cubicBezTo>
                    <a:cubicBezTo>
                      <a:pt x="2708" y="2147"/>
                      <a:pt x="3122" y="2294"/>
                      <a:pt x="3562" y="2553"/>
                    </a:cubicBezTo>
                    <a:cubicBezTo>
                      <a:pt x="3665" y="2613"/>
                      <a:pt x="3769" y="2648"/>
                      <a:pt x="3899" y="2648"/>
                    </a:cubicBezTo>
                    <a:cubicBezTo>
                      <a:pt x="4244" y="2648"/>
                      <a:pt x="4520" y="2380"/>
                      <a:pt x="4520" y="2035"/>
                    </a:cubicBezTo>
                    <a:cubicBezTo>
                      <a:pt x="4520" y="1777"/>
                      <a:pt x="4373" y="1594"/>
                      <a:pt x="4226" y="1509"/>
                    </a:cubicBezTo>
                    <a:cubicBezTo>
                      <a:pt x="3846" y="1267"/>
                      <a:pt x="3415" y="1107"/>
                      <a:pt x="2941" y="1029"/>
                    </a:cubicBezTo>
                    <a:lnTo>
                      <a:pt x="2941" y="575"/>
                    </a:lnTo>
                    <a:cubicBezTo>
                      <a:pt x="2941" y="257"/>
                      <a:pt x="2685" y="0"/>
                      <a:pt x="2367" y="0"/>
                    </a:cubicBezTo>
                    <a:cubicBezTo>
                      <a:pt x="2049" y="0"/>
                      <a:pt x="1792" y="257"/>
                      <a:pt x="1792" y="575"/>
                    </a:cubicBezTo>
                    <a:lnTo>
                      <a:pt x="1792" y="1025"/>
                    </a:lnTo>
                    <a:cubicBezTo>
                      <a:pt x="840" y="1201"/>
                      <a:pt x="198" y="1860"/>
                      <a:pt x="198" y="2794"/>
                    </a:cubicBezTo>
                    <a:lnTo>
                      <a:pt x="198" y="2812"/>
                    </a:lnTo>
                    <a:cubicBezTo>
                      <a:pt x="198" y="4011"/>
                      <a:pt x="983" y="4348"/>
                      <a:pt x="2199" y="4658"/>
                    </a:cubicBezTo>
                    <a:cubicBezTo>
                      <a:pt x="3208" y="4918"/>
                      <a:pt x="3415" y="5090"/>
                      <a:pt x="3415" y="5426"/>
                    </a:cubicBezTo>
                    <a:lnTo>
                      <a:pt x="3415" y="5443"/>
                    </a:lnTo>
                    <a:cubicBezTo>
                      <a:pt x="3415" y="5797"/>
                      <a:pt x="3087" y="6012"/>
                      <a:pt x="2544" y="6012"/>
                    </a:cubicBezTo>
                    <a:cubicBezTo>
                      <a:pt x="1957" y="6012"/>
                      <a:pt x="1457" y="5805"/>
                      <a:pt x="999" y="5469"/>
                    </a:cubicBezTo>
                    <a:cubicBezTo>
                      <a:pt x="913" y="5409"/>
                      <a:pt x="793" y="5349"/>
                      <a:pt x="621" y="5349"/>
                    </a:cubicBezTo>
                    <a:cubicBezTo>
                      <a:pt x="275" y="5349"/>
                      <a:pt x="0" y="5616"/>
                      <a:pt x="0" y="5961"/>
                    </a:cubicBezTo>
                    <a:cubicBezTo>
                      <a:pt x="0" y="6168"/>
                      <a:pt x="103" y="6358"/>
                      <a:pt x="250" y="6461"/>
                    </a:cubicBezTo>
                    <a:cubicBezTo>
                      <a:pt x="717" y="6796"/>
                      <a:pt x="1247" y="7008"/>
                      <a:pt x="1792" y="7111"/>
                    </a:cubicBezTo>
                    <a:lnTo>
                      <a:pt x="1792" y="7586"/>
                    </a:lnTo>
                    <a:cubicBezTo>
                      <a:pt x="1792" y="7903"/>
                      <a:pt x="2049" y="8160"/>
                      <a:pt x="2367" y="8160"/>
                    </a:cubicBezTo>
                    <a:cubicBezTo>
                      <a:pt x="2684" y="8160"/>
                      <a:pt x="2941" y="7903"/>
                      <a:pt x="2941" y="7586"/>
                    </a:cubicBezTo>
                    <a:lnTo>
                      <a:pt x="2941" y="7158"/>
                    </a:lnTo>
                    <a:cubicBezTo>
                      <a:pt x="4013" y="7025"/>
                      <a:pt x="4735" y="6378"/>
                      <a:pt x="4735" y="5314"/>
                    </a:cubicBezTo>
                    <a:lnTo>
                      <a:pt x="4735" y="5296"/>
                    </a:lnTo>
                    <a:cubicBezTo>
                      <a:pt x="4735" y="4244"/>
                      <a:pt x="4044" y="3804"/>
                      <a:pt x="2820" y="3484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 dirty="0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6095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Supporting text here.</a:t>
            </a:r>
          </a:p>
          <a:p>
            <a:pPr lvl="0"/>
            <a:r>
              <a:rPr lang="en-US" altLang="zh-CN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04F69230-F3A6-4586-9371-A858F4763E9F}"/>
              </a:ext>
            </a:extLst>
          </p:cNvPr>
          <p:cNvSpPr txBox="1"/>
          <p:nvPr/>
        </p:nvSpPr>
        <p:spPr>
          <a:xfrm>
            <a:off x="1734177" y="2758582"/>
            <a:ext cx="1985304" cy="1726148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DE1C16D4-CB80-4AA1-A3F8-FE0F4113E1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286A9833-B78C-4677-82F7-BF852FF65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43553BA3-3BBE-4D98-869E-1C73EC7DC0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/>
          </a:p>
        </p:txBody>
      </p:sp>
      <p:grpSp>
        <p:nvGrpSpPr>
          <p:cNvPr id="5" name="20642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C263C9EE-0DEF-4AA0-88A1-DBFBD8416C4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165526" y="1347572"/>
            <a:ext cx="7860947" cy="4581956"/>
            <a:chOff x="2165526" y="1347572"/>
            <a:chExt cx="7860947" cy="4581956"/>
          </a:xfrm>
        </p:grpSpPr>
        <p:sp>
          <p:nvSpPr>
            <p:cNvPr id="6" name="íšľïdê">
              <a:extLst>
                <a:ext uri="{FF2B5EF4-FFF2-40B4-BE49-F238E27FC236}">
                  <a16:creationId xmlns:a16="http://schemas.microsoft.com/office/drawing/2014/main" xmlns="" id="{C47B2905-7F8E-4CAC-9956-6B41CFF6F7E4}"/>
                </a:ext>
              </a:extLst>
            </p:cNvPr>
            <p:cNvSpPr/>
            <p:nvPr/>
          </p:nvSpPr>
          <p:spPr>
            <a:xfrm flipV="1">
              <a:off x="2253473" y="4072601"/>
              <a:ext cx="1920305" cy="960152"/>
            </a:xfrm>
            <a:custGeom>
              <a:avLst/>
              <a:gdLst>
                <a:gd name="connsiteX0" fmla="*/ 0 w 7245350"/>
                <a:gd name="connsiteY0" fmla="*/ 3622675 h 7245350"/>
                <a:gd name="connsiteX1" fmla="*/ 3622675 w 7245350"/>
                <a:gd name="connsiteY1" fmla="*/ 0 h 7245350"/>
                <a:gd name="connsiteX2" fmla="*/ 7245350 w 7245350"/>
                <a:gd name="connsiteY2" fmla="*/ 3622675 h 7245350"/>
                <a:gd name="connsiteX3" fmla="*/ 3622675 w 7245350"/>
                <a:gd name="connsiteY3" fmla="*/ 7245350 h 7245350"/>
                <a:gd name="connsiteX4" fmla="*/ 0 w 7245350"/>
                <a:gd name="connsiteY4" fmla="*/ 3622675 h 7245350"/>
                <a:gd name="connsiteX0" fmla="*/ 3622675 w 7245350"/>
                <a:gd name="connsiteY0" fmla="*/ 7245350 h 7336790"/>
                <a:gd name="connsiteX1" fmla="*/ 0 w 7245350"/>
                <a:gd name="connsiteY1" fmla="*/ 3622675 h 7336790"/>
                <a:gd name="connsiteX2" fmla="*/ 3622675 w 7245350"/>
                <a:gd name="connsiteY2" fmla="*/ 0 h 7336790"/>
                <a:gd name="connsiteX3" fmla="*/ 7245350 w 7245350"/>
                <a:gd name="connsiteY3" fmla="*/ 3622675 h 7336790"/>
                <a:gd name="connsiteX4" fmla="*/ 3714115 w 7245350"/>
                <a:gd name="connsiteY4" fmla="*/ 7336790 h 7336790"/>
                <a:gd name="connsiteX0" fmla="*/ 3622675 w 7245350"/>
                <a:gd name="connsiteY0" fmla="*/ 7245350 h 7245350"/>
                <a:gd name="connsiteX1" fmla="*/ 0 w 7245350"/>
                <a:gd name="connsiteY1" fmla="*/ 3622675 h 7245350"/>
                <a:gd name="connsiteX2" fmla="*/ 3622675 w 7245350"/>
                <a:gd name="connsiteY2" fmla="*/ 0 h 7245350"/>
                <a:gd name="connsiteX3" fmla="*/ 7245350 w 7245350"/>
                <a:gd name="connsiteY3" fmla="*/ 3622675 h 7245350"/>
                <a:gd name="connsiteX0" fmla="*/ 0 w 7245350"/>
                <a:gd name="connsiteY0" fmla="*/ 3622675 h 3622675"/>
                <a:gd name="connsiteX1" fmla="*/ 3622675 w 7245350"/>
                <a:gd name="connsiteY1" fmla="*/ 0 h 3622675"/>
                <a:gd name="connsiteX2" fmla="*/ 7245350 w 7245350"/>
                <a:gd name="connsiteY2" fmla="*/ 3622675 h 362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45350" h="3622675">
                  <a:moveTo>
                    <a:pt x="0" y="3622675"/>
                  </a:moveTo>
                  <a:cubicBezTo>
                    <a:pt x="0" y="1621927"/>
                    <a:pt x="1621927" y="0"/>
                    <a:pt x="3622675" y="0"/>
                  </a:cubicBezTo>
                  <a:cubicBezTo>
                    <a:pt x="5623423" y="0"/>
                    <a:pt x="7245350" y="1621927"/>
                    <a:pt x="7245350" y="3622675"/>
                  </a:cubicBezTo>
                </a:path>
              </a:pathLst>
            </a:custGeom>
            <a:noFill/>
            <a:ln w="2540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ru-RU"/>
            </a:p>
          </p:txBody>
        </p:sp>
        <p:sp>
          <p:nvSpPr>
            <p:cNvPr id="7" name="îṧļíḑê">
              <a:extLst>
                <a:ext uri="{FF2B5EF4-FFF2-40B4-BE49-F238E27FC236}">
                  <a16:creationId xmlns:a16="http://schemas.microsoft.com/office/drawing/2014/main" xmlns="" id="{8276C0F2-13BF-430B-95E2-A54CB09C56CE}"/>
                </a:ext>
              </a:extLst>
            </p:cNvPr>
            <p:cNvSpPr/>
            <p:nvPr/>
          </p:nvSpPr>
          <p:spPr>
            <a:xfrm>
              <a:off x="4173777" y="2231647"/>
              <a:ext cx="1920305" cy="960152"/>
            </a:xfrm>
            <a:custGeom>
              <a:avLst/>
              <a:gdLst>
                <a:gd name="connsiteX0" fmla="*/ 0 w 7245350"/>
                <a:gd name="connsiteY0" fmla="*/ 3622675 h 7245350"/>
                <a:gd name="connsiteX1" fmla="*/ 3622675 w 7245350"/>
                <a:gd name="connsiteY1" fmla="*/ 0 h 7245350"/>
                <a:gd name="connsiteX2" fmla="*/ 7245350 w 7245350"/>
                <a:gd name="connsiteY2" fmla="*/ 3622675 h 7245350"/>
                <a:gd name="connsiteX3" fmla="*/ 3622675 w 7245350"/>
                <a:gd name="connsiteY3" fmla="*/ 7245350 h 7245350"/>
                <a:gd name="connsiteX4" fmla="*/ 0 w 7245350"/>
                <a:gd name="connsiteY4" fmla="*/ 3622675 h 7245350"/>
                <a:gd name="connsiteX0" fmla="*/ 3622675 w 7245350"/>
                <a:gd name="connsiteY0" fmla="*/ 7245350 h 7336790"/>
                <a:gd name="connsiteX1" fmla="*/ 0 w 7245350"/>
                <a:gd name="connsiteY1" fmla="*/ 3622675 h 7336790"/>
                <a:gd name="connsiteX2" fmla="*/ 3622675 w 7245350"/>
                <a:gd name="connsiteY2" fmla="*/ 0 h 7336790"/>
                <a:gd name="connsiteX3" fmla="*/ 7245350 w 7245350"/>
                <a:gd name="connsiteY3" fmla="*/ 3622675 h 7336790"/>
                <a:gd name="connsiteX4" fmla="*/ 3714115 w 7245350"/>
                <a:gd name="connsiteY4" fmla="*/ 7336790 h 7336790"/>
                <a:gd name="connsiteX0" fmla="*/ 3622675 w 7245350"/>
                <a:gd name="connsiteY0" fmla="*/ 7245350 h 7245350"/>
                <a:gd name="connsiteX1" fmla="*/ 0 w 7245350"/>
                <a:gd name="connsiteY1" fmla="*/ 3622675 h 7245350"/>
                <a:gd name="connsiteX2" fmla="*/ 3622675 w 7245350"/>
                <a:gd name="connsiteY2" fmla="*/ 0 h 7245350"/>
                <a:gd name="connsiteX3" fmla="*/ 7245350 w 7245350"/>
                <a:gd name="connsiteY3" fmla="*/ 3622675 h 7245350"/>
                <a:gd name="connsiteX0" fmla="*/ 0 w 7245350"/>
                <a:gd name="connsiteY0" fmla="*/ 3622675 h 3622675"/>
                <a:gd name="connsiteX1" fmla="*/ 3622675 w 7245350"/>
                <a:gd name="connsiteY1" fmla="*/ 0 h 3622675"/>
                <a:gd name="connsiteX2" fmla="*/ 7245350 w 7245350"/>
                <a:gd name="connsiteY2" fmla="*/ 3622675 h 362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45350" h="3622675">
                  <a:moveTo>
                    <a:pt x="0" y="3622675"/>
                  </a:moveTo>
                  <a:cubicBezTo>
                    <a:pt x="0" y="1621927"/>
                    <a:pt x="1621927" y="0"/>
                    <a:pt x="3622675" y="0"/>
                  </a:cubicBezTo>
                  <a:cubicBezTo>
                    <a:pt x="5623423" y="0"/>
                    <a:pt x="7245350" y="1621927"/>
                    <a:pt x="7245350" y="3622675"/>
                  </a:cubicBezTo>
                </a:path>
              </a:pathLst>
            </a:custGeom>
            <a:noFill/>
            <a:ln w="2540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ru-RU"/>
            </a:p>
          </p:txBody>
        </p:sp>
        <p:sp>
          <p:nvSpPr>
            <p:cNvPr id="8" name="iṥḻïḓe">
              <a:extLst>
                <a:ext uri="{FF2B5EF4-FFF2-40B4-BE49-F238E27FC236}">
                  <a16:creationId xmlns:a16="http://schemas.microsoft.com/office/drawing/2014/main" xmlns="" id="{BBB48190-9E1B-46DE-8F6B-DA98A8754A7B}"/>
                </a:ext>
              </a:extLst>
            </p:cNvPr>
            <p:cNvSpPr/>
            <p:nvPr/>
          </p:nvSpPr>
          <p:spPr>
            <a:xfrm flipV="1">
              <a:off x="6094082" y="4072601"/>
              <a:ext cx="1920305" cy="960152"/>
            </a:xfrm>
            <a:custGeom>
              <a:avLst/>
              <a:gdLst>
                <a:gd name="connsiteX0" fmla="*/ 0 w 7245350"/>
                <a:gd name="connsiteY0" fmla="*/ 3622675 h 7245350"/>
                <a:gd name="connsiteX1" fmla="*/ 3622675 w 7245350"/>
                <a:gd name="connsiteY1" fmla="*/ 0 h 7245350"/>
                <a:gd name="connsiteX2" fmla="*/ 7245350 w 7245350"/>
                <a:gd name="connsiteY2" fmla="*/ 3622675 h 7245350"/>
                <a:gd name="connsiteX3" fmla="*/ 3622675 w 7245350"/>
                <a:gd name="connsiteY3" fmla="*/ 7245350 h 7245350"/>
                <a:gd name="connsiteX4" fmla="*/ 0 w 7245350"/>
                <a:gd name="connsiteY4" fmla="*/ 3622675 h 7245350"/>
                <a:gd name="connsiteX0" fmla="*/ 3622675 w 7245350"/>
                <a:gd name="connsiteY0" fmla="*/ 7245350 h 7336790"/>
                <a:gd name="connsiteX1" fmla="*/ 0 w 7245350"/>
                <a:gd name="connsiteY1" fmla="*/ 3622675 h 7336790"/>
                <a:gd name="connsiteX2" fmla="*/ 3622675 w 7245350"/>
                <a:gd name="connsiteY2" fmla="*/ 0 h 7336790"/>
                <a:gd name="connsiteX3" fmla="*/ 7245350 w 7245350"/>
                <a:gd name="connsiteY3" fmla="*/ 3622675 h 7336790"/>
                <a:gd name="connsiteX4" fmla="*/ 3714115 w 7245350"/>
                <a:gd name="connsiteY4" fmla="*/ 7336790 h 7336790"/>
                <a:gd name="connsiteX0" fmla="*/ 3622675 w 7245350"/>
                <a:gd name="connsiteY0" fmla="*/ 7245350 h 7245350"/>
                <a:gd name="connsiteX1" fmla="*/ 0 w 7245350"/>
                <a:gd name="connsiteY1" fmla="*/ 3622675 h 7245350"/>
                <a:gd name="connsiteX2" fmla="*/ 3622675 w 7245350"/>
                <a:gd name="connsiteY2" fmla="*/ 0 h 7245350"/>
                <a:gd name="connsiteX3" fmla="*/ 7245350 w 7245350"/>
                <a:gd name="connsiteY3" fmla="*/ 3622675 h 7245350"/>
                <a:gd name="connsiteX0" fmla="*/ 0 w 7245350"/>
                <a:gd name="connsiteY0" fmla="*/ 3622675 h 3622675"/>
                <a:gd name="connsiteX1" fmla="*/ 3622675 w 7245350"/>
                <a:gd name="connsiteY1" fmla="*/ 0 h 3622675"/>
                <a:gd name="connsiteX2" fmla="*/ 7245350 w 7245350"/>
                <a:gd name="connsiteY2" fmla="*/ 3622675 h 362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45350" h="3622675">
                  <a:moveTo>
                    <a:pt x="0" y="3622675"/>
                  </a:moveTo>
                  <a:cubicBezTo>
                    <a:pt x="0" y="1621927"/>
                    <a:pt x="1621927" y="0"/>
                    <a:pt x="3622675" y="0"/>
                  </a:cubicBezTo>
                  <a:cubicBezTo>
                    <a:pt x="5623423" y="0"/>
                    <a:pt x="7245350" y="1621927"/>
                    <a:pt x="7245350" y="3622675"/>
                  </a:cubicBezTo>
                </a:path>
              </a:pathLst>
            </a:custGeom>
            <a:noFill/>
            <a:ln w="2540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ru-RU"/>
            </a:p>
          </p:txBody>
        </p:sp>
        <p:sp>
          <p:nvSpPr>
            <p:cNvPr id="9" name="iṧļíḍe">
              <a:extLst>
                <a:ext uri="{FF2B5EF4-FFF2-40B4-BE49-F238E27FC236}">
                  <a16:creationId xmlns:a16="http://schemas.microsoft.com/office/drawing/2014/main" xmlns="" id="{484B624F-678E-4956-A909-51B4FAD1024B}"/>
                </a:ext>
              </a:extLst>
            </p:cNvPr>
            <p:cNvSpPr/>
            <p:nvPr/>
          </p:nvSpPr>
          <p:spPr>
            <a:xfrm>
              <a:off x="8012418" y="2231647"/>
              <a:ext cx="1920305" cy="960152"/>
            </a:xfrm>
            <a:custGeom>
              <a:avLst/>
              <a:gdLst>
                <a:gd name="connsiteX0" fmla="*/ 0 w 7245350"/>
                <a:gd name="connsiteY0" fmla="*/ 3622675 h 7245350"/>
                <a:gd name="connsiteX1" fmla="*/ 3622675 w 7245350"/>
                <a:gd name="connsiteY1" fmla="*/ 0 h 7245350"/>
                <a:gd name="connsiteX2" fmla="*/ 7245350 w 7245350"/>
                <a:gd name="connsiteY2" fmla="*/ 3622675 h 7245350"/>
                <a:gd name="connsiteX3" fmla="*/ 3622675 w 7245350"/>
                <a:gd name="connsiteY3" fmla="*/ 7245350 h 7245350"/>
                <a:gd name="connsiteX4" fmla="*/ 0 w 7245350"/>
                <a:gd name="connsiteY4" fmla="*/ 3622675 h 7245350"/>
                <a:gd name="connsiteX0" fmla="*/ 3622675 w 7245350"/>
                <a:gd name="connsiteY0" fmla="*/ 7245350 h 7336790"/>
                <a:gd name="connsiteX1" fmla="*/ 0 w 7245350"/>
                <a:gd name="connsiteY1" fmla="*/ 3622675 h 7336790"/>
                <a:gd name="connsiteX2" fmla="*/ 3622675 w 7245350"/>
                <a:gd name="connsiteY2" fmla="*/ 0 h 7336790"/>
                <a:gd name="connsiteX3" fmla="*/ 7245350 w 7245350"/>
                <a:gd name="connsiteY3" fmla="*/ 3622675 h 7336790"/>
                <a:gd name="connsiteX4" fmla="*/ 3714115 w 7245350"/>
                <a:gd name="connsiteY4" fmla="*/ 7336790 h 7336790"/>
                <a:gd name="connsiteX0" fmla="*/ 3622675 w 7245350"/>
                <a:gd name="connsiteY0" fmla="*/ 7245350 h 7245350"/>
                <a:gd name="connsiteX1" fmla="*/ 0 w 7245350"/>
                <a:gd name="connsiteY1" fmla="*/ 3622675 h 7245350"/>
                <a:gd name="connsiteX2" fmla="*/ 3622675 w 7245350"/>
                <a:gd name="connsiteY2" fmla="*/ 0 h 7245350"/>
                <a:gd name="connsiteX3" fmla="*/ 7245350 w 7245350"/>
                <a:gd name="connsiteY3" fmla="*/ 3622675 h 7245350"/>
                <a:gd name="connsiteX0" fmla="*/ 0 w 7245350"/>
                <a:gd name="connsiteY0" fmla="*/ 3622675 h 3622675"/>
                <a:gd name="connsiteX1" fmla="*/ 3622675 w 7245350"/>
                <a:gd name="connsiteY1" fmla="*/ 0 h 3622675"/>
                <a:gd name="connsiteX2" fmla="*/ 7245350 w 7245350"/>
                <a:gd name="connsiteY2" fmla="*/ 3622675 h 362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45350" h="3622675">
                  <a:moveTo>
                    <a:pt x="0" y="3622675"/>
                  </a:moveTo>
                  <a:cubicBezTo>
                    <a:pt x="0" y="1621927"/>
                    <a:pt x="1621927" y="0"/>
                    <a:pt x="3622675" y="0"/>
                  </a:cubicBezTo>
                  <a:cubicBezTo>
                    <a:pt x="5623423" y="0"/>
                    <a:pt x="7245350" y="1621927"/>
                    <a:pt x="7245350" y="3622675"/>
                  </a:cubicBezTo>
                </a:path>
              </a:pathLst>
            </a:custGeom>
            <a:noFill/>
            <a:ln w="2540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ru-RU"/>
            </a:p>
          </p:txBody>
        </p:sp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xmlns="" id="{DA7BE6EE-73DE-4DB1-BDA8-1904E0DBFE5A}"/>
                </a:ext>
              </a:extLst>
            </p:cNvPr>
            <p:cNvCxnSpPr/>
            <p:nvPr/>
          </p:nvCxnSpPr>
          <p:spPr>
            <a:xfrm flipV="1">
              <a:off x="4173777" y="3191799"/>
              <a:ext cx="0" cy="893502"/>
            </a:xfrm>
            <a:prstGeom prst="line">
              <a:avLst/>
            </a:prstGeom>
            <a:ln w="2540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接连接符 10">
              <a:extLst>
                <a:ext uri="{FF2B5EF4-FFF2-40B4-BE49-F238E27FC236}">
                  <a16:creationId xmlns:a16="http://schemas.microsoft.com/office/drawing/2014/main" xmlns="" id="{D9211696-A505-474B-A1CA-563A026F3B8F}"/>
                </a:ext>
              </a:extLst>
            </p:cNvPr>
            <p:cNvCxnSpPr/>
            <p:nvPr/>
          </p:nvCxnSpPr>
          <p:spPr>
            <a:xfrm flipV="1">
              <a:off x="6094082" y="3182372"/>
              <a:ext cx="0" cy="893502"/>
            </a:xfrm>
            <a:prstGeom prst="line">
              <a:avLst/>
            </a:prstGeom>
            <a:ln w="2540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xmlns="" id="{F160A218-24CC-4FA3-BC1F-36DB0897C2FF}"/>
                </a:ext>
              </a:extLst>
            </p:cNvPr>
            <p:cNvCxnSpPr/>
            <p:nvPr/>
          </p:nvCxnSpPr>
          <p:spPr>
            <a:xfrm flipV="1">
              <a:off x="8012418" y="3191799"/>
              <a:ext cx="0" cy="893502"/>
            </a:xfrm>
            <a:prstGeom prst="line">
              <a:avLst/>
            </a:prstGeom>
            <a:ln w="2540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i$liḑè">
              <a:extLst>
                <a:ext uri="{FF2B5EF4-FFF2-40B4-BE49-F238E27FC236}">
                  <a16:creationId xmlns:a16="http://schemas.microsoft.com/office/drawing/2014/main" xmlns="" id="{72B8AF2D-389D-40A3-86AE-18A9B8B0AAF5}"/>
                </a:ext>
              </a:extLst>
            </p:cNvPr>
            <p:cNvSpPr/>
            <p:nvPr/>
          </p:nvSpPr>
          <p:spPr>
            <a:xfrm>
              <a:off x="2452441" y="3326661"/>
              <a:ext cx="1520113" cy="152011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254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ru-RU"/>
            </a:p>
          </p:txBody>
        </p:sp>
        <p:sp>
          <p:nvSpPr>
            <p:cNvPr id="14" name="ï$ľîḑé">
              <a:extLst>
                <a:ext uri="{FF2B5EF4-FFF2-40B4-BE49-F238E27FC236}">
                  <a16:creationId xmlns:a16="http://schemas.microsoft.com/office/drawing/2014/main" xmlns="" id="{D640B1DC-5CA3-4A97-8ADF-FE6A044FFA98}"/>
                </a:ext>
              </a:extLst>
            </p:cNvPr>
            <p:cNvSpPr/>
            <p:nvPr/>
          </p:nvSpPr>
          <p:spPr>
            <a:xfrm>
              <a:off x="4372889" y="2431742"/>
              <a:ext cx="1520113" cy="1520114"/>
            </a:xfrm>
            <a:prstGeom prst="ellipse">
              <a:avLst/>
            </a:prstGeom>
            <a:solidFill>
              <a:schemeClr val="accent1"/>
            </a:solidFill>
            <a:ln w="254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ru-RU"/>
            </a:p>
          </p:txBody>
        </p:sp>
        <p:sp>
          <p:nvSpPr>
            <p:cNvPr id="15" name="íṩ1íḑè">
              <a:extLst>
                <a:ext uri="{FF2B5EF4-FFF2-40B4-BE49-F238E27FC236}">
                  <a16:creationId xmlns:a16="http://schemas.microsoft.com/office/drawing/2014/main" xmlns="" id="{FF9D6EFB-E085-4228-88D6-47D9772046D8}"/>
                </a:ext>
              </a:extLst>
            </p:cNvPr>
            <p:cNvSpPr/>
            <p:nvPr/>
          </p:nvSpPr>
          <p:spPr>
            <a:xfrm>
              <a:off x="6307896" y="3326661"/>
              <a:ext cx="1520113" cy="152011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254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ru-RU"/>
            </a:p>
          </p:txBody>
        </p:sp>
        <p:sp>
          <p:nvSpPr>
            <p:cNvPr id="16" name="íš1îḋê">
              <a:extLst>
                <a:ext uri="{FF2B5EF4-FFF2-40B4-BE49-F238E27FC236}">
                  <a16:creationId xmlns:a16="http://schemas.microsoft.com/office/drawing/2014/main" xmlns="" id="{5C6B9A97-E2FC-44BD-A5ED-364CABAEFE3F}"/>
                </a:ext>
              </a:extLst>
            </p:cNvPr>
            <p:cNvSpPr/>
            <p:nvPr/>
          </p:nvSpPr>
          <p:spPr>
            <a:xfrm>
              <a:off x="8228344" y="2431742"/>
              <a:ext cx="1520113" cy="1520114"/>
            </a:xfrm>
            <a:prstGeom prst="ellipse">
              <a:avLst/>
            </a:prstGeom>
            <a:solidFill>
              <a:schemeClr val="accent1"/>
            </a:solidFill>
            <a:ln w="254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ru-RU"/>
            </a:p>
          </p:txBody>
        </p:sp>
        <p:sp>
          <p:nvSpPr>
            <p:cNvPr id="17" name="i$ḷïḓê">
              <a:extLst>
                <a:ext uri="{FF2B5EF4-FFF2-40B4-BE49-F238E27FC236}">
                  <a16:creationId xmlns:a16="http://schemas.microsoft.com/office/drawing/2014/main" xmlns="" id="{5BDB1251-399A-4F9F-ADC3-3E44B6E487E1}"/>
                </a:ext>
              </a:extLst>
            </p:cNvPr>
            <p:cNvSpPr/>
            <p:nvPr/>
          </p:nvSpPr>
          <p:spPr bwMode="auto">
            <a:xfrm>
              <a:off x="8730220" y="2943423"/>
              <a:ext cx="516360" cy="496752"/>
            </a:xfrm>
            <a:custGeom>
              <a:avLst/>
              <a:gdLst>
                <a:gd name="connsiteX0" fmla="*/ 195114 w 608814"/>
                <a:gd name="connsiteY0" fmla="*/ 351627 h 585693"/>
                <a:gd name="connsiteX1" fmla="*/ 258290 w 608814"/>
                <a:gd name="connsiteY1" fmla="*/ 351627 h 585693"/>
                <a:gd name="connsiteX2" fmla="*/ 282731 w 608814"/>
                <a:gd name="connsiteY2" fmla="*/ 376018 h 585693"/>
                <a:gd name="connsiteX3" fmla="*/ 282731 w 608814"/>
                <a:gd name="connsiteY3" fmla="*/ 561210 h 585693"/>
                <a:gd name="connsiteX4" fmla="*/ 258290 w 608814"/>
                <a:gd name="connsiteY4" fmla="*/ 585693 h 585693"/>
                <a:gd name="connsiteX5" fmla="*/ 195114 w 608814"/>
                <a:gd name="connsiteY5" fmla="*/ 585693 h 585693"/>
                <a:gd name="connsiteX6" fmla="*/ 170673 w 608814"/>
                <a:gd name="connsiteY6" fmla="*/ 561210 h 585693"/>
                <a:gd name="connsiteX7" fmla="*/ 170673 w 608814"/>
                <a:gd name="connsiteY7" fmla="*/ 376018 h 585693"/>
                <a:gd name="connsiteX8" fmla="*/ 195114 w 608814"/>
                <a:gd name="connsiteY8" fmla="*/ 351627 h 585693"/>
                <a:gd name="connsiteX9" fmla="*/ 358100 w 608814"/>
                <a:gd name="connsiteY9" fmla="*/ 249872 h 585693"/>
                <a:gd name="connsiteX10" fmla="*/ 421316 w 608814"/>
                <a:gd name="connsiteY10" fmla="*/ 249872 h 585693"/>
                <a:gd name="connsiteX11" fmla="*/ 445737 w 608814"/>
                <a:gd name="connsiteY11" fmla="*/ 274267 h 585693"/>
                <a:gd name="connsiteX12" fmla="*/ 445737 w 608814"/>
                <a:gd name="connsiteY12" fmla="*/ 561206 h 585693"/>
                <a:gd name="connsiteX13" fmla="*/ 421316 w 608814"/>
                <a:gd name="connsiteY13" fmla="*/ 585693 h 585693"/>
                <a:gd name="connsiteX14" fmla="*/ 358100 w 608814"/>
                <a:gd name="connsiteY14" fmla="*/ 585693 h 585693"/>
                <a:gd name="connsiteX15" fmla="*/ 333679 w 608814"/>
                <a:gd name="connsiteY15" fmla="*/ 561206 h 585693"/>
                <a:gd name="connsiteX16" fmla="*/ 333679 w 608814"/>
                <a:gd name="connsiteY16" fmla="*/ 274267 h 585693"/>
                <a:gd name="connsiteX17" fmla="*/ 358100 w 608814"/>
                <a:gd name="connsiteY17" fmla="*/ 249872 h 585693"/>
                <a:gd name="connsiteX18" fmla="*/ 140260 w 608814"/>
                <a:gd name="connsiteY18" fmla="*/ 224680 h 585693"/>
                <a:gd name="connsiteX19" fmla="*/ 191844 w 608814"/>
                <a:gd name="connsiteY19" fmla="*/ 276122 h 585693"/>
                <a:gd name="connsiteX20" fmla="*/ 140260 w 608814"/>
                <a:gd name="connsiteY20" fmla="*/ 327564 h 585693"/>
                <a:gd name="connsiteX21" fmla="*/ 88676 w 608814"/>
                <a:gd name="connsiteY21" fmla="*/ 276122 h 585693"/>
                <a:gd name="connsiteX22" fmla="*/ 140260 w 608814"/>
                <a:gd name="connsiteY22" fmla="*/ 224680 h 585693"/>
                <a:gd name="connsiteX23" fmla="*/ 521177 w 608814"/>
                <a:gd name="connsiteY23" fmla="*/ 148117 h 585693"/>
                <a:gd name="connsiteX24" fmla="*/ 584301 w 608814"/>
                <a:gd name="connsiteY24" fmla="*/ 148117 h 585693"/>
                <a:gd name="connsiteX25" fmla="*/ 608814 w 608814"/>
                <a:gd name="connsiteY25" fmla="*/ 172601 h 585693"/>
                <a:gd name="connsiteX26" fmla="*/ 608814 w 608814"/>
                <a:gd name="connsiteY26" fmla="*/ 561209 h 585693"/>
                <a:gd name="connsiteX27" fmla="*/ 584301 w 608814"/>
                <a:gd name="connsiteY27" fmla="*/ 585693 h 585693"/>
                <a:gd name="connsiteX28" fmla="*/ 521177 w 608814"/>
                <a:gd name="connsiteY28" fmla="*/ 585693 h 585693"/>
                <a:gd name="connsiteX29" fmla="*/ 496756 w 608814"/>
                <a:gd name="connsiteY29" fmla="*/ 561209 h 585693"/>
                <a:gd name="connsiteX30" fmla="*/ 496756 w 608814"/>
                <a:gd name="connsiteY30" fmla="*/ 172601 h 585693"/>
                <a:gd name="connsiteX31" fmla="*/ 521177 w 608814"/>
                <a:gd name="connsiteY31" fmla="*/ 148117 h 585693"/>
                <a:gd name="connsiteX32" fmla="*/ 116229 w 608814"/>
                <a:gd name="connsiteY32" fmla="*/ 131322 h 585693"/>
                <a:gd name="connsiteX33" fmla="*/ 164246 w 608814"/>
                <a:gd name="connsiteY33" fmla="*/ 131322 h 585693"/>
                <a:gd name="connsiteX34" fmla="*/ 184061 w 608814"/>
                <a:gd name="connsiteY34" fmla="*/ 151113 h 585693"/>
                <a:gd name="connsiteX35" fmla="*/ 184061 w 608814"/>
                <a:gd name="connsiteY35" fmla="*/ 171457 h 585693"/>
                <a:gd name="connsiteX36" fmla="*/ 208669 w 608814"/>
                <a:gd name="connsiteY36" fmla="*/ 186094 h 585693"/>
                <a:gd name="connsiteX37" fmla="*/ 226641 w 608814"/>
                <a:gd name="connsiteY37" fmla="*/ 175692 h 585693"/>
                <a:gd name="connsiteX38" fmla="*/ 253737 w 608814"/>
                <a:gd name="connsiteY38" fmla="*/ 182964 h 585693"/>
                <a:gd name="connsiteX39" fmla="*/ 277792 w 608814"/>
                <a:gd name="connsiteY39" fmla="*/ 224572 h 585693"/>
                <a:gd name="connsiteX40" fmla="*/ 279727 w 608814"/>
                <a:gd name="connsiteY40" fmla="*/ 239577 h 585693"/>
                <a:gd name="connsiteX41" fmla="*/ 270511 w 608814"/>
                <a:gd name="connsiteY41" fmla="*/ 251544 h 585693"/>
                <a:gd name="connsiteX42" fmla="*/ 252355 w 608814"/>
                <a:gd name="connsiteY42" fmla="*/ 262038 h 585693"/>
                <a:gd name="connsiteX43" fmla="*/ 253829 w 608814"/>
                <a:gd name="connsiteY43" fmla="*/ 276122 h 585693"/>
                <a:gd name="connsiteX44" fmla="*/ 252355 w 608814"/>
                <a:gd name="connsiteY44" fmla="*/ 290206 h 585693"/>
                <a:gd name="connsiteX45" fmla="*/ 270511 w 608814"/>
                <a:gd name="connsiteY45" fmla="*/ 300700 h 585693"/>
                <a:gd name="connsiteX46" fmla="*/ 278714 w 608814"/>
                <a:gd name="connsiteY46" fmla="*/ 325094 h 585693"/>
                <a:gd name="connsiteX47" fmla="*/ 258253 w 608814"/>
                <a:gd name="connsiteY47" fmla="*/ 321136 h 585693"/>
                <a:gd name="connsiteX48" fmla="*/ 195858 w 608814"/>
                <a:gd name="connsiteY48" fmla="*/ 321136 h 585693"/>
                <a:gd name="connsiteX49" fmla="*/ 212171 w 608814"/>
                <a:gd name="connsiteY49" fmla="*/ 276122 h 585693"/>
                <a:gd name="connsiteX50" fmla="*/ 140191 w 608814"/>
                <a:gd name="connsiteY50" fmla="*/ 204320 h 585693"/>
                <a:gd name="connsiteX51" fmla="*/ 68304 w 608814"/>
                <a:gd name="connsiteY51" fmla="*/ 276122 h 585693"/>
                <a:gd name="connsiteX52" fmla="*/ 140191 w 608814"/>
                <a:gd name="connsiteY52" fmla="*/ 348016 h 585693"/>
                <a:gd name="connsiteX53" fmla="*/ 148486 w 608814"/>
                <a:gd name="connsiteY53" fmla="*/ 347095 h 585693"/>
                <a:gd name="connsiteX54" fmla="*/ 140099 w 608814"/>
                <a:gd name="connsiteY54" fmla="*/ 376000 h 585693"/>
                <a:gd name="connsiteX55" fmla="*/ 140099 w 608814"/>
                <a:gd name="connsiteY55" fmla="*/ 420922 h 585693"/>
                <a:gd name="connsiteX56" fmla="*/ 116229 w 608814"/>
                <a:gd name="connsiteY56" fmla="*/ 420922 h 585693"/>
                <a:gd name="connsiteX57" fmla="*/ 96413 w 608814"/>
                <a:gd name="connsiteY57" fmla="*/ 401131 h 585693"/>
                <a:gd name="connsiteX58" fmla="*/ 96413 w 608814"/>
                <a:gd name="connsiteY58" fmla="*/ 380787 h 585693"/>
                <a:gd name="connsiteX59" fmla="*/ 71806 w 608814"/>
                <a:gd name="connsiteY59" fmla="*/ 366150 h 585693"/>
                <a:gd name="connsiteX60" fmla="*/ 53742 w 608814"/>
                <a:gd name="connsiteY60" fmla="*/ 376552 h 585693"/>
                <a:gd name="connsiteX61" fmla="*/ 38719 w 608814"/>
                <a:gd name="connsiteY61" fmla="*/ 378577 h 585693"/>
                <a:gd name="connsiteX62" fmla="*/ 26738 w 608814"/>
                <a:gd name="connsiteY62" fmla="*/ 369372 h 585693"/>
                <a:gd name="connsiteX63" fmla="*/ 2683 w 608814"/>
                <a:gd name="connsiteY63" fmla="*/ 327764 h 585693"/>
                <a:gd name="connsiteX64" fmla="*/ 9872 w 608814"/>
                <a:gd name="connsiteY64" fmla="*/ 300700 h 585693"/>
                <a:gd name="connsiteX65" fmla="*/ 28120 w 608814"/>
                <a:gd name="connsiteY65" fmla="*/ 290206 h 585693"/>
                <a:gd name="connsiteX66" fmla="*/ 26645 w 608814"/>
                <a:gd name="connsiteY66" fmla="*/ 276122 h 585693"/>
                <a:gd name="connsiteX67" fmla="*/ 28120 w 608814"/>
                <a:gd name="connsiteY67" fmla="*/ 262038 h 585693"/>
                <a:gd name="connsiteX68" fmla="*/ 9872 w 608814"/>
                <a:gd name="connsiteY68" fmla="*/ 251544 h 585693"/>
                <a:gd name="connsiteX69" fmla="*/ 2683 w 608814"/>
                <a:gd name="connsiteY69" fmla="*/ 224572 h 585693"/>
                <a:gd name="connsiteX70" fmla="*/ 26738 w 608814"/>
                <a:gd name="connsiteY70" fmla="*/ 182964 h 585693"/>
                <a:gd name="connsiteX71" fmla="*/ 38719 w 608814"/>
                <a:gd name="connsiteY71" fmla="*/ 173759 h 585693"/>
                <a:gd name="connsiteX72" fmla="*/ 53742 w 608814"/>
                <a:gd name="connsiteY72" fmla="*/ 175692 h 585693"/>
                <a:gd name="connsiteX73" fmla="*/ 71806 w 608814"/>
                <a:gd name="connsiteY73" fmla="*/ 186094 h 585693"/>
                <a:gd name="connsiteX74" fmla="*/ 96413 w 608814"/>
                <a:gd name="connsiteY74" fmla="*/ 171457 h 585693"/>
                <a:gd name="connsiteX75" fmla="*/ 96413 w 608814"/>
                <a:gd name="connsiteY75" fmla="*/ 151113 h 585693"/>
                <a:gd name="connsiteX76" fmla="*/ 116229 w 608814"/>
                <a:gd name="connsiteY76" fmla="*/ 131322 h 585693"/>
                <a:gd name="connsiteX77" fmla="*/ 445756 w 608814"/>
                <a:gd name="connsiteY77" fmla="*/ 83476 h 585693"/>
                <a:gd name="connsiteX78" fmla="*/ 414140 w 608814"/>
                <a:gd name="connsiteY78" fmla="*/ 115044 h 585693"/>
                <a:gd name="connsiteX79" fmla="*/ 445756 w 608814"/>
                <a:gd name="connsiteY79" fmla="*/ 146520 h 585693"/>
                <a:gd name="connsiteX80" fmla="*/ 477371 w 608814"/>
                <a:gd name="connsiteY80" fmla="*/ 115044 h 585693"/>
                <a:gd name="connsiteX81" fmla="*/ 445756 w 608814"/>
                <a:gd name="connsiteY81" fmla="*/ 83476 h 585693"/>
                <a:gd name="connsiteX82" fmla="*/ 426676 w 608814"/>
                <a:gd name="connsiteY82" fmla="*/ 0 h 585693"/>
                <a:gd name="connsiteX83" fmla="*/ 464835 w 608814"/>
                <a:gd name="connsiteY83" fmla="*/ 0 h 585693"/>
                <a:gd name="connsiteX84" fmla="*/ 480597 w 608814"/>
                <a:gd name="connsiteY84" fmla="*/ 15738 h 585693"/>
                <a:gd name="connsiteX85" fmla="*/ 480597 w 608814"/>
                <a:gd name="connsiteY85" fmla="*/ 31936 h 585693"/>
                <a:gd name="connsiteX86" fmla="*/ 500138 w 608814"/>
                <a:gd name="connsiteY86" fmla="*/ 43533 h 585693"/>
                <a:gd name="connsiteX87" fmla="*/ 514425 w 608814"/>
                <a:gd name="connsiteY87" fmla="*/ 35249 h 585693"/>
                <a:gd name="connsiteX88" fmla="*/ 535901 w 608814"/>
                <a:gd name="connsiteY88" fmla="*/ 40956 h 585693"/>
                <a:gd name="connsiteX89" fmla="*/ 554981 w 608814"/>
                <a:gd name="connsiteY89" fmla="*/ 73996 h 585693"/>
                <a:gd name="connsiteX90" fmla="*/ 556640 w 608814"/>
                <a:gd name="connsiteY90" fmla="*/ 85961 h 585693"/>
                <a:gd name="connsiteX91" fmla="*/ 549266 w 608814"/>
                <a:gd name="connsiteY91" fmla="*/ 95440 h 585693"/>
                <a:gd name="connsiteX92" fmla="*/ 534887 w 608814"/>
                <a:gd name="connsiteY92" fmla="*/ 103815 h 585693"/>
                <a:gd name="connsiteX93" fmla="*/ 535993 w 608814"/>
                <a:gd name="connsiteY93" fmla="*/ 115044 h 585693"/>
                <a:gd name="connsiteX94" fmla="*/ 535717 w 608814"/>
                <a:gd name="connsiteY94" fmla="*/ 117621 h 585693"/>
                <a:gd name="connsiteX95" fmla="*/ 521153 w 608814"/>
                <a:gd name="connsiteY95" fmla="*/ 117621 h 585693"/>
                <a:gd name="connsiteX96" fmla="*/ 466126 w 608814"/>
                <a:gd name="connsiteY96" fmla="*/ 172565 h 585693"/>
                <a:gd name="connsiteX97" fmla="*/ 466126 w 608814"/>
                <a:gd name="connsiteY97" fmla="*/ 229719 h 585693"/>
                <a:gd name="connsiteX98" fmla="*/ 466126 w 608814"/>
                <a:gd name="connsiteY98" fmla="*/ 242604 h 585693"/>
                <a:gd name="connsiteX99" fmla="*/ 453590 w 608814"/>
                <a:gd name="connsiteY99" fmla="*/ 229995 h 585693"/>
                <a:gd name="connsiteX100" fmla="*/ 421330 w 608814"/>
                <a:gd name="connsiteY100" fmla="*/ 219319 h 585693"/>
                <a:gd name="connsiteX101" fmla="*/ 411928 w 608814"/>
                <a:gd name="connsiteY101" fmla="*/ 219319 h 585693"/>
                <a:gd name="connsiteX102" fmla="*/ 410914 w 608814"/>
                <a:gd name="connsiteY102" fmla="*/ 214257 h 585693"/>
                <a:gd name="connsiteX103" fmla="*/ 410914 w 608814"/>
                <a:gd name="connsiteY103" fmla="*/ 198059 h 585693"/>
                <a:gd name="connsiteX104" fmla="*/ 391373 w 608814"/>
                <a:gd name="connsiteY104" fmla="*/ 186463 h 585693"/>
                <a:gd name="connsiteX105" fmla="*/ 377086 w 608814"/>
                <a:gd name="connsiteY105" fmla="*/ 194746 h 585693"/>
                <a:gd name="connsiteX106" fmla="*/ 365104 w 608814"/>
                <a:gd name="connsiteY106" fmla="*/ 196310 h 585693"/>
                <a:gd name="connsiteX107" fmla="*/ 355610 w 608814"/>
                <a:gd name="connsiteY107" fmla="*/ 189040 h 585693"/>
                <a:gd name="connsiteX108" fmla="*/ 336530 w 608814"/>
                <a:gd name="connsiteY108" fmla="*/ 155999 h 585693"/>
                <a:gd name="connsiteX109" fmla="*/ 342245 w 608814"/>
                <a:gd name="connsiteY109" fmla="*/ 134463 h 585693"/>
                <a:gd name="connsiteX110" fmla="*/ 356716 w 608814"/>
                <a:gd name="connsiteY110" fmla="*/ 126180 h 585693"/>
                <a:gd name="connsiteX111" fmla="*/ 355518 w 608814"/>
                <a:gd name="connsiteY111" fmla="*/ 115044 h 585693"/>
                <a:gd name="connsiteX112" fmla="*/ 356716 w 608814"/>
                <a:gd name="connsiteY112" fmla="*/ 103815 h 585693"/>
                <a:gd name="connsiteX113" fmla="*/ 342245 w 608814"/>
                <a:gd name="connsiteY113" fmla="*/ 95440 h 585693"/>
                <a:gd name="connsiteX114" fmla="*/ 336530 w 608814"/>
                <a:gd name="connsiteY114" fmla="*/ 73996 h 585693"/>
                <a:gd name="connsiteX115" fmla="*/ 355610 w 608814"/>
                <a:gd name="connsiteY115" fmla="*/ 40956 h 585693"/>
                <a:gd name="connsiteX116" fmla="*/ 365104 w 608814"/>
                <a:gd name="connsiteY116" fmla="*/ 33685 h 585693"/>
                <a:gd name="connsiteX117" fmla="*/ 377086 w 608814"/>
                <a:gd name="connsiteY117" fmla="*/ 35249 h 585693"/>
                <a:gd name="connsiteX118" fmla="*/ 391373 w 608814"/>
                <a:gd name="connsiteY118" fmla="*/ 43533 h 585693"/>
                <a:gd name="connsiteX119" fmla="*/ 410914 w 608814"/>
                <a:gd name="connsiteY119" fmla="*/ 31936 h 585693"/>
                <a:gd name="connsiteX120" fmla="*/ 410914 w 608814"/>
                <a:gd name="connsiteY120" fmla="*/ 15738 h 585693"/>
                <a:gd name="connsiteX121" fmla="*/ 426676 w 608814"/>
                <a:gd name="connsiteY121" fmla="*/ 0 h 58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608814" h="585693">
                  <a:moveTo>
                    <a:pt x="195114" y="351627"/>
                  </a:moveTo>
                  <a:lnTo>
                    <a:pt x="258290" y="351627"/>
                  </a:lnTo>
                  <a:cubicBezTo>
                    <a:pt x="271848" y="351627"/>
                    <a:pt x="282731" y="362580"/>
                    <a:pt x="282731" y="376018"/>
                  </a:cubicBezTo>
                  <a:lnTo>
                    <a:pt x="282731" y="561210"/>
                  </a:lnTo>
                  <a:cubicBezTo>
                    <a:pt x="282731" y="574740"/>
                    <a:pt x="271848" y="585693"/>
                    <a:pt x="258290" y="585693"/>
                  </a:cubicBezTo>
                  <a:lnTo>
                    <a:pt x="195114" y="585693"/>
                  </a:lnTo>
                  <a:cubicBezTo>
                    <a:pt x="181556" y="585693"/>
                    <a:pt x="170673" y="574740"/>
                    <a:pt x="170673" y="561210"/>
                  </a:cubicBezTo>
                  <a:lnTo>
                    <a:pt x="170673" y="376018"/>
                  </a:lnTo>
                  <a:cubicBezTo>
                    <a:pt x="170673" y="362580"/>
                    <a:pt x="181556" y="351627"/>
                    <a:pt x="195114" y="351627"/>
                  </a:cubicBezTo>
                  <a:close/>
                  <a:moveTo>
                    <a:pt x="358100" y="249872"/>
                  </a:moveTo>
                  <a:lnTo>
                    <a:pt x="421316" y="249872"/>
                  </a:lnTo>
                  <a:cubicBezTo>
                    <a:pt x="434771" y="249872"/>
                    <a:pt x="445737" y="260735"/>
                    <a:pt x="445737" y="274267"/>
                  </a:cubicBezTo>
                  <a:lnTo>
                    <a:pt x="445737" y="561206"/>
                  </a:lnTo>
                  <a:cubicBezTo>
                    <a:pt x="445737" y="574738"/>
                    <a:pt x="434771" y="585693"/>
                    <a:pt x="421316" y="585693"/>
                  </a:cubicBezTo>
                  <a:lnTo>
                    <a:pt x="358100" y="585693"/>
                  </a:lnTo>
                  <a:cubicBezTo>
                    <a:pt x="344645" y="585693"/>
                    <a:pt x="333679" y="574738"/>
                    <a:pt x="333679" y="561206"/>
                  </a:cubicBezTo>
                  <a:lnTo>
                    <a:pt x="333679" y="274267"/>
                  </a:lnTo>
                  <a:cubicBezTo>
                    <a:pt x="333679" y="260735"/>
                    <a:pt x="344645" y="249872"/>
                    <a:pt x="358100" y="249872"/>
                  </a:cubicBezTo>
                  <a:close/>
                  <a:moveTo>
                    <a:pt x="140260" y="224680"/>
                  </a:moveTo>
                  <a:cubicBezTo>
                    <a:pt x="168749" y="224680"/>
                    <a:pt x="191844" y="247711"/>
                    <a:pt x="191844" y="276122"/>
                  </a:cubicBezTo>
                  <a:cubicBezTo>
                    <a:pt x="191844" y="304533"/>
                    <a:pt x="168749" y="327564"/>
                    <a:pt x="140260" y="327564"/>
                  </a:cubicBezTo>
                  <a:cubicBezTo>
                    <a:pt x="111771" y="327564"/>
                    <a:pt x="88676" y="304533"/>
                    <a:pt x="88676" y="276122"/>
                  </a:cubicBezTo>
                  <a:cubicBezTo>
                    <a:pt x="88676" y="247711"/>
                    <a:pt x="111771" y="224680"/>
                    <a:pt x="140260" y="224680"/>
                  </a:cubicBezTo>
                  <a:close/>
                  <a:moveTo>
                    <a:pt x="521177" y="148117"/>
                  </a:moveTo>
                  <a:lnTo>
                    <a:pt x="584301" y="148117"/>
                  </a:lnTo>
                  <a:cubicBezTo>
                    <a:pt x="597848" y="148117"/>
                    <a:pt x="608814" y="159070"/>
                    <a:pt x="608814" y="172601"/>
                  </a:cubicBezTo>
                  <a:lnTo>
                    <a:pt x="608814" y="561209"/>
                  </a:lnTo>
                  <a:cubicBezTo>
                    <a:pt x="608814" y="574740"/>
                    <a:pt x="597848" y="585693"/>
                    <a:pt x="584301" y="585693"/>
                  </a:cubicBezTo>
                  <a:lnTo>
                    <a:pt x="521177" y="585693"/>
                  </a:lnTo>
                  <a:cubicBezTo>
                    <a:pt x="507722" y="585693"/>
                    <a:pt x="496756" y="574740"/>
                    <a:pt x="496756" y="561209"/>
                  </a:cubicBezTo>
                  <a:lnTo>
                    <a:pt x="496756" y="172601"/>
                  </a:lnTo>
                  <a:cubicBezTo>
                    <a:pt x="496756" y="159070"/>
                    <a:pt x="507722" y="148117"/>
                    <a:pt x="521177" y="148117"/>
                  </a:cubicBezTo>
                  <a:close/>
                  <a:moveTo>
                    <a:pt x="116229" y="131322"/>
                  </a:moveTo>
                  <a:lnTo>
                    <a:pt x="164246" y="131322"/>
                  </a:lnTo>
                  <a:cubicBezTo>
                    <a:pt x="175214" y="131322"/>
                    <a:pt x="184061" y="140159"/>
                    <a:pt x="184061" y="151113"/>
                  </a:cubicBezTo>
                  <a:lnTo>
                    <a:pt x="184061" y="171457"/>
                  </a:lnTo>
                  <a:cubicBezTo>
                    <a:pt x="193001" y="175231"/>
                    <a:pt x="201019" y="180386"/>
                    <a:pt x="208669" y="186094"/>
                  </a:cubicBezTo>
                  <a:lnTo>
                    <a:pt x="226641" y="175692"/>
                  </a:lnTo>
                  <a:cubicBezTo>
                    <a:pt x="236134" y="170261"/>
                    <a:pt x="248300" y="173482"/>
                    <a:pt x="253737" y="182964"/>
                  </a:cubicBezTo>
                  <a:lnTo>
                    <a:pt x="277792" y="224572"/>
                  </a:lnTo>
                  <a:cubicBezTo>
                    <a:pt x="280465" y="229083"/>
                    <a:pt x="281110" y="234514"/>
                    <a:pt x="279727" y="239577"/>
                  </a:cubicBezTo>
                  <a:cubicBezTo>
                    <a:pt x="278437" y="244640"/>
                    <a:pt x="275119" y="248966"/>
                    <a:pt x="270511" y="251544"/>
                  </a:cubicBezTo>
                  <a:lnTo>
                    <a:pt x="252355" y="262038"/>
                  </a:lnTo>
                  <a:cubicBezTo>
                    <a:pt x="253000" y="266733"/>
                    <a:pt x="253829" y="271335"/>
                    <a:pt x="253829" y="276122"/>
                  </a:cubicBezTo>
                  <a:cubicBezTo>
                    <a:pt x="253829" y="281001"/>
                    <a:pt x="253000" y="285604"/>
                    <a:pt x="252355" y="290206"/>
                  </a:cubicBezTo>
                  <a:lnTo>
                    <a:pt x="270511" y="300700"/>
                  </a:lnTo>
                  <a:cubicBezTo>
                    <a:pt x="279174" y="305671"/>
                    <a:pt x="282308" y="316165"/>
                    <a:pt x="278714" y="325094"/>
                  </a:cubicBezTo>
                  <a:cubicBezTo>
                    <a:pt x="272354" y="322609"/>
                    <a:pt x="265442" y="321136"/>
                    <a:pt x="258253" y="321136"/>
                  </a:cubicBezTo>
                  <a:lnTo>
                    <a:pt x="195858" y="321136"/>
                  </a:lnTo>
                  <a:cubicBezTo>
                    <a:pt x="205904" y="308709"/>
                    <a:pt x="212171" y="293244"/>
                    <a:pt x="212171" y="276122"/>
                  </a:cubicBezTo>
                  <a:cubicBezTo>
                    <a:pt x="212171" y="236539"/>
                    <a:pt x="179914" y="204320"/>
                    <a:pt x="140191" y="204320"/>
                  </a:cubicBezTo>
                  <a:cubicBezTo>
                    <a:pt x="100561" y="204320"/>
                    <a:pt x="68304" y="236539"/>
                    <a:pt x="68304" y="276122"/>
                  </a:cubicBezTo>
                  <a:cubicBezTo>
                    <a:pt x="68304" y="315797"/>
                    <a:pt x="100561" y="348016"/>
                    <a:pt x="140191" y="348016"/>
                  </a:cubicBezTo>
                  <a:cubicBezTo>
                    <a:pt x="143048" y="348016"/>
                    <a:pt x="145721" y="347463"/>
                    <a:pt x="148486" y="347095"/>
                  </a:cubicBezTo>
                  <a:cubicBezTo>
                    <a:pt x="143233" y="355564"/>
                    <a:pt x="140099" y="365414"/>
                    <a:pt x="140099" y="376000"/>
                  </a:cubicBezTo>
                  <a:lnTo>
                    <a:pt x="140099" y="420922"/>
                  </a:lnTo>
                  <a:lnTo>
                    <a:pt x="116229" y="420922"/>
                  </a:lnTo>
                  <a:cubicBezTo>
                    <a:pt x="105261" y="420922"/>
                    <a:pt x="96413" y="412085"/>
                    <a:pt x="96413" y="401131"/>
                  </a:cubicBezTo>
                  <a:lnTo>
                    <a:pt x="96413" y="380787"/>
                  </a:lnTo>
                  <a:cubicBezTo>
                    <a:pt x="87474" y="377013"/>
                    <a:pt x="79455" y="371950"/>
                    <a:pt x="71806" y="366150"/>
                  </a:cubicBezTo>
                  <a:lnTo>
                    <a:pt x="53742" y="376552"/>
                  </a:lnTo>
                  <a:cubicBezTo>
                    <a:pt x="49226" y="379222"/>
                    <a:pt x="43788" y="379866"/>
                    <a:pt x="38719" y="378577"/>
                  </a:cubicBezTo>
                  <a:cubicBezTo>
                    <a:pt x="33650" y="377197"/>
                    <a:pt x="29318" y="373883"/>
                    <a:pt x="26738" y="369372"/>
                  </a:cubicBezTo>
                  <a:lnTo>
                    <a:pt x="2683" y="327764"/>
                  </a:lnTo>
                  <a:cubicBezTo>
                    <a:pt x="-2847" y="318282"/>
                    <a:pt x="471" y="306131"/>
                    <a:pt x="9872" y="300700"/>
                  </a:cubicBezTo>
                  <a:lnTo>
                    <a:pt x="28120" y="290206"/>
                  </a:lnTo>
                  <a:cubicBezTo>
                    <a:pt x="27475" y="285604"/>
                    <a:pt x="26645" y="281001"/>
                    <a:pt x="26645" y="276122"/>
                  </a:cubicBezTo>
                  <a:cubicBezTo>
                    <a:pt x="26645" y="271335"/>
                    <a:pt x="27475" y="266733"/>
                    <a:pt x="28120" y="262038"/>
                  </a:cubicBezTo>
                  <a:lnTo>
                    <a:pt x="9872" y="251544"/>
                  </a:lnTo>
                  <a:cubicBezTo>
                    <a:pt x="471" y="246113"/>
                    <a:pt x="-2847" y="233962"/>
                    <a:pt x="2683" y="224572"/>
                  </a:cubicBezTo>
                  <a:lnTo>
                    <a:pt x="26738" y="182964"/>
                  </a:lnTo>
                  <a:cubicBezTo>
                    <a:pt x="29318" y="178361"/>
                    <a:pt x="33650" y="175139"/>
                    <a:pt x="38719" y="173759"/>
                  </a:cubicBezTo>
                  <a:cubicBezTo>
                    <a:pt x="43788" y="172378"/>
                    <a:pt x="49226" y="173114"/>
                    <a:pt x="53742" y="175692"/>
                  </a:cubicBezTo>
                  <a:lnTo>
                    <a:pt x="71806" y="186094"/>
                  </a:lnTo>
                  <a:cubicBezTo>
                    <a:pt x="79455" y="180386"/>
                    <a:pt x="87474" y="175231"/>
                    <a:pt x="96413" y="171457"/>
                  </a:cubicBezTo>
                  <a:lnTo>
                    <a:pt x="96413" y="151113"/>
                  </a:lnTo>
                  <a:cubicBezTo>
                    <a:pt x="96413" y="140159"/>
                    <a:pt x="105261" y="131322"/>
                    <a:pt x="116229" y="131322"/>
                  </a:cubicBezTo>
                  <a:close/>
                  <a:moveTo>
                    <a:pt x="445756" y="83476"/>
                  </a:moveTo>
                  <a:cubicBezTo>
                    <a:pt x="428335" y="83476"/>
                    <a:pt x="414140" y="97557"/>
                    <a:pt x="414140" y="115044"/>
                  </a:cubicBezTo>
                  <a:cubicBezTo>
                    <a:pt x="414140" y="132438"/>
                    <a:pt x="428335" y="146520"/>
                    <a:pt x="445756" y="146520"/>
                  </a:cubicBezTo>
                  <a:cubicBezTo>
                    <a:pt x="463176" y="146520"/>
                    <a:pt x="477371" y="132438"/>
                    <a:pt x="477371" y="115044"/>
                  </a:cubicBezTo>
                  <a:cubicBezTo>
                    <a:pt x="477371" y="97557"/>
                    <a:pt x="463176" y="83476"/>
                    <a:pt x="445756" y="83476"/>
                  </a:cubicBezTo>
                  <a:close/>
                  <a:moveTo>
                    <a:pt x="426676" y="0"/>
                  </a:moveTo>
                  <a:lnTo>
                    <a:pt x="464835" y="0"/>
                  </a:lnTo>
                  <a:cubicBezTo>
                    <a:pt x="473500" y="0"/>
                    <a:pt x="480597" y="7087"/>
                    <a:pt x="480597" y="15738"/>
                  </a:cubicBezTo>
                  <a:lnTo>
                    <a:pt x="480597" y="31936"/>
                  </a:lnTo>
                  <a:cubicBezTo>
                    <a:pt x="487694" y="34881"/>
                    <a:pt x="494054" y="38931"/>
                    <a:pt x="500138" y="43533"/>
                  </a:cubicBezTo>
                  <a:lnTo>
                    <a:pt x="514425" y="35249"/>
                  </a:lnTo>
                  <a:cubicBezTo>
                    <a:pt x="521983" y="30924"/>
                    <a:pt x="531569" y="33501"/>
                    <a:pt x="535901" y="40956"/>
                  </a:cubicBezTo>
                  <a:lnTo>
                    <a:pt x="554981" y="73996"/>
                  </a:lnTo>
                  <a:cubicBezTo>
                    <a:pt x="557101" y="77585"/>
                    <a:pt x="557654" y="81911"/>
                    <a:pt x="556640" y="85961"/>
                  </a:cubicBezTo>
                  <a:cubicBezTo>
                    <a:pt x="555534" y="89918"/>
                    <a:pt x="552861" y="93415"/>
                    <a:pt x="549266" y="95440"/>
                  </a:cubicBezTo>
                  <a:lnTo>
                    <a:pt x="534887" y="103815"/>
                  </a:lnTo>
                  <a:cubicBezTo>
                    <a:pt x="535348" y="107497"/>
                    <a:pt x="535993" y="111178"/>
                    <a:pt x="535993" y="115044"/>
                  </a:cubicBezTo>
                  <a:cubicBezTo>
                    <a:pt x="535993" y="115872"/>
                    <a:pt x="535809" y="116700"/>
                    <a:pt x="535717" y="117621"/>
                  </a:cubicBezTo>
                  <a:lnTo>
                    <a:pt x="521153" y="117621"/>
                  </a:lnTo>
                  <a:cubicBezTo>
                    <a:pt x="490828" y="117621"/>
                    <a:pt x="466126" y="142286"/>
                    <a:pt x="466126" y="172565"/>
                  </a:cubicBezTo>
                  <a:lnTo>
                    <a:pt x="466126" y="229719"/>
                  </a:lnTo>
                  <a:lnTo>
                    <a:pt x="466126" y="242604"/>
                  </a:lnTo>
                  <a:cubicBezTo>
                    <a:pt x="462715" y="237726"/>
                    <a:pt x="458383" y="233493"/>
                    <a:pt x="453590" y="229995"/>
                  </a:cubicBezTo>
                  <a:cubicBezTo>
                    <a:pt x="444465" y="223369"/>
                    <a:pt x="433404" y="219319"/>
                    <a:pt x="421330" y="219319"/>
                  </a:cubicBezTo>
                  <a:lnTo>
                    <a:pt x="411928" y="219319"/>
                  </a:lnTo>
                  <a:cubicBezTo>
                    <a:pt x="411375" y="217755"/>
                    <a:pt x="410914" y="216098"/>
                    <a:pt x="410914" y="214257"/>
                  </a:cubicBezTo>
                  <a:lnTo>
                    <a:pt x="410914" y="198059"/>
                  </a:lnTo>
                  <a:cubicBezTo>
                    <a:pt x="403817" y="195114"/>
                    <a:pt x="397457" y="191064"/>
                    <a:pt x="391373" y="186463"/>
                  </a:cubicBezTo>
                  <a:lnTo>
                    <a:pt x="377086" y="194746"/>
                  </a:lnTo>
                  <a:cubicBezTo>
                    <a:pt x="373492" y="196863"/>
                    <a:pt x="369160" y="197415"/>
                    <a:pt x="365104" y="196310"/>
                  </a:cubicBezTo>
                  <a:cubicBezTo>
                    <a:pt x="361140" y="195206"/>
                    <a:pt x="357638" y="192629"/>
                    <a:pt x="355610" y="189040"/>
                  </a:cubicBezTo>
                  <a:lnTo>
                    <a:pt x="336530" y="155999"/>
                  </a:lnTo>
                  <a:cubicBezTo>
                    <a:pt x="332198" y="148452"/>
                    <a:pt x="334687" y="138881"/>
                    <a:pt x="342245" y="134463"/>
                  </a:cubicBezTo>
                  <a:lnTo>
                    <a:pt x="356716" y="126180"/>
                  </a:lnTo>
                  <a:cubicBezTo>
                    <a:pt x="356163" y="122498"/>
                    <a:pt x="355518" y="118817"/>
                    <a:pt x="355518" y="115044"/>
                  </a:cubicBezTo>
                  <a:cubicBezTo>
                    <a:pt x="355518" y="111178"/>
                    <a:pt x="356163" y="107497"/>
                    <a:pt x="356716" y="103815"/>
                  </a:cubicBezTo>
                  <a:lnTo>
                    <a:pt x="342245" y="95440"/>
                  </a:lnTo>
                  <a:cubicBezTo>
                    <a:pt x="334687" y="91115"/>
                    <a:pt x="332198" y="81543"/>
                    <a:pt x="336530" y="73996"/>
                  </a:cubicBezTo>
                  <a:lnTo>
                    <a:pt x="355610" y="40956"/>
                  </a:lnTo>
                  <a:cubicBezTo>
                    <a:pt x="357638" y="37366"/>
                    <a:pt x="361140" y="34789"/>
                    <a:pt x="365104" y="33685"/>
                  </a:cubicBezTo>
                  <a:cubicBezTo>
                    <a:pt x="369160" y="32580"/>
                    <a:pt x="373492" y="33133"/>
                    <a:pt x="377086" y="35249"/>
                  </a:cubicBezTo>
                  <a:lnTo>
                    <a:pt x="391373" y="43533"/>
                  </a:lnTo>
                  <a:cubicBezTo>
                    <a:pt x="397457" y="38931"/>
                    <a:pt x="403817" y="34881"/>
                    <a:pt x="410914" y="31936"/>
                  </a:cubicBezTo>
                  <a:lnTo>
                    <a:pt x="410914" y="15738"/>
                  </a:lnTo>
                  <a:cubicBezTo>
                    <a:pt x="410914" y="7087"/>
                    <a:pt x="418011" y="0"/>
                    <a:pt x="42667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" name="îşľiḓê">
              <a:extLst>
                <a:ext uri="{FF2B5EF4-FFF2-40B4-BE49-F238E27FC236}">
                  <a16:creationId xmlns:a16="http://schemas.microsoft.com/office/drawing/2014/main" xmlns="" id="{4A2E2C59-0562-46C1-9B11-FB7FDA711F2E}"/>
                </a:ext>
              </a:extLst>
            </p:cNvPr>
            <p:cNvSpPr/>
            <p:nvPr/>
          </p:nvSpPr>
          <p:spPr bwMode="auto">
            <a:xfrm>
              <a:off x="4877985" y="2937316"/>
              <a:ext cx="509920" cy="508966"/>
            </a:xfrm>
            <a:custGeom>
              <a:avLst/>
              <a:gdLst>
                <a:gd name="connsiteX0" fmla="*/ 290910 w 605702"/>
                <a:gd name="connsiteY0" fmla="*/ 156336 h 604568"/>
                <a:gd name="connsiteX1" fmla="*/ 335849 w 605702"/>
                <a:gd name="connsiteY1" fmla="*/ 164992 h 604568"/>
                <a:gd name="connsiteX2" fmla="*/ 288310 w 605702"/>
                <a:gd name="connsiteY2" fmla="*/ 212456 h 604568"/>
                <a:gd name="connsiteX3" fmla="*/ 203632 w 605702"/>
                <a:gd name="connsiteY3" fmla="*/ 244717 h 604568"/>
                <a:gd name="connsiteX4" fmla="*/ 203632 w 605702"/>
                <a:gd name="connsiteY4" fmla="*/ 401388 h 604568"/>
                <a:gd name="connsiteX5" fmla="*/ 360547 w 605702"/>
                <a:gd name="connsiteY5" fmla="*/ 401388 h 604568"/>
                <a:gd name="connsiteX6" fmla="*/ 392859 w 605702"/>
                <a:gd name="connsiteY6" fmla="*/ 316749 h 604568"/>
                <a:gd name="connsiteX7" fmla="*/ 440397 w 605702"/>
                <a:gd name="connsiteY7" fmla="*/ 269284 h 604568"/>
                <a:gd name="connsiteX8" fmla="*/ 400287 w 605702"/>
                <a:gd name="connsiteY8" fmla="*/ 441065 h 604568"/>
                <a:gd name="connsiteX9" fmla="*/ 163892 w 605702"/>
                <a:gd name="connsiteY9" fmla="*/ 441065 h 604568"/>
                <a:gd name="connsiteX10" fmla="*/ 163892 w 605702"/>
                <a:gd name="connsiteY10" fmla="*/ 205040 h 604568"/>
                <a:gd name="connsiteX11" fmla="*/ 290910 w 605702"/>
                <a:gd name="connsiteY11" fmla="*/ 156336 h 604568"/>
                <a:gd name="connsiteX12" fmla="*/ 246542 w 605702"/>
                <a:gd name="connsiteY12" fmla="*/ 43775 h 604568"/>
                <a:gd name="connsiteX13" fmla="*/ 422196 w 605702"/>
                <a:gd name="connsiteY13" fmla="*/ 78723 h 604568"/>
                <a:gd name="connsiteX14" fmla="*/ 376794 w 605702"/>
                <a:gd name="connsiteY14" fmla="*/ 124054 h 604568"/>
                <a:gd name="connsiteX15" fmla="*/ 126109 w 605702"/>
                <a:gd name="connsiteY15" fmla="*/ 167345 h 604568"/>
                <a:gd name="connsiteX16" fmla="*/ 126109 w 605702"/>
                <a:gd name="connsiteY16" fmla="*/ 478820 h 604568"/>
                <a:gd name="connsiteX17" fmla="*/ 438073 w 605702"/>
                <a:gd name="connsiteY17" fmla="*/ 478820 h 604568"/>
                <a:gd name="connsiteX18" fmla="*/ 481432 w 605702"/>
                <a:gd name="connsiteY18" fmla="*/ 228527 h 604568"/>
                <a:gd name="connsiteX19" fmla="*/ 526741 w 605702"/>
                <a:gd name="connsiteY19" fmla="*/ 183011 h 604568"/>
                <a:gd name="connsiteX20" fmla="*/ 481432 w 605702"/>
                <a:gd name="connsiteY20" fmla="*/ 522111 h 604568"/>
                <a:gd name="connsiteX21" fmla="*/ 82657 w 605702"/>
                <a:gd name="connsiteY21" fmla="*/ 522111 h 604568"/>
                <a:gd name="connsiteX22" fmla="*/ 82657 w 605702"/>
                <a:gd name="connsiteY22" fmla="*/ 123961 h 604568"/>
                <a:gd name="connsiteX23" fmla="*/ 246542 w 605702"/>
                <a:gd name="connsiteY23" fmla="*/ 43775 h 604568"/>
                <a:gd name="connsiteX24" fmla="*/ 536061 w 605702"/>
                <a:gd name="connsiteY24" fmla="*/ 0 h 604568"/>
                <a:gd name="connsiteX25" fmla="*/ 544232 w 605702"/>
                <a:gd name="connsiteY25" fmla="*/ 61368 h 604568"/>
                <a:gd name="connsiteX26" fmla="*/ 605702 w 605702"/>
                <a:gd name="connsiteY26" fmla="*/ 69526 h 604568"/>
                <a:gd name="connsiteX27" fmla="*/ 524361 w 605702"/>
                <a:gd name="connsiteY27" fmla="*/ 150732 h 604568"/>
                <a:gd name="connsiteX28" fmla="*/ 498361 w 605702"/>
                <a:gd name="connsiteY28" fmla="*/ 147302 h 604568"/>
                <a:gd name="connsiteX29" fmla="*/ 337721 w 605702"/>
                <a:gd name="connsiteY29" fmla="*/ 307767 h 604568"/>
                <a:gd name="connsiteX30" fmla="*/ 339764 w 605702"/>
                <a:gd name="connsiteY30" fmla="*/ 323063 h 604568"/>
                <a:gd name="connsiteX31" fmla="*/ 282101 w 605702"/>
                <a:gd name="connsiteY31" fmla="*/ 380630 h 604568"/>
                <a:gd name="connsiteX32" fmla="*/ 224437 w 605702"/>
                <a:gd name="connsiteY32" fmla="*/ 323063 h 604568"/>
                <a:gd name="connsiteX33" fmla="*/ 282101 w 605702"/>
                <a:gd name="connsiteY33" fmla="*/ 265495 h 604568"/>
                <a:gd name="connsiteX34" fmla="*/ 297422 w 605702"/>
                <a:gd name="connsiteY34" fmla="*/ 267535 h 604568"/>
                <a:gd name="connsiteX35" fmla="*/ 458155 w 605702"/>
                <a:gd name="connsiteY35" fmla="*/ 107162 h 604568"/>
                <a:gd name="connsiteX36" fmla="*/ 454719 w 605702"/>
                <a:gd name="connsiteY36" fmla="*/ 81206 h 60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5702" h="604568">
                  <a:moveTo>
                    <a:pt x="290910" y="156336"/>
                  </a:moveTo>
                  <a:cubicBezTo>
                    <a:pt x="306137" y="157147"/>
                    <a:pt x="321272" y="160032"/>
                    <a:pt x="335849" y="164992"/>
                  </a:cubicBezTo>
                  <a:lnTo>
                    <a:pt x="288310" y="212456"/>
                  </a:lnTo>
                  <a:cubicBezTo>
                    <a:pt x="257856" y="210695"/>
                    <a:pt x="226844" y="221449"/>
                    <a:pt x="203632" y="244717"/>
                  </a:cubicBezTo>
                  <a:cubicBezTo>
                    <a:pt x="160271" y="287918"/>
                    <a:pt x="160271" y="358187"/>
                    <a:pt x="203632" y="401388"/>
                  </a:cubicBezTo>
                  <a:cubicBezTo>
                    <a:pt x="246900" y="444680"/>
                    <a:pt x="317279" y="444680"/>
                    <a:pt x="360547" y="401388"/>
                  </a:cubicBezTo>
                  <a:cubicBezTo>
                    <a:pt x="383852" y="378211"/>
                    <a:pt x="394623" y="347156"/>
                    <a:pt x="392859" y="316749"/>
                  </a:cubicBezTo>
                  <a:lnTo>
                    <a:pt x="440397" y="269284"/>
                  </a:lnTo>
                  <a:cubicBezTo>
                    <a:pt x="460267" y="327595"/>
                    <a:pt x="446897" y="394620"/>
                    <a:pt x="400287" y="441065"/>
                  </a:cubicBezTo>
                  <a:cubicBezTo>
                    <a:pt x="335106" y="506236"/>
                    <a:pt x="229073" y="506236"/>
                    <a:pt x="163892" y="441065"/>
                  </a:cubicBezTo>
                  <a:cubicBezTo>
                    <a:pt x="98619" y="375987"/>
                    <a:pt x="98619" y="270118"/>
                    <a:pt x="163892" y="205040"/>
                  </a:cubicBezTo>
                  <a:cubicBezTo>
                    <a:pt x="198711" y="170137"/>
                    <a:pt x="245228" y="153902"/>
                    <a:pt x="290910" y="156336"/>
                  </a:cubicBezTo>
                  <a:close/>
                  <a:moveTo>
                    <a:pt x="246542" y="43775"/>
                  </a:moveTo>
                  <a:cubicBezTo>
                    <a:pt x="306463" y="36243"/>
                    <a:pt x="368345" y="47900"/>
                    <a:pt x="422196" y="78723"/>
                  </a:cubicBezTo>
                  <a:lnTo>
                    <a:pt x="376794" y="124054"/>
                  </a:lnTo>
                  <a:cubicBezTo>
                    <a:pt x="294811" y="85305"/>
                    <a:pt x="193980" y="99581"/>
                    <a:pt x="126109" y="167345"/>
                  </a:cubicBezTo>
                  <a:cubicBezTo>
                    <a:pt x="39948" y="253371"/>
                    <a:pt x="39948" y="392793"/>
                    <a:pt x="126109" y="478820"/>
                  </a:cubicBezTo>
                  <a:cubicBezTo>
                    <a:pt x="212271" y="564846"/>
                    <a:pt x="351912" y="564846"/>
                    <a:pt x="438073" y="478820"/>
                  </a:cubicBezTo>
                  <a:cubicBezTo>
                    <a:pt x="505944" y="411055"/>
                    <a:pt x="520428" y="310382"/>
                    <a:pt x="481432" y="228527"/>
                  </a:cubicBezTo>
                  <a:lnTo>
                    <a:pt x="526741" y="183011"/>
                  </a:lnTo>
                  <a:cubicBezTo>
                    <a:pt x="588484" y="290544"/>
                    <a:pt x="573350" y="430244"/>
                    <a:pt x="481432" y="522111"/>
                  </a:cubicBezTo>
                  <a:cubicBezTo>
                    <a:pt x="371316" y="632054"/>
                    <a:pt x="192866" y="632054"/>
                    <a:pt x="82657" y="522111"/>
                  </a:cubicBezTo>
                  <a:cubicBezTo>
                    <a:pt x="-27552" y="412168"/>
                    <a:pt x="-27552" y="233997"/>
                    <a:pt x="82657" y="123961"/>
                  </a:cubicBezTo>
                  <a:cubicBezTo>
                    <a:pt x="128662" y="78028"/>
                    <a:pt x="186622" y="51307"/>
                    <a:pt x="246542" y="43775"/>
                  </a:cubicBezTo>
                  <a:close/>
                  <a:moveTo>
                    <a:pt x="536061" y="0"/>
                  </a:moveTo>
                  <a:lnTo>
                    <a:pt x="544232" y="61368"/>
                  </a:lnTo>
                  <a:lnTo>
                    <a:pt x="605702" y="69526"/>
                  </a:lnTo>
                  <a:lnTo>
                    <a:pt x="524361" y="150732"/>
                  </a:lnTo>
                  <a:lnTo>
                    <a:pt x="498361" y="147302"/>
                  </a:lnTo>
                  <a:lnTo>
                    <a:pt x="337721" y="307767"/>
                  </a:lnTo>
                  <a:cubicBezTo>
                    <a:pt x="339021" y="312588"/>
                    <a:pt x="339764" y="317779"/>
                    <a:pt x="339764" y="323063"/>
                  </a:cubicBezTo>
                  <a:cubicBezTo>
                    <a:pt x="339764" y="354859"/>
                    <a:pt x="313950" y="380630"/>
                    <a:pt x="282101" y="380630"/>
                  </a:cubicBezTo>
                  <a:cubicBezTo>
                    <a:pt x="250251" y="380630"/>
                    <a:pt x="224437" y="354859"/>
                    <a:pt x="224437" y="323063"/>
                  </a:cubicBezTo>
                  <a:cubicBezTo>
                    <a:pt x="224437" y="291266"/>
                    <a:pt x="250251" y="265495"/>
                    <a:pt x="282101" y="265495"/>
                  </a:cubicBezTo>
                  <a:cubicBezTo>
                    <a:pt x="287393" y="265495"/>
                    <a:pt x="292500" y="266237"/>
                    <a:pt x="297422" y="267535"/>
                  </a:cubicBezTo>
                  <a:lnTo>
                    <a:pt x="458155" y="107162"/>
                  </a:lnTo>
                  <a:lnTo>
                    <a:pt x="454719" y="812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/>
            </a:p>
          </p:txBody>
        </p:sp>
        <p:sp>
          <p:nvSpPr>
            <p:cNvPr id="19" name="îŝ1iḓè">
              <a:extLst>
                <a:ext uri="{FF2B5EF4-FFF2-40B4-BE49-F238E27FC236}">
                  <a16:creationId xmlns:a16="http://schemas.microsoft.com/office/drawing/2014/main" xmlns="" id="{A326FC13-4F5C-4BAB-BD2D-B2C7B2B8D5A8}"/>
                </a:ext>
              </a:extLst>
            </p:cNvPr>
            <p:cNvSpPr/>
            <p:nvPr/>
          </p:nvSpPr>
          <p:spPr bwMode="auto">
            <a:xfrm>
              <a:off x="6789191" y="3800008"/>
              <a:ext cx="557522" cy="573420"/>
            </a:xfrm>
            <a:custGeom>
              <a:avLst/>
              <a:gdLst>
                <a:gd name="T0" fmla="*/ 6023 w 6383"/>
                <a:gd name="T1" fmla="*/ 2985 h 6575"/>
                <a:gd name="T2" fmla="*/ 5921 w 6383"/>
                <a:gd name="T3" fmla="*/ 1957 h 6575"/>
                <a:gd name="T4" fmla="*/ 5304 w 6383"/>
                <a:gd name="T5" fmla="*/ 1379 h 6575"/>
                <a:gd name="T6" fmla="*/ 4619 w 6383"/>
                <a:gd name="T7" fmla="*/ 608 h 6575"/>
                <a:gd name="T8" fmla="*/ 3777 w 6383"/>
                <a:gd name="T9" fmla="*/ 501 h 6575"/>
                <a:gd name="T10" fmla="*/ 2768 w 6383"/>
                <a:gd name="T11" fmla="*/ 280 h 6575"/>
                <a:gd name="T12" fmla="*/ 2028 w 6383"/>
                <a:gd name="T13" fmla="*/ 688 h 6575"/>
                <a:gd name="T14" fmla="*/ 1083 w 6383"/>
                <a:gd name="T15" fmla="*/ 1103 h 6575"/>
                <a:gd name="T16" fmla="*/ 723 w 6383"/>
                <a:gd name="T17" fmla="*/ 1868 h 6575"/>
                <a:gd name="T18" fmla="*/ 201 w 6383"/>
                <a:gd name="T19" fmla="*/ 2759 h 6575"/>
                <a:gd name="T20" fmla="*/ 360 w 6383"/>
                <a:gd name="T21" fmla="*/ 3591 h 6575"/>
                <a:gd name="T22" fmla="*/ 461 w 6383"/>
                <a:gd name="T23" fmla="*/ 4619 h 6575"/>
                <a:gd name="T24" fmla="*/ 1079 w 6383"/>
                <a:gd name="T25" fmla="*/ 5197 h 6575"/>
                <a:gd name="T26" fmla="*/ 1764 w 6383"/>
                <a:gd name="T27" fmla="*/ 5968 h 6575"/>
                <a:gd name="T28" fmla="*/ 2604 w 6383"/>
                <a:gd name="T29" fmla="*/ 6073 h 6575"/>
                <a:gd name="T30" fmla="*/ 3613 w 6383"/>
                <a:gd name="T31" fmla="*/ 6295 h 6575"/>
                <a:gd name="T32" fmla="*/ 4353 w 6383"/>
                <a:gd name="T33" fmla="*/ 5888 h 6575"/>
                <a:gd name="T34" fmla="*/ 5299 w 6383"/>
                <a:gd name="T35" fmla="*/ 5473 h 6575"/>
                <a:gd name="T36" fmla="*/ 5659 w 6383"/>
                <a:gd name="T37" fmla="*/ 4708 h 6575"/>
                <a:gd name="T38" fmla="*/ 6180 w 6383"/>
                <a:gd name="T39" fmla="*/ 3817 h 6575"/>
                <a:gd name="T40" fmla="*/ 3877 w 6383"/>
                <a:gd name="T41" fmla="*/ 4231 h 6575"/>
                <a:gd name="T42" fmla="*/ 3381 w 6383"/>
                <a:gd name="T43" fmla="*/ 4613 h 6575"/>
                <a:gd name="T44" fmla="*/ 3287 w 6383"/>
                <a:gd name="T45" fmla="*/ 4924 h 6575"/>
                <a:gd name="T46" fmla="*/ 2960 w 6383"/>
                <a:gd name="T47" fmla="*/ 4820 h 6575"/>
                <a:gd name="T48" fmla="*/ 2844 w 6383"/>
                <a:gd name="T49" fmla="*/ 4529 h 6575"/>
                <a:gd name="T50" fmla="*/ 2356 w 6383"/>
                <a:gd name="T51" fmla="*/ 4233 h 6575"/>
                <a:gd name="T52" fmla="*/ 2560 w 6383"/>
                <a:gd name="T53" fmla="*/ 3940 h 6575"/>
                <a:gd name="T54" fmla="*/ 3307 w 6383"/>
                <a:gd name="T55" fmla="*/ 4036 h 6575"/>
                <a:gd name="T56" fmla="*/ 3193 w 6383"/>
                <a:gd name="T57" fmla="*/ 3535 h 6575"/>
                <a:gd name="T58" fmla="*/ 2365 w 6383"/>
                <a:gd name="T59" fmla="*/ 2705 h 6575"/>
                <a:gd name="T60" fmla="*/ 2991 w 6383"/>
                <a:gd name="T61" fmla="*/ 1897 h 6575"/>
                <a:gd name="T62" fmla="*/ 3105 w 6383"/>
                <a:gd name="T63" fmla="*/ 1651 h 6575"/>
                <a:gd name="T64" fmla="*/ 3401 w 6383"/>
                <a:gd name="T65" fmla="*/ 1856 h 6575"/>
                <a:gd name="T66" fmla="*/ 3865 w 6383"/>
                <a:gd name="T67" fmla="*/ 2119 h 6575"/>
                <a:gd name="T68" fmla="*/ 3847 w 6383"/>
                <a:gd name="T69" fmla="*/ 2508 h 6575"/>
                <a:gd name="T70" fmla="*/ 3208 w 6383"/>
                <a:gd name="T71" fmla="*/ 2464 h 6575"/>
                <a:gd name="T72" fmla="*/ 3025 w 6383"/>
                <a:gd name="T73" fmla="*/ 2832 h 6575"/>
                <a:gd name="T74" fmla="*/ 3647 w 6383"/>
                <a:gd name="T75" fmla="*/ 3137 h 6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383" h="6575">
                  <a:moveTo>
                    <a:pt x="6023" y="3591"/>
                  </a:moveTo>
                  <a:cubicBezTo>
                    <a:pt x="5895" y="3409"/>
                    <a:pt x="5895" y="3167"/>
                    <a:pt x="6023" y="2985"/>
                  </a:cubicBezTo>
                  <a:lnTo>
                    <a:pt x="6181" y="2759"/>
                  </a:lnTo>
                  <a:cubicBezTo>
                    <a:pt x="6383" y="2472"/>
                    <a:pt x="6253" y="2072"/>
                    <a:pt x="5921" y="1957"/>
                  </a:cubicBezTo>
                  <a:lnTo>
                    <a:pt x="5660" y="1868"/>
                  </a:lnTo>
                  <a:cubicBezTo>
                    <a:pt x="5451" y="1796"/>
                    <a:pt x="5308" y="1600"/>
                    <a:pt x="5304" y="1379"/>
                  </a:cubicBezTo>
                  <a:lnTo>
                    <a:pt x="5300" y="1103"/>
                  </a:lnTo>
                  <a:cubicBezTo>
                    <a:pt x="5295" y="752"/>
                    <a:pt x="4953" y="505"/>
                    <a:pt x="4619" y="608"/>
                  </a:cubicBezTo>
                  <a:lnTo>
                    <a:pt x="4353" y="688"/>
                  </a:lnTo>
                  <a:cubicBezTo>
                    <a:pt x="4141" y="753"/>
                    <a:pt x="3911" y="679"/>
                    <a:pt x="3777" y="501"/>
                  </a:cubicBezTo>
                  <a:lnTo>
                    <a:pt x="3611" y="280"/>
                  </a:lnTo>
                  <a:cubicBezTo>
                    <a:pt x="3400" y="0"/>
                    <a:pt x="2979" y="0"/>
                    <a:pt x="2768" y="280"/>
                  </a:cubicBezTo>
                  <a:lnTo>
                    <a:pt x="2604" y="501"/>
                  </a:lnTo>
                  <a:cubicBezTo>
                    <a:pt x="2471" y="679"/>
                    <a:pt x="2240" y="753"/>
                    <a:pt x="2028" y="688"/>
                  </a:cubicBezTo>
                  <a:lnTo>
                    <a:pt x="1764" y="608"/>
                  </a:lnTo>
                  <a:cubicBezTo>
                    <a:pt x="1429" y="505"/>
                    <a:pt x="1088" y="752"/>
                    <a:pt x="1083" y="1103"/>
                  </a:cubicBezTo>
                  <a:lnTo>
                    <a:pt x="1079" y="1379"/>
                  </a:lnTo>
                  <a:cubicBezTo>
                    <a:pt x="1075" y="1600"/>
                    <a:pt x="933" y="1796"/>
                    <a:pt x="723" y="1868"/>
                  </a:cubicBezTo>
                  <a:lnTo>
                    <a:pt x="461" y="1957"/>
                  </a:lnTo>
                  <a:cubicBezTo>
                    <a:pt x="129" y="2071"/>
                    <a:pt x="0" y="2471"/>
                    <a:pt x="201" y="2759"/>
                  </a:cubicBezTo>
                  <a:lnTo>
                    <a:pt x="360" y="2985"/>
                  </a:lnTo>
                  <a:cubicBezTo>
                    <a:pt x="488" y="3167"/>
                    <a:pt x="488" y="3409"/>
                    <a:pt x="360" y="3591"/>
                  </a:cubicBezTo>
                  <a:lnTo>
                    <a:pt x="201" y="3817"/>
                  </a:lnTo>
                  <a:cubicBezTo>
                    <a:pt x="0" y="4104"/>
                    <a:pt x="129" y="4504"/>
                    <a:pt x="461" y="4619"/>
                  </a:cubicBezTo>
                  <a:lnTo>
                    <a:pt x="723" y="4708"/>
                  </a:lnTo>
                  <a:cubicBezTo>
                    <a:pt x="932" y="4780"/>
                    <a:pt x="1075" y="4976"/>
                    <a:pt x="1079" y="5197"/>
                  </a:cubicBezTo>
                  <a:lnTo>
                    <a:pt x="1083" y="5473"/>
                  </a:lnTo>
                  <a:cubicBezTo>
                    <a:pt x="1088" y="5824"/>
                    <a:pt x="1429" y="6071"/>
                    <a:pt x="1764" y="5968"/>
                  </a:cubicBezTo>
                  <a:lnTo>
                    <a:pt x="2028" y="5887"/>
                  </a:lnTo>
                  <a:cubicBezTo>
                    <a:pt x="2240" y="5821"/>
                    <a:pt x="2471" y="5896"/>
                    <a:pt x="2604" y="6073"/>
                  </a:cubicBezTo>
                  <a:lnTo>
                    <a:pt x="2771" y="6295"/>
                  </a:lnTo>
                  <a:cubicBezTo>
                    <a:pt x="2981" y="6575"/>
                    <a:pt x="3403" y="6575"/>
                    <a:pt x="3613" y="6295"/>
                  </a:cubicBezTo>
                  <a:lnTo>
                    <a:pt x="3777" y="6075"/>
                  </a:lnTo>
                  <a:cubicBezTo>
                    <a:pt x="3911" y="5897"/>
                    <a:pt x="4141" y="5823"/>
                    <a:pt x="4353" y="5888"/>
                  </a:cubicBezTo>
                  <a:lnTo>
                    <a:pt x="4617" y="5968"/>
                  </a:lnTo>
                  <a:cubicBezTo>
                    <a:pt x="4952" y="6071"/>
                    <a:pt x="5293" y="5824"/>
                    <a:pt x="5299" y="5473"/>
                  </a:cubicBezTo>
                  <a:lnTo>
                    <a:pt x="5303" y="5197"/>
                  </a:lnTo>
                  <a:cubicBezTo>
                    <a:pt x="5307" y="4976"/>
                    <a:pt x="5448" y="4780"/>
                    <a:pt x="5659" y="4708"/>
                  </a:cubicBezTo>
                  <a:lnTo>
                    <a:pt x="5920" y="4619"/>
                  </a:lnTo>
                  <a:cubicBezTo>
                    <a:pt x="6252" y="4505"/>
                    <a:pt x="6381" y="4105"/>
                    <a:pt x="6180" y="3817"/>
                  </a:cubicBezTo>
                  <a:lnTo>
                    <a:pt x="6023" y="3591"/>
                  </a:lnTo>
                  <a:close/>
                  <a:moveTo>
                    <a:pt x="3877" y="4231"/>
                  </a:moveTo>
                  <a:cubicBezTo>
                    <a:pt x="3773" y="4357"/>
                    <a:pt x="3637" y="4443"/>
                    <a:pt x="3479" y="4487"/>
                  </a:cubicBezTo>
                  <a:cubicBezTo>
                    <a:pt x="3409" y="4505"/>
                    <a:pt x="3379" y="4541"/>
                    <a:pt x="3381" y="4613"/>
                  </a:cubicBezTo>
                  <a:cubicBezTo>
                    <a:pt x="3384" y="4684"/>
                    <a:pt x="3381" y="4755"/>
                    <a:pt x="3381" y="4825"/>
                  </a:cubicBezTo>
                  <a:cubicBezTo>
                    <a:pt x="3381" y="4888"/>
                    <a:pt x="3349" y="4923"/>
                    <a:pt x="3287" y="4924"/>
                  </a:cubicBezTo>
                  <a:cubicBezTo>
                    <a:pt x="3211" y="4925"/>
                    <a:pt x="3135" y="4925"/>
                    <a:pt x="3059" y="4924"/>
                  </a:cubicBezTo>
                  <a:cubicBezTo>
                    <a:pt x="2992" y="4923"/>
                    <a:pt x="2961" y="4885"/>
                    <a:pt x="2960" y="4820"/>
                  </a:cubicBezTo>
                  <a:cubicBezTo>
                    <a:pt x="2960" y="4768"/>
                    <a:pt x="2959" y="4717"/>
                    <a:pt x="2959" y="4665"/>
                  </a:cubicBezTo>
                  <a:cubicBezTo>
                    <a:pt x="2957" y="4552"/>
                    <a:pt x="2953" y="4547"/>
                    <a:pt x="2844" y="4529"/>
                  </a:cubicBezTo>
                  <a:cubicBezTo>
                    <a:pt x="2704" y="4507"/>
                    <a:pt x="2567" y="4475"/>
                    <a:pt x="2439" y="4413"/>
                  </a:cubicBezTo>
                  <a:cubicBezTo>
                    <a:pt x="2337" y="4364"/>
                    <a:pt x="2328" y="4339"/>
                    <a:pt x="2356" y="4233"/>
                  </a:cubicBezTo>
                  <a:cubicBezTo>
                    <a:pt x="2377" y="4155"/>
                    <a:pt x="2399" y="4076"/>
                    <a:pt x="2424" y="3999"/>
                  </a:cubicBezTo>
                  <a:cubicBezTo>
                    <a:pt x="2452" y="3908"/>
                    <a:pt x="2477" y="3897"/>
                    <a:pt x="2560" y="3940"/>
                  </a:cubicBezTo>
                  <a:cubicBezTo>
                    <a:pt x="2701" y="4013"/>
                    <a:pt x="2852" y="4055"/>
                    <a:pt x="3011" y="4075"/>
                  </a:cubicBezTo>
                  <a:cubicBezTo>
                    <a:pt x="3112" y="4088"/>
                    <a:pt x="3212" y="4077"/>
                    <a:pt x="3307" y="4036"/>
                  </a:cubicBezTo>
                  <a:cubicBezTo>
                    <a:pt x="3483" y="3959"/>
                    <a:pt x="3511" y="3755"/>
                    <a:pt x="3361" y="3633"/>
                  </a:cubicBezTo>
                  <a:cubicBezTo>
                    <a:pt x="3311" y="3592"/>
                    <a:pt x="3253" y="3561"/>
                    <a:pt x="3193" y="3535"/>
                  </a:cubicBezTo>
                  <a:cubicBezTo>
                    <a:pt x="3039" y="3467"/>
                    <a:pt x="2879" y="3415"/>
                    <a:pt x="2733" y="3328"/>
                  </a:cubicBezTo>
                  <a:cubicBezTo>
                    <a:pt x="2497" y="3187"/>
                    <a:pt x="2347" y="2992"/>
                    <a:pt x="2365" y="2705"/>
                  </a:cubicBezTo>
                  <a:cubicBezTo>
                    <a:pt x="2385" y="2380"/>
                    <a:pt x="2569" y="2177"/>
                    <a:pt x="2867" y="2069"/>
                  </a:cubicBezTo>
                  <a:cubicBezTo>
                    <a:pt x="2989" y="2024"/>
                    <a:pt x="2991" y="2027"/>
                    <a:pt x="2991" y="1897"/>
                  </a:cubicBezTo>
                  <a:lnTo>
                    <a:pt x="2991" y="1767"/>
                  </a:lnTo>
                  <a:cubicBezTo>
                    <a:pt x="2993" y="1669"/>
                    <a:pt x="3009" y="1653"/>
                    <a:pt x="3105" y="1651"/>
                  </a:cubicBezTo>
                  <a:cubicBezTo>
                    <a:pt x="3135" y="1649"/>
                    <a:pt x="3165" y="1651"/>
                    <a:pt x="3195" y="1651"/>
                  </a:cubicBezTo>
                  <a:cubicBezTo>
                    <a:pt x="3400" y="1651"/>
                    <a:pt x="3400" y="1651"/>
                    <a:pt x="3401" y="1856"/>
                  </a:cubicBezTo>
                  <a:cubicBezTo>
                    <a:pt x="3401" y="2001"/>
                    <a:pt x="3401" y="2001"/>
                    <a:pt x="3547" y="2024"/>
                  </a:cubicBezTo>
                  <a:cubicBezTo>
                    <a:pt x="3657" y="2041"/>
                    <a:pt x="3764" y="2075"/>
                    <a:pt x="3865" y="2119"/>
                  </a:cubicBezTo>
                  <a:cubicBezTo>
                    <a:pt x="3921" y="2144"/>
                    <a:pt x="3943" y="2183"/>
                    <a:pt x="3925" y="2243"/>
                  </a:cubicBezTo>
                  <a:cubicBezTo>
                    <a:pt x="3900" y="2332"/>
                    <a:pt x="3876" y="2420"/>
                    <a:pt x="3847" y="2508"/>
                  </a:cubicBezTo>
                  <a:cubicBezTo>
                    <a:pt x="3820" y="2591"/>
                    <a:pt x="3793" y="2603"/>
                    <a:pt x="3713" y="2564"/>
                  </a:cubicBezTo>
                  <a:cubicBezTo>
                    <a:pt x="3553" y="2487"/>
                    <a:pt x="3385" y="2455"/>
                    <a:pt x="3208" y="2464"/>
                  </a:cubicBezTo>
                  <a:cubicBezTo>
                    <a:pt x="3161" y="2467"/>
                    <a:pt x="3116" y="2473"/>
                    <a:pt x="3073" y="2492"/>
                  </a:cubicBezTo>
                  <a:cubicBezTo>
                    <a:pt x="2920" y="2559"/>
                    <a:pt x="2896" y="2728"/>
                    <a:pt x="3025" y="2832"/>
                  </a:cubicBezTo>
                  <a:cubicBezTo>
                    <a:pt x="3091" y="2885"/>
                    <a:pt x="3167" y="2923"/>
                    <a:pt x="3245" y="2956"/>
                  </a:cubicBezTo>
                  <a:cubicBezTo>
                    <a:pt x="3381" y="3012"/>
                    <a:pt x="3517" y="3065"/>
                    <a:pt x="3647" y="3137"/>
                  </a:cubicBezTo>
                  <a:cubicBezTo>
                    <a:pt x="4056" y="3365"/>
                    <a:pt x="4167" y="3880"/>
                    <a:pt x="3877" y="4231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20" name="íṩḻíḓè">
              <a:extLst>
                <a:ext uri="{FF2B5EF4-FFF2-40B4-BE49-F238E27FC236}">
                  <a16:creationId xmlns:a16="http://schemas.microsoft.com/office/drawing/2014/main" xmlns="" id="{BE6EF65F-B22F-4A65-914C-D736B285E3EC}"/>
                </a:ext>
              </a:extLst>
            </p:cNvPr>
            <p:cNvSpPr/>
            <p:nvPr/>
          </p:nvSpPr>
          <p:spPr bwMode="auto">
            <a:xfrm>
              <a:off x="2962662" y="3832330"/>
              <a:ext cx="499670" cy="480542"/>
            </a:xfrm>
            <a:custGeom>
              <a:avLst/>
              <a:gdLst>
                <a:gd name="connsiteX0" fmla="*/ 61288 w 609549"/>
                <a:gd name="connsiteY0" fmla="*/ 383285 h 586216"/>
                <a:gd name="connsiteX1" fmla="*/ 71162 w 609549"/>
                <a:gd name="connsiteY1" fmla="*/ 387101 h 586216"/>
                <a:gd name="connsiteX2" fmla="*/ 120018 w 609549"/>
                <a:gd name="connsiteY2" fmla="*/ 435892 h 586216"/>
                <a:gd name="connsiteX3" fmla="*/ 120018 w 609549"/>
                <a:gd name="connsiteY3" fmla="*/ 454200 h 586216"/>
                <a:gd name="connsiteX4" fmla="*/ 56639 w 609549"/>
                <a:gd name="connsiteY4" fmla="*/ 517543 h 586216"/>
                <a:gd name="connsiteX5" fmla="*/ 35592 w 609549"/>
                <a:gd name="connsiteY5" fmla="*/ 513644 h 586216"/>
                <a:gd name="connsiteX6" fmla="*/ 51877 w 609549"/>
                <a:gd name="connsiteY6" fmla="*/ 388099 h 586216"/>
                <a:gd name="connsiteX7" fmla="*/ 61288 w 609549"/>
                <a:gd name="connsiteY7" fmla="*/ 383285 h 586216"/>
                <a:gd name="connsiteX8" fmla="*/ 235245 w 609549"/>
                <a:gd name="connsiteY8" fmla="*/ 302810 h 586216"/>
                <a:gd name="connsiteX9" fmla="*/ 306042 w 609549"/>
                <a:gd name="connsiteY9" fmla="*/ 373466 h 586216"/>
                <a:gd name="connsiteX10" fmla="*/ 258717 w 609549"/>
                <a:gd name="connsiteY10" fmla="*/ 420680 h 586216"/>
                <a:gd name="connsiteX11" fmla="*/ 230246 w 609549"/>
                <a:gd name="connsiteY11" fmla="*/ 550152 h 586216"/>
                <a:gd name="connsiteX12" fmla="*/ 92223 w 609549"/>
                <a:gd name="connsiteY12" fmla="*/ 575305 h 586216"/>
                <a:gd name="connsiteX13" fmla="*/ 88748 w 609549"/>
                <a:gd name="connsiteY13" fmla="*/ 556143 h 586216"/>
                <a:gd name="connsiteX14" fmla="*/ 165115 w 609549"/>
                <a:gd name="connsiteY14" fmla="*/ 479877 h 586216"/>
                <a:gd name="connsiteX15" fmla="*/ 165115 w 609549"/>
                <a:gd name="connsiteY15" fmla="*/ 446308 h 586216"/>
                <a:gd name="connsiteX16" fmla="*/ 88700 w 609549"/>
                <a:gd name="connsiteY16" fmla="*/ 369995 h 586216"/>
                <a:gd name="connsiteX17" fmla="*/ 92128 w 609549"/>
                <a:gd name="connsiteY17" fmla="*/ 350976 h 586216"/>
                <a:gd name="connsiteX18" fmla="*/ 189111 w 609549"/>
                <a:gd name="connsiteY18" fmla="*/ 348884 h 586216"/>
                <a:gd name="connsiteX19" fmla="*/ 257958 w 609549"/>
                <a:gd name="connsiteY19" fmla="*/ 161679 h 586216"/>
                <a:gd name="connsiteX20" fmla="*/ 317251 w 609549"/>
                <a:gd name="connsiteY20" fmla="*/ 220879 h 586216"/>
                <a:gd name="connsiteX21" fmla="*/ 388070 w 609549"/>
                <a:gd name="connsiteY21" fmla="*/ 291586 h 586216"/>
                <a:gd name="connsiteX22" fmla="*/ 604906 w 609549"/>
                <a:gd name="connsiteY22" fmla="*/ 508130 h 586216"/>
                <a:gd name="connsiteX23" fmla="*/ 604906 w 609549"/>
                <a:gd name="connsiteY23" fmla="*/ 530526 h 586216"/>
                <a:gd name="connsiteX24" fmla="*/ 556567 w 609549"/>
                <a:gd name="connsiteY24" fmla="*/ 578789 h 586216"/>
                <a:gd name="connsiteX25" fmla="*/ 545327 w 609549"/>
                <a:gd name="connsiteY25" fmla="*/ 583449 h 586216"/>
                <a:gd name="connsiteX26" fmla="*/ 534135 w 609549"/>
                <a:gd name="connsiteY26" fmla="*/ 578789 h 586216"/>
                <a:gd name="connsiteX27" fmla="*/ 317251 w 609549"/>
                <a:gd name="connsiteY27" fmla="*/ 362293 h 586216"/>
                <a:gd name="connsiteX28" fmla="*/ 246481 w 609549"/>
                <a:gd name="connsiteY28" fmla="*/ 291586 h 586216"/>
                <a:gd name="connsiteX29" fmla="*/ 187140 w 609549"/>
                <a:gd name="connsiteY29" fmla="*/ 232339 h 586216"/>
                <a:gd name="connsiteX30" fmla="*/ 58606 w 609549"/>
                <a:gd name="connsiteY30" fmla="*/ 160814 h 586216"/>
                <a:gd name="connsiteX31" fmla="*/ 126401 w 609549"/>
                <a:gd name="connsiteY31" fmla="*/ 228498 h 586216"/>
                <a:gd name="connsiteX32" fmla="*/ 111975 w 609549"/>
                <a:gd name="connsiteY32" fmla="*/ 242899 h 586216"/>
                <a:gd name="connsiteX33" fmla="*/ 119307 w 609549"/>
                <a:gd name="connsiteY33" fmla="*/ 250219 h 586216"/>
                <a:gd name="connsiteX34" fmla="*/ 119307 w 609549"/>
                <a:gd name="connsiteY34" fmla="*/ 277692 h 586216"/>
                <a:gd name="connsiteX35" fmla="*/ 115641 w 609549"/>
                <a:gd name="connsiteY35" fmla="*/ 281352 h 586216"/>
                <a:gd name="connsiteX36" fmla="*/ 88123 w 609549"/>
                <a:gd name="connsiteY36" fmla="*/ 281352 h 586216"/>
                <a:gd name="connsiteX37" fmla="*/ 5712 w 609549"/>
                <a:gd name="connsiteY37" fmla="*/ 199029 h 586216"/>
                <a:gd name="connsiteX38" fmla="*/ 5712 w 609549"/>
                <a:gd name="connsiteY38" fmla="*/ 171604 h 586216"/>
                <a:gd name="connsiteX39" fmla="*/ 9378 w 609549"/>
                <a:gd name="connsiteY39" fmla="*/ 167944 h 586216"/>
                <a:gd name="connsiteX40" fmla="*/ 36849 w 609549"/>
                <a:gd name="connsiteY40" fmla="*/ 167944 h 586216"/>
                <a:gd name="connsiteX41" fmla="*/ 44180 w 609549"/>
                <a:gd name="connsiteY41" fmla="*/ 175264 h 586216"/>
                <a:gd name="connsiteX42" fmla="*/ 585775 w 609549"/>
                <a:gd name="connsiteY42" fmla="*/ 66370 h 586216"/>
                <a:gd name="connsiteX43" fmla="*/ 595263 w 609549"/>
                <a:gd name="connsiteY43" fmla="*/ 73839 h 586216"/>
                <a:gd name="connsiteX44" fmla="*/ 578978 w 609549"/>
                <a:gd name="connsiteY44" fmla="*/ 199341 h 586216"/>
                <a:gd name="connsiteX45" fmla="*/ 559693 w 609549"/>
                <a:gd name="connsiteY45" fmla="*/ 200387 h 586216"/>
                <a:gd name="connsiteX46" fmla="*/ 510789 w 609549"/>
                <a:gd name="connsiteY46" fmla="*/ 151612 h 586216"/>
                <a:gd name="connsiteX47" fmla="*/ 510789 w 609549"/>
                <a:gd name="connsiteY47" fmla="*/ 133262 h 586216"/>
                <a:gd name="connsiteX48" fmla="*/ 574216 w 609549"/>
                <a:gd name="connsiteY48" fmla="*/ 69988 h 586216"/>
                <a:gd name="connsiteX49" fmla="*/ 585775 w 609549"/>
                <a:gd name="connsiteY49" fmla="*/ 66370 h 586216"/>
                <a:gd name="connsiteX50" fmla="*/ 158702 w 609549"/>
                <a:gd name="connsiteY50" fmla="*/ 26758 h 586216"/>
                <a:gd name="connsiteX51" fmla="*/ 172463 w 609549"/>
                <a:gd name="connsiteY51" fmla="*/ 32464 h 586216"/>
                <a:gd name="connsiteX52" fmla="*/ 179701 w 609549"/>
                <a:gd name="connsiteY52" fmla="*/ 39691 h 586216"/>
                <a:gd name="connsiteX53" fmla="*/ 246935 w 609549"/>
                <a:gd name="connsiteY53" fmla="*/ 106831 h 586216"/>
                <a:gd name="connsiteX54" fmla="*/ 254886 w 609549"/>
                <a:gd name="connsiteY54" fmla="*/ 114819 h 586216"/>
                <a:gd name="connsiteX55" fmla="*/ 257600 w 609549"/>
                <a:gd name="connsiteY55" fmla="*/ 138879 h 586216"/>
                <a:gd name="connsiteX56" fmla="*/ 254886 w 609549"/>
                <a:gd name="connsiteY56" fmla="*/ 142255 h 586216"/>
                <a:gd name="connsiteX57" fmla="*/ 252315 w 609549"/>
                <a:gd name="connsiteY57" fmla="*/ 144823 h 586216"/>
                <a:gd name="connsiteX58" fmla="*/ 246696 w 609549"/>
                <a:gd name="connsiteY58" fmla="*/ 150434 h 586216"/>
                <a:gd name="connsiteX59" fmla="*/ 175892 w 609549"/>
                <a:gd name="connsiteY59" fmla="*/ 221140 h 586216"/>
                <a:gd name="connsiteX60" fmla="*/ 172463 w 609549"/>
                <a:gd name="connsiteY60" fmla="*/ 224611 h 586216"/>
                <a:gd name="connsiteX61" fmla="*/ 170130 w 609549"/>
                <a:gd name="connsiteY61" fmla="*/ 226560 h 586216"/>
                <a:gd name="connsiteX62" fmla="*/ 162274 w 609549"/>
                <a:gd name="connsiteY62" fmla="*/ 229936 h 586216"/>
                <a:gd name="connsiteX63" fmla="*/ 158702 w 609549"/>
                <a:gd name="connsiteY63" fmla="*/ 230269 h 586216"/>
                <a:gd name="connsiteX64" fmla="*/ 144942 w 609549"/>
                <a:gd name="connsiteY64" fmla="*/ 224611 h 586216"/>
                <a:gd name="connsiteX65" fmla="*/ 137609 w 609549"/>
                <a:gd name="connsiteY65" fmla="*/ 217288 h 586216"/>
                <a:gd name="connsiteX66" fmla="*/ 69804 w 609549"/>
                <a:gd name="connsiteY66" fmla="*/ 149578 h 586216"/>
                <a:gd name="connsiteX67" fmla="*/ 62519 w 609549"/>
                <a:gd name="connsiteY67" fmla="*/ 142255 h 586216"/>
                <a:gd name="connsiteX68" fmla="*/ 62519 w 609549"/>
                <a:gd name="connsiteY68" fmla="*/ 114819 h 586216"/>
                <a:gd name="connsiteX69" fmla="*/ 144942 w 609549"/>
                <a:gd name="connsiteY69" fmla="*/ 32464 h 586216"/>
                <a:gd name="connsiteX70" fmla="*/ 158702 w 609549"/>
                <a:gd name="connsiteY70" fmla="*/ 26758 h 586216"/>
                <a:gd name="connsiteX71" fmla="*/ 254809 w 609549"/>
                <a:gd name="connsiteY71" fmla="*/ 6542 h 586216"/>
                <a:gd name="connsiteX72" fmla="*/ 321015 w 609549"/>
                <a:gd name="connsiteY72" fmla="*/ 29913 h 586216"/>
                <a:gd name="connsiteX73" fmla="*/ 260017 w 609549"/>
                <a:gd name="connsiteY73" fmla="*/ 97465 h 586216"/>
                <a:gd name="connsiteX74" fmla="*/ 193067 w 609549"/>
                <a:gd name="connsiteY74" fmla="*/ 30626 h 586216"/>
                <a:gd name="connsiteX75" fmla="*/ 254809 w 609549"/>
                <a:gd name="connsiteY75" fmla="*/ 6542 h 586216"/>
                <a:gd name="connsiteX76" fmla="*/ 503105 w 609549"/>
                <a:gd name="connsiteY76" fmla="*/ 953 h 586216"/>
                <a:gd name="connsiteX77" fmla="*/ 538560 w 609549"/>
                <a:gd name="connsiteY77" fmla="*/ 10911 h 586216"/>
                <a:gd name="connsiteX78" fmla="*/ 542083 w 609549"/>
                <a:gd name="connsiteY78" fmla="*/ 30073 h 586216"/>
                <a:gd name="connsiteX79" fmla="*/ 465709 w 609549"/>
                <a:gd name="connsiteY79" fmla="*/ 106341 h 586216"/>
                <a:gd name="connsiteX80" fmla="*/ 465709 w 609549"/>
                <a:gd name="connsiteY80" fmla="*/ 139911 h 586216"/>
                <a:gd name="connsiteX81" fmla="*/ 542131 w 609549"/>
                <a:gd name="connsiteY81" fmla="*/ 216227 h 586216"/>
                <a:gd name="connsiteX82" fmla="*/ 538655 w 609549"/>
                <a:gd name="connsiteY82" fmla="*/ 235246 h 586216"/>
                <a:gd name="connsiteX83" fmla="*/ 442187 w 609549"/>
                <a:gd name="connsiteY83" fmla="*/ 237528 h 586216"/>
                <a:gd name="connsiteX84" fmla="*/ 399238 w 609549"/>
                <a:gd name="connsiteY84" fmla="*/ 280370 h 586216"/>
                <a:gd name="connsiteX85" fmla="*/ 328482 w 609549"/>
                <a:gd name="connsiteY85" fmla="*/ 209712 h 586216"/>
                <a:gd name="connsiteX86" fmla="*/ 372240 w 609549"/>
                <a:gd name="connsiteY86" fmla="*/ 166015 h 586216"/>
                <a:gd name="connsiteX87" fmla="*/ 400571 w 609549"/>
                <a:gd name="connsiteY87" fmla="*/ 36064 h 586216"/>
                <a:gd name="connsiteX88" fmla="*/ 503105 w 609549"/>
                <a:gd name="connsiteY88" fmla="*/ 953 h 58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609549" h="586216">
                  <a:moveTo>
                    <a:pt x="61288" y="383285"/>
                  </a:moveTo>
                  <a:cubicBezTo>
                    <a:pt x="64829" y="383106"/>
                    <a:pt x="68448" y="384367"/>
                    <a:pt x="71162" y="387101"/>
                  </a:cubicBezTo>
                  <a:lnTo>
                    <a:pt x="120018" y="435892"/>
                  </a:lnTo>
                  <a:cubicBezTo>
                    <a:pt x="125113" y="440933"/>
                    <a:pt x="125113" y="449160"/>
                    <a:pt x="120018" y="454200"/>
                  </a:cubicBezTo>
                  <a:lnTo>
                    <a:pt x="56639" y="517543"/>
                  </a:lnTo>
                  <a:cubicBezTo>
                    <a:pt x="50211" y="523963"/>
                    <a:pt x="39211" y="522013"/>
                    <a:pt x="35592" y="513644"/>
                  </a:cubicBezTo>
                  <a:cubicBezTo>
                    <a:pt x="17783" y="472794"/>
                    <a:pt x="23211" y="424288"/>
                    <a:pt x="51877" y="388099"/>
                  </a:cubicBezTo>
                  <a:cubicBezTo>
                    <a:pt x="54282" y="385079"/>
                    <a:pt x="57746" y="383463"/>
                    <a:pt x="61288" y="383285"/>
                  </a:cubicBezTo>
                  <a:close/>
                  <a:moveTo>
                    <a:pt x="235245" y="302810"/>
                  </a:moveTo>
                  <a:lnTo>
                    <a:pt x="306042" y="373466"/>
                  </a:lnTo>
                  <a:lnTo>
                    <a:pt x="258717" y="420680"/>
                  </a:lnTo>
                  <a:cubicBezTo>
                    <a:pt x="274667" y="464329"/>
                    <a:pt x="265192" y="515300"/>
                    <a:pt x="230246" y="550152"/>
                  </a:cubicBezTo>
                  <a:cubicBezTo>
                    <a:pt x="192919" y="587430"/>
                    <a:pt x="137644" y="595798"/>
                    <a:pt x="92223" y="575305"/>
                  </a:cubicBezTo>
                  <a:cubicBezTo>
                    <a:pt x="84701" y="571882"/>
                    <a:pt x="82892" y="561992"/>
                    <a:pt x="88748" y="556143"/>
                  </a:cubicBezTo>
                  <a:lnTo>
                    <a:pt x="165115" y="479877"/>
                  </a:lnTo>
                  <a:cubicBezTo>
                    <a:pt x="174399" y="470605"/>
                    <a:pt x="174399" y="455580"/>
                    <a:pt x="165115" y="446308"/>
                  </a:cubicBezTo>
                  <a:lnTo>
                    <a:pt x="88700" y="369995"/>
                  </a:lnTo>
                  <a:cubicBezTo>
                    <a:pt x="82844" y="364194"/>
                    <a:pt x="84653" y="354399"/>
                    <a:pt x="92128" y="350976"/>
                  </a:cubicBezTo>
                  <a:cubicBezTo>
                    <a:pt x="122789" y="337092"/>
                    <a:pt x="157973" y="336379"/>
                    <a:pt x="189111" y="348884"/>
                  </a:cubicBezTo>
                  <a:close/>
                  <a:moveTo>
                    <a:pt x="257958" y="161679"/>
                  </a:moveTo>
                  <a:lnTo>
                    <a:pt x="317251" y="220879"/>
                  </a:lnTo>
                  <a:lnTo>
                    <a:pt x="388070" y="291586"/>
                  </a:lnTo>
                  <a:lnTo>
                    <a:pt x="604906" y="508130"/>
                  </a:lnTo>
                  <a:cubicBezTo>
                    <a:pt x="611097" y="514311"/>
                    <a:pt x="611097" y="524344"/>
                    <a:pt x="604906" y="530526"/>
                  </a:cubicBezTo>
                  <a:lnTo>
                    <a:pt x="556567" y="578789"/>
                  </a:lnTo>
                  <a:cubicBezTo>
                    <a:pt x="553471" y="581880"/>
                    <a:pt x="549423" y="583449"/>
                    <a:pt x="545327" y="583449"/>
                  </a:cubicBezTo>
                  <a:cubicBezTo>
                    <a:pt x="541279" y="583449"/>
                    <a:pt x="537231" y="581880"/>
                    <a:pt x="534135" y="578789"/>
                  </a:cubicBezTo>
                  <a:lnTo>
                    <a:pt x="317251" y="362293"/>
                  </a:lnTo>
                  <a:lnTo>
                    <a:pt x="246481" y="291586"/>
                  </a:lnTo>
                  <a:lnTo>
                    <a:pt x="187140" y="232339"/>
                  </a:lnTo>
                  <a:close/>
                  <a:moveTo>
                    <a:pt x="58606" y="160814"/>
                  </a:moveTo>
                  <a:lnTo>
                    <a:pt x="126401" y="228498"/>
                  </a:lnTo>
                  <a:lnTo>
                    <a:pt x="111975" y="242899"/>
                  </a:lnTo>
                  <a:lnTo>
                    <a:pt x="119307" y="250219"/>
                  </a:lnTo>
                  <a:cubicBezTo>
                    <a:pt x="126877" y="257824"/>
                    <a:pt x="126877" y="270087"/>
                    <a:pt x="119307" y="277692"/>
                  </a:cubicBezTo>
                  <a:lnTo>
                    <a:pt x="115641" y="281352"/>
                  </a:lnTo>
                  <a:cubicBezTo>
                    <a:pt x="108024" y="288909"/>
                    <a:pt x="95741" y="288909"/>
                    <a:pt x="88123" y="281352"/>
                  </a:cubicBezTo>
                  <a:lnTo>
                    <a:pt x="5712" y="199029"/>
                  </a:lnTo>
                  <a:cubicBezTo>
                    <a:pt x="-1905" y="191424"/>
                    <a:pt x="-1905" y="179161"/>
                    <a:pt x="5712" y="171604"/>
                  </a:cubicBezTo>
                  <a:lnTo>
                    <a:pt x="9378" y="167944"/>
                  </a:lnTo>
                  <a:cubicBezTo>
                    <a:pt x="16948" y="160339"/>
                    <a:pt x="29231" y="160339"/>
                    <a:pt x="36849" y="167944"/>
                  </a:cubicBezTo>
                  <a:lnTo>
                    <a:pt x="44180" y="175264"/>
                  </a:lnTo>
                  <a:close/>
                  <a:moveTo>
                    <a:pt x="585775" y="66370"/>
                  </a:moveTo>
                  <a:cubicBezTo>
                    <a:pt x="589775" y="67101"/>
                    <a:pt x="593430" y="69680"/>
                    <a:pt x="595263" y="73839"/>
                  </a:cubicBezTo>
                  <a:cubicBezTo>
                    <a:pt x="613072" y="114675"/>
                    <a:pt x="607644" y="163212"/>
                    <a:pt x="578978" y="199341"/>
                  </a:cubicBezTo>
                  <a:cubicBezTo>
                    <a:pt x="574168" y="205379"/>
                    <a:pt x="565121" y="205854"/>
                    <a:pt x="559693" y="200387"/>
                  </a:cubicBezTo>
                  <a:lnTo>
                    <a:pt x="510789" y="151612"/>
                  </a:lnTo>
                  <a:cubicBezTo>
                    <a:pt x="505742" y="146526"/>
                    <a:pt x="505742" y="138349"/>
                    <a:pt x="510789" y="133262"/>
                  </a:cubicBezTo>
                  <a:lnTo>
                    <a:pt x="574216" y="69988"/>
                  </a:lnTo>
                  <a:cubicBezTo>
                    <a:pt x="577430" y="66756"/>
                    <a:pt x="581775" y="65639"/>
                    <a:pt x="585775" y="66370"/>
                  </a:cubicBezTo>
                  <a:close/>
                  <a:moveTo>
                    <a:pt x="158702" y="26758"/>
                  </a:moveTo>
                  <a:cubicBezTo>
                    <a:pt x="163655" y="26758"/>
                    <a:pt x="168654" y="28660"/>
                    <a:pt x="172463" y="32464"/>
                  </a:cubicBezTo>
                  <a:lnTo>
                    <a:pt x="179701" y="39691"/>
                  </a:lnTo>
                  <a:lnTo>
                    <a:pt x="246935" y="106831"/>
                  </a:lnTo>
                  <a:lnTo>
                    <a:pt x="254886" y="114819"/>
                  </a:lnTo>
                  <a:cubicBezTo>
                    <a:pt x="261457" y="121334"/>
                    <a:pt x="262362" y="131414"/>
                    <a:pt x="257600" y="138879"/>
                  </a:cubicBezTo>
                  <a:cubicBezTo>
                    <a:pt x="256839" y="140068"/>
                    <a:pt x="255934" y="141209"/>
                    <a:pt x="254886" y="142255"/>
                  </a:cubicBezTo>
                  <a:lnTo>
                    <a:pt x="252315" y="144823"/>
                  </a:lnTo>
                  <a:lnTo>
                    <a:pt x="246696" y="150434"/>
                  </a:lnTo>
                  <a:lnTo>
                    <a:pt x="175892" y="221140"/>
                  </a:lnTo>
                  <a:lnTo>
                    <a:pt x="172463" y="224611"/>
                  </a:lnTo>
                  <a:cubicBezTo>
                    <a:pt x="171702" y="225324"/>
                    <a:pt x="170940" y="225990"/>
                    <a:pt x="170130" y="226560"/>
                  </a:cubicBezTo>
                  <a:cubicBezTo>
                    <a:pt x="167749" y="228319"/>
                    <a:pt x="165083" y="229413"/>
                    <a:pt x="162274" y="229936"/>
                  </a:cubicBezTo>
                  <a:cubicBezTo>
                    <a:pt x="161083" y="230174"/>
                    <a:pt x="159893" y="230269"/>
                    <a:pt x="158702" y="230269"/>
                  </a:cubicBezTo>
                  <a:cubicBezTo>
                    <a:pt x="153703" y="230269"/>
                    <a:pt x="148751" y="228367"/>
                    <a:pt x="144942" y="224611"/>
                  </a:cubicBezTo>
                  <a:lnTo>
                    <a:pt x="137609" y="217288"/>
                  </a:lnTo>
                  <a:lnTo>
                    <a:pt x="69804" y="149578"/>
                  </a:lnTo>
                  <a:lnTo>
                    <a:pt x="62519" y="142255"/>
                  </a:lnTo>
                  <a:cubicBezTo>
                    <a:pt x="54900" y="134647"/>
                    <a:pt x="54900" y="122380"/>
                    <a:pt x="62519" y="114819"/>
                  </a:cubicBezTo>
                  <a:lnTo>
                    <a:pt x="144942" y="32464"/>
                  </a:lnTo>
                  <a:cubicBezTo>
                    <a:pt x="148751" y="28660"/>
                    <a:pt x="153750" y="26758"/>
                    <a:pt x="158702" y="26758"/>
                  </a:cubicBezTo>
                  <a:close/>
                  <a:moveTo>
                    <a:pt x="254809" y="6542"/>
                  </a:moveTo>
                  <a:cubicBezTo>
                    <a:pt x="277279" y="4029"/>
                    <a:pt x="300492" y="9424"/>
                    <a:pt x="321015" y="29913"/>
                  </a:cubicBezTo>
                  <a:cubicBezTo>
                    <a:pt x="380347" y="89193"/>
                    <a:pt x="337205" y="46124"/>
                    <a:pt x="260017" y="97465"/>
                  </a:cubicBezTo>
                  <a:lnTo>
                    <a:pt x="193067" y="30626"/>
                  </a:lnTo>
                  <a:cubicBezTo>
                    <a:pt x="210614" y="19479"/>
                    <a:pt x="232340" y="9056"/>
                    <a:pt x="254809" y="6542"/>
                  </a:cubicBezTo>
                  <a:close/>
                  <a:moveTo>
                    <a:pt x="503105" y="953"/>
                  </a:moveTo>
                  <a:cubicBezTo>
                    <a:pt x="515252" y="2468"/>
                    <a:pt x="527216" y="5788"/>
                    <a:pt x="538560" y="10911"/>
                  </a:cubicBezTo>
                  <a:cubicBezTo>
                    <a:pt x="546131" y="14334"/>
                    <a:pt x="547940" y="24224"/>
                    <a:pt x="542083" y="30073"/>
                  </a:cubicBezTo>
                  <a:lnTo>
                    <a:pt x="465709" y="106341"/>
                  </a:lnTo>
                  <a:cubicBezTo>
                    <a:pt x="456424" y="115613"/>
                    <a:pt x="456424" y="130639"/>
                    <a:pt x="465709" y="139911"/>
                  </a:cubicBezTo>
                  <a:lnTo>
                    <a:pt x="542131" y="216227"/>
                  </a:lnTo>
                  <a:cubicBezTo>
                    <a:pt x="547940" y="222028"/>
                    <a:pt x="546178" y="231823"/>
                    <a:pt x="538655" y="235246"/>
                  </a:cubicBezTo>
                  <a:cubicBezTo>
                    <a:pt x="508181" y="249035"/>
                    <a:pt x="473184" y="249844"/>
                    <a:pt x="442187" y="237528"/>
                  </a:cubicBezTo>
                  <a:lnTo>
                    <a:pt x="399238" y="280370"/>
                  </a:lnTo>
                  <a:lnTo>
                    <a:pt x="328482" y="209712"/>
                  </a:lnTo>
                  <a:lnTo>
                    <a:pt x="372240" y="166015"/>
                  </a:lnTo>
                  <a:cubicBezTo>
                    <a:pt x="356051" y="122270"/>
                    <a:pt x="365527" y="71060"/>
                    <a:pt x="400571" y="36064"/>
                  </a:cubicBezTo>
                  <a:cubicBezTo>
                    <a:pt x="428569" y="8106"/>
                    <a:pt x="466664" y="-3592"/>
                    <a:pt x="503105" y="953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1" name="ïşľidé">
              <a:extLst>
                <a:ext uri="{FF2B5EF4-FFF2-40B4-BE49-F238E27FC236}">
                  <a16:creationId xmlns:a16="http://schemas.microsoft.com/office/drawing/2014/main" xmlns="" id="{5407DD31-D946-49B0-B57C-D07E78783FE7}"/>
                </a:ext>
              </a:extLst>
            </p:cNvPr>
            <p:cNvGrpSpPr/>
            <p:nvPr/>
          </p:nvGrpSpPr>
          <p:grpSpPr>
            <a:xfrm>
              <a:off x="2165526" y="1347572"/>
              <a:ext cx="2107807" cy="1111889"/>
              <a:chOff x="673100" y="1237334"/>
              <a:chExt cx="3228944" cy="1111889"/>
            </a:xfrm>
          </p:grpSpPr>
          <p:sp>
            <p:nvSpPr>
              <p:cNvPr id="31" name="ïš1idé">
                <a:extLst>
                  <a:ext uri="{FF2B5EF4-FFF2-40B4-BE49-F238E27FC236}">
                    <a16:creationId xmlns:a16="http://schemas.microsoft.com/office/drawing/2014/main" xmlns="" id="{E5B3ADCC-4464-4720-AE34-6F2BDBF07BBD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32" name="iṥḻíḓè">
                <a:extLst>
                  <a:ext uri="{FF2B5EF4-FFF2-40B4-BE49-F238E27FC236}">
                    <a16:creationId xmlns:a16="http://schemas.microsoft.com/office/drawing/2014/main" xmlns="" id="{4FF7A74E-487A-4ED0-9150-7A44AF8C7FB3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22" name="îṥliḓe">
              <a:extLst>
                <a:ext uri="{FF2B5EF4-FFF2-40B4-BE49-F238E27FC236}">
                  <a16:creationId xmlns:a16="http://schemas.microsoft.com/office/drawing/2014/main" xmlns="" id="{3FC30174-196C-4FA3-A6C8-FF92D03E81EA}"/>
                </a:ext>
              </a:extLst>
            </p:cNvPr>
            <p:cNvGrpSpPr/>
            <p:nvPr/>
          </p:nvGrpSpPr>
          <p:grpSpPr>
            <a:xfrm>
              <a:off x="4079041" y="4817639"/>
              <a:ext cx="2107807" cy="1111889"/>
              <a:chOff x="4081943" y="4823989"/>
              <a:chExt cx="2107807" cy="1111889"/>
            </a:xfrm>
          </p:grpSpPr>
          <p:sp>
            <p:nvSpPr>
              <p:cNvPr id="29" name="ïšļîdé">
                <a:extLst>
                  <a:ext uri="{FF2B5EF4-FFF2-40B4-BE49-F238E27FC236}">
                    <a16:creationId xmlns:a16="http://schemas.microsoft.com/office/drawing/2014/main" xmlns="" id="{396D021D-B190-4496-A0EE-71435A12B76B}"/>
                  </a:ext>
                </a:extLst>
              </p:cNvPr>
              <p:cNvSpPr/>
              <p:nvPr/>
            </p:nvSpPr>
            <p:spPr bwMode="auto">
              <a:xfrm>
                <a:off x="4081943" y="5211587"/>
                <a:ext cx="2107807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30" name="isļíḑê">
                <a:extLst>
                  <a:ext uri="{FF2B5EF4-FFF2-40B4-BE49-F238E27FC236}">
                    <a16:creationId xmlns:a16="http://schemas.microsoft.com/office/drawing/2014/main" xmlns="" id="{D51AA50A-75CD-4122-B56B-1FED520C6602}"/>
                  </a:ext>
                </a:extLst>
              </p:cNvPr>
              <p:cNvSpPr txBox="1"/>
              <p:nvPr/>
            </p:nvSpPr>
            <p:spPr bwMode="auto">
              <a:xfrm>
                <a:off x="4081943" y="4823989"/>
                <a:ext cx="2107807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23" name="íṡļiḑê">
              <a:extLst>
                <a:ext uri="{FF2B5EF4-FFF2-40B4-BE49-F238E27FC236}">
                  <a16:creationId xmlns:a16="http://schemas.microsoft.com/office/drawing/2014/main" xmlns="" id="{7F7BC51A-7A3A-435A-9C16-D837E7C0A0C5}"/>
                </a:ext>
              </a:extLst>
            </p:cNvPr>
            <p:cNvGrpSpPr/>
            <p:nvPr/>
          </p:nvGrpSpPr>
          <p:grpSpPr>
            <a:xfrm>
              <a:off x="7918666" y="4817639"/>
              <a:ext cx="2107807" cy="1111889"/>
              <a:chOff x="673100" y="1237334"/>
              <a:chExt cx="3228944" cy="1111889"/>
            </a:xfrm>
          </p:grpSpPr>
          <p:sp>
            <p:nvSpPr>
              <p:cNvPr id="27" name="íslîdê">
                <a:extLst>
                  <a:ext uri="{FF2B5EF4-FFF2-40B4-BE49-F238E27FC236}">
                    <a16:creationId xmlns:a16="http://schemas.microsoft.com/office/drawing/2014/main" xmlns="" id="{1DA25FC7-B155-46CC-B935-FBA1D9F5E161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8" name="ïšļídê">
                <a:extLst>
                  <a:ext uri="{FF2B5EF4-FFF2-40B4-BE49-F238E27FC236}">
                    <a16:creationId xmlns:a16="http://schemas.microsoft.com/office/drawing/2014/main" xmlns="" id="{EB5F340C-C618-473D-8921-F6B87E6FDD43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24" name="ïṩḻîḓé">
              <a:extLst>
                <a:ext uri="{FF2B5EF4-FFF2-40B4-BE49-F238E27FC236}">
                  <a16:creationId xmlns:a16="http://schemas.microsoft.com/office/drawing/2014/main" xmlns="" id="{20518670-F93B-4572-87E8-DEDBFF1ED105}"/>
                </a:ext>
              </a:extLst>
            </p:cNvPr>
            <p:cNvGrpSpPr/>
            <p:nvPr/>
          </p:nvGrpSpPr>
          <p:grpSpPr>
            <a:xfrm>
              <a:off x="5999347" y="1347572"/>
              <a:ext cx="2107807" cy="1111889"/>
              <a:chOff x="6010752" y="1353922"/>
              <a:chExt cx="2107807" cy="1111889"/>
            </a:xfrm>
          </p:grpSpPr>
          <p:sp>
            <p:nvSpPr>
              <p:cNvPr id="25" name="ïṥḷïdè">
                <a:extLst>
                  <a:ext uri="{FF2B5EF4-FFF2-40B4-BE49-F238E27FC236}">
                    <a16:creationId xmlns:a16="http://schemas.microsoft.com/office/drawing/2014/main" xmlns="" id="{7845DDCD-5874-46C5-9FC8-AE251723F314}"/>
                  </a:ext>
                </a:extLst>
              </p:cNvPr>
              <p:cNvSpPr/>
              <p:nvPr/>
            </p:nvSpPr>
            <p:spPr bwMode="auto">
              <a:xfrm>
                <a:off x="6010752" y="1741520"/>
                <a:ext cx="2107807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6" name="ï$ḻîḍê">
                <a:extLst>
                  <a:ext uri="{FF2B5EF4-FFF2-40B4-BE49-F238E27FC236}">
                    <a16:creationId xmlns:a16="http://schemas.microsoft.com/office/drawing/2014/main" xmlns="" id="{4F52E995-F212-48AE-A018-5E08570E0149}"/>
                  </a:ext>
                </a:extLst>
              </p:cNvPr>
              <p:cNvSpPr txBox="1"/>
              <p:nvPr/>
            </p:nvSpPr>
            <p:spPr bwMode="auto">
              <a:xfrm>
                <a:off x="6010752" y="1353922"/>
                <a:ext cx="2107807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83308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A3341E1C-C64B-4D65-B679-84332AC14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75E7726B-7C7F-4F0D-BEDB-ADD781BD5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C27944DB-392D-44F0-BA58-FDD0138D9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/>
          </a:p>
        </p:txBody>
      </p:sp>
      <p:grpSp>
        <p:nvGrpSpPr>
          <p:cNvPr id="5" name="21641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67B12E7D-6DD5-460B-A546-E77A669C58AA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35360" y="1105874"/>
            <a:ext cx="11145811" cy="5005887"/>
            <a:chOff x="335360" y="1105874"/>
            <a:chExt cx="11145811" cy="5005887"/>
          </a:xfrm>
        </p:grpSpPr>
        <p:grpSp>
          <p:nvGrpSpPr>
            <p:cNvPr id="6" name="íš1iḍ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xmlns="" id="{33259863-9424-4280-9D17-9E7FECD9323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35360" y="1105874"/>
              <a:ext cx="11145811" cy="5005887"/>
              <a:chOff x="335360" y="1105874"/>
              <a:chExt cx="11145811" cy="5005887"/>
            </a:xfrm>
          </p:grpSpPr>
          <p:grpSp>
            <p:nvGrpSpPr>
              <p:cNvPr id="10" name="iSlïḓé">
                <a:extLst>
                  <a:ext uri="{FF2B5EF4-FFF2-40B4-BE49-F238E27FC236}">
                    <a16:creationId xmlns:a16="http://schemas.microsoft.com/office/drawing/2014/main" xmlns="" id="{49DB9499-34D1-4E5C-9FF3-93E894E2302E}"/>
                  </a:ext>
                </a:extLst>
              </p:cNvPr>
              <p:cNvGrpSpPr/>
              <p:nvPr/>
            </p:nvGrpSpPr>
            <p:grpSpPr>
              <a:xfrm>
                <a:off x="335360" y="1125538"/>
                <a:ext cx="4797733" cy="4824536"/>
                <a:chOff x="479376" y="1196752"/>
                <a:chExt cx="4797733" cy="4824536"/>
              </a:xfrm>
            </p:grpSpPr>
            <p:cxnSp>
              <p:nvCxnSpPr>
                <p:cNvPr id="22" name="直接箭头连接符 21">
                  <a:extLst>
                    <a:ext uri="{FF2B5EF4-FFF2-40B4-BE49-F238E27FC236}">
                      <a16:creationId xmlns:a16="http://schemas.microsoft.com/office/drawing/2014/main" xmlns="" id="{D5E6DA37-58E5-4AE9-A746-8AC37846854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335248" y="1196752"/>
                  <a:ext cx="3903168" cy="4824536"/>
                </a:xfrm>
                <a:prstGeom prst="straightConnector1">
                  <a:avLst/>
                </a:prstGeom>
                <a:ln w="762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100000">
                        <a:schemeClr val="tx1">
                          <a:lumMod val="60000"/>
                          <a:lumOff val="40000"/>
                        </a:schemeClr>
                      </a:gs>
                    </a:gsLst>
                    <a:lin ang="5400000" scaled="1"/>
                  </a:gra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íŝḷïḓê">
                  <a:extLst>
                    <a:ext uri="{FF2B5EF4-FFF2-40B4-BE49-F238E27FC236}">
                      <a16:creationId xmlns:a16="http://schemas.microsoft.com/office/drawing/2014/main" xmlns="" id="{4A026364-652C-4F7D-89D4-9C1D997DE975}"/>
                    </a:ext>
                  </a:extLst>
                </p:cNvPr>
                <p:cNvSpPr/>
                <p:nvPr/>
              </p:nvSpPr>
              <p:spPr>
                <a:xfrm rot="2165686">
                  <a:off x="479376" y="4190452"/>
                  <a:ext cx="3838111" cy="1535245"/>
                </a:xfrm>
                <a:prstGeom prst="ellipse">
                  <a:avLst/>
                </a:prstGeom>
                <a:noFill/>
                <a:ln w="76200">
                  <a:solidFill>
                    <a:schemeClr val="accent3">
                      <a:alpha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24" name="iṩḷíḍe">
                  <a:extLst>
                    <a:ext uri="{FF2B5EF4-FFF2-40B4-BE49-F238E27FC236}">
                      <a16:creationId xmlns:a16="http://schemas.microsoft.com/office/drawing/2014/main" xmlns="" id="{8C845F98-DE51-4DB8-83D4-FEFC1D3BAE3A}"/>
                    </a:ext>
                  </a:extLst>
                </p:cNvPr>
                <p:cNvSpPr/>
                <p:nvPr/>
              </p:nvSpPr>
              <p:spPr>
                <a:xfrm rot="2165686">
                  <a:off x="1639538" y="3293224"/>
                  <a:ext cx="3054580" cy="1221834"/>
                </a:xfrm>
                <a:prstGeom prst="ellipse">
                  <a:avLst/>
                </a:prstGeom>
                <a:noFill/>
                <a:ln w="76200">
                  <a:solidFill>
                    <a:schemeClr val="accent1">
                      <a:alpha val="7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25" name="í$liḋè">
                  <a:extLst>
                    <a:ext uri="{FF2B5EF4-FFF2-40B4-BE49-F238E27FC236}">
                      <a16:creationId xmlns:a16="http://schemas.microsoft.com/office/drawing/2014/main" xmlns="" id="{7CD85F98-659D-4B05-9163-58425417367A}"/>
                    </a:ext>
                  </a:extLst>
                </p:cNvPr>
                <p:cNvSpPr/>
                <p:nvPr/>
              </p:nvSpPr>
              <p:spPr>
                <a:xfrm rot="2165686">
                  <a:off x="2667601" y="2600768"/>
                  <a:ext cx="2394960" cy="957985"/>
                </a:xfrm>
                <a:prstGeom prst="ellipse">
                  <a:avLst/>
                </a:prstGeom>
                <a:noFill/>
                <a:ln w="76200">
                  <a:solidFill>
                    <a:schemeClr val="accent3">
                      <a:alpha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26" name="íşḷíḑé">
                  <a:extLst>
                    <a:ext uri="{FF2B5EF4-FFF2-40B4-BE49-F238E27FC236}">
                      <a16:creationId xmlns:a16="http://schemas.microsoft.com/office/drawing/2014/main" xmlns="" id="{698DB9D4-5793-438A-A821-A4F87EE530AD}"/>
                    </a:ext>
                  </a:extLst>
                </p:cNvPr>
                <p:cNvSpPr/>
                <p:nvPr/>
              </p:nvSpPr>
              <p:spPr>
                <a:xfrm rot="2165686">
                  <a:off x="3306387" y="1914116"/>
                  <a:ext cx="1970722" cy="788288"/>
                </a:xfrm>
                <a:prstGeom prst="ellipse">
                  <a:avLst/>
                </a:prstGeom>
                <a:noFill/>
                <a:ln w="76200">
                  <a:solidFill>
                    <a:schemeClr val="accent1">
                      <a:alpha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1" name="ïṧľíḑê">
                <a:extLst>
                  <a:ext uri="{FF2B5EF4-FFF2-40B4-BE49-F238E27FC236}">
                    <a16:creationId xmlns:a16="http://schemas.microsoft.com/office/drawing/2014/main" xmlns="" id="{5BE45735-BB5E-4846-8C9D-B5E015C5367D}"/>
                  </a:ext>
                </a:extLst>
              </p:cNvPr>
              <p:cNvSpPr txBox="1"/>
              <p:nvPr/>
            </p:nvSpPr>
            <p:spPr>
              <a:xfrm>
                <a:off x="5481760" y="1105874"/>
                <a:ext cx="4536504" cy="1224136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normAutofit/>
              </a:bodyPr>
              <a:lstStyle/>
              <a:p>
                <a:pPr algn="just">
                  <a:lnSpc>
                    <a:spcPct val="150000"/>
                  </a:lnSpc>
                </a:pPr>
                <a:endPara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2" name="îṥ1ïdè">
                <a:extLst>
                  <a:ext uri="{FF2B5EF4-FFF2-40B4-BE49-F238E27FC236}">
                    <a16:creationId xmlns:a16="http://schemas.microsoft.com/office/drawing/2014/main" xmlns="" id="{93839B72-6B60-46A6-A5B2-64D94326CDE1}"/>
                  </a:ext>
                </a:extLst>
              </p:cNvPr>
              <p:cNvSpPr/>
              <p:nvPr/>
            </p:nvSpPr>
            <p:spPr bwMode="auto">
              <a:xfrm>
                <a:off x="5596061" y="4571905"/>
                <a:ext cx="686484" cy="468444"/>
              </a:xfrm>
              <a:custGeom>
                <a:avLst/>
                <a:gdLst>
                  <a:gd name="connsiteX0" fmla="*/ 20293 w 607639"/>
                  <a:gd name="connsiteY0" fmla="*/ 364067 h 414642"/>
                  <a:gd name="connsiteX1" fmla="*/ 20293 w 607639"/>
                  <a:gd name="connsiteY1" fmla="*/ 384244 h 414642"/>
                  <a:gd name="connsiteX2" fmla="*/ 30351 w 607639"/>
                  <a:gd name="connsiteY2" fmla="*/ 394377 h 414642"/>
                  <a:gd name="connsiteX3" fmla="*/ 577199 w 607639"/>
                  <a:gd name="connsiteY3" fmla="*/ 394377 h 414642"/>
                  <a:gd name="connsiteX4" fmla="*/ 587346 w 607639"/>
                  <a:gd name="connsiteY4" fmla="*/ 384244 h 414642"/>
                  <a:gd name="connsiteX5" fmla="*/ 587346 w 607639"/>
                  <a:gd name="connsiteY5" fmla="*/ 364067 h 414642"/>
                  <a:gd name="connsiteX6" fmla="*/ 556995 w 607639"/>
                  <a:gd name="connsiteY6" fmla="*/ 364067 h 414642"/>
                  <a:gd name="connsiteX7" fmla="*/ 394916 w 607639"/>
                  <a:gd name="connsiteY7" fmla="*/ 364067 h 414642"/>
                  <a:gd name="connsiteX8" fmla="*/ 394916 w 607639"/>
                  <a:gd name="connsiteY8" fmla="*/ 374200 h 414642"/>
                  <a:gd name="connsiteX9" fmla="*/ 384859 w 607639"/>
                  <a:gd name="connsiteY9" fmla="*/ 384244 h 414642"/>
                  <a:gd name="connsiteX10" fmla="*/ 222780 w 607639"/>
                  <a:gd name="connsiteY10" fmla="*/ 384244 h 414642"/>
                  <a:gd name="connsiteX11" fmla="*/ 212634 w 607639"/>
                  <a:gd name="connsiteY11" fmla="*/ 374200 h 414642"/>
                  <a:gd name="connsiteX12" fmla="*/ 212634 w 607639"/>
                  <a:gd name="connsiteY12" fmla="*/ 364067 h 414642"/>
                  <a:gd name="connsiteX13" fmla="*/ 50644 w 607639"/>
                  <a:gd name="connsiteY13" fmla="*/ 364067 h 414642"/>
                  <a:gd name="connsiteX14" fmla="*/ 141754 w 607639"/>
                  <a:gd name="connsiteY14" fmla="*/ 232583 h 414642"/>
                  <a:gd name="connsiteX15" fmla="*/ 161961 w 607639"/>
                  <a:gd name="connsiteY15" fmla="*/ 232583 h 414642"/>
                  <a:gd name="connsiteX16" fmla="*/ 172110 w 607639"/>
                  <a:gd name="connsiteY16" fmla="*/ 242719 h 414642"/>
                  <a:gd name="connsiteX17" fmla="*/ 161961 w 607639"/>
                  <a:gd name="connsiteY17" fmla="*/ 252765 h 414642"/>
                  <a:gd name="connsiteX18" fmla="*/ 141754 w 607639"/>
                  <a:gd name="connsiteY18" fmla="*/ 252765 h 414642"/>
                  <a:gd name="connsiteX19" fmla="*/ 131605 w 607639"/>
                  <a:gd name="connsiteY19" fmla="*/ 242719 h 414642"/>
                  <a:gd name="connsiteX20" fmla="*/ 141754 w 607639"/>
                  <a:gd name="connsiteY20" fmla="*/ 232583 h 414642"/>
                  <a:gd name="connsiteX21" fmla="*/ 141758 w 607639"/>
                  <a:gd name="connsiteY21" fmla="*/ 192149 h 414642"/>
                  <a:gd name="connsiteX22" fmla="*/ 182279 w 607639"/>
                  <a:gd name="connsiteY22" fmla="*/ 192149 h 414642"/>
                  <a:gd name="connsiteX23" fmla="*/ 192432 w 607639"/>
                  <a:gd name="connsiteY23" fmla="*/ 202196 h 414642"/>
                  <a:gd name="connsiteX24" fmla="*/ 182279 w 607639"/>
                  <a:gd name="connsiteY24" fmla="*/ 212331 h 414642"/>
                  <a:gd name="connsiteX25" fmla="*/ 141758 w 607639"/>
                  <a:gd name="connsiteY25" fmla="*/ 212331 h 414642"/>
                  <a:gd name="connsiteX26" fmla="*/ 131605 w 607639"/>
                  <a:gd name="connsiteY26" fmla="*/ 202196 h 414642"/>
                  <a:gd name="connsiteX27" fmla="*/ 141758 w 607639"/>
                  <a:gd name="connsiteY27" fmla="*/ 192149 h 414642"/>
                  <a:gd name="connsiteX28" fmla="*/ 141754 w 607639"/>
                  <a:gd name="connsiteY28" fmla="*/ 151716 h 414642"/>
                  <a:gd name="connsiteX29" fmla="*/ 161961 w 607639"/>
                  <a:gd name="connsiteY29" fmla="*/ 151716 h 414642"/>
                  <a:gd name="connsiteX30" fmla="*/ 172110 w 607639"/>
                  <a:gd name="connsiteY30" fmla="*/ 161763 h 414642"/>
                  <a:gd name="connsiteX31" fmla="*/ 161961 w 607639"/>
                  <a:gd name="connsiteY31" fmla="*/ 171898 h 414642"/>
                  <a:gd name="connsiteX32" fmla="*/ 141754 w 607639"/>
                  <a:gd name="connsiteY32" fmla="*/ 171898 h 414642"/>
                  <a:gd name="connsiteX33" fmla="*/ 131605 w 607639"/>
                  <a:gd name="connsiteY33" fmla="*/ 161763 h 414642"/>
                  <a:gd name="connsiteX34" fmla="*/ 141754 w 607639"/>
                  <a:gd name="connsiteY34" fmla="*/ 151716 h 414642"/>
                  <a:gd name="connsiteX35" fmla="*/ 141758 w 607639"/>
                  <a:gd name="connsiteY35" fmla="*/ 111211 h 414642"/>
                  <a:gd name="connsiteX36" fmla="*/ 182279 w 607639"/>
                  <a:gd name="connsiteY36" fmla="*/ 111211 h 414642"/>
                  <a:gd name="connsiteX37" fmla="*/ 192432 w 607639"/>
                  <a:gd name="connsiteY37" fmla="*/ 121337 h 414642"/>
                  <a:gd name="connsiteX38" fmla="*/ 182279 w 607639"/>
                  <a:gd name="connsiteY38" fmla="*/ 131463 h 414642"/>
                  <a:gd name="connsiteX39" fmla="*/ 141758 w 607639"/>
                  <a:gd name="connsiteY39" fmla="*/ 131463 h 414642"/>
                  <a:gd name="connsiteX40" fmla="*/ 131605 w 607639"/>
                  <a:gd name="connsiteY40" fmla="*/ 121337 h 414642"/>
                  <a:gd name="connsiteX41" fmla="*/ 141758 w 607639"/>
                  <a:gd name="connsiteY41" fmla="*/ 111211 h 414642"/>
                  <a:gd name="connsiteX42" fmla="*/ 425367 w 607639"/>
                  <a:gd name="connsiteY42" fmla="*/ 101191 h 414642"/>
                  <a:gd name="connsiteX43" fmla="*/ 496228 w 607639"/>
                  <a:gd name="connsiteY43" fmla="*/ 101191 h 414642"/>
                  <a:gd name="connsiteX44" fmla="*/ 506377 w 607639"/>
                  <a:gd name="connsiteY44" fmla="*/ 111231 h 414642"/>
                  <a:gd name="connsiteX45" fmla="*/ 506377 w 607639"/>
                  <a:gd name="connsiteY45" fmla="*/ 182042 h 414642"/>
                  <a:gd name="connsiteX46" fmla="*/ 496228 w 607639"/>
                  <a:gd name="connsiteY46" fmla="*/ 192171 h 414642"/>
                  <a:gd name="connsiteX47" fmla="*/ 486080 w 607639"/>
                  <a:gd name="connsiteY47" fmla="*/ 182042 h 414642"/>
                  <a:gd name="connsiteX48" fmla="*/ 486080 w 607639"/>
                  <a:gd name="connsiteY48" fmla="*/ 135575 h 414642"/>
                  <a:gd name="connsiteX49" fmla="*/ 402043 w 607639"/>
                  <a:gd name="connsiteY49" fmla="*/ 219447 h 414642"/>
                  <a:gd name="connsiteX50" fmla="*/ 394921 w 607639"/>
                  <a:gd name="connsiteY50" fmla="*/ 222468 h 414642"/>
                  <a:gd name="connsiteX51" fmla="*/ 387889 w 607639"/>
                  <a:gd name="connsiteY51" fmla="*/ 219447 h 414642"/>
                  <a:gd name="connsiteX52" fmla="*/ 344268 w 607639"/>
                  <a:gd name="connsiteY52" fmla="*/ 176001 h 414642"/>
                  <a:gd name="connsiteX53" fmla="*/ 270380 w 607639"/>
                  <a:gd name="connsiteY53" fmla="*/ 249744 h 414642"/>
                  <a:gd name="connsiteX54" fmla="*/ 263258 w 607639"/>
                  <a:gd name="connsiteY54" fmla="*/ 252765 h 414642"/>
                  <a:gd name="connsiteX55" fmla="*/ 256225 w 607639"/>
                  <a:gd name="connsiteY55" fmla="*/ 249744 h 414642"/>
                  <a:gd name="connsiteX56" fmla="*/ 256225 w 607639"/>
                  <a:gd name="connsiteY56" fmla="*/ 235617 h 414642"/>
                  <a:gd name="connsiteX57" fmla="*/ 337235 w 607639"/>
                  <a:gd name="connsiteY57" fmla="*/ 154766 h 414642"/>
                  <a:gd name="connsiteX58" fmla="*/ 338837 w 607639"/>
                  <a:gd name="connsiteY58" fmla="*/ 153433 h 414642"/>
                  <a:gd name="connsiteX59" fmla="*/ 340618 w 607639"/>
                  <a:gd name="connsiteY59" fmla="*/ 152456 h 414642"/>
                  <a:gd name="connsiteX60" fmla="*/ 341508 w 607639"/>
                  <a:gd name="connsiteY60" fmla="*/ 152101 h 414642"/>
                  <a:gd name="connsiteX61" fmla="*/ 343378 w 607639"/>
                  <a:gd name="connsiteY61" fmla="*/ 151745 h 414642"/>
                  <a:gd name="connsiteX62" fmla="*/ 344268 w 607639"/>
                  <a:gd name="connsiteY62" fmla="*/ 151745 h 414642"/>
                  <a:gd name="connsiteX63" fmla="*/ 346226 w 607639"/>
                  <a:gd name="connsiteY63" fmla="*/ 151923 h 414642"/>
                  <a:gd name="connsiteX64" fmla="*/ 351390 w 607639"/>
                  <a:gd name="connsiteY64" fmla="*/ 154766 h 414642"/>
                  <a:gd name="connsiteX65" fmla="*/ 394921 w 607639"/>
                  <a:gd name="connsiteY65" fmla="*/ 198213 h 414642"/>
                  <a:gd name="connsiteX66" fmla="*/ 471925 w 607639"/>
                  <a:gd name="connsiteY66" fmla="*/ 121359 h 414642"/>
                  <a:gd name="connsiteX67" fmla="*/ 425367 w 607639"/>
                  <a:gd name="connsiteY67" fmla="*/ 121359 h 414642"/>
                  <a:gd name="connsiteX68" fmla="*/ 415218 w 607639"/>
                  <a:gd name="connsiteY68" fmla="*/ 111231 h 414642"/>
                  <a:gd name="connsiteX69" fmla="*/ 425367 w 607639"/>
                  <a:gd name="connsiteY69" fmla="*/ 101191 h 414642"/>
                  <a:gd name="connsiteX70" fmla="*/ 101297 w 607639"/>
                  <a:gd name="connsiteY70" fmla="*/ 91029 h 414642"/>
                  <a:gd name="connsiteX71" fmla="*/ 111423 w 607639"/>
                  <a:gd name="connsiteY71" fmla="*/ 101159 h 414642"/>
                  <a:gd name="connsiteX72" fmla="*/ 111423 w 607639"/>
                  <a:gd name="connsiteY72" fmla="*/ 262887 h 414642"/>
                  <a:gd name="connsiteX73" fmla="*/ 101297 w 607639"/>
                  <a:gd name="connsiteY73" fmla="*/ 273017 h 414642"/>
                  <a:gd name="connsiteX74" fmla="*/ 91171 w 607639"/>
                  <a:gd name="connsiteY74" fmla="*/ 262887 h 414642"/>
                  <a:gd name="connsiteX75" fmla="*/ 91171 w 607639"/>
                  <a:gd name="connsiteY75" fmla="*/ 101159 h 414642"/>
                  <a:gd name="connsiteX76" fmla="*/ 101297 w 607639"/>
                  <a:gd name="connsiteY76" fmla="*/ 91029 h 414642"/>
                  <a:gd name="connsiteX77" fmla="*/ 70848 w 607639"/>
                  <a:gd name="connsiteY77" fmla="*/ 20177 h 414642"/>
                  <a:gd name="connsiteX78" fmla="*/ 60791 w 607639"/>
                  <a:gd name="connsiteY78" fmla="*/ 30309 h 414642"/>
                  <a:gd name="connsiteX79" fmla="*/ 60791 w 607639"/>
                  <a:gd name="connsiteY79" fmla="*/ 343802 h 414642"/>
                  <a:gd name="connsiteX80" fmla="*/ 222780 w 607639"/>
                  <a:gd name="connsiteY80" fmla="*/ 343802 h 414642"/>
                  <a:gd name="connsiteX81" fmla="*/ 232927 w 607639"/>
                  <a:gd name="connsiteY81" fmla="*/ 353935 h 414642"/>
                  <a:gd name="connsiteX82" fmla="*/ 232927 w 607639"/>
                  <a:gd name="connsiteY82" fmla="*/ 364067 h 414642"/>
                  <a:gd name="connsiteX83" fmla="*/ 374712 w 607639"/>
                  <a:gd name="connsiteY83" fmla="*/ 364067 h 414642"/>
                  <a:gd name="connsiteX84" fmla="*/ 374712 w 607639"/>
                  <a:gd name="connsiteY84" fmla="*/ 353935 h 414642"/>
                  <a:gd name="connsiteX85" fmla="*/ 384859 w 607639"/>
                  <a:gd name="connsiteY85" fmla="*/ 343802 h 414642"/>
                  <a:gd name="connsiteX86" fmla="*/ 546848 w 607639"/>
                  <a:gd name="connsiteY86" fmla="*/ 343802 h 414642"/>
                  <a:gd name="connsiteX87" fmla="*/ 546848 w 607639"/>
                  <a:gd name="connsiteY87" fmla="*/ 30309 h 414642"/>
                  <a:gd name="connsiteX88" fmla="*/ 536702 w 607639"/>
                  <a:gd name="connsiteY88" fmla="*/ 20177 h 414642"/>
                  <a:gd name="connsiteX89" fmla="*/ 70848 w 607639"/>
                  <a:gd name="connsiteY89" fmla="*/ 0 h 414642"/>
                  <a:gd name="connsiteX90" fmla="*/ 536702 w 607639"/>
                  <a:gd name="connsiteY90" fmla="*/ 0 h 414642"/>
                  <a:gd name="connsiteX91" fmla="*/ 567142 w 607639"/>
                  <a:gd name="connsiteY91" fmla="*/ 30309 h 414642"/>
                  <a:gd name="connsiteX92" fmla="*/ 567142 w 607639"/>
                  <a:gd name="connsiteY92" fmla="*/ 343802 h 414642"/>
                  <a:gd name="connsiteX93" fmla="*/ 597492 w 607639"/>
                  <a:gd name="connsiteY93" fmla="*/ 343802 h 414642"/>
                  <a:gd name="connsiteX94" fmla="*/ 607639 w 607639"/>
                  <a:gd name="connsiteY94" fmla="*/ 353935 h 414642"/>
                  <a:gd name="connsiteX95" fmla="*/ 607639 w 607639"/>
                  <a:gd name="connsiteY95" fmla="*/ 384244 h 414642"/>
                  <a:gd name="connsiteX96" fmla="*/ 577199 w 607639"/>
                  <a:gd name="connsiteY96" fmla="*/ 414642 h 414642"/>
                  <a:gd name="connsiteX97" fmla="*/ 30351 w 607639"/>
                  <a:gd name="connsiteY97" fmla="*/ 414642 h 414642"/>
                  <a:gd name="connsiteX98" fmla="*/ 0 w 607639"/>
                  <a:gd name="connsiteY98" fmla="*/ 384244 h 414642"/>
                  <a:gd name="connsiteX99" fmla="*/ 0 w 607639"/>
                  <a:gd name="connsiteY99" fmla="*/ 353935 h 414642"/>
                  <a:gd name="connsiteX100" fmla="*/ 10147 w 607639"/>
                  <a:gd name="connsiteY100" fmla="*/ 343802 h 414642"/>
                  <a:gd name="connsiteX101" fmla="*/ 40497 w 607639"/>
                  <a:gd name="connsiteY101" fmla="*/ 343802 h 414642"/>
                  <a:gd name="connsiteX102" fmla="*/ 40497 w 607639"/>
                  <a:gd name="connsiteY102" fmla="*/ 30309 h 414642"/>
                  <a:gd name="connsiteX103" fmla="*/ 70848 w 607639"/>
                  <a:gd name="connsiteY103" fmla="*/ 0 h 414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607639" h="414642">
                    <a:moveTo>
                      <a:pt x="20293" y="364067"/>
                    </a:moveTo>
                    <a:lnTo>
                      <a:pt x="20293" y="384244"/>
                    </a:lnTo>
                    <a:cubicBezTo>
                      <a:pt x="20293" y="390377"/>
                      <a:pt x="24298" y="394377"/>
                      <a:pt x="30351" y="394377"/>
                    </a:cubicBezTo>
                    <a:lnTo>
                      <a:pt x="577199" y="394377"/>
                    </a:lnTo>
                    <a:cubicBezTo>
                      <a:pt x="583341" y="394377"/>
                      <a:pt x="587346" y="390377"/>
                      <a:pt x="587346" y="384244"/>
                    </a:cubicBezTo>
                    <a:lnTo>
                      <a:pt x="587346" y="364067"/>
                    </a:lnTo>
                    <a:lnTo>
                      <a:pt x="556995" y="364067"/>
                    </a:lnTo>
                    <a:lnTo>
                      <a:pt x="394916" y="364067"/>
                    </a:lnTo>
                    <a:lnTo>
                      <a:pt x="394916" y="374200"/>
                    </a:lnTo>
                    <a:cubicBezTo>
                      <a:pt x="394916" y="380244"/>
                      <a:pt x="390911" y="384244"/>
                      <a:pt x="384859" y="384244"/>
                    </a:cubicBezTo>
                    <a:lnTo>
                      <a:pt x="222780" y="384244"/>
                    </a:lnTo>
                    <a:cubicBezTo>
                      <a:pt x="216728" y="384244"/>
                      <a:pt x="212634" y="380244"/>
                      <a:pt x="212634" y="374200"/>
                    </a:cubicBezTo>
                    <a:lnTo>
                      <a:pt x="212634" y="364067"/>
                    </a:lnTo>
                    <a:lnTo>
                      <a:pt x="50644" y="364067"/>
                    </a:lnTo>
                    <a:close/>
                    <a:moveTo>
                      <a:pt x="141754" y="232583"/>
                    </a:moveTo>
                    <a:lnTo>
                      <a:pt x="161961" y="232583"/>
                    </a:lnTo>
                    <a:cubicBezTo>
                      <a:pt x="168104" y="232583"/>
                      <a:pt x="172110" y="236584"/>
                      <a:pt x="172110" y="242719"/>
                    </a:cubicBezTo>
                    <a:cubicBezTo>
                      <a:pt x="172110" y="248764"/>
                      <a:pt x="168104" y="252765"/>
                      <a:pt x="161961" y="252765"/>
                    </a:cubicBezTo>
                    <a:lnTo>
                      <a:pt x="141754" y="252765"/>
                    </a:lnTo>
                    <a:cubicBezTo>
                      <a:pt x="135700" y="252765"/>
                      <a:pt x="131605" y="248764"/>
                      <a:pt x="131605" y="242719"/>
                    </a:cubicBezTo>
                    <a:cubicBezTo>
                      <a:pt x="131605" y="236584"/>
                      <a:pt x="135700" y="232583"/>
                      <a:pt x="141754" y="232583"/>
                    </a:cubicBezTo>
                    <a:close/>
                    <a:moveTo>
                      <a:pt x="141758" y="192149"/>
                    </a:moveTo>
                    <a:lnTo>
                      <a:pt x="182279" y="192149"/>
                    </a:lnTo>
                    <a:cubicBezTo>
                      <a:pt x="188335" y="192149"/>
                      <a:pt x="192432" y="196150"/>
                      <a:pt x="192432" y="202196"/>
                    </a:cubicBezTo>
                    <a:cubicBezTo>
                      <a:pt x="192432" y="208330"/>
                      <a:pt x="188335" y="212331"/>
                      <a:pt x="182279" y="212331"/>
                    </a:cubicBezTo>
                    <a:lnTo>
                      <a:pt x="141758" y="212331"/>
                    </a:lnTo>
                    <a:cubicBezTo>
                      <a:pt x="135702" y="212331"/>
                      <a:pt x="131605" y="208330"/>
                      <a:pt x="131605" y="202196"/>
                    </a:cubicBezTo>
                    <a:cubicBezTo>
                      <a:pt x="131605" y="196150"/>
                      <a:pt x="135702" y="192149"/>
                      <a:pt x="141758" y="192149"/>
                    </a:cubicBezTo>
                    <a:close/>
                    <a:moveTo>
                      <a:pt x="141754" y="151716"/>
                    </a:moveTo>
                    <a:lnTo>
                      <a:pt x="161961" y="151716"/>
                    </a:lnTo>
                    <a:cubicBezTo>
                      <a:pt x="168104" y="151716"/>
                      <a:pt x="172110" y="155717"/>
                      <a:pt x="172110" y="161763"/>
                    </a:cubicBezTo>
                    <a:cubicBezTo>
                      <a:pt x="172110" y="167897"/>
                      <a:pt x="168104" y="171898"/>
                      <a:pt x="161961" y="171898"/>
                    </a:cubicBezTo>
                    <a:lnTo>
                      <a:pt x="141754" y="171898"/>
                    </a:lnTo>
                    <a:cubicBezTo>
                      <a:pt x="135700" y="171898"/>
                      <a:pt x="131605" y="167897"/>
                      <a:pt x="131605" y="161763"/>
                    </a:cubicBezTo>
                    <a:cubicBezTo>
                      <a:pt x="131605" y="155717"/>
                      <a:pt x="135700" y="151716"/>
                      <a:pt x="141754" y="151716"/>
                    </a:cubicBezTo>
                    <a:close/>
                    <a:moveTo>
                      <a:pt x="141758" y="111211"/>
                    </a:moveTo>
                    <a:lnTo>
                      <a:pt x="182279" y="111211"/>
                    </a:lnTo>
                    <a:cubicBezTo>
                      <a:pt x="188335" y="111211"/>
                      <a:pt x="192432" y="115297"/>
                      <a:pt x="192432" y="121337"/>
                    </a:cubicBezTo>
                    <a:cubicBezTo>
                      <a:pt x="192432" y="127377"/>
                      <a:pt x="188335" y="131463"/>
                      <a:pt x="182279" y="131463"/>
                    </a:cubicBezTo>
                    <a:lnTo>
                      <a:pt x="141758" y="131463"/>
                    </a:lnTo>
                    <a:cubicBezTo>
                      <a:pt x="135702" y="131463"/>
                      <a:pt x="131605" y="127377"/>
                      <a:pt x="131605" y="121337"/>
                    </a:cubicBezTo>
                    <a:cubicBezTo>
                      <a:pt x="131605" y="115297"/>
                      <a:pt x="135702" y="111211"/>
                      <a:pt x="141758" y="111211"/>
                    </a:cubicBezTo>
                    <a:close/>
                    <a:moveTo>
                      <a:pt x="425367" y="101191"/>
                    </a:moveTo>
                    <a:lnTo>
                      <a:pt x="496228" y="101191"/>
                    </a:lnTo>
                    <a:cubicBezTo>
                      <a:pt x="502282" y="101191"/>
                      <a:pt x="506377" y="105189"/>
                      <a:pt x="506377" y="111231"/>
                    </a:cubicBezTo>
                    <a:lnTo>
                      <a:pt x="506377" y="182042"/>
                    </a:lnTo>
                    <a:cubicBezTo>
                      <a:pt x="506377" y="188084"/>
                      <a:pt x="502282" y="192171"/>
                      <a:pt x="496228" y="192171"/>
                    </a:cubicBezTo>
                    <a:cubicBezTo>
                      <a:pt x="490175" y="192171"/>
                      <a:pt x="486080" y="188084"/>
                      <a:pt x="486080" y="182042"/>
                    </a:cubicBezTo>
                    <a:lnTo>
                      <a:pt x="486080" y="135575"/>
                    </a:lnTo>
                    <a:lnTo>
                      <a:pt x="402043" y="219447"/>
                    </a:lnTo>
                    <a:cubicBezTo>
                      <a:pt x="399996" y="221491"/>
                      <a:pt x="397948" y="222468"/>
                      <a:pt x="394921" y="222468"/>
                    </a:cubicBezTo>
                    <a:cubicBezTo>
                      <a:pt x="391895" y="222468"/>
                      <a:pt x="389847" y="221491"/>
                      <a:pt x="387889" y="219447"/>
                    </a:cubicBezTo>
                    <a:lnTo>
                      <a:pt x="344268" y="176001"/>
                    </a:lnTo>
                    <a:lnTo>
                      <a:pt x="270380" y="249744"/>
                    </a:lnTo>
                    <a:cubicBezTo>
                      <a:pt x="268332" y="251788"/>
                      <a:pt x="266285" y="252765"/>
                      <a:pt x="263258" y="252765"/>
                    </a:cubicBezTo>
                    <a:cubicBezTo>
                      <a:pt x="260231" y="252765"/>
                      <a:pt x="258184" y="251788"/>
                      <a:pt x="256225" y="249744"/>
                    </a:cubicBezTo>
                    <a:cubicBezTo>
                      <a:pt x="252130" y="245746"/>
                      <a:pt x="252130" y="239616"/>
                      <a:pt x="256225" y="235617"/>
                    </a:cubicBezTo>
                    <a:lnTo>
                      <a:pt x="337235" y="154766"/>
                    </a:lnTo>
                    <a:cubicBezTo>
                      <a:pt x="337769" y="154233"/>
                      <a:pt x="338303" y="153789"/>
                      <a:pt x="338837" y="153433"/>
                    </a:cubicBezTo>
                    <a:cubicBezTo>
                      <a:pt x="339372" y="152989"/>
                      <a:pt x="339995" y="152723"/>
                      <a:pt x="340618" y="152456"/>
                    </a:cubicBezTo>
                    <a:cubicBezTo>
                      <a:pt x="340885" y="152367"/>
                      <a:pt x="341152" y="152190"/>
                      <a:pt x="341508" y="152101"/>
                    </a:cubicBezTo>
                    <a:cubicBezTo>
                      <a:pt x="342131" y="151923"/>
                      <a:pt x="342754" y="151834"/>
                      <a:pt x="343378" y="151745"/>
                    </a:cubicBezTo>
                    <a:cubicBezTo>
                      <a:pt x="343645" y="151745"/>
                      <a:pt x="344001" y="151745"/>
                      <a:pt x="344268" y="151745"/>
                    </a:cubicBezTo>
                    <a:cubicBezTo>
                      <a:pt x="344980" y="151745"/>
                      <a:pt x="345603" y="151745"/>
                      <a:pt x="346226" y="151923"/>
                    </a:cubicBezTo>
                    <a:cubicBezTo>
                      <a:pt x="348096" y="152278"/>
                      <a:pt x="349876" y="153256"/>
                      <a:pt x="351390" y="154766"/>
                    </a:cubicBezTo>
                    <a:lnTo>
                      <a:pt x="394921" y="198213"/>
                    </a:lnTo>
                    <a:lnTo>
                      <a:pt x="471925" y="121359"/>
                    </a:lnTo>
                    <a:lnTo>
                      <a:pt x="425367" y="121359"/>
                    </a:lnTo>
                    <a:cubicBezTo>
                      <a:pt x="419224" y="121359"/>
                      <a:pt x="415218" y="117361"/>
                      <a:pt x="415218" y="111231"/>
                    </a:cubicBezTo>
                    <a:cubicBezTo>
                      <a:pt x="415218" y="105189"/>
                      <a:pt x="419224" y="101191"/>
                      <a:pt x="425367" y="101191"/>
                    </a:cubicBezTo>
                    <a:close/>
                    <a:moveTo>
                      <a:pt x="101297" y="91029"/>
                    </a:moveTo>
                    <a:cubicBezTo>
                      <a:pt x="107337" y="91029"/>
                      <a:pt x="111423" y="95028"/>
                      <a:pt x="111423" y="101159"/>
                    </a:cubicBezTo>
                    <a:lnTo>
                      <a:pt x="111423" y="262887"/>
                    </a:lnTo>
                    <a:cubicBezTo>
                      <a:pt x="111423" y="268929"/>
                      <a:pt x="107337" y="273017"/>
                      <a:pt x="101297" y="273017"/>
                    </a:cubicBezTo>
                    <a:cubicBezTo>
                      <a:pt x="95257" y="273017"/>
                      <a:pt x="91171" y="268929"/>
                      <a:pt x="91171" y="262887"/>
                    </a:cubicBezTo>
                    <a:lnTo>
                      <a:pt x="91171" y="101159"/>
                    </a:lnTo>
                    <a:cubicBezTo>
                      <a:pt x="91171" y="95028"/>
                      <a:pt x="95257" y="91029"/>
                      <a:pt x="101297" y="91029"/>
                    </a:cubicBezTo>
                    <a:close/>
                    <a:moveTo>
                      <a:pt x="70848" y="20177"/>
                    </a:moveTo>
                    <a:cubicBezTo>
                      <a:pt x="64796" y="20177"/>
                      <a:pt x="60791" y="24265"/>
                      <a:pt x="60791" y="30309"/>
                    </a:cubicBezTo>
                    <a:lnTo>
                      <a:pt x="60791" y="343802"/>
                    </a:lnTo>
                    <a:lnTo>
                      <a:pt x="222780" y="343802"/>
                    </a:lnTo>
                    <a:cubicBezTo>
                      <a:pt x="228833" y="343802"/>
                      <a:pt x="232927" y="347890"/>
                      <a:pt x="232927" y="353935"/>
                    </a:cubicBezTo>
                    <a:lnTo>
                      <a:pt x="232927" y="364067"/>
                    </a:lnTo>
                    <a:lnTo>
                      <a:pt x="374712" y="364067"/>
                    </a:lnTo>
                    <a:lnTo>
                      <a:pt x="374712" y="353935"/>
                    </a:lnTo>
                    <a:cubicBezTo>
                      <a:pt x="374712" y="347890"/>
                      <a:pt x="378717" y="343802"/>
                      <a:pt x="384859" y="343802"/>
                    </a:cubicBezTo>
                    <a:lnTo>
                      <a:pt x="546848" y="343802"/>
                    </a:lnTo>
                    <a:lnTo>
                      <a:pt x="546848" y="30309"/>
                    </a:lnTo>
                    <a:cubicBezTo>
                      <a:pt x="546848" y="24265"/>
                      <a:pt x="542754" y="20177"/>
                      <a:pt x="536702" y="20177"/>
                    </a:cubicBezTo>
                    <a:close/>
                    <a:moveTo>
                      <a:pt x="70848" y="0"/>
                    </a:moveTo>
                    <a:lnTo>
                      <a:pt x="536702" y="0"/>
                    </a:lnTo>
                    <a:cubicBezTo>
                      <a:pt x="553969" y="0"/>
                      <a:pt x="567142" y="13155"/>
                      <a:pt x="567142" y="30309"/>
                    </a:cubicBezTo>
                    <a:lnTo>
                      <a:pt x="567142" y="343802"/>
                    </a:lnTo>
                    <a:lnTo>
                      <a:pt x="597492" y="343802"/>
                    </a:lnTo>
                    <a:cubicBezTo>
                      <a:pt x="603545" y="343802"/>
                      <a:pt x="607639" y="347890"/>
                      <a:pt x="607639" y="353935"/>
                    </a:cubicBezTo>
                    <a:lnTo>
                      <a:pt x="607639" y="384244"/>
                    </a:lnTo>
                    <a:cubicBezTo>
                      <a:pt x="607639" y="401487"/>
                      <a:pt x="594466" y="414642"/>
                      <a:pt x="577199" y="414642"/>
                    </a:cubicBezTo>
                    <a:lnTo>
                      <a:pt x="30351" y="414642"/>
                    </a:lnTo>
                    <a:cubicBezTo>
                      <a:pt x="13173" y="414642"/>
                      <a:pt x="0" y="401487"/>
                      <a:pt x="0" y="384244"/>
                    </a:cubicBezTo>
                    <a:lnTo>
                      <a:pt x="0" y="353935"/>
                    </a:lnTo>
                    <a:cubicBezTo>
                      <a:pt x="0" y="347890"/>
                      <a:pt x="4094" y="343802"/>
                      <a:pt x="10147" y="343802"/>
                    </a:cubicBezTo>
                    <a:lnTo>
                      <a:pt x="40497" y="343802"/>
                    </a:lnTo>
                    <a:lnTo>
                      <a:pt x="40497" y="30309"/>
                    </a:lnTo>
                    <a:cubicBezTo>
                      <a:pt x="40497" y="13155"/>
                      <a:pt x="53670" y="0"/>
                      <a:pt x="70848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cxnSp>
            <p:nvCxnSpPr>
              <p:cNvPr id="13" name="直接连接符 12">
                <a:extLst>
                  <a:ext uri="{FF2B5EF4-FFF2-40B4-BE49-F238E27FC236}">
                    <a16:creationId xmlns:a16="http://schemas.microsoft.com/office/drawing/2014/main" xmlns="" id="{335A1E62-30EA-4BB3-87C2-15566BEC7C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96061" y="4331939"/>
                <a:ext cx="5796386" cy="0"/>
              </a:xfrm>
              <a:prstGeom prst="line">
                <a:avLst/>
              </a:prstGeom>
              <a:ln w="3175" cap="rnd">
                <a:solidFill>
                  <a:schemeClr val="bg1">
                    <a:lumMod val="85000"/>
                  </a:schemeClr>
                </a:solidFill>
                <a:round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直接连接符 13">
                <a:extLst>
                  <a:ext uri="{FF2B5EF4-FFF2-40B4-BE49-F238E27FC236}">
                    <a16:creationId xmlns:a16="http://schemas.microsoft.com/office/drawing/2014/main" xmlns="" id="{E0C9AA22-07B4-4BC3-B30D-2C7070BC68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96061" y="2491719"/>
                <a:ext cx="5796386" cy="0"/>
              </a:xfrm>
              <a:prstGeom prst="line">
                <a:avLst/>
              </a:prstGeom>
              <a:ln w="3175" cap="rnd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5" name="îšliďè">
                <a:extLst>
                  <a:ext uri="{FF2B5EF4-FFF2-40B4-BE49-F238E27FC236}">
                    <a16:creationId xmlns:a16="http://schemas.microsoft.com/office/drawing/2014/main" xmlns="" id="{AB144269-F350-4A6E-B55E-48FAE781A6D9}"/>
                  </a:ext>
                </a:extLst>
              </p:cNvPr>
              <p:cNvGrpSpPr/>
              <p:nvPr/>
            </p:nvGrpSpPr>
            <p:grpSpPr>
              <a:xfrm>
                <a:off x="6374431" y="4524374"/>
                <a:ext cx="5106740" cy="1587387"/>
                <a:chOff x="669925" y="2614314"/>
                <a:chExt cx="3096344" cy="1587387"/>
              </a:xfrm>
            </p:grpSpPr>
            <p:sp>
              <p:nvSpPr>
                <p:cNvPr id="20" name="i$ḻiḋé">
                  <a:extLst>
                    <a:ext uri="{FF2B5EF4-FFF2-40B4-BE49-F238E27FC236}">
                      <a16:creationId xmlns:a16="http://schemas.microsoft.com/office/drawing/2014/main" xmlns="" id="{E4A79E38-3BAA-4636-B10F-D01B98EB1B86}"/>
                    </a:ext>
                  </a:extLst>
                </p:cNvPr>
                <p:cNvSpPr txBox="1"/>
                <p:nvPr/>
              </p:nvSpPr>
              <p:spPr>
                <a:xfrm>
                  <a:off x="669925" y="2922091"/>
                  <a:ext cx="3096344" cy="127961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altLang="zh-CN" sz="1000" dirty="0"/>
                    <a:t>Copy paste fonts. Choose the only option to retain text.</a:t>
                  </a:r>
                </a:p>
              </p:txBody>
            </p:sp>
            <p:sp>
              <p:nvSpPr>
                <p:cNvPr id="21" name="îşḻïďe">
                  <a:extLst>
                    <a:ext uri="{FF2B5EF4-FFF2-40B4-BE49-F238E27FC236}">
                      <a16:creationId xmlns:a16="http://schemas.microsoft.com/office/drawing/2014/main" xmlns="" id="{9D050F19-97D5-4C52-ACBF-C58D2BFAE847}"/>
                    </a:ext>
                  </a:extLst>
                </p:cNvPr>
                <p:cNvSpPr txBox="1"/>
                <p:nvPr/>
              </p:nvSpPr>
              <p:spPr>
                <a:xfrm>
                  <a:off x="669925" y="2614314"/>
                  <a:ext cx="3096344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zh-CN"/>
                  </a:defPPr>
                  <a:lvl1pPr>
                    <a:defRPr sz="1400" b="1">
                      <a:solidFill>
                        <a:schemeClr val="accent1"/>
                      </a:solidFill>
                    </a:defRPr>
                  </a:lvl1pPr>
                </a:lstStyle>
                <a:p>
                  <a:r>
                    <a:rPr lang="en-US" altLang="zh-CN" dirty="0">
                      <a:solidFill>
                        <a:schemeClr val="tx1"/>
                      </a:solidFill>
                    </a:rPr>
                    <a:t>Text here</a:t>
                  </a:r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6" name="îṩľïḑe">
                <a:extLst>
                  <a:ext uri="{FF2B5EF4-FFF2-40B4-BE49-F238E27FC236}">
                    <a16:creationId xmlns:a16="http://schemas.microsoft.com/office/drawing/2014/main" xmlns="" id="{A888055A-2F87-42CF-83B5-6C0E459B4B31}"/>
                  </a:ext>
                </a:extLst>
              </p:cNvPr>
              <p:cNvSpPr/>
              <p:nvPr/>
            </p:nvSpPr>
            <p:spPr bwMode="auto">
              <a:xfrm>
                <a:off x="5596061" y="2933964"/>
                <a:ext cx="686484" cy="468444"/>
              </a:xfrm>
              <a:custGeom>
                <a:avLst/>
                <a:gdLst>
                  <a:gd name="connsiteX0" fmla="*/ 20293 w 607639"/>
                  <a:gd name="connsiteY0" fmla="*/ 364067 h 414642"/>
                  <a:gd name="connsiteX1" fmla="*/ 20293 w 607639"/>
                  <a:gd name="connsiteY1" fmla="*/ 384244 h 414642"/>
                  <a:gd name="connsiteX2" fmla="*/ 30351 w 607639"/>
                  <a:gd name="connsiteY2" fmla="*/ 394377 h 414642"/>
                  <a:gd name="connsiteX3" fmla="*/ 577199 w 607639"/>
                  <a:gd name="connsiteY3" fmla="*/ 394377 h 414642"/>
                  <a:gd name="connsiteX4" fmla="*/ 587346 w 607639"/>
                  <a:gd name="connsiteY4" fmla="*/ 384244 h 414642"/>
                  <a:gd name="connsiteX5" fmla="*/ 587346 w 607639"/>
                  <a:gd name="connsiteY5" fmla="*/ 364067 h 414642"/>
                  <a:gd name="connsiteX6" fmla="*/ 556995 w 607639"/>
                  <a:gd name="connsiteY6" fmla="*/ 364067 h 414642"/>
                  <a:gd name="connsiteX7" fmla="*/ 394916 w 607639"/>
                  <a:gd name="connsiteY7" fmla="*/ 364067 h 414642"/>
                  <a:gd name="connsiteX8" fmla="*/ 394916 w 607639"/>
                  <a:gd name="connsiteY8" fmla="*/ 374200 h 414642"/>
                  <a:gd name="connsiteX9" fmla="*/ 384859 w 607639"/>
                  <a:gd name="connsiteY9" fmla="*/ 384244 h 414642"/>
                  <a:gd name="connsiteX10" fmla="*/ 222780 w 607639"/>
                  <a:gd name="connsiteY10" fmla="*/ 384244 h 414642"/>
                  <a:gd name="connsiteX11" fmla="*/ 212634 w 607639"/>
                  <a:gd name="connsiteY11" fmla="*/ 374200 h 414642"/>
                  <a:gd name="connsiteX12" fmla="*/ 212634 w 607639"/>
                  <a:gd name="connsiteY12" fmla="*/ 364067 h 414642"/>
                  <a:gd name="connsiteX13" fmla="*/ 50644 w 607639"/>
                  <a:gd name="connsiteY13" fmla="*/ 364067 h 414642"/>
                  <a:gd name="connsiteX14" fmla="*/ 141754 w 607639"/>
                  <a:gd name="connsiteY14" fmla="*/ 232583 h 414642"/>
                  <a:gd name="connsiteX15" fmla="*/ 161961 w 607639"/>
                  <a:gd name="connsiteY15" fmla="*/ 232583 h 414642"/>
                  <a:gd name="connsiteX16" fmla="*/ 172110 w 607639"/>
                  <a:gd name="connsiteY16" fmla="*/ 242719 h 414642"/>
                  <a:gd name="connsiteX17" fmla="*/ 161961 w 607639"/>
                  <a:gd name="connsiteY17" fmla="*/ 252765 h 414642"/>
                  <a:gd name="connsiteX18" fmla="*/ 141754 w 607639"/>
                  <a:gd name="connsiteY18" fmla="*/ 252765 h 414642"/>
                  <a:gd name="connsiteX19" fmla="*/ 131605 w 607639"/>
                  <a:gd name="connsiteY19" fmla="*/ 242719 h 414642"/>
                  <a:gd name="connsiteX20" fmla="*/ 141754 w 607639"/>
                  <a:gd name="connsiteY20" fmla="*/ 232583 h 414642"/>
                  <a:gd name="connsiteX21" fmla="*/ 141758 w 607639"/>
                  <a:gd name="connsiteY21" fmla="*/ 192149 h 414642"/>
                  <a:gd name="connsiteX22" fmla="*/ 182279 w 607639"/>
                  <a:gd name="connsiteY22" fmla="*/ 192149 h 414642"/>
                  <a:gd name="connsiteX23" fmla="*/ 192432 w 607639"/>
                  <a:gd name="connsiteY23" fmla="*/ 202196 h 414642"/>
                  <a:gd name="connsiteX24" fmla="*/ 182279 w 607639"/>
                  <a:gd name="connsiteY24" fmla="*/ 212331 h 414642"/>
                  <a:gd name="connsiteX25" fmla="*/ 141758 w 607639"/>
                  <a:gd name="connsiteY25" fmla="*/ 212331 h 414642"/>
                  <a:gd name="connsiteX26" fmla="*/ 131605 w 607639"/>
                  <a:gd name="connsiteY26" fmla="*/ 202196 h 414642"/>
                  <a:gd name="connsiteX27" fmla="*/ 141758 w 607639"/>
                  <a:gd name="connsiteY27" fmla="*/ 192149 h 414642"/>
                  <a:gd name="connsiteX28" fmla="*/ 141754 w 607639"/>
                  <a:gd name="connsiteY28" fmla="*/ 151716 h 414642"/>
                  <a:gd name="connsiteX29" fmla="*/ 161961 w 607639"/>
                  <a:gd name="connsiteY29" fmla="*/ 151716 h 414642"/>
                  <a:gd name="connsiteX30" fmla="*/ 172110 w 607639"/>
                  <a:gd name="connsiteY30" fmla="*/ 161763 h 414642"/>
                  <a:gd name="connsiteX31" fmla="*/ 161961 w 607639"/>
                  <a:gd name="connsiteY31" fmla="*/ 171898 h 414642"/>
                  <a:gd name="connsiteX32" fmla="*/ 141754 w 607639"/>
                  <a:gd name="connsiteY32" fmla="*/ 171898 h 414642"/>
                  <a:gd name="connsiteX33" fmla="*/ 131605 w 607639"/>
                  <a:gd name="connsiteY33" fmla="*/ 161763 h 414642"/>
                  <a:gd name="connsiteX34" fmla="*/ 141754 w 607639"/>
                  <a:gd name="connsiteY34" fmla="*/ 151716 h 414642"/>
                  <a:gd name="connsiteX35" fmla="*/ 141758 w 607639"/>
                  <a:gd name="connsiteY35" fmla="*/ 111211 h 414642"/>
                  <a:gd name="connsiteX36" fmla="*/ 182279 w 607639"/>
                  <a:gd name="connsiteY36" fmla="*/ 111211 h 414642"/>
                  <a:gd name="connsiteX37" fmla="*/ 192432 w 607639"/>
                  <a:gd name="connsiteY37" fmla="*/ 121337 h 414642"/>
                  <a:gd name="connsiteX38" fmla="*/ 182279 w 607639"/>
                  <a:gd name="connsiteY38" fmla="*/ 131463 h 414642"/>
                  <a:gd name="connsiteX39" fmla="*/ 141758 w 607639"/>
                  <a:gd name="connsiteY39" fmla="*/ 131463 h 414642"/>
                  <a:gd name="connsiteX40" fmla="*/ 131605 w 607639"/>
                  <a:gd name="connsiteY40" fmla="*/ 121337 h 414642"/>
                  <a:gd name="connsiteX41" fmla="*/ 141758 w 607639"/>
                  <a:gd name="connsiteY41" fmla="*/ 111211 h 414642"/>
                  <a:gd name="connsiteX42" fmla="*/ 425367 w 607639"/>
                  <a:gd name="connsiteY42" fmla="*/ 101191 h 414642"/>
                  <a:gd name="connsiteX43" fmla="*/ 496228 w 607639"/>
                  <a:gd name="connsiteY43" fmla="*/ 101191 h 414642"/>
                  <a:gd name="connsiteX44" fmla="*/ 506377 w 607639"/>
                  <a:gd name="connsiteY44" fmla="*/ 111231 h 414642"/>
                  <a:gd name="connsiteX45" fmla="*/ 506377 w 607639"/>
                  <a:gd name="connsiteY45" fmla="*/ 182042 h 414642"/>
                  <a:gd name="connsiteX46" fmla="*/ 496228 w 607639"/>
                  <a:gd name="connsiteY46" fmla="*/ 192171 h 414642"/>
                  <a:gd name="connsiteX47" fmla="*/ 486080 w 607639"/>
                  <a:gd name="connsiteY47" fmla="*/ 182042 h 414642"/>
                  <a:gd name="connsiteX48" fmla="*/ 486080 w 607639"/>
                  <a:gd name="connsiteY48" fmla="*/ 135575 h 414642"/>
                  <a:gd name="connsiteX49" fmla="*/ 402043 w 607639"/>
                  <a:gd name="connsiteY49" fmla="*/ 219447 h 414642"/>
                  <a:gd name="connsiteX50" fmla="*/ 394921 w 607639"/>
                  <a:gd name="connsiteY50" fmla="*/ 222468 h 414642"/>
                  <a:gd name="connsiteX51" fmla="*/ 387889 w 607639"/>
                  <a:gd name="connsiteY51" fmla="*/ 219447 h 414642"/>
                  <a:gd name="connsiteX52" fmla="*/ 344268 w 607639"/>
                  <a:gd name="connsiteY52" fmla="*/ 176001 h 414642"/>
                  <a:gd name="connsiteX53" fmla="*/ 270380 w 607639"/>
                  <a:gd name="connsiteY53" fmla="*/ 249744 h 414642"/>
                  <a:gd name="connsiteX54" fmla="*/ 263258 w 607639"/>
                  <a:gd name="connsiteY54" fmla="*/ 252765 h 414642"/>
                  <a:gd name="connsiteX55" fmla="*/ 256225 w 607639"/>
                  <a:gd name="connsiteY55" fmla="*/ 249744 h 414642"/>
                  <a:gd name="connsiteX56" fmla="*/ 256225 w 607639"/>
                  <a:gd name="connsiteY56" fmla="*/ 235617 h 414642"/>
                  <a:gd name="connsiteX57" fmla="*/ 337235 w 607639"/>
                  <a:gd name="connsiteY57" fmla="*/ 154766 h 414642"/>
                  <a:gd name="connsiteX58" fmla="*/ 338837 w 607639"/>
                  <a:gd name="connsiteY58" fmla="*/ 153433 h 414642"/>
                  <a:gd name="connsiteX59" fmla="*/ 340618 w 607639"/>
                  <a:gd name="connsiteY59" fmla="*/ 152456 h 414642"/>
                  <a:gd name="connsiteX60" fmla="*/ 341508 w 607639"/>
                  <a:gd name="connsiteY60" fmla="*/ 152101 h 414642"/>
                  <a:gd name="connsiteX61" fmla="*/ 343378 w 607639"/>
                  <a:gd name="connsiteY61" fmla="*/ 151745 h 414642"/>
                  <a:gd name="connsiteX62" fmla="*/ 344268 w 607639"/>
                  <a:gd name="connsiteY62" fmla="*/ 151745 h 414642"/>
                  <a:gd name="connsiteX63" fmla="*/ 346226 w 607639"/>
                  <a:gd name="connsiteY63" fmla="*/ 151923 h 414642"/>
                  <a:gd name="connsiteX64" fmla="*/ 351390 w 607639"/>
                  <a:gd name="connsiteY64" fmla="*/ 154766 h 414642"/>
                  <a:gd name="connsiteX65" fmla="*/ 394921 w 607639"/>
                  <a:gd name="connsiteY65" fmla="*/ 198213 h 414642"/>
                  <a:gd name="connsiteX66" fmla="*/ 471925 w 607639"/>
                  <a:gd name="connsiteY66" fmla="*/ 121359 h 414642"/>
                  <a:gd name="connsiteX67" fmla="*/ 425367 w 607639"/>
                  <a:gd name="connsiteY67" fmla="*/ 121359 h 414642"/>
                  <a:gd name="connsiteX68" fmla="*/ 415218 w 607639"/>
                  <a:gd name="connsiteY68" fmla="*/ 111231 h 414642"/>
                  <a:gd name="connsiteX69" fmla="*/ 425367 w 607639"/>
                  <a:gd name="connsiteY69" fmla="*/ 101191 h 414642"/>
                  <a:gd name="connsiteX70" fmla="*/ 101297 w 607639"/>
                  <a:gd name="connsiteY70" fmla="*/ 91029 h 414642"/>
                  <a:gd name="connsiteX71" fmla="*/ 111423 w 607639"/>
                  <a:gd name="connsiteY71" fmla="*/ 101159 h 414642"/>
                  <a:gd name="connsiteX72" fmla="*/ 111423 w 607639"/>
                  <a:gd name="connsiteY72" fmla="*/ 262887 h 414642"/>
                  <a:gd name="connsiteX73" fmla="*/ 101297 w 607639"/>
                  <a:gd name="connsiteY73" fmla="*/ 273017 h 414642"/>
                  <a:gd name="connsiteX74" fmla="*/ 91171 w 607639"/>
                  <a:gd name="connsiteY74" fmla="*/ 262887 h 414642"/>
                  <a:gd name="connsiteX75" fmla="*/ 91171 w 607639"/>
                  <a:gd name="connsiteY75" fmla="*/ 101159 h 414642"/>
                  <a:gd name="connsiteX76" fmla="*/ 101297 w 607639"/>
                  <a:gd name="connsiteY76" fmla="*/ 91029 h 414642"/>
                  <a:gd name="connsiteX77" fmla="*/ 70848 w 607639"/>
                  <a:gd name="connsiteY77" fmla="*/ 20177 h 414642"/>
                  <a:gd name="connsiteX78" fmla="*/ 60791 w 607639"/>
                  <a:gd name="connsiteY78" fmla="*/ 30309 h 414642"/>
                  <a:gd name="connsiteX79" fmla="*/ 60791 w 607639"/>
                  <a:gd name="connsiteY79" fmla="*/ 343802 h 414642"/>
                  <a:gd name="connsiteX80" fmla="*/ 222780 w 607639"/>
                  <a:gd name="connsiteY80" fmla="*/ 343802 h 414642"/>
                  <a:gd name="connsiteX81" fmla="*/ 232927 w 607639"/>
                  <a:gd name="connsiteY81" fmla="*/ 353935 h 414642"/>
                  <a:gd name="connsiteX82" fmla="*/ 232927 w 607639"/>
                  <a:gd name="connsiteY82" fmla="*/ 364067 h 414642"/>
                  <a:gd name="connsiteX83" fmla="*/ 374712 w 607639"/>
                  <a:gd name="connsiteY83" fmla="*/ 364067 h 414642"/>
                  <a:gd name="connsiteX84" fmla="*/ 374712 w 607639"/>
                  <a:gd name="connsiteY84" fmla="*/ 353935 h 414642"/>
                  <a:gd name="connsiteX85" fmla="*/ 384859 w 607639"/>
                  <a:gd name="connsiteY85" fmla="*/ 343802 h 414642"/>
                  <a:gd name="connsiteX86" fmla="*/ 546848 w 607639"/>
                  <a:gd name="connsiteY86" fmla="*/ 343802 h 414642"/>
                  <a:gd name="connsiteX87" fmla="*/ 546848 w 607639"/>
                  <a:gd name="connsiteY87" fmla="*/ 30309 h 414642"/>
                  <a:gd name="connsiteX88" fmla="*/ 536702 w 607639"/>
                  <a:gd name="connsiteY88" fmla="*/ 20177 h 414642"/>
                  <a:gd name="connsiteX89" fmla="*/ 70848 w 607639"/>
                  <a:gd name="connsiteY89" fmla="*/ 0 h 414642"/>
                  <a:gd name="connsiteX90" fmla="*/ 536702 w 607639"/>
                  <a:gd name="connsiteY90" fmla="*/ 0 h 414642"/>
                  <a:gd name="connsiteX91" fmla="*/ 567142 w 607639"/>
                  <a:gd name="connsiteY91" fmla="*/ 30309 h 414642"/>
                  <a:gd name="connsiteX92" fmla="*/ 567142 w 607639"/>
                  <a:gd name="connsiteY92" fmla="*/ 343802 h 414642"/>
                  <a:gd name="connsiteX93" fmla="*/ 597492 w 607639"/>
                  <a:gd name="connsiteY93" fmla="*/ 343802 h 414642"/>
                  <a:gd name="connsiteX94" fmla="*/ 607639 w 607639"/>
                  <a:gd name="connsiteY94" fmla="*/ 353935 h 414642"/>
                  <a:gd name="connsiteX95" fmla="*/ 607639 w 607639"/>
                  <a:gd name="connsiteY95" fmla="*/ 384244 h 414642"/>
                  <a:gd name="connsiteX96" fmla="*/ 577199 w 607639"/>
                  <a:gd name="connsiteY96" fmla="*/ 414642 h 414642"/>
                  <a:gd name="connsiteX97" fmla="*/ 30351 w 607639"/>
                  <a:gd name="connsiteY97" fmla="*/ 414642 h 414642"/>
                  <a:gd name="connsiteX98" fmla="*/ 0 w 607639"/>
                  <a:gd name="connsiteY98" fmla="*/ 384244 h 414642"/>
                  <a:gd name="connsiteX99" fmla="*/ 0 w 607639"/>
                  <a:gd name="connsiteY99" fmla="*/ 353935 h 414642"/>
                  <a:gd name="connsiteX100" fmla="*/ 10147 w 607639"/>
                  <a:gd name="connsiteY100" fmla="*/ 343802 h 414642"/>
                  <a:gd name="connsiteX101" fmla="*/ 40497 w 607639"/>
                  <a:gd name="connsiteY101" fmla="*/ 343802 h 414642"/>
                  <a:gd name="connsiteX102" fmla="*/ 40497 w 607639"/>
                  <a:gd name="connsiteY102" fmla="*/ 30309 h 414642"/>
                  <a:gd name="connsiteX103" fmla="*/ 70848 w 607639"/>
                  <a:gd name="connsiteY103" fmla="*/ 0 h 414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607639" h="414642">
                    <a:moveTo>
                      <a:pt x="20293" y="364067"/>
                    </a:moveTo>
                    <a:lnTo>
                      <a:pt x="20293" y="384244"/>
                    </a:lnTo>
                    <a:cubicBezTo>
                      <a:pt x="20293" y="390377"/>
                      <a:pt x="24298" y="394377"/>
                      <a:pt x="30351" y="394377"/>
                    </a:cubicBezTo>
                    <a:lnTo>
                      <a:pt x="577199" y="394377"/>
                    </a:lnTo>
                    <a:cubicBezTo>
                      <a:pt x="583341" y="394377"/>
                      <a:pt x="587346" y="390377"/>
                      <a:pt x="587346" y="384244"/>
                    </a:cubicBezTo>
                    <a:lnTo>
                      <a:pt x="587346" y="364067"/>
                    </a:lnTo>
                    <a:lnTo>
                      <a:pt x="556995" y="364067"/>
                    </a:lnTo>
                    <a:lnTo>
                      <a:pt x="394916" y="364067"/>
                    </a:lnTo>
                    <a:lnTo>
                      <a:pt x="394916" y="374200"/>
                    </a:lnTo>
                    <a:cubicBezTo>
                      <a:pt x="394916" y="380244"/>
                      <a:pt x="390911" y="384244"/>
                      <a:pt x="384859" y="384244"/>
                    </a:cubicBezTo>
                    <a:lnTo>
                      <a:pt x="222780" y="384244"/>
                    </a:lnTo>
                    <a:cubicBezTo>
                      <a:pt x="216728" y="384244"/>
                      <a:pt x="212634" y="380244"/>
                      <a:pt x="212634" y="374200"/>
                    </a:cubicBezTo>
                    <a:lnTo>
                      <a:pt x="212634" y="364067"/>
                    </a:lnTo>
                    <a:lnTo>
                      <a:pt x="50644" y="364067"/>
                    </a:lnTo>
                    <a:close/>
                    <a:moveTo>
                      <a:pt x="141754" y="232583"/>
                    </a:moveTo>
                    <a:lnTo>
                      <a:pt x="161961" y="232583"/>
                    </a:lnTo>
                    <a:cubicBezTo>
                      <a:pt x="168104" y="232583"/>
                      <a:pt x="172110" y="236584"/>
                      <a:pt x="172110" y="242719"/>
                    </a:cubicBezTo>
                    <a:cubicBezTo>
                      <a:pt x="172110" y="248764"/>
                      <a:pt x="168104" y="252765"/>
                      <a:pt x="161961" y="252765"/>
                    </a:cubicBezTo>
                    <a:lnTo>
                      <a:pt x="141754" y="252765"/>
                    </a:lnTo>
                    <a:cubicBezTo>
                      <a:pt x="135700" y="252765"/>
                      <a:pt x="131605" y="248764"/>
                      <a:pt x="131605" y="242719"/>
                    </a:cubicBezTo>
                    <a:cubicBezTo>
                      <a:pt x="131605" y="236584"/>
                      <a:pt x="135700" y="232583"/>
                      <a:pt x="141754" y="232583"/>
                    </a:cubicBezTo>
                    <a:close/>
                    <a:moveTo>
                      <a:pt x="141758" y="192149"/>
                    </a:moveTo>
                    <a:lnTo>
                      <a:pt x="182279" y="192149"/>
                    </a:lnTo>
                    <a:cubicBezTo>
                      <a:pt x="188335" y="192149"/>
                      <a:pt x="192432" y="196150"/>
                      <a:pt x="192432" y="202196"/>
                    </a:cubicBezTo>
                    <a:cubicBezTo>
                      <a:pt x="192432" y="208330"/>
                      <a:pt x="188335" y="212331"/>
                      <a:pt x="182279" y="212331"/>
                    </a:cubicBezTo>
                    <a:lnTo>
                      <a:pt x="141758" y="212331"/>
                    </a:lnTo>
                    <a:cubicBezTo>
                      <a:pt x="135702" y="212331"/>
                      <a:pt x="131605" y="208330"/>
                      <a:pt x="131605" y="202196"/>
                    </a:cubicBezTo>
                    <a:cubicBezTo>
                      <a:pt x="131605" y="196150"/>
                      <a:pt x="135702" y="192149"/>
                      <a:pt x="141758" y="192149"/>
                    </a:cubicBezTo>
                    <a:close/>
                    <a:moveTo>
                      <a:pt x="141754" y="151716"/>
                    </a:moveTo>
                    <a:lnTo>
                      <a:pt x="161961" y="151716"/>
                    </a:lnTo>
                    <a:cubicBezTo>
                      <a:pt x="168104" y="151716"/>
                      <a:pt x="172110" y="155717"/>
                      <a:pt x="172110" y="161763"/>
                    </a:cubicBezTo>
                    <a:cubicBezTo>
                      <a:pt x="172110" y="167897"/>
                      <a:pt x="168104" y="171898"/>
                      <a:pt x="161961" y="171898"/>
                    </a:cubicBezTo>
                    <a:lnTo>
                      <a:pt x="141754" y="171898"/>
                    </a:lnTo>
                    <a:cubicBezTo>
                      <a:pt x="135700" y="171898"/>
                      <a:pt x="131605" y="167897"/>
                      <a:pt x="131605" y="161763"/>
                    </a:cubicBezTo>
                    <a:cubicBezTo>
                      <a:pt x="131605" y="155717"/>
                      <a:pt x="135700" y="151716"/>
                      <a:pt x="141754" y="151716"/>
                    </a:cubicBezTo>
                    <a:close/>
                    <a:moveTo>
                      <a:pt x="141758" y="111211"/>
                    </a:moveTo>
                    <a:lnTo>
                      <a:pt x="182279" y="111211"/>
                    </a:lnTo>
                    <a:cubicBezTo>
                      <a:pt x="188335" y="111211"/>
                      <a:pt x="192432" y="115297"/>
                      <a:pt x="192432" y="121337"/>
                    </a:cubicBezTo>
                    <a:cubicBezTo>
                      <a:pt x="192432" y="127377"/>
                      <a:pt x="188335" y="131463"/>
                      <a:pt x="182279" y="131463"/>
                    </a:cubicBezTo>
                    <a:lnTo>
                      <a:pt x="141758" y="131463"/>
                    </a:lnTo>
                    <a:cubicBezTo>
                      <a:pt x="135702" y="131463"/>
                      <a:pt x="131605" y="127377"/>
                      <a:pt x="131605" y="121337"/>
                    </a:cubicBezTo>
                    <a:cubicBezTo>
                      <a:pt x="131605" y="115297"/>
                      <a:pt x="135702" y="111211"/>
                      <a:pt x="141758" y="111211"/>
                    </a:cubicBezTo>
                    <a:close/>
                    <a:moveTo>
                      <a:pt x="425367" y="101191"/>
                    </a:moveTo>
                    <a:lnTo>
                      <a:pt x="496228" y="101191"/>
                    </a:lnTo>
                    <a:cubicBezTo>
                      <a:pt x="502282" y="101191"/>
                      <a:pt x="506377" y="105189"/>
                      <a:pt x="506377" y="111231"/>
                    </a:cubicBezTo>
                    <a:lnTo>
                      <a:pt x="506377" y="182042"/>
                    </a:lnTo>
                    <a:cubicBezTo>
                      <a:pt x="506377" y="188084"/>
                      <a:pt x="502282" y="192171"/>
                      <a:pt x="496228" y="192171"/>
                    </a:cubicBezTo>
                    <a:cubicBezTo>
                      <a:pt x="490175" y="192171"/>
                      <a:pt x="486080" y="188084"/>
                      <a:pt x="486080" y="182042"/>
                    </a:cubicBezTo>
                    <a:lnTo>
                      <a:pt x="486080" y="135575"/>
                    </a:lnTo>
                    <a:lnTo>
                      <a:pt x="402043" y="219447"/>
                    </a:lnTo>
                    <a:cubicBezTo>
                      <a:pt x="399996" y="221491"/>
                      <a:pt x="397948" y="222468"/>
                      <a:pt x="394921" y="222468"/>
                    </a:cubicBezTo>
                    <a:cubicBezTo>
                      <a:pt x="391895" y="222468"/>
                      <a:pt x="389847" y="221491"/>
                      <a:pt x="387889" y="219447"/>
                    </a:cubicBezTo>
                    <a:lnTo>
                      <a:pt x="344268" y="176001"/>
                    </a:lnTo>
                    <a:lnTo>
                      <a:pt x="270380" y="249744"/>
                    </a:lnTo>
                    <a:cubicBezTo>
                      <a:pt x="268332" y="251788"/>
                      <a:pt x="266285" y="252765"/>
                      <a:pt x="263258" y="252765"/>
                    </a:cubicBezTo>
                    <a:cubicBezTo>
                      <a:pt x="260231" y="252765"/>
                      <a:pt x="258184" y="251788"/>
                      <a:pt x="256225" y="249744"/>
                    </a:cubicBezTo>
                    <a:cubicBezTo>
                      <a:pt x="252130" y="245746"/>
                      <a:pt x="252130" y="239616"/>
                      <a:pt x="256225" y="235617"/>
                    </a:cubicBezTo>
                    <a:lnTo>
                      <a:pt x="337235" y="154766"/>
                    </a:lnTo>
                    <a:cubicBezTo>
                      <a:pt x="337769" y="154233"/>
                      <a:pt x="338303" y="153789"/>
                      <a:pt x="338837" y="153433"/>
                    </a:cubicBezTo>
                    <a:cubicBezTo>
                      <a:pt x="339372" y="152989"/>
                      <a:pt x="339995" y="152723"/>
                      <a:pt x="340618" y="152456"/>
                    </a:cubicBezTo>
                    <a:cubicBezTo>
                      <a:pt x="340885" y="152367"/>
                      <a:pt x="341152" y="152190"/>
                      <a:pt x="341508" y="152101"/>
                    </a:cubicBezTo>
                    <a:cubicBezTo>
                      <a:pt x="342131" y="151923"/>
                      <a:pt x="342754" y="151834"/>
                      <a:pt x="343378" y="151745"/>
                    </a:cubicBezTo>
                    <a:cubicBezTo>
                      <a:pt x="343645" y="151745"/>
                      <a:pt x="344001" y="151745"/>
                      <a:pt x="344268" y="151745"/>
                    </a:cubicBezTo>
                    <a:cubicBezTo>
                      <a:pt x="344980" y="151745"/>
                      <a:pt x="345603" y="151745"/>
                      <a:pt x="346226" y="151923"/>
                    </a:cubicBezTo>
                    <a:cubicBezTo>
                      <a:pt x="348096" y="152278"/>
                      <a:pt x="349876" y="153256"/>
                      <a:pt x="351390" y="154766"/>
                    </a:cubicBezTo>
                    <a:lnTo>
                      <a:pt x="394921" y="198213"/>
                    </a:lnTo>
                    <a:lnTo>
                      <a:pt x="471925" y="121359"/>
                    </a:lnTo>
                    <a:lnTo>
                      <a:pt x="425367" y="121359"/>
                    </a:lnTo>
                    <a:cubicBezTo>
                      <a:pt x="419224" y="121359"/>
                      <a:pt x="415218" y="117361"/>
                      <a:pt x="415218" y="111231"/>
                    </a:cubicBezTo>
                    <a:cubicBezTo>
                      <a:pt x="415218" y="105189"/>
                      <a:pt x="419224" y="101191"/>
                      <a:pt x="425367" y="101191"/>
                    </a:cubicBezTo>
                    <a:close/>
                    <a:moveTo>
                      <a:pt x="101297" y="91029"/>
                    </a:moveTo>
                    <a:cubicBezTo>
                      <a:pt x="107337" y="91029"/>
                      <a:pt x="111423" y="95028"/>
                      <a:pt x="111423" y="101159"/>
                    </a:cubicBezTo>
                    <a:lnTo>
                      <a:pt x="111423" y="262887"/>
                    </a:lnTo>
                    <a:cubicBezTo>
                      <a:pt x="111423" y="268929"/>
                      <a:pt x="107337" y="273017"/>
                      <a:pt x="101297" y="273017"/>
                    </a:cubicBezTo>
                    <a:cubicBezTo>
                      <a:pt x="95257" y="273017"/>
                      <a:pt x="91171" y="268929"/>
                      <a:pt x="91171" y="262887"/>
                    </a:cubicBezTo>
                    <a:lnTo>
                      <a:pt x="91171" y="101159"/>
                    </a:lnTo>
                    <a:cubicBezTo>
                      <a:pt x="91171" y="95028"/>
                      <a:pt x="95257" y="91029"/>
                      <a:pt x="101297" y="91029"/>
                    </a:cubicBezTo>
                    <a:close/>
                    <a:moveTo>
                      <a:pt x="70848" y="20177"/>
                    </a:moveTo>
                    <a:cubicBezTo>
                      <a:pt x="64796" y="20177"/>
                      <a:pt x="60791" y="24265"/>
                      <a:pt x="60791" y="30309"/>
                    </a:cubicBezTo>
                    <a:lnTo>
                      <a:pt x="60791" y="343802"/>
                    </a:lnTo>
                    <a:lnTo>
                      <a:pt x="222780" y="343802"/>
                    </a:lnTo>
                    <a:cubicBezTo>
                      <a:pt x="228833" y="343802"/>
                      <a:pt x="232927" y="347890"/>
                      <a:pt x="232927" y="353935"/>
                    </a:cubicBezTo>
                    <a:lnTo>
                      <a:pt x="232927" y="364067"/>
                    </a:lnTo>
                    <a:lnTo>
                      <a:pt x="374712" y="364067"/>
                    </a:lnTo>
                    <a:lnTo>
                      <a:pt x="374712" y="353935"/>
                    </a:lnTo>
                    <a:cubicBezTo>
                      <a:pt x="374712" y="347890"/>
                      <a:pt x="378717" y="343802"/>
                      <a:pt x="384859" y="343802"/>
                    </a:cubicBezTo>
                    <a:lnTo>
                      <a:pt x="546848" y="343802"/>
                    </a:lnTo>
                    <a:lnTo>
                      <a:pt x="546848" y="30309"/>
                    </a:lnTo>
                    <a:cubicBezTo>
                      <a:pt x="546848" y="24265"/>
                      <a:pt x="542754" y="20177"/>
                      <a:pt x="536702" y="20177"/>
                    </a:cubicBezTo>
                    <a:close/>
                    <a:moveTo>
                      <a:pt x="70848" y="0"/>
                    </a:moveTo>
                    <a:lnTo>
                      <a:pt x="536702" y="0"/>
                    </a:lnTo>
                    <a:cubicBezTo>
                      <a:pt x="553969" y="0"/>
                      <a:pt x="567142" y="13155"/>
                      <a:pt x="567142" y="30309"/>
                    </a:cubicBezTo>
                    <a:lnTo>
                      <a:pt x="567142" y="343802"/>
                    </a:lnTo>
                    <a:lnTo>
                      <a:pt x="597492" y="343802"/>
                    </a:lnTo>
                    <a:cubicBezTo>
                      <a:pt x="603545" y="343802"/>
                      <a:pt x="607639" y="347890"/>
                      <a:pt x="607639" y="353935"/>
                    </a:cubicBezTo>
                    <a:lnTo>
                      <a:pt x="607639" y="384244"/>
                    </a:lnTo>
                    <a:cubicBezTo>
                      <a:pt x="607639" y="401487"/>
                      <a:pt x="594466" y="414642"/>
                      <a:pt x="577199" y="414642"/>
                    </a:cubicBezTo>
                    <a:lnTo>
                      <a:pt x="30351" y="414642"/>
                    </a:lnTo>
                    <a:cubicBezTo>
                      <a:pt x="13173" y="414642"/>
                      <a:pt x="0" y="401487"/>
                      <a:pt x="0" y="384244"/>
                    </a:cubicBezTo>
                    <a:lnTo>
                      <a:pt x="0" y="353935"/>
                    </a:lnTo>
                    <a:cubicBezTo>
                      <a:pt x="0" y="347890"/>
                      <a:pt x="4094" y="343802"/>
                      <a:pt x="10147" y="343802"/>
                    </a:cubicBezTo>
                    <a:lnTo>
                      <a:pt x="40497" y="343802"/>
                    </a:lnTo>
                    <a:lnTo>
                      <a:pt x="40497" y="30309"/>
                    </a:lnTo>
                    <a:cubicBezTo>
                      <a:pt x="40497" y="13155"/>
                      <a:pt x="53670" y="0"/>
                      <a:pt x="7084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grpSp>
            <p:nvGrpSpPr>
              <p:cNvPr id="17" name="iŝľíḋè">
                <a:extLst>
                  <a:ext uri="{FF2B5EF4-FFF2-40B4-BE49-F238E27FC236}">
                    <a16:creationId xmlns:a16="http://schemas.microsoft.com/office/drawing/2014/main" xmlns="" id="{6DA9738A-FE82-4F71-8C68-A36E9CA88BC8}"/>
                  </a:ext>
                </a:extLst>
              </p:cNvPr>
              <p:cNvGrpSpPr/>
              <p:nvPr/>
            </p:nvGrpSpPr>
            <p:grpSpPr>
              <a:xfrm>
                <a:off x="6374431" y="2886433"/>
                <a:ext cx="5106740" cy="1587387"/>
                <a:chOff x="669925" y="2614314"/>
                <a:chExt cx="3096344" cy="1587387"/>
              </a:xfrm>
            </p:grpSpPr>
            <p:sp>
              <p:nvSpPr>
                <p:cNvPr id="18" name="îS1iďê">
                  <a:extLst>
                    <a:ext uri="{FF2B5EF4-FFF2-40B4-BE49-F238E27FC236}">
                      <a16:creationId xmlns:a16="http://schemas.microsoft.com/office/drawing/2014/main" xmlns="" id="{B796A4D3-7BF8-4A0D-A106-6739D1E73F56}"/>
                    </a:ext>
                  </a:extLst>
                </p:cNvPr>
                <p:cNvSpPr txBox="1"/>
                <p:nvPr/>
              </p:nvSpPr>
              <p:spPr>
                <a:xfrm>
                  <a:off x="669925" y="2922091"/>
                  <a:ext cx="3096344" cy="127961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altLang="zh-CN" sz="1000" dirty="0"/>
                    <a:t>Copy paste fonts. Choose the only option to retain text.</a:t>
                  </a:r>
                </a:p>
              </p:txBody>
            </p:sp>
            <p:sp>
              <p:nvSpPr>
                <p:cNvPr id="19" name="íŝḻïḓê">
                  <a:extLst>
                    <a:ext uri="{FF2B5EF4-FFF2-40B4-BE49-F238E27FC236}">
                      <a16:creationId xmlns:a16="http://schemas.microsoft.com/office/drawing/2014/main" xmlns="" id="{40DF6293-6379-4F01-BD4C-8B05D9ABEDA8}"/>
                    </a:ext>
                  </a:extLst>
                </p:cNvPr>
                <p:cNvSpPr txBox="1"/>
                <p:nvPr/>
              </p:nvSpPr>
              <p:spPr>
                <a:xfrm>
                  <a:off x="669925" y="2614314"/>
                  <a:ext cx="3096344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zh-CN"/>
                  </a:defPPr>
                  <a:lvl1pPr>
                    <a:defRPr sz="1400" b="1">
                      <a:solidFill>
                        <a:schemeClr val="accent1"/>
                      </a:solidFill>
                    </a:defRPr>
                  </a:lvl1pPr>
                </a:lstStyle>
                <a:p>
                  <a:r>
                    <a:rPr lang="en-US" altLang="zh-CN" dirty="0">
                      <a:solidFill>
                        <a:schemeClr val="tx1"/>
                      </a:solidFill>
                    </a:rPr>
                    <a:t>Text here</a:t>
                  </a:r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sp>
          <p:nvSpPr>
            <p:cNvPr id="7" name="ïṩ1ïďe">
              <a:extLst>
                <a:ext uri="{FF2B5EF4-FFF2-40B4-BE49-F238E27FC236}">
                  <a16:creationId xmlns:a16="http://schemas.microsoft.com/office/drawing/2014/main" xmlns="" id="{51CB5631-54FB-4FB0-8F1F-1B5B22BF72CB}"/>
                </a:ext>
              </a:extLst>
            </p:cNvPr>
            <p:cNvSpPr txBox="1"/>
            <p:nvPr/>
          </p:nvSpPr>
          <p:spPr>
            <a:xfrm>
              <a:off x="5481760" y="1415973"/>
              <a:ext cx="4536503" cy="460796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fontScale="92500"/>
            </a:bodyPr>
            <a:lstStyle/>
            <a:p>
              <a:r>
                <a:rPr lang="en-US" altLang="zh-CN" sz="1400" b="1" dirty="0"/>
                <a:t>Theme color makes PPT more convenient to change.</a:t>
              </a:r>
            </a:p>
          </p:txBody>
        </p:sp>
        <p:sp>
          <p:nvSpPr>
            <p:cNvPr id="8" name="î$ļiḑé">
              <a:extLst>
                <a:ext uri="{FF2B5EF4-FFF2-40B4-BE49-F238E27FC236}">
                  <a16:creationId xmlns:a16="http://schemas.microsoft.com/office/drawing/2014/main" xmlns="" id="{B3DC1FFB-9684-4376-BCA5-3E3A1EA67D12}"/>
                </a:ext>
              </a:extLst>
            </p:cNvPr>
            <p:cNvSpPr txBox="1"/>
            <p:nvPr/>
          </p:nvSpPr>
          <p:spPr>
            <a:xfrm>
              <a:off x="5481760" y="1138974"/>
              <a:ext cx="4536503" cy="276999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buSzPct val="25000"/>
              </a:pPr>
              <a:r>
                <a:rPr lang="en-US" altLang="zh-CN" sz="1200" dirty="0"/>
                <a:t>Unified fonts make reading more fluent.</a:t>
              </a:r>
            </a:p>
          </p:txBody>
        </p:sp>
        <p:sp>
          <p:nvSpPr>
            <p:cNvPr id="9" name="îšḻíďe">
              <a:extLst>
                <a:ext uri="{FF2B5EF4-FFF2-40B4-BE49-F238E27FC236}">
                  <a16:creationId xmlns:a16="http://schemas.microsoft.com/office/drawing/2014/main" xmlns="" id="{52FF0702-29D4-43B4-8930-8667BDBBF063}"/>
                </a:ext>
              </a:extLst>
            </p:cNvPr>
            <p:cNvSpPr txBox="1"/>
            <p:nvPr/>
          </p:nvSpPr>
          <p:spPr>
            <a:xfrm>
              <a:off x="5481760" y="1876769"/>
              <a:ext cx="4536503" cy="646553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>
                <a:lnSpc>
                  <a:spcPct val="150000"/>
                </a:lnSpc>
                <a:buSzPct val="25000"/>
              </a:pPr>
              <a:r>
                <a:rPr lang="en-US" altLang="zh-CN" sz="1300" dirty="0"/>
                <a:t>Adjust the spacing to adapt to Chinese typesetting, use the reference line in PP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58390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xmlns="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xmlns="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xmlns="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/>
              <a:t>Thanks</a:t>
            </a:r>
            <a:br>
              <a:rPr lang="en-US" altLang="zh-CN"/>
            </a:br>
            <a:r>
              <a:rPr lang="en-US" altLang="zh-CN"/>
              <a:t>And Your Slogan Here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and title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组合 28">
            <a:extLst>
              <a:ext uri="{FF2B5EF4-FFF2-40B4-BE49-F238E27FC236}">
                <a16:creationId xmlns:a16="http://schemas.microsoft.com/office/drawing/2014/main" xmlns="" id="{02C7BDCF-6A42-4EE9-912B-C8B925F44750}"/>
              </a:ext>
            </a:extLst>
          </p:cNvPr>
          <p:cNvGrpSpPr/>
          <p:nvPr/>
        </p:nvGrpSpPr>
        <p:grpSpPr>
          <a:xfrm>
            <a:off x="669925" y="2934841"/>
            <a:ext cx="10850563" cy="2495553"/>
            <a:chOff x="3012141" y="1290918"/>
            <a:chExt cx="6122894" cy="3440782"/>
          </a:xfrm>
        </p:grpSpPr>
        <p:sp>
          <p:nvSpPr>
            <p:cNvPr id="30" name="矩形 29">
              <a:extLst>
                <a:ext uri="{FF2B5EF4-FFF2-40B4-BE49-F238E27FC236}">
                  <a16:creationId xmlns:a16="http://schemas.microsoft.com/office/drawing/2014/main" xmlns="" id="{75486114-FC9B-40A3-9061-F98147F95CBC}"/>
                </a:ext>
              </a:extLst>
            </p:cNvPr>
            <p:cNvSpPr/>
            <p:nvPr/>
          </p:nvSpPr>
          <p:spPr>
            <a:xfrm>
              <a:off x="3012141" y="1748117"/>
              <a:ext cx="6122894" cy="2983583"/>
            </a:xfrm>
            <a:prstGeom prst="rect">
              <a:avLst/>
            </a:prstGeom>
            <a:ln w="3175">
              <a:solidFill>
                <a:srgbClr val="000000"/>
              </a:solidFill>
            </a:ln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本素材由</a:t>
              </a:r>
              <a:r>
                <a:rPr lang="en-US" altLang="zh-CN" sz="700" dirty="0"/>
                <a:t>iSlide</a:t>
              </a:r>
              <a:r>
                <a:rPr lang="en-US" altLang="zh-CN" sz="700" baseline="30000" dirty="0"/>
                <a:t> 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提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/>
                <a:t>iSlide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尊重知识产权并注重保护用户享有的各项权利。郑重提醒您：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中提供的任何信息内容的所有权、知识产权归其原始权利人或权利受让人所有，您免费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/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购买获得的是信息内容的使用权，并受下述条款的约束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您仅可以个人非商业用途使用该等信息内容，不可将信息内容的全部或部分用于出售，或以出租、出借、转让、分销、发布等其他任何方式供他人使用；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禁止在接入互联网或移动互联网的任何网站、平台、应用或程序上以任何方式为他人提供</a:t>
              </a:r>
              <a:r>
                <a:rPr lang="en-US" altLang="zh-CN" sz="700" dirty="0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资源内容的下载。</a:t>
              </a:r>
            </a:p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resource is supplied by </a:t>
              </a:r>
              <a:r>
                <a:rPr lang="en-US" altLang="zh-CN" sz="700" dirty="0"/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/>
                <a:t>iSlide</a:t>
              </a:r>
              <a:r>
                <a:rPr lang="en-US" altLang="zh-CN" sz="700" baseline="30000" dirty="0"/>
                <a:t> 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respects all intellectual property rights and protects all the rights its users acquired. Solemnly remind you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 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ownership and intellectual property of the resources supplied in iSlide Add-in belongs to its owner or the assignee of this ownership. You only acquired the usage of the resources supplied in iSlide Add-in, as well as respected the following restrain terms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You are only allowed to use such resource for personal and non-commercial aim, not allowed to use such resource or part of it for the sale; or rent, lend, transfer to others; or distribute or release it in any way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You are not permitted to provide the resource of iSlide Add-in to any website, platform, application in the Internet or mobile Internet.</a:t>
              </a:r>
              <a:endParaRPr lang="zh-CN" altLang="en-US" sz="7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xmlns="" id="{05F3D130-F90D-4A87-9E3D-AC01D526B87B}"/>
                </a:ext>
              </a:extLst>
            </p:cNvPr>
            <p:cNvSpPr/>
            <p:nvPr/>
          </p:nvSpPr>
          <p:spPr>
            <a:xfrm>
              <a:off x="3012141" y="1290918"/>
              <a:ext cx="6122894" cy="457200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1050" dirty="0"/>
                <a:t>iSlide</a:t>
              </a:r>
              <a:r>
                <a:rPr lang="en-US" altLang="zh-CN" sz="1050" baseline="30000" dirty="0"/>
                <a:t>  </a:t>
              </a:r>
              <a:r>
                <a:rPr lang="zh-CN" altLang="en-US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版权声明  </a:t>
              </a:r>
              <a:r>
                <a:rPr lang="en-US" altLang="zh-CN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COPYRIGHT NOTICE</a:t>
              </a:r>
              <a:endParaRPr lang="zh-CN" altLang="en-US" sz="1051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32" name="矩形 189">
            <a:extLst>
              <a:ext uri="{FF2B5EF4-FFF2-40B4-BE49-F238E27FC236}">
                <a16:creationId xmlns:a16="http://schemas.microsoft.com/office/drawing/2014/main" xmlns="" id="{FEBC6BBC-BB54-4927-B452-5451B28DDDA5}"/>
              </a:ext>
            </a:extLst>
          </p:cNvPr>
          <p:cNvSpPr/>
          <p:nvPr/>
        </p:nvSpPr>
        <p:spPr>
          <a:xfrm>
            <a:off x="669925" y="5810935"/>
            <a:ext cx="3336479" cy="323165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defTabSz="914354">
              <a:lnSpc>
                <a:spcPct val="150000"/>
              </a:lnSpc>
              <a:defRPr/>
            </a:pPr>
            <a:r>
              <a:rPr lang="en-US" altLang="zh-CN" sz="10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  <a:hlinkClick r:id="rId4"/>
              </a:rPr>
              <a:t>www.islide.cc</a:t>
            </a:r>
            <a:endParaRPr lang="zh-CN" altLang="en-US" sz="10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28" name="组合 27">
            <a:extLst>
              <a:ext uri="{FF2B5EF4-FFF2-40B4-BE49-F238E27FC236}">
                <a16:creationId xmlns:a16="http://schemas.microsoft.com/office/drawing/2014/main" xmlns="" id="{6E55B609-DF7B-4808-8F5D-EA3B33D46549}"/>
              </a:ext>
            </a:extLst>
          </p:cNvPr>
          <p:cNvGrpSpPr/>
          <p:nvPr/>
        </p:nvGrpSpPr>
        <p:grpSpPr>
          <a:xfrm>
            <a:off x="669926" y="1204895"/>
            <a:ext cx="1263649" cy="331470"/>
            <a:chOff x="669926" y="1204895"/>
            <a:chExt cx="1699443" cy="445784"/>
          </a:xfrm>
        </p:grpSpPr>
        <p:sp>
          <p:nvSpPr>
            <p:cNvPr id="40" name="AutoShape 15">
              <a:extLst>
                <a:ext uri="{FF2B5EF4-FFF2-40B4-BE49-F238E27FC236}">
                  <a16:creationId xmlns:a16="http://schemas.microsoft.com/office/drawing/2014/main" xmlns="" id="{F7A235F1-D186-4F8C-9E3D-0DB3AD5C3DA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69926" y="1204895"/>
              <a:ext cx="1699443" cy="445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:a16="http://schemas.microsoft.com/office/drawing/2014/main" xmlns="" id="{941C3095-FFD0-4B57-883A-2C237609F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473" y="1204895"/>
              <a:ext cx="444415" cy="445784"/>
            </a:xfrm>
            <a:custGeom>
              <a:avLst/>
              <a:gdLst>
                <a:gd name="T0" fmla="*/ 344 w 687"/>
                <a:gd name="T1" fmla="*/ 687 h 687"/>
                <a:gd name="T2" fmla="*/ 344 w 687"/>
                <a:gd name="T3" fmla="*/ 687 h 687"/>
                <a:gd name="T4" fmla="*/ 0 w 687"/>
                <a:gd name="T5" fmla="*/ 344 h 687"/>
                <a:gd name="T6" fmla="*/ 0 w 687"/>
                <a:gd name="T7" fmla="*/ 344 h 687"/>
                <a:gd name="T8" fmla="*/ 344 w 687"/>
                <a:gd name="T9" fmla="*/ 0 h 687"/>
                <a:gd name="T10" fmla="*/ 344 w 687"/>
                <a:gd name="T11" fmla="*/ 0 h 687"/>
                <a:gd name="T12" fmla="*/ 687 w 687"/>
                <a:gd name="T13" fmla="*/ 344 h 687"/>
                <a:gd name="T14" fmla="*/ 687 w 687"/>
                <a:gd name="T15" fmla="*/ 344 h 687"/>
                <a:gd name="T16" fmla="*/ 344 w 687"/>
                <a:gd name="T17" fmla="*/ 687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344" y="687"/>
                  </a:moveTo>
                  <a:cubicBezTo>
                    <a:pt x="344" y="687"/>
                    <a:pt x="344" y="687"/>
                    <a:pt x="344" y="687"/>
                  </a:cubicBezTo>
                  <a:cubicBezTo>
                    <a:pt x="155" y="687"/>
                    <a:pt x="0" y="533"/>
                    <a:pt x="0" y="344"/>
                  </a:cubicBezTo>
                  <a:cubicBezTo>
                    <a:pt x="0" y="344"/>
                    <a:pt x="0" y="344"/>
                    <a:pt x="0" y="344"/>
                  </a:cubicBezTo>
                  <a:cubicBezTo>
                    <a:pt x="0" y="155"/>
                    <a:pt x="155" y="0"/>
                    <a:pt x="344" y="0"/>
                  </a:cubicBezTo>
                  <a:cubicBezTo>
                    <a:pt x="344" y="0"/>
                    <a:pt x="344" y="0"/>
                    <a:pt x="344" y="0"/>
                  </a:cubicBezTo>
                  <a:cubicBezTo>
                    <a:pt x="533" y="0"/>
                    <a:pt x="687" y="155"/>
                    <a:pt x="687" y="344"/>
                  </a:cubicBezTo>
                  <a:cubicBezTo>
                    <a:pt x="687" y="344"/>
                    <a:pt x="687" y="344"/>
                    <a:pt x="687" y="344"/>
                  </a:cubicBezTo>
                  <a:cubicBezTo>
                    <a:pt x="687" y="533"/>
                    <a:pt x="533" y="687"/>
                    <a:pt x="344" y="68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:a16="http://schemas.microsoft.com/office/drawing/2014/main" xmlns="" id="{CC5E806E-76B1-4ABF-BEE7-23A937B981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473" y="1204895"/>
              <a:ext cx="444415" cy="444417"/>
            </a:xfrm>
            <a:custGeom>
              <a:avLst/>
              <a:gdLst>
                <a:gd name="T0" fmla="*/ 344 w 687"/>
                <a:gd name="T1" fmla="*/ 0 h 685"/>
                <a:gd name="T2" fmla="*/ 344 w 687"/>
                <a:gd name="T3" fmla="*/ 0 h 685"/>
                <a:gd name="T4" fmla="*/ 0 w 687"/>
                <a:gd name="T5" fmla="*/ 344 h 685"/>
                <a:gd name="T6" fmla="*/ 209 w 687"/>
                <a:gd name="T7" fmla="*/ 659 h 685"/>
                <a:gd name="T8" fmla="*/ 210 w 687"/>
                <a:gd name="T9" fmla="*/ 648 h 685"/>
                <a:gd name="T10" fmla="*/ 260 w 687"/>
                <a:gd name="T11" fmla="*/ 402 h 685"/>
                <a:gd name="T12" fmla="*/ 362 w 687"/>
                <a:gd name="T13" fmla="*/ 334 h 685"/>
                <a:gd name="T14" fmla="*/ 430 w 687"/>
                <a:gd name="T15" fmla="*/ 436 h 685"/>
                <a:gd name="T16" fmla="*/ 380 w 687"/>
                <a:gd name="T17" fmla="*/ 682 h 685"/>
                <a:gd name="T18" fmla="*/ 379 w 687"/>
                <a:gd name="T19" fmla="*/ 685 h 685"/>
                <a:gd name="T20" fmla="*/ 687 w 687"/>
                <a:gd name="T21" fmla="*/ 344 h 685"/>
                <a:gd name="T22" fmla="*/ 344 w 687"/>
                <a:gd name="T23" fmla="*/ 0 h 685"/>
                <a:gd name="T24" fmla="*/ 388 w 687"/>
                <a:gd name="T25" fmla="*/ 293 h 685"/>
                <a:gd name="T26" fmla="*/ 299 w 687"/>
                <a:gd name="T27" fmla="*/ 204 h 685"/>
                <a:gd name="T28" fmla="*/ 388 w 687"/>
                <a:gd name="T29" fmla="*/ 115 h 685"/>
                <a:gd name="T30" fmla="*/ 477 w 687"/>
                <a:gd name="T31" fmla="*/ 204 h 685"/>
                <a:gd name="T32" fmla="*/ 388 w 687"/>
                <a:gd name="T33" fmla="*/ 293 h 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87" h="685">
                  <a:moveTo>
                    <a:pt x="344" y="0"/>
                  </a:moveTo>
                  <a:cubicBezTo>
                    <a:pt x="344" y="0"/>
                    <a:pt x="344" y="0"/>
                    <a:pt x="344" y="0"/>
                  </a:cubicBezTo>
                  <a:cubicBezTo>
                    <a:pt x="155" y="0"/>
                    <a:pt x="0" y="155"/>
                    <a:pt x="0" y="344"/>
                  </a:cubicBezTo>
                  <a:cubicBezTo>
                    <a:pt x="0" y="485"/>
                    <a:pt x="86" y="607"/>
                    <a:pt x="209" y="659"/>
                  </a:cubicBezTo>
                  <a:cubicBezTo>
                    <a:pt x="209" y="656"/>
                    <a:pt x="209" y="652"/>
                    <a:pt x="210" y="648"/>
                  </a:cubicBezTo>
                  <a:cubicBezTo>
                    <a:pt x="260" y="402"/>
                    <a:pt x="260" y="402"/>
                    <a:pt x="260" y="402"/>
                  </a:cubicBezTo>
                  <a:cubicBezTo>
                    <a:pt x="269" y="355"/>
                    <a:pt x="315" y="325"/>
                    <a:pt x="362" y="334"/>
                  </a:cubicBezTo>
                  <a:cubicBezTo>
                    <a:pt x="409" y="344"/>
                    <a:pt x="439" y="390"/>
                    <a:pt x="430" y="436"/>
                  </a:cubicBezTo>
                  <a:cubicBezTo>
                    <a:pt x="380" y="682"/>
                    <a:pt x="380" y="682"/>
                    <a:pt x="380" y="682"/>
                  </a:cubicBezTo>
                  <a:cubicBezTo>
                    <a:pt x="379" y="684"/>
                    <a:pt x="379" y="684"/>
                    <a:pt x="379" y="685"/>
                  </a:cubicBezTo>
                  <a:cubicBezTo>
                    <a:pt x="551" y="668"/>
                    <a:pt x="687" y="521"/>
                    <a:pt x="687" y="344"/>
                  </a:cubicBezTo>
                  <a:cubicBezTo>
                    <a:pt x="687" y="155"/>
                    <a:pt x="533" y="0"/>
                    <a:pt x="344" y="0"/>
                  </a:cubicBezTo>
                  <a:close/>
                  <a:moveTo>
                    <a:pt x="388" y="293"/>
                  </a:moveTo>
                  <a:cubicBezTo>
                    <a:pt x="339" y="293"/>
                    <a:pt x="299" y="253"/>
                    <a:pt x="299" y="204"/>
                  </a:cubicBezTo>
                  <a:cubicBezTo>
                    <a:pt x="299" y="155"/>
                    <a:pt x="339" y="115"/>
                    <a:pt x="388" y="115"/>
                  </a:cubicBezTo>
                  <a:cubicBezTo>
                    <a:pt x="437" y="115"/>
                    <a:pt x="477" y="155"/>
                    <a:pt x="477" y="204"/>
                  </a:cubicBezTo>
                  <a:cubicBezTo>
                    <a:pt x="477" y="253"/>
                    <a:pt x="437" y="293"/>
                    <a:pt x="388" y="293"/>
                  </a:cubicBezTo>
                  <a:close/>
                </a:path>
              </a:pathLst>
            </a:custGeom>
            <a:solidFill>
              <a:srgbClr val="CC4B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xmlns="" id="{FBA0A1B2-675D-40DD-9B20-019CEA4845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721" y="1281471"/>
              <a:ext cx="237933" cy="309587"/>
            </a:xfrm>
            <a:custGeom>
              <a:avLst/>
              <a:gdLst>
                <a:gd name="T0" fmla="*/ 320 w 368"/>
                <a:gd name="T1" fmla="*/ 141 h 477"/>
                <a:gd name="T2" fmla="*/ 291 w 368"/>
                <a:gd name="T3" fmla="*/ 119 h 477"/>
                <a:gd name="T4" fmla="*/ 263 w 368"/>
                <a:gd name="T5" fmla="*/ 77 h 477"/>
                <a:gd name="T6" fmla="*/ 183 w 368"/>
                <a:gd name="T7" fmla="*/ 54 h 477"/>
                <a:gd name="T8" fmla="*/ 106 w 368"/>
                <a:gd name="T9" fmla="*/ 72 h 477"/>
                <a:gd name="T10" fmla="*/ 76 w 368"/>
                <a:gd name="T11" fmla="*/ 123 h 477"/>
                <a:gd name="T12" fmla="*/ 99 w 368"/>
                <a:gd name="T13" fmla="*/ 168 h 477"/>
                <a:gd name="T14" fmla="*/ 187 w 368"/>
                <a:gd name="T15" fmla="*/ 197 h 477"/>
                <a:gd name="T16" fmla="*/ 280 w 368"/>
                <a:gd name="T17" fmla="*/ 223 h 477"/>
                <a:gd name="T18" fmla="*/ 342 w 368"/>
                <a:gd name="T19" fmla="*/ 264 h 477"/>
                <a:gd name="T20" fmla="*/ 368 w 368"/>
                <a:gd name="T21" fmla="*/ 339 h 477"/>
                <a:gd name="T22" fmla="*/ 321 w 368"/>
                <a:gd name="T23" fmla="*/ 438 h 477"/>
                <a:gd name="T24" fmla="*/ 197 w 368"/>
                <a:gd name="T25" fmla="*/ 477 h 477"/>
                <a:gd name="T26" fmla="*/ 51 w 368"/>
                <a:gd name="T27" fmla="*/ 434 h 477"/>
                <a:gd name="T28" fmla="*/ 4 w 368"/>
                <a:gd name="T29" fmla="*/ 351 h 477"/>
                <a:gd name="T30" fmla="*/ 29 w 368"/>
                <a:gd name="T31" fmla="*/ 318 h 477"/>
                <a:gd name="T32" fmla="*/ 32 w 368"/>
                <a:gd name="T33" fmla="*/ 318 h 477"/>
                <a:gd name="T34" fmla="*/ 62 w 368"/>
                <a:gd name="T35" fmla="*/ 340 h 477"/>
                <a:gd name="T36" fmla="*/ 101 w 368"/>
                <a:gd name="T37" fmla="*/ 397 h 477"/>
                <a:gd name="T38" fmla="*/ 194 w 368"/>
                <a:gd name="T39" fmla="*/ 422 h 477"/>
                <a:gd name="T40" fmla="*/ 277 w 368"/>
                <a:gd name="T41" fmla="*/ 401 h 477"/>
                <a:gd name="T42" fmla="*/ 309 w 368"/>
                <a:gd name="T43" fmla="*/ 343 h 477"/>
                <a:gd name="T44" fmla="*/ 276 w 368"/>
                <a:gd name="T45" fmla="*/ 288 h 477"/>
                <a:gd name="T46" fmla="*/ 165 w 368"/>
                <a:gd name="T47" fmla="*/ 254 h 477"/>
                <a:gd name="T48" fmla="*/ 53 w 368"/>
                <a:gd name="T49" fmla="*/ 207 h 477"/>
                <a:gd name="T50" fmla="*/ 18 w 368"/>
                <a:gd name="T51" fmla="*/ 127 h 477"/>
                <a:gd name="T52" fmla="*/ 62 w 368"/>
                <a:gd name="T53" fmla="*/ 36 h 477"/>
                <a:gd name="T54" fmla="*/ 180 w 368"/>
                <a:gd name="T55" fmla="*/ 0 h 477"/>
                <a:gd name="T56" fmla="*/ 304 w 368"/>
                <a:gd name="T57" fmla="*/ 36 h 477"/>
                <a:gd name="T58" fmla="*/ 349 w 368"/>
                <a:gd name="T59" fmla="*/ 108 h 477"/>
                <a:gd name="T60" fmla="*/ 324 w 368"/>
                <a:gd name="T61" fmla="*/ 140 h 477"/>
                <a:gd name="T62" fmla="*/ 320 w 368"/>
                <a:gd name="T63" fmla="*/ 141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8" h="477">
                  <a:moveTo>
                    <a:pt x="320" y="141"/>
                  </a:moveTo>
                  <a:cubicBezTo>
                    <a:pt x="306" y="142"/>
                    <a:pt x="294" y="133"/>
                    <a:pt x="291" y="119"/>
                  </a:cubicBezTo>
                  <a:cubicBezTo>
                    <a:pt x="286" y="101"/>
                    <a:pt x="276" y="87"/>
                    <a:pt x="263" y="77"/>
                  </a:cubicBezTo>
                  <a:cubicBezTo>
                    <a:pt x="244" y="62"/>
                    <a:pt x="218" y="54"/>
                    <a:pt x="183" y="54"/>
                  </a:cubicBezTo>
                  <a:cubicBezTo>
                    <a:pt x="151" y="54"/>
                    <a:pt x="126" y="60"/>
                    <a:pt x="106" y="72"/>
                  </a:cubicBezTo>
                  <a:cubicBezTo>
                    <a:pt x="86" y="84"/>
                    <a:pt x="76" y="101"/>
                    <a:pt x="76" y="123"/>
                  </a:cubicBezTo>
                  <a:cubicBezTo>
                    <a:pt x="76" y="143"/>
                    <a:pt x="84" y="158"/>
                    <a:pt x="99" y="168"/>
                  </a:cubicBezTo>
                  <a:cubicBezTo>
                    <a:pt x="114" y="178"/>
                    <a:pt x="144" y="187"/>
                    <a:pt x="187" y="197"/>
                  </a:cubicBezTo>
                  <a:cubicBezTo>
                    <a:pt x="225" y="205"/>
                    <a:pt x="256" y="214"/>
                    <a:pt x="280" y="223"/>
                  </a:cubicBezTo>
                  <a:cubicBezTo>
                    <a:pt x="304" y="232"/>
                    <a:pt x="325" y="245"/>
                    <a:pt x="342" y="264"/>
                  </a:cubicBezTo>
                  <a:cubicBezTo>
                    <a:pt x="359" y="283"/>
                    <a:pt x="368" y="307"/>
                    <a:pt x="368" y="339"/>
                  </a:cubicBezTo>
                  <a:cubicBezTo>
                    <a:pt x="368" y="378"/>
                    <a:pt x="352" y="411"/>
                    <a:pt x="321" y="438"/>
                  </a:cubicBezTo>
                  <a:cubicBezTo>
                    <a:pt x="289" y="464"/>
                    <a:pt x="248" y="477"/>
                    <a:pt x="197" y="477"/>
                  </a:cubicBezTo>
                  <a:cubicBezTo>
                    <a:pt x="132" y="477"/>
                    <a:pt x="84" y="462"/>
                    <a:pt x="51" y="434"/>
                  </a:cubicBezTo>
                  <a:cubicBezTo>
                    <a:pt x="26" y="411"/>
                    <a:pt x="11" y="384"/>
                    <a:pt x="4" y="351"/>
                  </a:cubicBezTo>
                  <a:cubicBezTo>
                    <a:pt x="0" y="335"/>
                    <a:pt x="13" y="320"/>
                    <a:pt x="29" y="318"/>
                  </a:cubicBezTo>
                  <a:cubicBezTo>
                    <a:pt x="32" y="318"/>
                    <a:pt x="32" y="318"/>
                    <a:pt x="32" y="318"/>
                  </a:cubicBezTo>
                  <a:cubicBezTo>
                    <a:pt x="46" y="317"/>
                    <a:pt x="58" y="326"/>
                    <a:pt x="62" y="340"/>
                  </a:cubicBezTo>
                  <a:cubicBezTo>
                    <a:pt x="68" y="365"/>
                    <a:pt x="81" y="384"/>
                    <a:pt x="101" y="397"/>
                  </a:cubicBezTo>
                  <a:cubicBezTo>
                    <a:pt x="127" y="413"/>
                    <a:pt x="158" y="422"/>
                    <a:pt x="194" y="422"/>
                  </a:cubicBezTo>
                  <a:cubicBezTo>
                    <a:pt x="229" y="422"/>
                    <a:pt x="256" y="415"/>
                    <a:pt x="277" y="401"/>
                  </a:cubicBezTo>
                  <a:cubicBezTo>
                    <a:pt x="298" y="387"/>
                    <a:pt x="309" y="368"/>
                    <a:pt x="309" y="343"/>
                  </a:cubicBezTo>
                  <a:cubicBezTo>
                    <a:pt x="309" y="318"/>
                    <a:pt x="298" y="300"/>
                    <a:pt x="276" y="288"/>
                  </a:cubicBezTo>
                  <a:cubicBezTo>
                    <a:pt x="254" y="277"/>
                    <a:pt x="217" y="265"/>
                    <a:pt x="165" y="254"/>
                  </a:cubicBezTo>
                  <a:cubicBezTo>
                    <a:pt x="113" y="243"/>
                    <a:pt x="76" y="227"/>
                    <a:pt x="53" y="207"/>
                  </a:cubicBezTo>
                  <a:cubicBezTo>
                    <a:pt x="30" y="186"/>
                    <a:pt x="18" y="160"/>
                    <a:pt x="18" y="127"/>
                  </a:cubicBezTo>
                  <a:cubicBezTo>
                    <a:pt x="18" y="90"/>
                    <a:pt x="33" y="60"/>
                    <a:pt x="62" y="36"/>
                  </a:cubicBezTo>
                  <a:cubicBezTo>
                    <a:pt x="91" y="12"/>
                    <a:pt x="130" y="0"/>
                    <a:pt x="180" y="0"/>
                  </a:cubicBezTo>
                  <a:cubicBezTo>
                    <a:pt x="231" y="0"/>
                    <a:pt x="273" y="12"/>
                    <a:pt x="304" y="36"/>
                  </a:cubicBezTo>
                  <a:cubicBezTo>
                    <a:pt x="327" y="54"/>
                    <a:pt x="343" y="78"/>
                    <a:pt x="349" y="108"/>
                  </a:cubicBezTo>
                  <a:cubicBezTo>
                    <a:pt x="353" y="124"/>
                    <a:pt x="341" y="139"/>
                    <a:pt x="324" y="140"/>
                  </a:cubicBezTo>
                  <a:lnTo>
                    <a:pt x="320" y="141"/>
                  </a:lnTo>
                  <a:close/>
                </a:path>
              </a:pathLst>
            </a:custGeom>
            <a:solidFill>
              <a:srgbClr val="354A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4" name="Freeform 20">
              <a:extLst>
                <a:ext uri="{FF2B5EF4-FFF2-40B4-BE49-F238E27FC236}">
                  <a16:creationId xmlns:a16="http://schemas.microsoft.com/office/drawing/2014/main" xmlns="" id="{8895173D-9045-411E-B47E-7FD23A1328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3608" y="1286121"/>
              <a:ext cx="36921" cy="299742"/>
            </a:xfrm>
            <a:custGeom>
              <a:avLst/>
              <a:gdLst>
                <a:gd name="T0" fmla="*/ 29 w 57"/>
                <a:gd name="T1" fmla="*/ 462 h 462"/>
                <a:gd name="T2" fmla="*/ 29 w 57"/>
                <a:gd name="T3" fmla="*/ 462 h 462"/>
                <a:gd name="T4" fmla="*/ 0 w 57"/>
                <a:gd name="T5" fmla="*/ 434 h 462"/>
                <a:gd name="T6" fmla="*/ 0 w 57"/>
                <a:gd name="T7" fmla="*/ 29 h 462"/>
                <a:gd name="T8" fmla="*/ 29 w 57"/>
                <a:gd name="T9" fmla="*/ 0 h 462"/>
                <a:gd name="T10" fmla="*/ 29 w 57"/>
                <a:gd name="T11" fmla="*/ 0 h 462"/>
                <a:gd name="T12" fmla="*/ 57 w 57"/>
                <a:gd name="T13" fmla="*/ 29 h 462"/>
                <a:gd name="T14" fmla="*/ 57 w 57"/>
                <a:gd name="T15" fmla="*/ 434 h 462"/>
                <a:gd name="T16" fmla="*/ 29 w 57"/>
                <a:gd name="T17" fmla="*/ 462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62">
                  <a:moveTo>
                    <a:pt x="29" y="462"/>
                  </a:moveTo>
                  <a:cubicBezTo>
                    <a:pt x="29" y="462"/>
                    <a:pt x="29" y="462"/>
                    <a:pt x="29" y="462"/>
                  </a:cubicBezTo>
                  <a:cubicBezTo>
                    <a:pt x="13" y="462"/>
                    <a:pt x="0" y="449"/>
                    <a:pt x="0" y="4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4" y="0"/>
                    <a:pt x="57" y="13"/>
                    <a:pt x="57" y="29"/>
                  </a:cubicBezTo>
                  <a:cubicBezTo>
                    <a:pt x="57" y="434"/>
                    <a:pt x="57" y="434"/>
                    <a:pt x="57" y="434"/>
                  </a:cubicBezTo>
                  <a:cubicBezTo>
                    <a:pt x="57" y="449"/>
                    <a:pt x="44" y="462"/>
                    <a:pt x="29" y="462"/>
                  </a:cubicBezTo>
                  <a:close/>
                </a:path>
              </a:pathLst>
            </a:custGeom>
            <a:solidFill>
              <a:srgbClr val="354A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5" name="Freeform 21">
              <a:extLst>
                <a:ext uri="{FF2B5EF4-FFF2-40B4-BE49-F238E27FC236}">
                  <a16:creationId xmlns:a16="http://schemas.microsoft.com/office/drawing/2014/main" xmlns="" id="{0A1E4CE6-4E33-4BA6-9D4F-22B8D5940A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6867" y="1286121"/>
              <a:ext cx="36100" cy="299742"/>
            </a:xfrm>
            <a:custGeom>
              <a:avLst/>
              <a:gdLst>
                <a:gd name="T0" fmla="*/ 28 w 56"/>
                <a:gd name="T1" fmla="*/ 65 h 462"/>
                <a:gd name="T2" fmla="*/ 28 w 56"/>
                <a:gd name="T3" fmla="*/ 65 h 462"/>
                <a:gd name="T4" fmla="*/ 0 w 56"/>
                <a:gd name="T5" fmla="*/ 36 h 462"/>
                <a:gd name="T6" fmla="*/ 0 w 56"/>
                <a:gd name="T7" fmla="*/ 29 h 462"/>
                <a:gd name="T8" fmla="*/ 28 w 56"/>
                <a:gd name="T9" fmla="*/ 0 h 462"/>
                <a:gd name="T10" fmla="*/ 28 w 56"/>
                <a:gd name="T11" fmla="*/ 0 h 462"/>
                <a:gd name="T12" fmla="*/ 56 w 56"/>
                <a:gd name="T13" fmla="*/ 29 h 462"/>
                <a:gd name="T14" fmla="*/ 56 w 56"/>
                <a:gd name="T15" fmla="*/ 36 h 462"/>
                <a:gd name="T16" fmla="*/ 28 w 56"/>
                <a:gd name="T17" fmla="*/ 65 h 462"/>
                <a:gd name="T18" fmla="*/ 28 w 56"/>
                <a:gd name="T19" fmla="*/ 462 h 462"/>
                <a:gd name="T20" fmla="*/ 28 w 56"/>
                <a:gd name="T21" fmla="*/ 462 h 462"/>
                <a:gd name="T22" fmla="*/ 0 w 56"/>
                <a:gd name="T23" fmla="*/ 434 h 462"/>
                <a:gd name="T24" fmla="*/ 0 w 56"/>
                <a:gd name="T25" fmla="*/ 156 h 462"/>
                <a:gd name="T26" fmla="*/ 28 w 56"/>
                <a:gd name="T27" fmla="*/ 128 h 462"/>
                <a:gd name="T28" fmla="*/ 28 w 56"/>
                <a:gd name="T29" fmla="*/ 128 h 462"/>
                <a:gd name="T30" fmla="*/ 56 w 56"/>
                <a:gd name="T31" fmla="*/ 156 h 462"/>
                <a:gd name="T32" fmla="*/ 56 w 56"/>
                <a:gd name="T33" fmla="*/ 434 h 462"/>
                <a:gd name="T34" fmla="*/ 28 w 56"/>
                <a:gd name="T35" fmla="*/ 462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6" h="462">
                  <a:moveTo>
                    <a:pt x="28" y="65"/>
                  </a:moveTo>
                  <a:cubicBezTo>
                    <a:pt x="28" y="65"/>
                    <a:pt x="28" y="65"/>
                    <a:pt x="28" y="65"/>
                  </a:cubicBezTo>
                  <a:cubicBezTo>
                    <a:pt x="12" y="65"/>
                    <a:pt x="0" y="52"/>
                    <a:pt x="0" y="3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44" y="0"/>
                    <a:pt x="56" y="13"/>
                    <a:pt x="56" y="29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52"/>
                    <a:pt x="44" y="65"/>
                    <a:pt x="28" y="65"/>
                  </a:cubicBezTo>
                  <a:close/>
                  <a:moveTo>
                    <a:pt x="28" y="462"/>
                  </a:moveTo>
                  <a:cubicBezTo>
                    <a:pt x="28" y="462"/>
                    <a:pt x="28" y="462"/>
                    <a:pt x="28" y="462"/>
                  </a:cubicBezTo>
                  <a:cubicBezTo>
                    <a:pt x="12" y="462"/>
                    <a:pt x="0" y="449"/>
                    <a:pt x="0" y="434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141"/>
                    <a:pt x="12" y="128"/>
                    <a:pt x="28" y="128"/>
                  </a:cubicBezTo>
                  <a:cubicBezTo>
                    <a:pt x="28" y="128"/>
                    <a:pt x="28" y="128"/>
                    <a:pt x="28" y="128"/>
                  </a:cubicBezTo>
                  <a:cubicBezTo>
                    <a:pt x="44" y="128"/>
                    <a:pt x="56" y="141"/>
                    <a:pt x="56" y="156"/>
                  </a:cubicBezTo>
                  <a:cubicBezTo>
                    <a:pt x="56" y="434"/>
                    <a:pt x="56" y="434"/>
                    <a:pt x="56" y="434"/>
                  </a:cubicBezTo>
                  <a:cubicBezTo>
                    <a:pt x="56" y="449"/>
                    <a:pt x="44" y="462"/>
                    <a:pt x="28" y="462"/>
                  </a:cubicBezTo>
                  <a:close/>
                </a:path>
              </a:pathLst>
            </a:custGeom>
            <a:solidFill>
              <a:srgbClr val="354A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6" name="Freeform 22">
              <a:extLst>
                <a:ext uri="{FF2B5EF4-FFF2-40B4-BE49-F238E27FC236}">
                  <a16:creationId xmlns:a16="http://schemas.microsoft.com/office/drawing/2014/main" xmlns="" id="{53805563-2D7C-487B-AB41-2ABCDF5A2D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5222" y="1286121"/>
              <a:ext cx="36647" cy="299742"/>
            </a:xfrm>
            <a:custGeom>
              <a:avLst/>
              <a:gdLst>
                <a:gd name="T0" fmla="*/ 29 w 57"/>
                <a:gd name="T1" fmla="*/ 65 h 462"/>
                <a:gd name="T2" fmla="*/ 29 w 57"/>
                <a:gd name="T3" fmla="*/ 65 h 462"/>
                <a:gd name="T4" fmla="*/ 0 w 57"/>
                <a:gd name="T5" fmla="*/ 36 h 462"/>
                <a:gd name="T6" fmla="*/ 0 w 57"/>
                <a:gd name="T7" fmla="*/ 29 h 462"/>
                <a:gd name="T8" fmla="*/ 29 w 57"/>
                <a:gd name="T9" fmla="*/ 0 h 462"/>
                <a:gd name="T10" fmla="*/ 29 w 57"/>
                <a:gd name="T11" fmla="*/ 0 h 462"/>
                <a:gd name="T12" fmla="*/ 57 w 57"/>
                <a:gd name="T13" fmla="*/ 29 h 462"/>
                <a:gd name="T14" fmla="*/ 57 w 57"/>
                <a:gd name="T15" fmla="*/ 36 h 462"/>
                <a:gd name="T16" fmla="*/ 29 w 57"/>
                <a:gd name="T17" fmla="*/ 65 h 462"/>
                <a:gd name="T18" fmla="*/ 29 w 57"/>
                <a:gd name="T19" fmla="*/ 462 h 462"/>
                <a:gd name="T20" fmla="*/ 29 w 57"/>
                <a:gd name="T21" fmla="*/ 462 h 462"/>
                <a:gd name="T22" fmla="*/ 0 w 57"/>
                <a:gd name="T23" fmla="*/ 434 h 462"/>
                <a:gd name="T24" fmla="*/ 0 w 57"/>
                <a:gd name="T25" fmla="*/ 156 h 462"/>
                <a:gd name="T26" fmla="*/ 29 w 57"/>
                <a:gd name="T27" fmla="*/ 128 h 462"/>
                <a:gd name="T28" fmla="*/ 29 w 57"/>
                <a:gd name="T29" fmla="*/ 128 h 462"/>
                <a:gd name="T30" fmla="*/ 57 w 57"/>
                <a:gd name="T31" fmla="*/ 156 h 462"/>
                <a:gd name="T32" fmla="*/ 57 w 57"/>
                <a:gd name="T33" fmla="*/ 434 h 462"/>
                <a:gd name="T34" fmla="*/ 29 w 57"/>
                <a:gd name="T35" fmla="*/ 462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7" h="462">
                  <a:moveTo>
                    <a:pt x="29" y="65"/>
                  </a:moveTo>
                  <a:cubicBezTo>
                    <a:pt x="29" y="65"/>
                    <a:pt x="29" y="65"/>
                    <a:pt x="29" y="65"/>
                  </a:cubicBezTo>
                  <a:cubicBezTo>
                    <a:pt x="13" y="65"/>
                    <a:pt x="0" y="52"/>
                    <a:pt x="0" y="3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4" y="0"/>
                    <a:pt x="57" y="13"/>
                    <a:pt x="57" y="29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7" y="52"/>
                    <a:pt x="44" y="65"/>
                    <a:pt x="29" y="65"/>
                  </a:cubicBezTo>
                  <a:close/>
                  <a:moveTo>
                    <a:pt x="29" y="462"/>
                  </a:moveTo>
                  <a:cubicBezTo>
                    <a:pt x="29" y="462"/>
                    <a:pt x="29" y="462"/>
                    <a:pt x="29" y="462"/>
                  </a:cubicBezTo>
                  <a:cubicBezTo>
                    <a:pt x="13" y="462"/>
                    <a:pt x="0" y="449"/>
                    <a:pt x="0" y="434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141"/>
                    <a:pt x="13" y="128"/>
                    <a:pt x="29" y="128"/>
                  </a:cubicBezTo>
                  <a:cubicBezTo>
                    <a:pt x="29" y="128"/>
                    <a:pt x="29" y="128"/>
                    <a:pt x="29" y="128"/>
                  </a:cubicBezTo>
                  <a:cubicBezTo>
                    <a:pt x="44" y="128"/>
                    <a:pt x="57" y="141"/>
                    <a:pt x="57" y="156"/>
                  </a:cubicBezTo>
                  <a:cubicBezTo>
                    <a:pt x="57" y="434"/>
                    <a:pt x="57" y="434"/>
                    <a:pt x="57" y="434"/>
                  </a:cubicBezTo>
                  <a:cubicBezTo>
                    <a:pt x="57" y="449"/>
                    <a:pt x="44" y="462"/>
                    <a:pt x="29" y="462"/>
                  </a:cubicBezTo>
                  <a:close/>
                </a:path>
              </a:pathLst>
            </a:custGeom>
            <a:solidFill>
              <a:srgbClr val="354A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7" name="Freeform 23">
              <a:extLst>
                <a:ext uri="{FF2B5EF4-FFF2-40B4-BE49-F238E27FC236}">
                  <a16:creationId xmlns:a16="http://schemas.microsoft.com/office/drawing/2014/main" xmlns="" id="{F5B09A70-BD5C-4AEC-8E34-1AB2A86C5B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6451" y="1286121"/>
              <a:ext cx="187338" cy="304938"/>
            </a:xfrm>
            <a:custGeom>
              <a:avLst/>
              <a:gdLst>
                <a:gd name="T0" fmla="*/ 264 w 290"/>
                <a:gd name="T1" fmla="*/ 462 h 470"/>
                <a:gd name="T2" fmla="*/ 264 w 290"/>
                <a:gd name="T3" fmla="*/ 462 h 470"/>
                <a:gd name="T4" fmla="*/ 237 w 290"/>
                <a:gd name="T5" fmla="*/ 436 h 470"/>
                <a:gd name="T6" fmla="*/ 237 w 290"/>
                <a:gd name="T7" fmla="*/ 420 h 470"/>
                <a:gd name="T8" fmla="*/ 236 w 290"/>
                <a:gd name="T9" fmla="*/ 420 h 470"/>
                <a:gd name="T10" fmla="*/ 144 w 290"/>
                <a:gd name="T11" fmla="*/ 470 h 470"/>
                <a:gd name="T12" fmla="*/ 41 w 290"/>
                <a:gd name="T13" fmla="*/ 421 h 470"/>
                <a:gd name="T14" fmla="*/ 0 w 290"/>
                <a:gd name="T15" fmla="*/ 295 h 470"/>
                <a:gd name="T16" fmla="*/ 39 w 290"/>
                <a:gd name="T17" fmla="*/ 167 h 470"/>
                <a:gd name="T18" fmla="*/ 141 w 290"/>
                <a:gd name="T19" fmla="*/ 120 h 470"/>
                <a:gd name="T20" fmla="*/ 232 w 290"/>
                <a:gd name="T21" fmla="*/ 166 h 470"/>
                <a:gd name="T22" fmla="*/ 234 w 290"/>
                <a:gd name="T23" fmla="*/ 166 h 470"/>
                <a:gd name="T24" fmla="*/ 234 w 290"/>
                <a:gd name="T25" fmla="*/ 27 h 470"/>
                <a:gd name="T26" fmla="*/ 260 w 290"/>
                <a:gd name="T27" fmla="*/ 0 h 470"/>
                <a:gd name="T28" fmla="*/ 264 w 290"/>
                <a:gd name="T29" fmla="*/ 0 h 470"/>
                <a:gd name="T30" fmla="*/ 290 w 290"/>
                <a:gd name="T31" fmla="*/ 27 h 470"/>
                <a:gd name="T32" fmla="*/ 290 w 290"/>
                <a:gd name="T33" fmla="*/ 436 h 470"/>
                <a:gd name="T34" fmla="*/ 264 w 290"/>
                <a:gd name="T35" fmla="*/ 462 h 470"/>
                <a:gd name="T36" fmla="*/ 150 w 290"/>
                <a:gd name="T37" fmla="*/ 423 h 470"/>
                <a:gd name="T38" fmla="*/ 213 w 290"/>
                <a:gd name="T39" fmla="*/ 393 h 470"/>
                <a:gd name="T40" fmla="*/ 239 w 290"/>
                <a:gd name="T41" fmla="*/ 300 h 470"/>
                <a:gd name="T42" fmla="*/ 215 w 290"/>
                <a:gd name="T43" fmla="*/ 203 h 470"/>
                <a:gd name="T44" fmla="*/ 147 w 290"/>
                <a:gd name="T45" fmla="*/ 167 h 470"/>
                <a:gd name="T46" fmla="*/ 81 w 290"/>
                <a:gd name="T47" fmla="*/ 202 h 470"/>
                <a:gd name="T48" fmla="*/ 58 w 290"/>
                <a:gd name="T49" fmla="*/ 295 h 470"/>
                <a:gd name="T50" fmla="*/ 70 w 290"/>
                <a:gd name="T51" fmla="*/ 366 h 470"/>
                <a:gd name="T52" fmla="*/ 104 w 290"/>
                <a:gd name="T53" fmla="*/ 409 h 470"/>
                <a:gd name="T54" fmla="*/ 150 w 290"/>
                <a:gd name="T55" fmla="*/ 423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90" h="470">
                  <a:moveTo>
                    <a:pt x="264" y="462"/>
                  </a:moveTo>
                  <a:cubicBezTo>
                    <a:pt x="264" y="462"/>
                    <a:pt x="264" y="462"/>
                    <a:pt x="264" y="462"/>
                  </a:cubicBezTo>
                  <a:cubicBezTo>
                    <a:pt x="249" y="462"/>
                    <a:pt x="237" y="450"/>
                    <a:pt x="237" y="436"/>
                  </a:cubicBezTo>
                  <a:cubicBezTo>
                    <a:pt x="237" y="420"/>
                    <a:pt x="237" y="420"/>
                    <a:pt x="237" y="420"/>
                  </a:cubicBezTo>
                  <a:cubicBezTo>
                    <a:pt x="236" y="420"/>
                    <a:pt x="236" y="420"/>
                    <a:pt x="236" y="420"/>
                  </a:cubicBezTo>
                  <a:cubicBezTo>
                    <a:pt x="216" y="453"/>
                    <a:pt x="185" y="470"/>
                    <a:pt x="144" y="470"/>
                  </a:cubicBezTo>
                  <a:cubicBezTo>
                    <a:pt x="103" y="470"/>
                    <a:pt x="69" y="454"/>
                    <a:pt x="41" y="421"/>
                  </a:cubicBezTo>
                  <a:cubicBezTo>
                    <a:pt x="14" y="389"/>
                    <a:pt x="0" y="347"/>
                    <a:pt x="0" y="295"/>
                  </a:cubicBezTo>
                  <a:cubicBezTo>
                    <a:pt x="0" y="241"/>
                    <a:pt x="13" y="199"/>
                    <a:pt x="39" y="167"/>
                  </a:cubicBezTo>
                  <a:cubicBezTo>
                    <a:pt x="65" y="136"/>
                    <a:pt x="99" y="120"/>
                    <a:pt x="141" y="120"/>
                  </a:cubicBezTo>
                  <a:cubicBezTo>
                    <a:pt x="181" y="120"/>
                    <a:pt x="212" y="136"/>
                    <a:pt x="232" y="166"/>
                  </a:cubicBezTo>
                  <a:cubicBezTo>
                    <a:pt x="234" y="166"/>
                    <a:pt x="234" y="166"/>
                    <a:pt x="234" y="166"/>
                  </a:cubicBezTo>
                  <a:cubicBezTo>
                    <a:pt x="234" y="27"/>
                    <a:pt x="234" y="27"/>
                    <a:pt x="234" y="27"/>
                  </a:cubicBezTo>
                  <a:cubicBezTo>
                    <a:pt x="234" y="12"/>
                    <a:pt x="245" y="0"/>
                    <a:pt x="260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8" y="0"/>
                    <a:pt x="290" y="12"/>
                    <a:pt x="290" y="27"/>
                  </a:cubicBezTo>
                  <a:cubicBezTo>
                    <a:pt x="290" y="436"/>
                    <a:pt x="290" y="436"/>
                    <a:pt x="290" y="436"/>
                  </a:cubicBezTo>
                  <a:cubicBezTo>
                    <a:pt x="290" y="450"/>
                    <a:pt x="278" y="462"/>
                    <a:pt x="264" y="462"/>
                  </a:cubicBezTo>
                  <a:close/>
                  <a:moveTo>
                    <a:pt x="150" y="423"/>
                  </a:moveTo>
                  <a:cubicBezTo>
                    <a:pt x="175" y="423"/>
                    <a:pt x="196" y="413"/>
                    <a:pt x="213" y="393"/>
                  </a:cubicBezTo>
                  <a:cubicBezTo>
                    <a:pt x="230" y="372"/>
                    <a:pt x="239" y="342"/>
                    <a:pt x="239" y="300"/>
                  </a:cubicBezTo>
                  <a:cubicBezTo>
                    <a:pt x="239" y="260"/>
                    <a:pt x="231" y="227"/>
                    <a:pt x="215" y="203"/>
                  </a:cubicBezTo>
                  <a:cubicBezTo>
                    <a:pt x="199" y="179"/>
                    <a:pt x="177" y="167"/>
                    <a:pt x="147" y="167"/>
                  </a:cubicBezTo>
                  <a:cubicBezTo>
                    <a:pt x="118" y="167"/>
                    <a:pt x="96" y="178"/>
                    <a:pt x="81" y="202"/>
                  </a:cubicBezTo>
                  <a:cubicBezTo>
                    <a:pt x="66" y="226"/>
                    <a:pt x="58" y="257"/>
                    <a:pt x="58" y="295"/>
                  </a:cubicBezTo>
                  <a:cubicBezTo>
                    <a:pt x="58" y="323"/>
                    <a:pt x="62" y="346"/>
                    <a:pt x="70" y="366"/>
                  </a:cubicBezTo>
                  <a:cubicBezTo>
                    <a:pt x="78" y="385"/>
                    <a:pt x="90" y="399"/>
                    <a:pt x="104" y="409"/>
                  </a:cubicBezTo>
                  <a:cubicBezTo>
                    <a:pt x="119" y="419"/>
                    <a:pt x="134" y="423"/>
                    <a:pt x="150" y="423"/>
                  </a:cubicBezTo>
                  <a:close/>
                </a:path>
              </a:pathLst>
            </a:custGeom>
            <a:solidFill>
              <a:srgbClr val="354A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8" name="Freeform 24">
              <a:extLst>
                <a:ext uri="{FF2B5EF4-FFF2-40B4-BE49-F238E27FC236}">
                  <a16:creationId xmlns:a16="http://schemas.microsoft.com/office/drawing/2014/main" xmlns="" id="{3776C0FC-51B4-43E9-A802-9FD933C30A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9735" y="1363791"/>
              <a:ext cx="199371" cy="227268"/>
            </a:xfrm>
            <a:custGeom>
              <a:avLst/>
              <a:gdLst>
                <a:gd name="T0" fmla="*/ 280 w 308"/>
                <a:gd name="T1" fmla="*/ 189 h 350"/>
                <a:gd name="T2" fmla="*/ 68 w 308"/>
                <a:gd name="T3" fmla="*/ 189 h 350"/>
                <a:gd name="T4" fmla="*/ 59 w 308"/>
                <a:gd name="T5" fmla="*/ 200 h 350"/>
                <a:gd name="T6" fmla="*/ 89 w 308"/>
                <a:gd name="T7" fmla="*/ 274 h 350"/>
                <a:gd name="T8" fmla="*/ 160 w 308"/>
                <a:gd name="T9" fmla="*/ 303 h 350"/>
                <a:gd name="T10" fmla="*/ 214 w 308"/>
                <a:gd name="T11" fmla="*/ 286 h 350"/>
                <a:gd name="T12" fmla="*/ 239 w 308"/>
                <a:gd name="T13" fmla="*/ 255 h 350"/>
                <a:gd name="T14" fmla="*/ 272 w 308"/>
                <a:gd name="T15" fmla="*/ 237 h 350"/>
                <a:gd name="T16" fmla="*/ 272 w 308"/>
                <a:gd name="T17" fmla="*/ 237 h 350"/>
                <a:gd name="T18" fmla="*/ 293 w 308"/>
                <a:gd name="T19" fmla="*/ 277 h 350"/>
                <a:gd name="T20" fmla="*/ 254 w 308"/>
                <a:gd name="T21" fmla="*/ 322 h 350"/>
                <a:gd name="T22" fmla="*/ 160 w 308"/>
                <a:gd name="T23" fmla="*/ 350 h 350"/>
                <a:gd name="T24" fmla="*/ 42 w 308"/>
                <a:gd name="T25" fmla="*/ 304 h 350"/>
                <a:gd name="T26" fmla="*/ 0 w 308"/>
                <a:gd name="T27" fmla="*/ 178 h 350"/>
                <a:gd name="T28" fmla="*/ 41 w 308"/>
                <a:gd name="T29" fmla="*/ 50 h 350"/>
                <a:gd name="T30" fmla="*/ 157 w 308"/>
                <a:gd name="T31" fmla="*/ 0 h 350"/>
                <a:gd name="T32" fmla="*/ 227 w 308"/>
                <a:gd name="T33" fmla="*/ 16 h 350"/>
                <a:gd name="T34" fmla="*/ 284 w 308"/>
                <a:gd name="T35" fmla="*/ 71 h 350"/>
                <a:gd name="T36" fmla="*/ 307 w 308"/>
                <a:gd name="T37" fmla="*/ 161 h 350"/>
                <a:gd name="T38" fmla="*/ 280 w 308"/>
                <a:gd name="T39" fmla="*/ 189 h 350"/>
                <a:gd name="T40" fmla="*/ 245 w 308"/>
                <a:gd name="T41" fmla="*/ 143 h 350"/>
                <a:gd name="T42" fmla="*/ 249 w 308"/>
                <a:gd name="T43" fmla="*/ 137 h 350"/>
                <a:gd name="T44" fmla="*/ 218 w 308"/>
                <a:gd name="T45" fmla="*/ 69 h 350"/>
                <a:gd name="T46" fmla="*/ 157 w 308"/>
                <a:gd name="T47" fmla="*/ 47 h 350"/>
                <a:gd name="T48" fmla="*/ 91 w 308"/>
                <a:gd name="T49" fmla="*/ 73 h 350"/>
                <a:gd name="T50" fmla="*/ 63 w 308"/>
                <a:gd name="T51" fmla="*/ 127 h 350"/>
                <a:gd name="T52" fmla="*/ 75 w 308"/>
                <a:gd name="T53" fmla="*/ 143 h 350"/>
                <a:gd name="T54" fmla="*/ 245 w 308"/>
                <a:gd name="T55" fmla="*/ 143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8" h="350">
                  <a:moveTo>
                    <a:pt x="280" y="189"/>
                  </a:moveTo>
                  <a:cubicBezTo>
                    <a:pt x="68" y="189"/>
                    <a:pt x="68" y="189"/>
                    <a:pt x="68" y="189"/>
                  </a:cubicBezTo>
                  <a:cubicBezTo>
                    <a:pt x="63" y="189"/>
                    <a:pt x="58" y="194"/>
                    <a:pt x="59" y="200"/>
                  </a:cubicBezTo>
                  <a:cubicBezTo>
                    <a:pt x="62" y="232"/>
                    <a:pt x="72" y="256"/>
                    <a:pt x="89" y="274"/>
                  </a:cubicBezTo>
                  <a:cubicBezTo>
                    <a:pt x="108" y="294"/>
                    <a:pt x="132" y="303"/>
                    <a:pt x="160" y="303"/>
                  </a:cubicBezTo>
                  <a:cubicBezTo>
                    <a:pt x="181" y="303"/>
                    <a:pt x="200" y="298"/>
                    <a:pt x="214" y="286"/>
                  </a:cubicBezTo>
                  <a:cubicBezTo>
                    <a:pt x="224" y="278"/>
                    <a:pt x="232" y="268"/>
                    <a:pt x="239" y="255"/>
                  </a:cubicBezTo>
                  <a:cubicBezTo>
                    <a:pt x="246" y="243"/>
                    <a:pt x="258" y="236"/>
                    <a:pt x="272" y="237"/>
                  </a:cubicBezTo>
                  <a:cubicBezTo>
                    <a:pt x="272" y="237"/>
                    <a:pt x="272" y="237"/>
                    <a:pt x="272" y="237"/>
                  </a:cubicBezTo>
                  <a:cubicBezTo>
                    <a:pt x="291" y="240"/>
                    <a:pt x="301" y="260"/>
                    <a:pt x="293" y="277"/>
                  </a:cubicBezTo>
                  <a:cubicBezTo>
                    <a:pt x="283" y="295"/>
                    <a:pt x="270" y="310"/>
                    <a:pt x="254" y="322"/>
                  </a:cubicBezTo>
                  <a:cubicBezTo>
                    <a:pt x="229" y="341"/>
                    <a:pt x="198" y="350"/>
                    <a:pt x="160" y="350"/>
                  </a:cubicBezTo>
                  <a:cubicBezTo>
                    <a:pt x="110" y="350"/>
                    <a:pt x="70" y="335"/>
                    <a:pt x="42" y="304"/>
                  </a:cubicBezTo>
                  <a:cubicBezTo>
                    <a:pt x="14" y="273"/>
                    <a:pt x="0" y="231"/>
                    <a:pt x="0" y="178"/>
                  </a:cubicBezTo>
                  <a:cubicBezTo>
                    <a:pt x="0" y="125"/>
                    <a:pt x="13" y="82"/>
                    <a:pt x="41" y="50"/>
                  </a:cubicBezTo>
                  <a:cubicBezTo>
                    <a:pt x="68" y="17"/>
                    <a:pt x="107" y="0"/>
                    <a:pt x="157" y="0"/>
                  </a:cubicBezTo>
                  <a:cubicBezTo>
                    <a:pt x="181" y="0"/>
                    <a:pt x="204" y="6"/>
                    <a:pt x="227" y="16"/>
                  </a:cubicBezTo>
                  <a:cubicBezTo>
                    <a:pt x="250" y="27"/>
                    <a:pt x="269" y="45"/>
                    <a:pt x="284" y="71"/>
                  </a:cubicBezTo>
                  <a:cubicBezTo>
                    <a:pt x="297" y="92"/>
                    <a:pt x="305" y="122"/>
                    <a:pt x="307" y="161"/>
                  </a:cubicBezTo>
                  <a:cubicBezTo>
                    <a:pt x="308" y="176"/>
                    <a:pt x="296" y="189"/>
                    <a:pt x="280" y="189"/>
                  </a:cubicBezTo>
                  <a:close/>
                  <a:moveTo>
                    <a:pt x="245" y="143"/>
                  </a:moveTo>
                  <a:cubicBezTo>
                    <a:pt x="247" y="143"/>
                    <a:pt x="250" y="140"/>
                    <a:pt x="249" y="137"/>
                  </a:cubicBezTo>
                  <a:cubicBezTo>
                    <a:pt x="246" y="106"/>
                    <a:pt x="236" y="83"/>
                    <a:pt x="218" y="69"/>
                  </a:cubicBezTo>
                  <a:cubicBezTo>
                    <a:pt x="199" y="54"/>
                    <a:pt x="179" y="47"/>
                    <a:pt x="157" y="47"/>
                  </a:cubicBezTo>
                  <a:cubicBezTo>
                    <a:pt x="130" y="47"/>
                    <a:pt x="108" y="56"/>
                    <a:pt x="91" y="73"/>
                  </a:cubicBezTo>
                  <a:cubicBezTo>
                    <a:pt x="77" y="88"/>
                    <a:pt x="68" y="106"/>
                    <a:pt x="63" y="127"/>
                  </a:cubicBezTo>
                  <a:cubicBezTo>
                    <a:pt x="62" y="135"/>
                    <a:pt x="67" y="143"/>
                    <a:pt x="75" y="143"/>
                  </a:cubicBezTo>
                  <a:lnTo>
                    <a:pt x="245" y="143"/>
                  </a:lnTo>
                  <a:close/>
                </a:path>
              </a:pathLst>
            </a:custGeom>
            <a:solidFill>
              <a:srgbClr val="354A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83155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2597285" y="2859932"/>
            <a:ext cx="522457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 smtClean="0"/>
              <a:t>Islide</a:t>
            </a:r>
            <a:r>
              <a:rPr lang="en-US" altLang="zh-CN" dirty="0" smtClean="0"/>
              <a:t>   </a:t>
            </a:r>
            <a:r>
              <a:rPr lang="zh-CN" altLang="en-US" dirty="0" smtClean="0"/>
              <a:t>作品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en-US" altLang="zh-CN" dirty="0" smtClean="0"/>
              <a:t>51PPT</a:t>
            </a:r>
            <a:r>
              <a:rPr lang="zh-CN" altLang="en-US" dirty="0" smtClean="0"/>
              <a:t>模板网   </a:t>
            </a:r>
            <a:r>
              <a:rPr lang="en-US" altLang="zh-CN" dirty="0" smtClean="0">
                <a:hlinkClick r:id="rId2"/>
              </a:rPr>
              <a:t>www.51pptmoban.com</a:t>
            </a:r>
            <a:r>
              <a:rPr lang="en-US" altLang="zh-CN" dirty="0" smtClean="0"/>
              <a:t>   </a:t>
            </a:r>
            <a:r>
              <a:rPr lang="zh-CN" altLang="en-US" dirty="0" smtClean="0"/>
              <a:t>授权发布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47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9D452D16-FEDD-4934-B4C3-BA9129139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EE1A191F-D160-4375-B5AC-4230CAD2D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6AC0CDBC-482D-4F5E-AEBB-D858D4DB29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5" name="21563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A7728921-F671-4411-BC6C-898B9F53387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3100" y="1177098"/>
            <a:ext cx="10845800" cy="4969702"/>
            <a:chOff x="673100" y="1177098"/>
            <a:chExt cx="10845800" cy="4969702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xmlns="" id="{0721C8DC-55EB-41C6-ABBE-33C61A98B332}"/>
                </a:ext>
              </a:extLst>
            </p:cNvPr>
            <p:cNvCxnSpPr/>
            <p:nvPr/>
          </p:nvCxnSpPr>
          <p:spPr>
            <a:xfrm flipH="1">
              <a:off x="673100" y="3596558"/>
              <a:ext cx="10845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iSḻídé">
              <a:extLst>
                <a:ext uri="{FF2B5EF4-FFF2-40B4-BE49-F238E27FC236}">
                  <a16:creationId xmlns:a16="http://schemas.microsoft.com/office/drawing/2014/main" xmlns="" id="{8B201624-4F2B-45E5-9D62-C53E518E36AF}"/>
                </a:ext>
              </a:extLst>
            </p:cNvPr>
            <p:cNvGrpSpPr/>
            <p:nvPr/>
          </p:nvGrpSpPr>
          <p:grpSpPr>
            <a:xfrm>
              <a:off x="9393348" y="2976912"/>
              <a:ext cx="2125552" cy="3169888"/>
              <a:chOff x="9393348" y="2976912"/>
              <a:chExt cx="2125552" cy="3169888"/>
            </a:xfrm>
          </p:grpSpPr>
          <p:cxnSp>
            <p:nvCxnSpPr>
              <p:cNvPr id="29" name="直接连接符 28">
                <a:extLst>
                  <a:ext uri="{FF2B5EF4-FFF2-40B4-BE49-F238E27FC236}">
                    <a16:creationId xmlns:a16="http://schemas.microsoft.com/office/drawing/2014/main" xmlns="" id="{CCAEA3F6-7F21-47FD-BD33-D347AFF42F6E}"/>
                  </a:ext>
                </a:extLst>
              </p:cNvPr>
              <p:cNvCxnSpPr/>
              <p:nvPr/>
            </p:nvCxnSpPr>
            <p:spPr>
              <a:xfrm>
                <a:off x="10456125" y="4441243"/>
                <a:ext cx="0" cy="458638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  <a:prstDash val="solid"/>
                <a:headEnd type="oval" w="sm" len="sm"/>
                <a:tailEnd type="oval" w="sm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0" name="íS1íḋê">
                <a:extLst>
                  <a:ext uri="{FF2B5EF4-FFF2-40B4-BE49-F238E27FC236}">
                    <a16:creationId xmlns:a16="http://schemas.microsoft.com/office/drawing/2014/main" xmlns="" id="{9412015F-E608-4798-A234-4632246C4428}"/>
                  </a:ext>
                </a:extLst>
              </p:cNvPr>
              <p:cNvGrpSpPr/>
              <p:nvPr/>
            </p:nvGrpSpPr>
            <p:grpSpPr>
              <a:xfrm>
                <a:off x="9829447" y="2976912"/>
                <a:ext cx="1253355" cy="1253354"/>
                <a:chOff x="9829447" y="3096672"/>
                <a:chExt cx="1253355" cy="1253354"/>
              </a:xfrm>
            </p:grpSpPr>
            <p:sp>
              <p:nvSpPr>
                <p:cNvPr id="34" name="ïś1íḍé">
                  <a:extLst>
                    <a:ext uri="{FF2B5EF4-FFF2-40B4-BE49-F238E27FC236}">
                      <a16:creationId xmlns:a16="http://schemas.microsoft.com/office/drawing/2014/main" xmlns="" id="{445B6FE8-45E4-422A-9F46-5B707A103B4D}"/>
                    </a:ext>
                  </a:extLst>
                </p:cNvPr>
                <p:cNvSpPr/>
                <p:nvPr/>
              </p:nvSpPr>
              <p:spPr>
                <a:xfrm>
                  <a:off x="9946717" y="3213942"/>
                  <a:ext cx="1018814" cy="1018814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p:spPr>
              <p:txBody>
                <a:bodyPr lIns="91426" tIns="45700" rIns="91426" bIns="45700" anchor="ctr" anchorCtr="0">
                  <a:no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 sz="3600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35" name="ïsḷiḍê">
                  <a:extLst>
                    <a:ext uri="{FF2B5EF4-FFF2-40B4-BE49-F238E27FC236}">
                      <a16:creationId xmlns:a16="http://schemas.microsoft.com/office/drawing/2014/main" xmlns="" id="{80360C25-73F4-4B04-91F3-95BBADD26A68}"/>
                    </a:ext>
                  </a:extLst>
                </p:cNvPr>
                <p:cNvSpPr/>
                <p:nvPr/>
              </p:nvSpPr>
              <p:spPr>
                <a:xfrm>
                  <a:off x="9829447" y="3096672"/>
                  <a:ext cx="1253355" cy="1253354"/>
                </a:xfrm>
                <a:prstGeom prst="ellipse">
                  <a:avLst/>
                </a:prstGeom>
                <a:noFill/>
                <a:ln w="22225">
                  <a:solidFill>
                    <a:schemeClr val="bg1">
                      <a:lumMod val="75000"/>
                      <a:alpha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de-DE" sz="7196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36" name="îṧļïḑe">
                  <a:extLst>
                    <a:ext uri="{FF2B5EF4-FFF2-40B4-BE49-F238E27FC236}">
                      <a16:creationId xmlns:a16="http://schemas.microsoft.com/office/drawing/2014/main" xmlns="" id="{652B2EF5-4AA1-478E-B2E4-00DAC4DC94F1}"/>
                    </a:ext>
                  </a:extLst>
                </p:cNvPr>
                <p:cNvSpPr/>
                <p:nvPr/>
              </p:nvSpPr>
              <p:spPr bwMode="auto">
                <a:xfrm>
                  <a:off x="10256358" y="3518510"/>
                  <a:ext cx="399530" cy="409678"/>
                </a:xfrm>
                <a:custGeom>
                  <a:avLst/>
                  <a:gdLst>
                    <a:gd name="connsiteX0" fmla="*/ 329497 w 352368"/>
                    <a:gd name="connsiteY0" fmla="*/ 243145 h 361318"/>
                    <a:gd name="connsiteX1" fmla="*/ 341302 w 352368"/>
                    <a:gd name="connsiteY1" fmla="*/ 243145 h 361318"/>
                    <a:gd name="connsiteX2" fmla="*/ 350155 w 352368"/>
                    <a:gd name="connsiteY2" fmla="*/ 249048 h 361318"/>
                    <a:gd name="connsiteX3" fmla="*/ 350155 w 352368"/>
                    <a:gd name="connsiteY3" fmla="*/ 260852 h 361318"/>
                    <a:gd name="connsiteX4" fmla="*/ 282280 w 352368"/>
                    <a:gd name="connsiteY4" fmla="*/ 331678 h 361318"/>
                    <a:gd name="connsiteX5" fmla="*/ 270476 w 352368"/>
                    <a:gd name="connsiteY5" fmla="*/ 331678 h 361318"/>
                    <a:gd name="connsiteX6" fmla="*/ 217356 w 352368"/>
                    <a:gd name="connsiteY6" fmla="*/ 290363 h 361318"/>
                    <a:gd name="connsiteX7" fmla="*/ 214405 w 352368"/>
                    <a:gd name="connsiteY7" fmla="*/ 281510 h 361318"/>
                    <a:gd name="connsiteX8" fmla="*/ 223258 w 352368"/>
                    <a:gd name="connsiteY8" fmla="*/ 272656 h 361318"/>
                    <a:gd name="connsiteX9" fmla="*/ 232112 w 352368"/>
                    <a:gd name="connsiteY9" fmla="*/ 269705 h 361318"/>
                    <a:gd name="connsiteX10" fmla="*/ 267525 w 352368"/>
                    <a:gd name="connsiteY10" fmla="*/ 296265 h 361318"/>
                    <a:gd name="connsiteX11" fmla="*/ 279329 w 352368"/>
                    <a:gd name="connsiteY11" fmla="*/ 293314 h 361318"/>
                    <a:gd name="connsiteX12" fmla="*/ 329497 w 352368"/>
                    <a:gd name="connsiteY12" fmla="*/ 243145 h 361318"/>
                    <a:gd name="connsiteX13" fmla="*/ 157616 w 352368"/>
                    <a:gd name="connsiteY13" fmla="*/ 0 h 361318"/>
                    <a:gd name="connsiteX14" fmla="*/ 252780 w 352368"/>
                    <a:gd name="connsiteY14" fmla="*/ 44425 h 361318"/>
                    <a:gd name="connsiteX15" fmla="*/ 309284 w 352368"/>
                    <a:gd name="connsiteY15" fmla="*/ 50348 h 361318"/>
                    <a:gd name="connsiteX16" fmla="*/ 318205 w 352368"/>
                    <a:gd name="connsiteY16" fmla="*/ 59233 h 361318"/>
                    <a:gd name="connsiteX17" fmla="*/ 318205 w 352368"/>
                    <a:gd name="connsiteY17" fmla="*/ 162890 h 361318"/>
                    <a:gd name="connsiteX18" fmla="*/ 312257 w 352368"/>
                    <a:gd name="connsiteY18" fmla="*/ 198429 h 361318"/>
                    <a:gd name="connsiteX19" fmla="*/ 306310 w 352368"/>
                    <a:gd name="connsiteY19" fmla="*/ 204352 h 361318"/>
                    <a:gd name="connsiteX20" fmla="*/ 282519 w 352368"/>
                    <a:gd name="connsiteY20" fmla="*/ 201391 h 361318"/>
                    <a:gd name="connsiteX21" fmla="*/ 196276 w 352368"/>
                    <a:gd name="connsiteY21" fmla="*/ 287278 h 361318"/>
                    <a:gd name="connsiteX22" fmla="*/ 208172 w 352368"/>
                    <a:gd name="connsiteY22" fmla="*/ 331702 h 361318"/>
                    <a:gd name="connsiteX23" fmla="*/ 208172 w 352368"/>
                    <a:gd name="connsiteY23" fmla="*/ 337625 h 361318"/>
                    <a:gd name="connsiteX24" fmla="*/ 157616 w 352368"/>
                    <a:gd name="connsiteY24" fmla="*/ 361318 h 361318"/>
                    <a:gd name="connsiteX25" fmla="*/ 0 w 352368"/>
                    <a:gd name="connsiteY25" fmla="*/ 162890 h 361318"/>
                    <a:gd name="connsiteX26" fmla="*/ 2974 w 352368"/>
                    <a:gd name="connsiteY26" fmla="*/ 56271 h 361318"/>
                    <a:gd name="connsiteX27" fmla="*/ 8922 w 352368"/>
                    <a:gd name="connsiteY27" fmla="*/ 47386 h 361318"/>
                    <a:gd name="connsiteX28" fmla="*/ 77321 w 352368"/>
                    <a:gd name="connsiteY28" fmla="*/ 44425 h 361318"/>
                    <a:gd name="connsiteX29" fmla="*/ 157616 w 352368"/>
                    <a:gd name="connsiteY29" fmla="*/ 0 h 361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352368" h="361318">
                      <a:moveTo>
                        <a:pt x="329497" y="243145"/>
                      </a:moveTo>
                      <a:cubicBezTo>
                        <a:pt x="332449" y="240194"/>
                        <a:pt x="338351" y="240194"/>
                        <a:pt x="341302" y="243145"/>
                      </a:cubicBezTo>
                      <a:cubicBezTo>
                        <a:pt x="350155" y="249048"/>
                        <a:pt x="350155" y="249048"/>
                        <a:pt x="350155" y="249048"/>
                      </a:cubicBezTo>
                      <a:cubicBezTo>
                        <a:pt x="353106" y="251999"/>
                        <a:pt x="353106" y="257901"/>
                        <a:pt x="350155" y="260852"/>
                      </a:cubicBezTo>
                      <a:lnTo>
                        <a:pt x="282280" y="331678"/>
                      </a:lnTo>
                      <a:cubicBezTo>
                        <a:pt x="279329" y="334629"/>
                        <a:pt x="273427" y="334629"/>
                        <a:pt x="270476" y="331678"/>
                      </a:cubicBezTo>
                      <a:cubicBezTo>
                        <a:pt x="217356" y="290363"/>
                        <a:pt x="217356" y="290363"/>
                        <a:pt x="217356" y="290363"/>
                      </a:cubicBezTo>
                      <a:cubicBezTo>
                        <a:pt x="214405" y="290363"/>
                        <a:pt x="211454" y="284461"/>
                        <a:pt x="214405" y="281510"/>
                      </a:cubicBezTo>
                      <a:cubicBezTo>
                        <a:pt x="223258" y="272656"/>
                        <a:pt x="223258" y="272656"/>
                        <a:pt x="223258" y="272656"/>
                      </a:cubicBezTo>
                      <a:cubicBezTo>
                        <a:pt x="223258" y="266754"/>
                        <a:pt x="229161" y="266754"/>
                        <a:pt x="232112" y="269705"/>
                      </a:cubicBezTo>
                      <a:cubicBezTo>
                        <a:pt x="267525" y="296265"/>
                        <a:pt x="267525" y="296265"/>
                        <a:pt x="267525" y="296265"/>
                      </a:cubicBezTo>
                      <a:cubicBezTo>
                        <a:pt x="270476" y="299216"/>
                        <a:pt x="276378" y="299216"/>
                        <a:pt x="279329" y="293314"/>
                      </a:cubicBezTo>
                      <a:cubicBezTo>
                        <a:pt x="329497" y="243145"/>
                        <a:pt x="329497" y="243145"/>
                        <a:pt x="329497" y="243145"/>
                      </a:cubicBezTo>
                      <a:close/>
                      <a:moveTo>
                        <a:pt x="157616" y="0"/>
                      </a:moveTo>
                      <a:cubicBezTo>
                        <a:pt x="172485" y="0"/>
                        <a:pt x="211146" y="32578"/>
                        <a:pt x="252780" y="44425"/>
                      </a:cubicBezTo>
                      <a:cubicBezTo>
                        <a:pt x="270623" y="50348"/>
                        <a:pt x="291440" y="50348"/>
                        <a:pt x="309284" y="50348"/>
                      </a:cubicBezTo>
                      <a:cubicBezTo>
                        <a:pt x="312257" y="50348"/>
                        <a:pt x="318205" y="50348"/>
                        <a:pt x="318205" y="59233"/>
                      </a:cubicBezTo>
                      <a:cubicBezTo>
                        <a:pt x="318205" y="59233"/>
                        <a:pt x="318205" y="162890"/>
                        <a:pt x="318205" y="162890"/>
                      </a:cubicBezTo>
                      <a:cubicBezTo>
                        <a:pt x="318205" y="174736"/>
                        <a:pt x="315231" y="186582"/>
                        <a:pt x="312257" y="198429"/>
                      </a:cubicBezTo>
                      <a:cubicBezTo>
                        <a:pt x="312257" y="201391"/>
                        <a:pt x="309284" y="204352"/>
                        <a:pt x="306310" y="204352"/>
                      </a:cubicBezTo>
                      <a:cubicBezTo>
                        <a:pt x="300362" y="201391"/>
                        <a:pt x="291440" y="201391"/>
                        <a:pt x="282519" y="201391"/>
                      </a:cubicBezTo>
                      <a:cubicBezTo>
                        <a:pt x="234937" y="201391"/>
                        <a:pt x="196276" y="239892"/>
                        <a:pt x="196276" y="287278"/>
                      </a:cubicBezTo>
                      <a:cubicBezTo>
                        <a:pt x="196276" y="302086"/>
                        <a:pt x="199250" y="319856"/>
                        <a:pt x="208172" y="331702"/>
                      </a:cubicBezTo>
                      <a:cubicBezTo>
                        <a:pt x="208172" y="334664"/>
                        <a:pt x="211146" y="334664"/>
                        <a:pt x="208172" y="337625"/>
                      </a:cubicBezTo>
                      <a:cubicBezTo>
                        <a:pt x="184381" y="355395"/>
                        <a:pt x="169511" y="361318"/>
                        <a:pt x="157616" y="361318"/>
                      </a:cubicBezTo>
                      <a:cubicBezTo>
                        <a:pt x="127877" y="361318"/>
                        <a:pt x="0" y="266546"/>
                        <a:pt x="0" y="162890"/>
                      </a:cubicBezTo>
                      <a:cubicBezTo>
                        <a:pt x="0" y="162890"/>
                        <a:pt x="2974" y="59233"/>
                        <a:pt x="2974" y="56271"/>
                      </a:cubicBezTo>
                      <a:cubicBezTo>
                        <a:pt x="2974" y="47386"/>
                        <a:pt x="5948" y="47386"/>
                        <a:pt x="8922" y="47386"/>
                      </a:cubicBezTo>
                      <a:cubicBezTo>
                        <a:pt x="29739" y="50348"/>
                        <a:pt x="53530" y="50348"/>
                        <a:pt x="77321" y="44425"/>
                      </a:cubicBezTo>
                      <a:cubicBezTo>
                        <a:pt x="118955" y="32578"/>
                        <a:pt x="145720" y="0"/>
                        <a:pt x="157616" y="0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31" name="î$ḷîḑé">
                <a:extLst>
                  <a:ext uri="{FF2B5EF4-FFF2-40B4-BE49-F238E27FC236}">
                    <a16:creationId xmlns:a16="http://schemas.microsoft.com/office/drawing/2014/main" xmlns="" id="{031B7AD4-4747-4FC9-BCFA-0BB1E67DE845}"/>
                  </a:ext>
                </a:extLst>
              </p:cNvPr>
              <p:cNvGrpSpPr/>
              <p:nvPr/>
            </p:nvGrpSpPr>
            <p:grpSpPr>
              <a:xfrm>
                <a:off x="9393348" y="5110858"/>
                <a:ext cx="2125552" cy="1035942"/>
                <a:chOff x="7943613" y="2575161"/>
                <a:chExt cx="3575287" cy="1035942"/>
              </a:xfrm>
            </p:grpSpPr>
            <p:sp>
              <p:nvSpPr>
                <p:cNvPr id="32" name="íSḷiḍê">
                  <a:extLst>
                    <a:ext uri="{FF2B5EF4-FFF2-40B4-BE49-F238E27FC236}">
                      <a16:creationId xmlns:a16="http://schemas.microsoft.com/office/drawing/2014/main" xmlns="" id="{37836778-80B1-4761-819C-2733CD3F8F13}"/>
                    </a:ext>
                  </a:extLst>
                </p:cNvPr>
                <p:cNvSpPr txBox="1"/>
                <p:nvPr/>
              </p:nvSpPr>
              <p:spPr>
                <a:xfrm flipH="1">
                  <a:off x="7943613" y="3082992"/>
                  <a:ext cx="3575286" cy="528111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20000"/>
                    </a:lnSpc>
                  </a:pPr>
                  <a:r>
                    <a:rPr lang="en-US" altLang="zh-CN" sz="1100" dirty="0"/>
                    <a:t>Copy paste fonts. Choose the only option to retain text……</a:t>
                  </a:r>
                </a:p>
              </p:txBody>
            </p:sp>
            <p:sp>
              <p:nvSpPr>
                <p:cNvPr id="33" name="îṡḷíḍè">
                  <a:extLst>
                    <a:ext uri="{FF2B5EF4-FFF2-40B4-BE49-F238E27FC236}">
                      <a16:creationId xmlns:a16="http://schemas.microsoft.com/office/drawing/2014/main" xmlns="" id="{6764E546-4B1B-42E1-8377-810BC9941772}"/>
                    </a:ext>
                  </a:extLst>
                </p:cNvPr>
                <p:cNvSpPr/>
                <p:nvPr/>
              </p:nvSpPr>
              <p:spPr>
                <a:xfrm flipH="1">
                  <a:off x="7943614" y="2575161"/>
                  <a:ext cx="3575286" cy="507831"/>
                </a:xfrm>
                <a:prstGeom prst="rect">
                  <a:avLst/>
                </a:prstGeom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2000" b="1" dirty="0"/>
                    <a:t>Text here</a:t>
                  </a:r>
                  <a:endParaRPr lang="zh-CN" altLang="en-US" sz="2000" b="1" dirty="0"/>
                </a:p>
              </p:txBody>
            </p:sp>
          </p:grpSp>
        </p:grpSp>
        <p:grpSp>
          <p:nvGrpSpPr>
            <p:cNvPr id="8" name="islîďé">
              <a:extLst>
                <a:ext uri="{FF2B5EF4-FFF2-40B4-BE49-F238E27FC236}">
                  <a16:creationId xmlns:a16="http://schemas.microsoft.com/office/drawing/2014/main" xmlns="" id="{4BE34089-B950-4699-9B60-DB22529E3AB8}"/>
                </a:ext>
              </a:extLst>
            </p:cNvPr>
            <p:cNvGrpSpPr/>
            <p:nvPr/>
          </p:nvGrpSpPr>
          <p:grpSpPr>
            <a:xfrm>
              <a:off x="7239601" y="2976912"/>
              <a:ext cx="2125552" cy="3169888"/>
              <a:chOff x="7239601" y="2976912"/>
              <a:chExt cx="2125552" cy="3169888"/>
            </a:xfrm>
          </p:grpSpPr>
          <p:cxnSp>
            <p:nvCxnSpPr>
              <p:cNvPr id="21" name="直接连接符 20">
                <a:extLst>
                  <a:ext uri="{FF2B5EF4-FFF2-40B4-BE49-F238E27FC236}">
                    <a16:creationId xmlns:a16="http://schemas.microsoft.com/office/drawing/2014/main" xmlns="" id="{B5D7ECFB-2F35-498C-AD3E-2DF01AF9577E}"/>
                  </a:ext>
                </a:extLst>
              </p:cNvPr>
              <p:cNvCxnSpPr/>
              <p:nvPr/>
            </p:nvCxnSpPr>
            <p:spPr>
              <a:xfrm>
                <a:off x="8302377" y="4441243"/>
                <a:ext cx="0" cy="458638"/>
              </a:xfrm>
              <a:prstGeom prst="line">
                <a:avLst/>
              </a:prstGeom>
              <a:ln w="3175">
                <a:solidFill>
                  <a:schemeClr val="accent1"/>
                </a:solidFill>
                <a:prstDash val="solid"/>
                <a:headEnd type="oval" w="sm" len="sm"/>
                <a:tailEnd type="oval" w="sm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2" name="î$1íḋe">
                <a:extLst>
                  <a:ext uri="{FF2B5EF4-FFF2-40B4-BE49-F238E27FC236}">
                    <a16:creationId xmlns:a16="http://schemas.microsoft.com/office/drawing/2014/main" xmlns="" id="{922E40D4-62D7-45A8-8788-568C1FCF0633}"/>
                  </a:ext>
                </a:extLst>
              </p:cNvPr>
              <p:cNvGrpSpPr/>
              <p:nvPr/>
            </p:nvGrpSpPr>
            <p:grpSpPr>
              <a:xfrm>
                <a:off x="7675700" y="2976912"/>
                <a:ext cx="1253355" cy="1253354"/>
                <a:chOff x="7675700" y="3096672"/>
                <a:chExt cx="1253355" cy="1253354"/>
              </a:xfrm>
            </p:grpSpPr>
            <p:sp>
              <p:nvSpPr>
                <p:cNvPr id="26" name="íṧľíďé">
                  <a:extLst>
                    <a:ext uri="{FF2B5EF4-FFF2-40B4-BE49-F238E27FC236}">
                      <a16:creationId xmlns:a16="http://schemas.microsoft.com/office/drawing/2014/main" xmlns="" id="{AE07F33D-54B1-488D-820F-E6D1EE466230}"/>
                    </a:ext>
                  </a:extLst>
                </p:cNvPr>
                <p:cNvSpPr/>
                <p:nvPr/>
              </p:nvSpPr>
              <p:spPr>
                <a:xfrm>
                  <a:off x="7792970" y="3208813"/>
                  <a:ext cx="1018814" cy="1018814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solidFill>
                    <a:schemeClr val="accent1"/>
                  </a:solidFill>
                </a:ln>
                <a:effectLst/>
              </p:spPr>
              <p:txBody>
                <a:bodyPr lIns="91426" tIns="45700" rIns="91426" bIns="45700" anchor="ctr" anchorCtr="0">
                  <a:no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 sz="3600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27" name="ïṩ1îḑe">
                  <a:extLst>
                    <a:ext uri="{FF2B5EF4-FFF2-40B4-BE49-F238E27FC236}">
                      <a16:creationId xmlns:a16="http://schemas.microsoft.com/office/drawing/2014/main" xmlns="" id="{E0CF3712-88BF-4787-8F8C-0DE18384CAC1}"/>
                    </a:ext>
                  </a:extLst>
                </p:cNvPr>
                <p:cNvSpPr/>
                <p:nvPr/>
              </p:nvSpPr>
              <p:spPr>
                <a:xfrm>
                  <a:off x="7675700" y="3096672"/>
                  <a:ext cx="1253355" cy="1253354"/>
                </a:xfrm>
                <a:prstGeom prst="ellipse">
                  <a:avLst/>
                </a:prstGeom>
                <a:noFill/>
                <a:ln w="22225">
                  <a:solidFill>
                    <a:schemeClr val="accent1">
                      <a:alpha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de-DE" sz="7196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28" name="işḻíḓê">
                  <a:extLst>
                    <a:ext uri="{FF2B5EF4-FFF2-40B4-BE49-F238E27FC236}">
                      <a16:creationId xmlns:a16="http://schemas.microsoft.com/office/drawing/2014/main" xmlns="" id="{EBBE5D1D-8B25-4CF8-88FF-B4CAF6127D29}"/>
                    </a:ext>
                  </a:extLst>
                </p:cNvPr>
                <p:cNvSpPr/>
                <p:nvPr/>
              </p:nvSpPr>
              <p:spPr bwMode="auto">
                <a:xfrm>
                  <a:off x="8096758" y="3506177"/>
                  <a:ext cx="411238" cy="424086"/>
                </a:xfrm>
                <a:custGeom>
                  <a:avLst/>
                  <a:gdLst>
                    <a:gd name="T0" fmla="*/ 68 w 68"/>
                    <a:gd name="T1" fmla="*/ 16 h 67"/>
                    <a:gd name="T2" fmla="*/ 68 w 68"/>
                    <a:gd name="T3" fmla="*/ 66 h 67"/>
                    <a:gd name="T4" fmla="*/ 67 w 68"/>
                    <a:gd name="T5" fmla="*/ 67 h 67"/>
                    <a:gd name="T6" fmla="*/ 56 w 68"/>
                    <a:gd name="T7" fmla="*/ 67 h 67"/>
                    <a:gd name="T8" fmla="*/ 46 w 68"/>
                    <a:gd name="T9" fmla="*/ 67 h 67"/>
                    <a:gd name="T10" fmla="*/ 36 w 68"/>
                    <a:gd name="T11" fmla="*/ 67 h 67"/>
                    <a:gd name="T12" fmla="*/ 25 w 68"/>
                    <a:gd name="T13" fmla="*/ 67 h 67"/>
                    <a:gd name="T14" fmla="*/ 16 w 68"/>
                    <a:gd name="T15" fmla="*/ 67 h 67"/>
                    <a:gd name="T16" fmla="*/ 5 w 68"/>
                    <a:gd name="T17" fmla="*/ 67 h 67"/>
                    <a:gd name="T18" fmla="*/ 2 w 68"/>
                    <a:gd name="T19" fmla="*/ 67 h 67"/>
                    <a:gd name="T20" fmla="*/ 0 w 68"/>
                    <a:gd name="T21" fmla="*/ 66 h 67"/>
                    <a:gd name="T22" fmla="*/ 2 w 68"/>
                    <a:gd name="T23" fmla="*/ 64 h 67"/>
                    <a:gd name="T24" fmla="*/ 3 w 68"/>
                    <a:gd name="T25" fmla="*/ 64 h 67"/>
                    <a:gd name="T26" fmla="*/ 3 w 68"/>
                    <a:gd name="T27" fmla="*/ 56 h 67"/>
                    <a:gd name="T28" fmla="*/ 5 w 68"/>
                    <a:gd name="T29" fmla="*/ 54 h 67"/>
                    <a:gd name="T30" fmla="*/ 16 w 68"/>
                    <a:gd name="T31" fmla="*/ 54 h 67"/>
                    <a:gd name="T32" fmla="*/ 17 w 68"/>
                    <a:gd name="T33" fmla="*/ 56 h 67"/>
                    <a:gd name="T34" fmla="*/ 17 w 68"/>
                    <a:gd name="T35" fmla="*/ 64 h 67"/>
                    <a:gd name="T36" fmla="*/ 24 w 68"/>
                    <a:gd name="T37" fmla="*/ 64 h 67"/>
                    <a:gd name="T38" fmla="*/ 24 w 68"/>
                    <a:gd name="T39" fmla="*/ 40 h 67"/>
                    <a:gd name="T40" fmla="*/ 25 w 68"/>
                    <a:gd name="T41" fmla="*/ 38 h 67"/>
                    <a:gd name="T42" fmla="*/ 36 w 68"/>
                    <a:gd name="T43" fmla="*/ 38 h 67"/>
                    <a:gd name="T44" fmla="*/ 38 w 68"/>
                    <a:gd name="T45" fmla="*/ 40 h 67"/>
                    <a:gd name="T46" fmla="*/ 38 w 68"/>
                    <a:gd name="T47" fmla="*/ 64 h 67"/>
                    <a:gd name="T48" fmla="*/ 44 w 68"/>
                    <a:gd name="T49" fmla="*/ 64 h 67"/>
                    <a:gd name="T50" fmla="*/ 44 w 68"/>
                    <a:gd name="T51" fmla="*/ 20 h 67"/>
                    <a:gd name="T52" fmla="*/ 46 w 68"/>
                    <a:gd name="T53" fmla="*/ 18 h 67"/>
                    <a:gd name="T54" fmla="*/ 56 w 68"/>
                    <a:gd name="T55" fmla="*/ 18 h 67"/>
                    <a:gd name="T56" fmla="*/ 58 w 68"/>
                    <a:gd name="T57" fmla="*/ 20 h 67"/>
                    <a:gd name="T58" fmla="*/ 58 w 68"/>
                    <a:gd name="T59" fmla="*/ 64 h 67"/>
                    <a:gd name="T60" fmla="*/ 65 w 68"/>
                    <a:gd name="T61" fmla="*/ 64 h 67"/>
                    <a:gd name="T62" fmla="*/ 65 w 68"/>
                    <a:gd name="T63" fmla="*/ 16 h 67"/>
                    <a:gd name="T64" fmla="*/ 67 w 68"/>
                    <a:gd name="T65" fmla="*/ 15 h 67"/>
                    <a:gd name="T66" fmla="*/ 68 w 68"/>
                    <a:gd name="T67" fmla="*/ 16 h 67"/>
                    <a:gd name="T68" fmla="*/ 2 w 68"/>
                    <a:gd name="T69" fmla="*/ 48 h 67"/>
                    <a:gd name="T70" fmla="*/ 2 w 68"/>
                    <a:gd name="T71" fmla="*/ 48 h 67"/>
                    <a:gd name="T72" fmla="*/ 29 w 68"/>
                    <a:gd name="T73" fmla="*/ 30 h 67"/>
                    <a:gd name="T74" fmla="*/ 55 w 68"/>
                    <a:gd name="T75" fmla="*/ 6 h 67"/>
                    <a:gd name="T76" fmla="*/ 55 w 68"/>
                    <a:gd name="T77" fmla="*/ 13 h 67"/>
                    <a:gd name="T78" fmla="*/ 56 w 68"/>
                    <a:gd name="T79" fmla="*/ 15 h 67"/>
                    <a:gd name="T80" fmla="*/ 58 w 68"/>
                    <a:gd name="T81" fmla="*/ 13 h 67"/>
                    <a:gd name="T82" fmla="*/ 58 w 68"/>
                    <a:gd name="T83" fmla="*/ 2 h 67"/>
                    <a:gd name="T84" fmla="*/ 56 w 68"/>
                    <a:gd name="T85" fmla="*/ 0 h 67"/>
                    <a:gd name="T86" fmla="*/ 46 w 68"/>
                    <a:gd name="T87" fmla="*/ 0 h 67"/>
                    <a:gd name="T88" fmla="*/ 44 w 68"/>
                    <a:gd name="T89" fmla="*/ 2 h 67"/>
                    <a:gd name="T90" fmla="*/ 46 w 68"/>
                    <a:gd name="T91" fmla="*/ 3 h 67"/>
                    <a:gd name="T92" fmla="*/ 53 w 68"/>
                    <a:gd name="T93" fmla="*/ 3 h 67"/>
                    <a:gd name="T94" fmla="*/ 27 w 68"/>
                    <a:gd name="T95" fmla="*/ 28 h 67"/>
                    <a:gd name="T96" fmla="*/ 1 w 68"/>
                    <a:gd name="T97" fmla="*/ 45 h 67"/>
                    <a:gd name="T98" fmla="*/ 0 w 68"/>
                    <a:gd name="T99" fmla="*/ 47 h 67"/>
                    <a:gd name="T100" fmla="*/ 2 w 68"/>
                    <a:gd name="T101" fmla="*/ 48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8" h="67">
                      <a:moveTo>
                        <a:pt x="68" y="16"/>
                      </a:moveTo>
                      <a:cubicBezTo>
                        <a:pt x="68" y="66"/>
                        <a:pt x="68" y="66"/>
                        <a:pt x="68" y="66"/>
                      </a:cubicBezTo>
                      <a:cubicBezTo>
                        <a:pt x="68" y="66"/>
                        <a:pt x="68" y="67"/>
                        <a:pt x="67" y="67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46" y="67"/>
                        <a:pt x="46" y="67"/>
                        <a:pt x="46" y="67"/>
                      </a:cubicBezTo>
                      <a:cubicBezTo>
                        <a:pt x="36" y="67"/>
                        <a:pt x="36" y="67"/>
                        <a:pt x="36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16" y="67"/>
                        <a:pt x="16" y="67"/>
                        <a:pt x="16" y="67"/>
                      </a:cubicBezTo>
                      <a:cubicBezTo>
                        <a:pt x="5" y="67"/>
                        <a:pt x="5" y="67"/>
                        <a:pt x="5" y="67"/>
                      </a:cubicBezTo>
                      <a:cubicBezTo>
                        <a:pt x="2" y="67"/>
                        <a:pt x="2" y="67"/>
                        <a:pt x="2" y="67"/>
                      </a:cubicBezTo>
                      <a:cubicBezTo>
                        <a:pt x="1" y="67"/>
                        <a:pt x="0" y="66"/>
                        <a:pt x="0" y="66"/>
                      </a:cubicBezTo>
                      <a:cubicBezTo>
                        <a:pt x="0" y="65"/>
                        <a:pt x="1" y="64"/>
                        <a:pt x="2" y="64"/>
                      </a:cubicBezTo>
                      <a:cubicBezTo>
                        <a:pt x="3" y="64"/>
                        <a:pt x="3" y="64"/>
                        <a:pt x="3" y="64"/>
                      </a:cubicBezTo>
                      <a:cubicBezTo>
                        <a:pt x="3" y="56"/>
                        <a:pt x="3" y="56"/>
                        <a:pt x="3" y="56"/>
                      </a:cubicBezTo>
                      <a:cubicBezTo>
                        <a:pt x="3" y="55"/>
                        <a:pt x="4" y="54"/>
                        <a:pt x="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7" y="54"/>
                        <a:pt x="17" y="55"/>
                        <a:pt x="17" y="56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cubicBezTo>
                        <a:pt x="24" y="64"/>
                        <a:pt x="24" y="64"/>
                        <a:pt x="24" y="64"/>
                      </a:cubicBezTo>
                      <a:cubicBezTo>
                        <a:pt x="24" y="40"/>
                        <a:pt x="24" y="40"/>
                        <a:pt x="24" y="40"/>
                      </a:cubicBezTo>
                      <a:cubicBezTo>
                        <a:pt x="24" y="39"/>
                        <a:pt x="24" y="38"/>
                        <a:pt x="25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7" y="38"/>
                        <a:pt x="38" y="39"/>
                        <a:pt x="38" y="40"/>
                      </a:cubicBezTo>
                      <a:cubicBezTo>
                        <a:pt x="38" y="64"/>
                        <a:pt x="38" y="64"/>
                        <a:pt x="38" y="64"/>
                      </a:cubicBezTo>
                      <a:cubicBezTo>
                        <a:pt x="44" y="64"/>
                        <a:pt x="44" y="64"/>
                        <a:pt x="44" y="64"/>
                      </a:cubicBezTo>
                      <a:cubicBezTo>
                        <a:pt x="44" y="20"/>
                        <a:pt x="44" y="20"/>
                        <a:pt x="44" y="20"/>
                      </a:cubicBezTo>
                      <a:cubicBezTo>
                        <a:pt x="44" y="19"/>
                        <a:pt x="45" y="18"/>
                        <a:pt x="46" y="18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7" y="18"/>
                        <a:pt x="58" y="19"/>
                        <a:pt x="58" y="20"/>
                      </a:cubicBezTo>
                      <a:cubicBezTo>
                        <a:pt x="58" y="64"/>
                        <a:pt x="58" y="64"/>
                        <a:pt x="58" y="64"/>
                      </a:cubicBezTo>
                      <a:cubicBezTo>
                        <a:pt x="65" y="64"/>
                        <a:pt x="65" y="64"/>
                        <a:pt x="65" y="64"/>
                      </a:cubicBezTo>
                      <a:cubicBezTo>
                        <a:pt x="65" y="16"/>
                        <a:pt x="65" y="16"/>
                        <a:pt x="65" y="16"/>
                      </a:cubicBezTo>
                      <a:cubicBezTo>
                        <a:pt x="65" y="15"/>
                        <a:pt x="66" y="15"/>
                        <a:pt x="67" y="15"/>
                      </a:cubicBezTo>
                      <a:cubicBezTo>
                        <a:pt x="68" y="15"/>
                        <a:pt x="68" y="15"/>
                        <a:pt x="68" y="16"/>
                      </a:cubicBezTo>
                      <a:close/>
                      <a:moveTo>
                        <a:pt x="2" y="48"/>
                      </a:move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3" y="48"/>
                        <a:pt x="16" y="40"/>
                        <a:pt x="29" y="30"/>
                      </a:cubicBezTo>
                      <a:cubicBezTo>
                        <a:pt x="40" y="22"/>
                        <a:pt x="51" y="10"/>
                        <a:pt x="55" y="6"/>
                      </a:cubicBezTo>
                      <a:cubicBezTo>
                        <a:pt x="55" y="13"/>
                        <a:pt x="55" y="13"/>
                        <a:pt x="55" y="13"/>
                      </a:cubicBezTo>
                      <a:cubicBezTo>
                        <a:pt x="55" y="14"/>
                        <a:pt x="55" y="15"/>
                        <a:pt x="56" y="15"/>
                      </a:cubicBezTo>
                      <a:cubicBezTo>
                        <a:pt x="57" y="15"/>
                        <a:pt x="58" y="14"/>
                        <a:pt x="58" y="13"/>
                      </a:cubicBezTo>
                      <a:cubicBezTo>
                        <a:pt x="58" y="2"/>
                        <a:pt x="58" y="2"/>
                        <a:pt x="58" y="2"/>
                      </a:cubicBezTo>
                      <a:cubicBezTo>
                        <a:pt x="58" y="1"/>
                        <a:pt x="57" y="0"/>
                        <a:pt x="5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5" y="0"/>
                        <a:pt x="44" y="1"/>
                        <a:pt x="44" y="2"/>
                      </a:cubicBezTo>
                      <a:cubicBezTo>
                        <a:pt x="44" y="3"/>
                        <a:pt x="45" y="3"/>
                        <a:pt x="46" y="3"/>
                      </a:cubicBezTo>
                      <a:cubicBezTo>
                        <a:pt x="53" y="3"/>
                        <a:pt x="53" y="3"/>
                        <a:pt x="53" y="3"/>
                      </a:cubicBezTo>
                      <a:cubicBezTo>
                        <a:pt x="50" y="7"/>
                        <a:pt x="38" y="20"/>
                        <a:pt x="27" y="28"/>
                      </a:cubicBezTo>
                      <a:cubicBezTo>
                        <a:pt x="15" y="37"/>
                        <a:pt x="1" y="45"/>
                        <a:pt x="1" y="45"/>
                      </a:cubicBezTo>
                      <a:cubicBezTo>
                        <a:pt x="0" y="46"/>
                        <a:pt x="0" y="47"/>
                        <a:pt x="0" y="47"/>
                      </a:cubicBezTo>
                      <a:cubicBezTo>
                        <a:pt x="1" y="48"/>
                        <a:pt x="1" y="48"/>
                        <a:pt x="2" y="4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23" name="íŝlïḑé">
                <a:extLst>
                  <a:ext uri="{FF2B5EF4-FFF2-40B4-BE49-F238E27FC236}">
                    <a16:creationId xmlns:a16="http://schemas.microsoft.com/office/drawing/2014/main" xmlns="" id="{69A44B28-CE24-40A5-BBA1-96CABE8FD335}"/>
                  </a:ext>
                </a:extLst>
              </p:cNvPr>
              <p:cNvGrpSpPr/>
              <p:nvPr/>
            </p:nvGrpSpPr>
            <p:grpSpPr>
              <a:xfrm>
                <a:off x="7239601" y="5110858"/>
                <a:ext cx="2125552" cy="1035942"/>
                <a:chOff x="7943613" y="2575161"/>
                <a:chExt cx="3575287" cy="1035942"/>
              </a:xfrm>
            </p:grpSpPr>
            <p:sp>
              <p:nvSpPr>
                <p:cNvPr id="24" name="ï$ļiḍê">
                  <a:extLst>
                    <a:ext uri="{FF2B5EF4-FFF2-40B4-BE49-F238E27FC236}">
                      <a16:creationId xmlns:a16="http://schemas.microsoft.com/office/drawing/2014/main" xmlns="" id="{959E666C-C196-4145-A8A3-B763BCA39908}"/>
                    </a:ext>
                  </a:extLst>
                </p:cNvPr>
                <p:cNvSpPr txBox="1"/>
                <p:nvPr/>
              </p:nvSpPr>
              <p:spPr>
                <a:xfrm flipH="1">
                  <a:off x="7943613" y="3082992"/>
                  <a:ext cx="3575286" cy="528111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20000"/>
                    </a:lnSpc>
                  </a:pPr>
                  <a:r>
                    <a:rPr lang="en-US" altLang="zh-CN" sz="1100" dirty="0"/>
                    <a:t>Copy paste fonts. Choose the only option to retain text……</a:t>
                  </a:r>
                </a:p>
              </p:txBody>
            </p:sp>
            <p:sp>
              <p:nvSpPr>
                <p:cNvPr id="25" name="îşḻiďe">
                  <a:extLst>
                    <a:ext uri="{FF2B5EF4-FFF2-40B4-BE49-F238E27FC236}">
                      <a16:creationId xmlns:a16="http://schemas.microsoft.com/office/drawing/2014/main" xmlns="" id="{791C83F7-B732-4747-A6B6-FA3E7E2944C5}"/>
                    </a:ext>
                  </a:extLst>
                </p:cNvPr>
                <p:cNvSpPr/>
                <p:nvPr/>
              </p:nvSpPr>
              <p:spPr>
                <a:xfrm flipH="1">
                  <a:off x="7943614" y="2575161"/>
                  <a:ext cx="3575286" cy="507831"/>
                </a:xfrm>
                <a:prstGeom prst="rect">
                  <a:avLst/>
                </a:prstGeom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2000" b="1" dirty="0"/>
                    <a:t>Text here</a:t>
                  </a:r>
                  <a:endParaRPr lang="zh-CN" altLang="en-US" sz="2000" b="1" dirty="0"/>
                </a:p>
              </p:txBody>
            </p:sp>
          </p:grpSp>
        </p:grpSp>
        <p:grpSp>
          <p:nvGrpSpPr>
            <p:cNvPr id="9" name="íś1ïďé">
              <a:extLst>
                <a:ext uri="{FF2B5EF4-FFF2-40B4-BE49-F238E27FC236}">
                  <a16:creationId xmlns:a16="http://schemas.microsoft.com/office/drawing/2014/main" xmlns="" id="{ECF0AAD4-3932-40B3-ABCA-D126F139862F}"/>
                </a:ext>
              </a:extLst>
            </p:cNvPr>
            <p:cNvGrpSpPr/>
            <p:nvPr/>
          </p:nvGrpSpPr>
          <p:grpSpPr>
            <a:xfrm>
              <a:off x="5085853" y="2976912"/>
              <a:ext cx="2125552" cy="3169888"/>
              <a:chOff x="5085853" y="2976912"/>
              <a:chExt cx="2125552" cy="3169888"/>
            </a:xfrm>
          </p:grpSpPr>
          <p:cxnSp>
            <p:nvCxnSpPr>
              <p:cNvPr id="13" name="直接连接符 12">
                <a:extLst>
                  <a:ext uri="{FF2B5EF4-FFF2-40B4-BE49-F238E27FC236}">
                    <a16:creationId xmlns:a16="http://schemas.microsoft.com/office/drawing/2014/main" xmlns="" id="{012AF7FC-53DB-4479-814C-9305587A67C0}"/>
                  </a:ext>
                </a:extLst>
              </p:cNvPr>
              <p:cNvCxnSpPr/>
              <p:nvPr/>
            </p:nvCxnSpPr>
            <p:spPr>
              <a:xfrm>
                <a:off x="6148629" y="4441243"/>
                <a:ext cx="0" cy="458638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  <a:prstDash val="solid"/>
                <a:headEnd type="oval" w="sm" len="sm"/>
                <a:tailEnd type="oval" w="sm" len="sm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4" name="ïṥlïḍé">
                <a:extLst>
                  <a:ext uri="{FF2B5EF4-FFF2-40B4-BE49-F238E27FC236}">
                    <a16:creationId xmlns:a16="http://schemas.microsoft.com/office/drawing/2014/main" xmlns="" id="{73F38FEC-09AE-4B43-A7A9-3B2C882E3296}"/>
                  </a:ext>
                </a:extLst>
              </p:cNvPr>
              <p:cNvGrpSpPr/>
              <p:nvPr/>
            </p:nvGrpSpPr>
            <p:grpSpPr>
              <a:xfrm>
                <a:off x="5521952" y="2976912"/>
                <a:ext cx="1253355" cy="1253354"/>
                <a:chOff x="5521952" y="3096672"/>
                <a:chExt cx="1253355" cy="1253354"/>
              </a:xfrm>
            </p:grpSpPr>
            <p:sp>
              <p:nvSpPr>
                <p:cNvPr id="18" name="ïṡḷíḓé">
                  <a:extLst>
                    <a:ext uri="{FF2B5EF4-FFF2-40B4-BE49-F238E27FC236}">
                      <a16:creationId xmlns:a16="http://schemas.microsoft.com/office/drawing/2014/main" xmlns="" id="{07EAB116-B031-4F1E-BB2B-E82AE8262D73}"/>
                    </a:ext>
                  </a:extLst>
                </p:cNvPr>
                <p:cNvSpPr/>
                <p:nvPr/>
              </p:nvSpPr>
              <p:spPr>
                <a:xfrm>
                  <a:off x="5639222" y="3218214"/>
                  <a:ext cx="1018814" cy="1018814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p:spPr>
              <p:txBody>
                <a:bodyPr lIns="91426" tIns="45700" rIns="91426" bIns="45700" anchor="ctr" anchorCtr="0">
                  <a:no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 sz="3600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19" name="îsḷïḋe">
                  <a:extLst>
                    <a:ext uri="{FF2B5EF4-FFF2-40B4-BE49-F238E27FC236}">
                      <a16:creationId xmlns:a16="http://schemas.microsoft.com/office/drawing/2014/main" xmlns="" id="{7914BF3E-E2FC-46E8-917F-2643E7D70EAB}"/>
                    </a:ext>
                  </a:extLst>
                </p:cNvPr>
                <p:cNvSpPr/>
                <p:nvPr/>
              </p:nvSpPr>
              <p:spPr>
                <a:xfrm>
                  <a:off x="5521952" y="3096672"/>
                  <a:ext cx="1253355" cy="1253354"/>
                </a:xfrm>
                <a:prstGeom prst="ellipse">
                  <a:avLst/>
                </a:prstGeom>
                <a:noFill/>
                <a:ln w="22225">
                  <a:solidFill>
                    <a:schemeClr val="bg1">
                      <a:lumMod val="75000"/>
                      <a:alpha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de-DE" sz="7196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20" name="iṧľîďè">
                  <a:extLst>
                    <a:ext uri="{FF2B5EF4-FFF2-40B4-BE49-F238E27FC236}">
                      <a16:creationId xmlns:a16="http://schemas.microsoft.com/office/drawing/2014/main" xmlns="" id="{501DDE4F-F140-4EE0-A273-D110A54C9644}"/>
                    </a:ext>
                  </a:extLst>
                </p:cNvPr>
                <p:cNvSpPr/>
                <p:nvPr/>
              </p:nvSpPr>
              <p:spPr bwMode="auto">
                <a:xfrm>
                  <a:off x="5925010" y="3522365"/>
                  <a:ext cx="447238" cy="447238"/>
                </a:xfrm>
                <a:custGeom>
                  <a:avLst/>
                  <a:gdLst>
                    <a:gd name="T0" fmla="*/ 1083 w 1083"/>
                    <a:gd name="T1" fmla="*/ 542 h 1084"/>
                    <a:gd name="T2" fmla="*/ 158 w 1083"/>
                    <a:gd name="T3" fmla="*/ 926 h 1084"/>
                    <a:gd name="T4" fmla="*/ 542 w 1083"/>
                    <a:gd name="T5" fmla="*/ 0 h 1084"/>
                    <a:gd name="T6" fmla="*/ 517 w 1083"/>
                    <a:gd name="T7" fmla="*/ 1000 h 1084"/>
                    <a:gd name="T8" fmla="*/ 357 w 1083"/>
                    <a:gd name="T9" fmla="*/ 861 h 1084"/>
                    <a:gd name="T10" fmla="*/ 517 w 1083"/>
                    <a:gd name="T11" fmla="*/ 1000 h 1084"/>
                    <a:gd name="T12" fmla="*/ 866 w 1083"/>
                    <a:gd name="T13" fmla="*/ 218 h 1084"/>
                    <a:gd name="T14" fmla="*/ 842 w 1083"/>
                    <a:gd name="T15" fmla="*/ 517 h 1084"/>
                    <a:gd name="T16" fmla="*/ 866 w 1083"/>
                    <a:gd name="T17" fmla="*/ 218 h 1084"/>
                    <a:gd name="T18" fmla="*/ 722 w 1083"/>
                    <a:gd name="T19" fmla="*/ 120 h 1084"/>
                    <a:gd name="T20" fmla="*/ 815 w 1083"/>
                    <a:gd name="T21" fmla="*/ 174 h 1084"/>
                    <a:gd name="T22" fmla="*/ 617 w 1083"/>
                    <a:gd name="T23" fmla="*/ 90 h 1084"/>
                    <a:gd name="T24" fmla="*/ 707 w 1083"/>
                    <a:gd name="T25" fmla="*/ 231 h 1084"/>
                    <a:gd name="T26" fmla="*/ 617 w 1083"/>
                    <a:gd name="T27" fmla="*/ 90 h 1084"/>
                    <a:gd name="T28" fmla="*/ 517 w 1083"/>
                    <a:gd name="T29" fmla="*/ 84 h 1084"/>
                    <a:gd name="T30" fmla="*/ 357 w 1083"/>
                    <a:gd name="T31" fmla="*/ 224 h 1084"/>
                    <a:gd name="T32" fmla="*/ 517 w 1083"/>
                    <a:gd name="T33" fmla="*/ 84 h 1084"/>
                    <a:gd name="T34" fmla="*/ 362 w 1083"/>
                    <a:gd name="T35" fmla="*/ 120 h 1084"/>
                    <a:gd name="T36" fmla="*/ 325 w 1083"/>
                    <a:gd name="T37" fmla="*/ 177 h 1084"/>
                    <a:gd name="T38" fmla="*/ 229 w 1083"/>
                    <a:gd name="T39" fmla="*/ 207 h 1084"/>
                    <a:gd name="T40" fmla="*/ 84 w 1083"/>
                    <a:gd name="T41" fmla="*/ 517 h 1084"/>
                    <a:gd name="T42" fmla="*/ 229 w 1083"/>
                    <a:gd name="T43" fmla="*/ 207 h 1084"/>
                    <a:gd name="T44" fmla="*/ 84 w 1083"/>
                    <a:gd name="T45" fmla="*/ 567 h 1084"/>
                    <a:gd name="T46" fmla="*/ 292 w 1083"/>
                    <a:gd name="T47" fmla="*/ 837 h 1084"/>
                    <a:gd name="T48" fmla="*/ 84 w 1083"/>
                    <a:gd name="T49" fmla="*/ 567 h 1084"/>
                    <a:gd name="T50" fmla="*/ 362 w 1083"/>
                    <a:gd name="T51" fmla="*/ 964 h 1084"/>
                    <a:gd name="T52" fmla="*/ 268 w 1083"/>
                    <a:gd name="T53" fmla="*/ 911 h 1084"/>
                    <a:gd name="T54" fmla="*/ 567 w 1083"/>
                    <a:gd name="T55" fmla="*/ 1000 h 1084"/>
                    <a:gd name="T56" fmla="*/ 726 w 1083"/>
                    <a:gd name="T57" fmla="*/ 861 h 1084"/>
                    <a:gd name="T58" fmla="*/ 566 w 1083"/>
                    <a:gd name="T59" fmla="*/ 1000 h 1084"/>
                    <a:gd name="T60" fmla="*/ 722 w 1083"/>
                    <a:gd name="T61" fmla="*/ 964 h 1084"/>
                    <a:gd name="T62" fmla="*/ 758 w 1083"/>
                    <a:gd name="T63" fmla="*/ 908 h 1084"/>
                    <a:gd name="T64" fmla="*/ 855 w 1083"/>
                    <a:gd name="T65" fmla="*/ 878 h 1084"/>
                    <a:gd name="T66" fmla="*/ 1000 w 1083"/>
                    <a:gd name="T67" fmla="*/ 567 h 1084"/>
                    <a:gd name="T68" fmla="*/ 855 w 1083"/>
                    <a:gd name="T69" fmla="*/ 878 h 1084"/>
                    <a:gd name="T70" fmla="*/ 746 w 1083"/>
                    <a:gd name="T71" fmla="*/ 269 h 1084"/>
                    <a:gd name="T72" fmla="*/ 567 w 1083"/>
                    <a:gd name="T73" fmla="*/ 517 h 1084"/>
                    <a:gd name="T74" fmla="*/ 746 w 1083"/>
                    <a:gd name="T75" fmla="*/ 269 h 1084"/>
                    <a:gd name="T76" fmla="*/ 358 w 1083"/>
                    <a:gd name="T77" fmla="*/ 278 h 1084"/>
                    <a:gd name="T78" fmla="*/ 517 w 1083"/>
                    <a:gd name="T79" fmla="*/ 517 h 1084"/>
                    <a:gd name="T80" fmla="*/ 517 w 1083"/>
                    <a:gd name="T81" fmla="*/ 775 h 1084"/>
                    <a:gd name="T82" fmla="*/ 292 w 1083"/>
                    <a:gd name="T83" fmla="*/ 567 h 1084"/>
                    <a:gd name="T84" fmla="*/ 517 w 1083"/>
                    <a:gd name="T85" fmla="*/ 775 h 1084"/>
                    <a:gd name="T86" fmla="*/ 567 w 1083"/>
                    <a:gd name="T87" fmla="*/ 775 h 1084"/>
                    <a:gd name="T88" fmla="*/ 792 w 1083"/>
                    <a:gd name="T89" fmla="*/ 567 h 1084"/>
                    <a:gd name="T90" fmla="*/ 567 w 1083"/>
                    <a:gd name="T91" fmla="*/ 775 h 10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083" h="1084">
                      <a:moveTo>
                        <a:pt x="542" y="0"/>
                      </a:moveTo>
                      <a:cubicBezTo>
                        <a:pt x="691" y="0"/>
                        <a:pt x="827" y="61"/>
                        <a:pt x="925" y="159"/>
                      </a:cubicBezTo>
                      <a:cubicBezTo>
                        <a:pt x="1023" y="258"/>
                        <a:pt x="1083" y="393"/>
                        <a:pt x="1083" y="542"/>
                      </a:cubicBezTo>
                      <a:cubicBezTo>
                        <a:pt x="1083" y="692"/>
                        <a:pt x="1023" y="827"/>
                        <a:pt x="925" y="926"/>
                      </a:cubicBezTo>
                      <a:cubicBezTo>
                        <a:pt x="827" y="1024"/>
                        <a:pt x="691" y="1084"/>
                        <a:pt x="542" y="1084"/>
                      </a:cubicBezTo>
                      <a:cubicBezTo>
                        <a:pt x="392" y="1084"/>
                        <a:pt x="257" y="1024"/>
                        <a:pt x="158" y="926"/>
                      </a:cubicBezTo>
                      <a:cubicBezTo>
                        <a:pt x="60" y="827"/>
                        <a:pt x="0" y="692"/>
                        <a:pt x="0" y="542"/>
                      </a:cubicBezTo>
                      <a:cubicBezTo>
                        <a:pt x="0" y="393"/>
                        <a:pt x="60" y="258"/>
                        <a:pt x="158" y="159"/>
                      </a:cubicBezTo>
                      <a:cubicBezTo>
                        <a:pt x="257" y="61"/>
                        <a:pt x="392" y="0"/>
                        <a:pt x="542" y="0"/>
                      </a:cubicBezTo>
                      <a:cubicBezTo>
                        <a:pt x="542" y="0"/>
                        <a:pt x="542" y="0"/>
                        <a:pt x="542" y="0"/>
                      </a:cubicBezTo>
                      <a:close/>
                      <a:moveTo>
                        <a:pt x="517" y="1000"/>
                      </a:moveTo>
                      <a:cubicBezTo>
                        <a:pt x="517" y="1000"/>
                        <a:pt x="517" y="1000"/>
                        <a:pt x="517" y="1000"/>
                      </a:cubicBezTo>
                      <a:cubicBezTo>
                        <a:pt x="517" y="825"/>
                        <a:pt x="517" y="825"/>
                        <a:pt x="517" y="825"/>
                      </a:cubicBezTo>
                      <a:cubicBezTo>
                        <a:pt x="468" y="827"/>
                        <a:pt x="420" y="837"/>
                        <a:pt x="376" y="854"/>
                      </a:cubicBezTo>
                      <a:cubicBezTo>
                        <a:pt x="370" y="856"/>
                        <a:pt x="363" y="859"/>
                        <a:pt x="357" y="861"/>
                      </a:cubicBezTo>
                      <a:cubicBezTo>
                        <a:pt x="361" y="869"/>
                        <a:pt x="365" y="877"/>
                        <a:pt x="369" y="884"/>
                      </a:cubicBezTo>
                      <a:cubicBezTo>
                        <a:pt x="396" y="934"/>
                        <a:pt x="430" y="972"/>
                        <a:pt x="466" y="995"/>
                      </a:cubicBezTo>
                      <a:cubicBezTo>
                        <a:pt x="483" y="998"/>
                        <a:pt x="500" y="1000"/>
                        <a:pt x="517" y="1000"/>
                      </a:cubicBezTo>
                      <a:cubicBezTo>
                        <a:pt x="517" y="1000"/>
                        <a:pt x="517" y="1000"/>
                        <a:pt x="517" y="1000"/>
                      </a:cubicBezTo>
                      <a:close/>
                      <a:moveTo>
                        <a:pt x="866" y="218"/>
                      </a:moveTo>
                      <a:cubicBezTo>
                        <a:pt x="866" y="218"/>
                        <a:pt x="866" y="218"/>
                        <a:pt x="866" y="218"/>
                      </a:cubicBezTo>
                      <a:cubicBezTo>
                        <a:pt x="862" y="214"/>
                        <a:pt x="858" y="211"/>
                        <a:pt x="855" y="207"/>
                      </a:cubicBezTo>
                      <a:cubicBezTo>
                        <a:pt x="835" y="223"/>
                        <a:pt x="813" y="236"/>
                        <a:pt x="791" y="248"/>
                      </a:cubicBezTo>
                      <a:cubicBezTo>
                        <a:pt x="820" y="325"/>
                        <a:pt x="839" y="418"/>
                        <a:pt x="842" y="517"/>
                      </a:cubicBezTo>
                      <a:cubicBezTo>
                        <a:pt x="1000" y="517"/>
                        <a:pt x="1000" y="517"/>
                        <a:pt x="1000" y="517"/>
                      </a:cubicBezTo>
                      <a:cubicBezTo>
                        <a:pt x="993" y="401"/>
                        <a:pt x="943" y="296"/>
                        <a:pt x="866" y="218"/>
                      </a:cubicBezTo>
                      <a:cubicBezTo>
                        <a:pt x="866" y="218"/>
                        <a:pt x="866" y="218"/>
                        <a:pt x="866" y="218"/>
                      </a:cubicBezTo>
                      <a:close/>
                      <a:moveTo>
                        <a:pt x="815" y="174"/>
                      </a:moveTo>
                      <a:cubicBezTo>
                        <a:pt x="815" y="174"/>
                        <a:pt x="815" y="174"/>
                        <a:pt x="815" y="174"/>
                      </a:cubicBezTo>
                      <a:cubicBezTo>
                        <a:pt x="787" y="153"/>
                        <a:pt x="755" y="135"/>
                        <a:pt x="722" y="120"/>
                      </a:cubicBezTo>
                      <a:cubicBezTo>
                        <a:pt x="735" y="138"/>
                        <a:pt x="747" y="156"/>
                        <a:pt x="758" y="177"/>
                      </a:cubicBezTo>
                      <a:cubicBezTo>
                        <a:pt x="763" y="185"/>
                        <a:pt x="767" y="193"/>
                        <a:pt x="771" y="202"/>
                      </a:cubicBezTo>
                      <a:cubicBezTo>
                        <a:pt x="787" y="194"/>
                        <a:pt x="801" y="184"/>
                        <a:pt x="815" y="174"/>
                      </a:cubicBezTo>
                      <a:cubicBezTo>
                        <a:pt x="815" y="174"/>
                        <a:pt x="815" y="174"/>
                        <a:pt x="815" y="174"/>
                      </a:cubicBezTo>
                      <a:close/>
                      <a:moveTo>
                        <a:pt x="617" y="90"/>
                      </a:moveTo>
                      <a:cubicBezTo>
                        <a:pt x="617" y="90"/>
                        <a:pt x="617" y="90"/>
                        <a:pt x="617" y="90"/>
                      </a:cubicBezTo>
                      <a:cubicBezTo>
                        <a:pt x="601" y="87"/>
                        <a:pt x="584" y="85"/>
                        <a:pt x="567" y="84"/>
                      </a:cubicBezTo>
                      <a:cubicBezTo>
                        <a:pt x="567" y="260"/>
                        <a:pt x="567" y="260"/>
                        <a:pt x="567" y="260"/>
                      </a:cubicBezTo>
                      <a:cubicBezTo>
                        <a:pt x="616" y="258"/>
                        <a:pt x="664" y="247"/>
                        <a:pt x="707" y="231"/>
                      </a:cubicBezTo>
                      <a:cubicBezTo>
                        <a:pt x="714" y="229"/>
                        <a:pt x="720" y="226"/>
                        <a:pt x="726" y="224"/>
                      </a:cubicBezTo>
                      <a:cubicBezTo>
                        <a:pt x="723" y="216"/>
                        <a:pt x="719" y="208"/>
                        <a:pt x="714" y="201"/>
                      </a:cubicBezTo>
                      <a:cubicBezTo>
                        <a:pt x="687" y="151"/>
                        <a:pt x="654" y="112"/>
                        <a:pt x="617" y="90"/>
                      </a:cubicBezTo>
                      <a:cubicBezTo>
                        <a:pt x="617" y="90"/>
                        <a:pt x="617" y="90"/>
                        <a:pt x="617" y="90"/>
                      </a:cubicBezTo>
                      <a:close/>
                      <a:moveTo>
                        <a:pt x="517" y="84"/>
                      </a:moveTo>
                      <a:cubicBezTo>
                        <a:pt x="517" y="84"/>
                        <a:pt x="517" y="84"/>
                        <a:pt x="517" y="84"/>
                      </a:cubicBezTo>
                      <a:cubicBezTo>
                        <a:pt x="500" y="85"/>
                        <a:pt x="483" y="88"/>
                        <a:pt x="466" y="90"/>
                      </a:cubicBezTo>
                      <a:cubicBezTo>
                        <a:pt x="430" y="112"/>
                        <a:pt x="396" y="151"/>
                        <a:pt x="369" y="201"/>
                      </a:cubicBezTo>
                      <a:cubicBezTo>
                        <a:pt x="365" y="208"/>
                        <a:pt x="361" y="216"/>
                        <a:pt x="357" y="224"/>
                      </a:cubicBezTo>
                      <a:cubicBezTo>
                        <a:pt x="363" y="226"/>
                        <a:pt x="370" y="229"/>
                        <a:pt x="376" y="231"/>
                      </a:cubicBezTo>
                      <a:cubicBezTo>
                        <a:pt x="420" y="247"/>
                        <a:pt x="467" y="258"/>
                        <a:pt x="517" y="260"/>
                      </a:cubicBezTo>
                      <a:cubicBezTo>
                        <a:pt x="517" y="84"/>
                        <a:pt x="517" y="84"/>
                        <a:pt x="517" y="84"/>
                      </a:cubicBezTo>
                      <a:cubicBezTo>
                        <a:pt x="517" y="84"/>
                        <a:pt x="517" y="84"/>
                        <a:pt x="517" y="84"/>
                      </a:cubicBezTo>
                      <a:close/>
                      <a:moveTo>
                        <a:pt x="362" y="120"/>
                      </a:moveTo>
                      <a:cubicBezTo>
                        <a:pt x="362" y="120"/>
                        <a:pt x="362" y="120"/>
                        <a:pt x="362" y="120"/>
                      </a:cubicBezTo>
                      <a:cubicBezTo>
                        <a:pt x="328" y="135"/>
                        <a:pt x="297" y="153"/>
                        <a:pt x="268" y="174"/>
                      </a:cubicBezTo>
                      <a:cubicBezTo>
                        <a:pt x="283" y="184"/>
                        <a:pt x="297" y="194"/>
                        <a:pt x="312" y="202"/>
                      </a:cubicBezTo>
                      <a:cubicBezTo>
                        <a:pt x="316" y="193"/>
                        <a:pt x="320" y="185"/>
                        <a:pt x="325" y="177"/>
                      </a:cubicBezTo>
                      <a:cubicBezTo>
                        <a:pt x="336" y="156"/>
                        <a:pt x="349" y="138"/>
                        <a:pt x="362" y="120"/>
                      </a:cubicBezTo>
                      <a:cubicBezTo>
                        <a:pt x="362" y="120"/>
                        <a:pt x="362" y="120"/>
                        <a:pt x="362" y="120"/>
                      </a:cubicBezTo>
                      <a:close/>
                      <a:moveTo>
                        <a:pt x="229" y="207"/>
                      </a:moveTo>
                      <a:cubicBezTo>
                        <a:pt x="229" y="207"/>
                        <a:pt x="229" y="207"/>
                        <a:pt x="229" y="207"/>
                      </a:cubicBezTo>
                      <a:cubicBezTo>
                        <a:pt x="225" y="211"/>
                        <a:pt x="221" y="214"/>
                        <a:pt x="218" y="218"/>
                      </a:cubicBezTo>
                      <a:cubicBezTo>
                        <a:pt x="140" y="296"/>
                        <a:pt x="90" y="401"/>
                        <a:pt x="84" y="517"/>
                      </a:cubicBezTo>
                      <a:cubicBezTo>
                        <a:pt x="242" y="517"/>
                        <a:pt x="242" y="517"/>
                        <a:pt x="242" y="517"/>
                      </a:cubicBezTo>
                      <a:cubicBezTo>
                        <a:pt x="245" y="418"/>
                        <a:pt x="263" y="325"/>
                        <a:pt x="292" y="248"/>
                      </a:cubicBezTo>
                      <a:cubicBezTo>
                        <a:pt x="270" y="236"/>
                        <a:pt x="249" y="223"/>
                        <a:pt x="229" y="207"/>
                      </a:cubicBezTo>
                      <a:cubicBezTo>
                        <a:pt x="229" y="207"/>
                        <a:pt x="229" y="207"/>
                        <a:pt x="229" y="207"/>
                      </a:cubicBezTo>
                      <a:close/>
                      <a:moveTo>
                        <a:pt x="84" y="567"/>
                      </a:moveTo>
                      <a:cubicBezTo>
                        <a:pt x="84" y="567"/>
                        <a:pt x="84" y="567"/>
                        <a:pt x="84" y="567"/>
                      </a:cubicBezTo>
                      <a:cubicBezTo>
                        <a:pt x="90" y="684"/>
                        <a:pt x="140" y="789"/>
                        <a:pt x="218" y="867"/>
                      </a:cubicBezTo>
                      <a:cubicBezTo>
                        <a:pt x="229" y="878"/>
                        <a:pt x="229" y="878"/>
                        <a:pt x="229" y="878"/>
                      </a:cubicBezTo>
                      <a:cubicBezTo>
                        <a:pt x="249" y="863"/>
                        <a:pt x="270" y="849"/>
                        <a:pt x="292" y="837"/>
                      </a:cubicBezTo>
                      <a:cubicBezTo>
                        <a:pt x="263" y="760"/>
                        <a:pt x="245" y="667"/>
                        <a:pt x="242" y="567"/>
                      </a:cubicBezTo>
                      <a:cubicBezTo>
                        <a:pt x="84" y="567"/>
                        <a:pt x="84" y="567"/>
                        <a:pt x="84" y="567"/>
                      </a:cubicBezTo>
                      <a:cubicBezTo>
                        <a:pt x="84" y="567"/>
                        <a:pt x="84" y="567"/>
                        <a:pt x="84" y="567"/>
                      </a:cubicBezTo>
                      <a:close/>
                      <a:moveTo>
                        <a:pt x="268" y="911"/>
                      </a:moveTo>
                      <a:cubicBezTo>
                        <a:pt x="268" y="911"/>
                        <a:pt x="268" y="911"/>
                        <a:pt x="268" y="911"/>
                      </a:cubicBezTo>
                      <a:cubicBezTo>
                        <a:pt x="297" y="932"/>
                        <a:pt x="328" y="950"/>
                        <a:pt x="362" y="964"/>
                      </a:cubicBezTo>
                      <a:cubicBezTo>
                        <a:pt x="349" y="948"/>
                        <a:pt x="336" y="929"/>
                        <a:pt x="325" y="908"/>
                      </a:cubicBezTo>
                      <a:cubicBezTo>
                        <a:pt x="320" y="900"/>
                        <a:pt x="316" y="892"/>
                        <a:pt x="312" y="883"/>
                      </a:cubicBezTo>
                      <a:cubicBezTo>
                        <a:pt x="297" y="891"/>
                        <a:pt x="283" y="900"/>
                        <a:pt x="268" y="911"/>
                      </a:cubicBezTo>
                      <a:cubicBezTo>
                        <a:pt x="268" y="911"/>
                        <a:pt x="268" y="911"/>
                        <a:pt x="268" y="911"/>
                      </a:cubicBezTo>
                      <a:close/>
                      <a:moveTo>
                        <a:pt x="567" y="1000"/>
                      </a:moveTo>
                      <a:cubicBezTo>
                        <a:pt x="567" y="1000"/>
                        <a:pt x="567" y="1000"/>
                        <a:pt x="567" y="1000"/>
                      </a:cubicBezTo>
                      <a:cubicBezTo>
                        <a:pt x="584" y="1000"/>
                        <a:pt x="601" y="998"/>
                        <a:pt x="617" y="995"/>
                      </a:cubicBezTo>
                      <a:cubicBezTo>
                        <a:pt x="654" y="972"/>
                        <a:pt x="687" y="934"/>
                        <a:pt x="714" y="884"/>
                      </a:cubicBezTo>
                      <a:cubicBezTo>
                        <a:pt x="719" y="877"/>
                        <a:pt x="723" y="869"/>
                        <a:pt x="726" y="861"/>
                      </a:cubicBezTo>
                      <a:cubicBezTo>
                        <a:pt x="720" y="859"/>
                        <a:pt x="714" y="856"/>
                        <a:pt x="707" y="854"/>
                      </a:cubicBezTo>
                      <a:cubicBezTo>
                        <a:pt x="664" y="837"/>
                        <a:pt x="616" y="828"/>
                        <a:pt x="566" y="825"/>
                      </a:cubicBezTo>
                      <a:cubicBezTo>
                        <a:pt x="566" y="1000"/>
                        <a:pt x="566" y="1000"/>
                        <a:pt x="566" y="1000"/>
                      </a:cubicBezTo>
                      <a:cubicBezTo>
                        <a:pt x="567" y="1000"/>
                        <a:pt x="567" y="1000"/>
                        <a:pt x="567" y="1000"/>
                      </a:cubicBezTo>
                      <a:close/>
                      <a:moveTo>
                        <a:pt x="722" y="964"/>
                      </a:moveTo>
                      <a:cubicBezTo>
                        <a:pt x="722" y="964"/>
                        <a:pt x="722" y="964"/>
                        <a:pt x="722" y="964"/>
                      </a:cubicBezTo>
                      <a:cubicBezTo>
                        <a:pt x="755" y="950"/>
                        <a:pt x="787" y="932"/>
                        <a:pt x="815" y="911"/>
                      </a:cubicBezTo>
                      <a:cubicBezTo>
                        <a:pt x="801" y="900"/>
                        <a:pt x="787" y="891"/>
                        <a:pt x="771" y="883"/>
                      </a:cubicBezTo>
                      <a:cubicBezTo>
                        <a:pt x="767" y="892"/>
                        <a:pt x="763" y="900"/>
                        <a:pt x="758" y="908"/>
                      </a:cubicBezTo>
                      <a:cubicBezTo>
                        <a:pt x="747" y="929"/>
                        <a:pt x="735" y="948"/>
                        <a:pt x="722" y="964"/>
                      </a:cubicBezTo>
                      <a:cubicBezTo>
                        <a:pt x="722" y="964"/>
                        <a:pt x="722" y="964"/>
                        <a:pt x="722" y="964"/>
                      </a:cubicBezTo>
                      <a:close/>
                      <a:moveTo>
                        <a:pt x="855" y="878"/>
                      </a:moveTo>
                      <a:cubicBezTo>
                        <a:pt x="855" y="878"/>
                        <a:pt x="855" y="878"/>
                        <a:pt x="855" y="878"/>
                      </a:cubicBezTo>
                      <a:cubicBezTo>
                        <a:pt x="866" y="867"/>
                        <a:pt x="866" y="867"/>
                        <a:pt x="866" y="867"/>
                      </a:cubicBezTo>
                      <a:cubicBezTo>
                        <a:pt x="943" y="789"/>
                        <a:pt x="993" y="684"/>
                        <a:pt x="1000" y="567"/>
                      </a:cubicBezTo>
                      <a:cubicBezTo>
                        <a:pt x="842" y="567"/>
                        <a:pt x="842" y="567"/>
                        <a:pt x="842" y="567"/>
                      </a:cubicBezTo>
                      <a:cubicBezTo>
                        <a:pt x="839" y="667"/>
                        <a:pt x="820" y="760"/>
                        <a:pt x="791" y="837"/>
                      </a:cubicBezTo>
                      <a:cubicBezTo>
                        <a:pt x="813" y="849"/>
                        <a:pt x="835" y="863"/>
                        <a:pt x="855" y="878"/>
                      </a:cubicBezTo>
                      <a:cubicBezTo>
                        <a:pt x="855" y="878"/>
                        <a:pt x="855" y="878"/>
                        <a:pt x="855" y="878"/>
                      </a:cubicBezTo>
                      <a:close/>
                      <a:moveTo>
                        <a:pt x="746" y="269"/>
                      </a:moveTo>
                      <a:cubicBezTo>
                        <a:pt x="746" y="269"/>
                        <a:pt x="746" y="269"/>
                        <a:pt x="746" y="269"/>
                      </a:cubicBezTo>
                      <a:cubicBezTo>
                        <a:pt x="739" y="272"/>
                        <a:pt x="732" y="275"/>
                        <a:pt x="725" y="278"/>
                      </a:cubicBezTo>
                      <a:cubicBezTo>
                        <a:pt x="675" y="296"/>
                        <a:pt x="622" y="308"/>
                        <a:pt x="567" y="310"/>
                      </a:cubicBezTo>
                      <a:cubicBezTo>
                        <a:pt x="567" y="517"/>
                        <a:pt x="567" y="517"/>
                        <a:pt x="567" y="517"/>
                      </a:cubicBezTo>
                      <a:cubicBezTo>
                        <a:pt x="792" y="517"/>
                        <a:pt x="792" y="517"/>
                        <a:pt x="792" y="517"/>
                      </a:cubicBezTo>
                      <a:cubicBezTo>
                        <a:pt x="789" y="425"/>
                        <a:pt x="772" y="340"/>
                        <a:pt x="746" y="269"/>
                      </a:cubicBezTo>
                      <a:cubicBezTo>
                        <a:pt x="746" y="269"/>
                        <a:pt x="746" y="269"/>
                        <a:pt x="746" y="269"/>
                      </a:cubicBezTo>
                      <a:close/>
                      <a:moveTo>
                        <a:pt x="517" y="310"/>
                      </a:moveTo>
                      <a:cubicBezTo>
                        <a:pt x="517" y="310"/>
                        <a:pt x="517" y="310"/>
                        <a:pt x="517" y="310"/>
                      </a:cubicBezTo>
                      <a:cubicBezTo>
                        <a:pt x="462" y="308"/>
                        <a:pt x="409" y="296"/>
                        <a:pt x="358" y="278"/>
                      </a:cubicBezTo>
                      <a:cubicBezTo>
                        <a:pt x="352" y="275"/>
                        <a:pt x="345" y="272"/>
                        <a:pt x="338" y="269"/>
                      </a:cubicBezTo>
                      <a:cubicBezTo>
                        <a:pt x="311" y="340"/>
                        <a:pt x="294" y="425"/>
                        <a:pt x="292" y="517"/>
                      </a:cubicBezTo>
                      <a:cubicBezTo>
                        <a:pt x="517" y="517"/>
                        <a:pt x="517" y="517"/>
                        <a:pt x="517" y="517"/>
                      </a:cubicBezTo>
                      <a:cubicBezTo>
                        <a:pt x="517" y="310"/>
                        <a:pt x="517" y="310"/>
                        <a:pt x="517" y="310"/>
                      </a:cubicBezTo>
                      <a:cubicBezTo>
                        <a:pt x="517" y="310"/>
                        <a:pt x="517" y="310"/>
                        <a:pt x="517" y="310"/>
                      </a:cubicBezTo>
                      <a:close/>
                      <a:moveTo>
                        <a:pt x="517" y="775"/>
                      </a:moveTo>
                      <a:cubicBezTo>
                        <a:pt x="517" y="775"/>
                        <a:pt x="517" y="775"/>
                        <a:pt x="517" y="775"/>
                      </a:cubicBezTo>
                      <a:cubicBezTo>
                        <a:pt x="517" y="567"/>
                        <a:pt x="517" y="567"/>
                        <a:pt x="517" y="567"/>
                      </a:cubicBezTo>
                      <a:cubicBezTo>
                        <a:pt x="292" y="567"/>
                        <a:pt x="292" y="567"/>
                        <a:pt x="292" y="567"/>
                      </a:cubicBezTo>
                      <a:cubicBezTo>
                        <a:pt x="294" y="659"/>
                        <a:pt x="311" y="744"/>
                        <a:pt x="338" y="815"/>
                      </a:cubicBezTo>
                      <a:cubicBezTo>
                        <a:pt x="345" y="813"/>
                        <a:pt x="352" y="810"/>
                        <a:pt x="359" y="807"/>
                      </a:cubicBezTo>
                      <a:cubicBezTo>
                        <a:pt x="409" y="789"/>
                        <a:pt x="462" y="777"/>
                        <a:pt x="517" y="775"/>
                      </a:cubicBezTo>
                      <a:cubicBezTo>
                        <a:pt x="517" y="775"/>
                        <a:pt x="517" y="775"/>
                        <a:pt x="517" y="775"/>
                      </a:cubicBezTo>
                      <a:close/>
                      <a:moveTo>
                        <a:pt x="567" y="775"/>
                      </a:moveTo>
                      <a:cubicBezTo>
                        <a:pt x="567" y="775"/>
                        <a:pt x="567" y="775"/>
                        <a:pt x="567" y="775"/>
                      </a:cubicBezTo>
                      <a:cubicBezTo>
                        <a:pt x="622" y="778"/>
                        <a:pt x="675" y="789"/>
                        <a:pt x="725" y="807"/>
                      </a:cubicBezTo>
                      <a:cubicBezTo>
                        <a:pt x="732" y="810"/>
                        <a:pt x="739" y="813"/>
                        <a:pt x="746" y="815"/>
                      </a:cubicBezTo>
                      <a:cubicBezTo>
                        <a:pt x="772" y="744"/>
                        <a:pt x="789" y="659"/>
                        <a:pt x="792" y="567"/>
                      </a:cubicBezTo>
                      <a:cubicBezTo>
                        <a:pt x="567" y="567"/>
                        <a:pt x="567" y="567"/>
                        <a:pt x="567" y="567"/>
                      </a:cubicBezTo>
                      <a:cubicBezTo>
                        <a:pt x="567" y="775"/>
                        <a:pt x="567" y="775"/>
                        <a:pt x="567" y="775"/>
                      </a:cubicBezTo>
                      <a:cubicBezTo>
                        <a:pt x="567" y="775"/>
                        <a:pt x="567" y="775"/>
                        <a:pt x="567" y="775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15" name="íṧ1ídé">
                <a:extLst>
                  <a:ext uri="{FF2B5EF4-FFF2-40B4-BE49-F238E27FC236}">
                    <a16:creationId xmlns:a16="http://schemas.microsoft.com/office/drawing/2014/main" xmlns="" id="{77C0292A-DCC1-4F89-B66F-32056AE0AFF7}"/>
                  </a:ext>
                </a:extLst>
              </p:cNvPr>
              <p:cNvGrpSpPr/>
              <p:nvPr/>
            </p:nvGrpSpPr>
            <p:grpSpPr>
              <a:xfrm>
                <a:off x="5085853" y="5110858"/>
                <a:ext cx="2125552" cy="1035942"/>
                <a:chOff x="7943613" y="2575161"/>
                <a:chExt cx="3575287" cy="1035942"/>
              </a:xfrm>
            </p:grpSpPr>
            <p:sp>
              <p:nvSpPr>
                <p:cNvPr id="16" name="ïsļîḑe">
                  <a:extLst>
                    <a:ext uri="{FF2B5EF4-FFF2-40B4-BE49-F238E27FC236}">
                      <a16:creationId xmlns:a16="http://schemas.microsoft.com/office/drawing/2014/main" xmlns="" id="{CA1A1677-C3BA-432F-BE35-FBC5EE2B73F9}"/>
                    </a:ext>
                  </a:extLst>
                </p:cNvPr>
                <p:cNvSpPr txBox="1"/>
                <p:nvPr/>
              </p:nvSpPr>
              <p:spPr>
                <a:xfrm flipH="1">
                  <a:off x="7943613" y="3082992"/>
                  <a:ext cx="3575286" cy="528111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20000"/>
                    </a:lnSpc>
                  </a:pPr>
                  <a:r>
                    <a:rPr lang="en-US" altLang="zh-CN" sz="1100" dirty="0"/>
                    <a:t>Copy paste fonts. Choose the only option to retain text……</a:t>
                  </a:r>
                </a:p>
              </p:txBody>
            </p:sp>
            <p:sp>
              <p:nvSpPr>
                <p:cNvPr id="17" name="îsľíḓe">
                  <a:extLst>
                    <a:ext uri="{FF2B5EF4-FFF2-40B4-BE49-F238E27FC236}">
                      <a16:creationId xmlns:a16="http://schemas.microsoft.com/office/drawing/2014/main" xmlns="" id="{D41D107E-34AE-4E8B-B557-3B5F56A54A43}"/>
                    </a:ext>
                  </a:extLst>
                </p:cNvPr>
                <p:cNvSpPr/>
                <p:nvPr/>
              </p:nvSpPr>
              <p:spPr>
                <a:xfrm flipH="1">
                  <a:off x="7943614" y="2575161"/>
                  <a:ext cx="3575286" cy="507831"/>
                </a:xfrm>
                <a:prstGeom prst="rect">
                  <a:avLst/>
                </a:prstGeom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2000" b="1" dirty="0"/>
                    <a:t>Text here</a:t>
                  </a:r>
                  <a:endParaRPr lang="zh-CN" altLang="en-US" sz="2000" b="1" dirty="0"/>
                </a:p>
              </p:txBody>
            </p:sp>
          </p:grpSp>
        </p:grpSp>
        <p:grpSp>
          <p:nvGrpSpPr>
            <p:cNvPr id="10" name="íṩ1íďê">
              <a:extLst>
                <a:ext uri="{FF2B5EF4-FFF2-40B4-BE49-F238E27FC236}">
                  <a16:creationId xmlns:a16="http://schemas.microsoft.com/office/drawing/2014/main" xmlns="" id="{ED64C87E-8FEB-40BD-BFD1-910380DEB57A}"/>
                </a:ext>
              </a:extLst>
            </p:cNvPr>
            <p:cNvGrpSpPr/>
            <p:nvPr/>
          </p:nvGrpSpPr>
          <p:grpSpPr>
            <a:xfrm>
              <a:off x="673100" y="1177098"/>
              <a:ext cx="4479925" cy="2084344"/>
              <a:chOff x="3661181" y="4062456"/>
              <a:chExt cx="4869638" cy="2084344"/>
            </a:xfrm>
          </p:grpSpPr>
          <p:sp>
            <p:nvSpPr>
              <p:cNvPr id="11" name="ïṥļïḓe">
                <a:extLst>
                  <a:ext uri="{FF2B5EF4-FFF2-40B4-BE49-F238E27FC236}">
                    <a16:creationId xmlns:a16="http://schemas.microsoft.com/office/drawing/2014/main" xmlns="" id="{2383217E-16C0-490A-91FC-3BE1C6BB5CD8}"/>
                  </a:ext>
                </a:extLst>
              </p:cNvPr>
              <p:cNvSpPr txBox="1"/>
              <p:nvPr/>
            </p:nvSpPr>
            <p:spPr>
              <a:xfrm>
                <a:off x="3661182" y="4062456"/>
                <a:ext cx="4869637" cy="104217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buSzPct val="25000"/>
                </a:pPr>
                <a:r>
                  <a:rPr lang="en-US" sz="2800" b="1" dirty="0"/>
                  <a:t>Unified fonts make</a:t>
                </a:r>
              </a:p>
              <a:p>
                <a:pPr>
                  <a:buSzPct val="25000"/>
                </a:pPr>
                <a:r>
                  <a:rPr lang="en-US" sz="2800" b="1" dirty="0"/>
                  <a:t>reading more fluent.</a:t>
                </a:r>
              </a:p>
            </p:txBody>
          </p:sp>
          <p:sp>
            <p:nvSpPr>
              <p:cNvPr id="12" name="íṧ1íďé">
                <a:extLst>
                  <a:ext uri="{FF2B5EF4-FFF2-40B4-BE49-F238E27FC236}">
                    <a16:creationId xmlns:a16="http://schemas.microsoft.com/office/drawing/2014/main" xmlns="" id="{60E7B3A5-46B6-4DBA-A5E4-858C46E75CB2}"/>
                  </a:ext>
                </a:extLst>
              </p:cNvPr>
              <p:cNvSpPr txBox="1"/>
              <p:nvPr/>
            </p:nvSpPr>
            <p:spPr>
              <a:xfrm>
                <a:off x="3661181" y="5104628"/>
                <a:ext cx="4869638" cy="10421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/>
                  <a:t>Adjust the spacing to adapt to Chinese typesetting, use the reference line in PPT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14894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452F5119-5BFE-439D-950B-E5697636B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7303CAEF-E138-4EC5-BFBF-EAD3D366B7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759DC143-08CA-4E1D-B153-6787278C7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5" name="253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670757D0-4592-4CB8-9889-58F7B7F966A0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301495" y="1130300"/>
            <a:ext cx="9199830" cy="5016500"/>
            <a:chOff x="1301495" y="1130300"/>
            <a:chExt cx="9199830" cy="5016500"/>
          </a:xfrm>
        </p:grpSpPr>
        <p:sp>
          <p:nvSpPr>
            <p:cNvPr id="6" name="îṧḷïḍê">
              <a:extLst>
                <a:ext uri="{FF2B5EF4-FFF2-40B4-BE49-F238E27FC236}">
                  <a16:creationId xmlns:a16="http://schemas.microsoft.com/office/drawing/2014/main" xmlns="" id="{18FE9C92-BF82-429A-87C9-BF5DC57DD593}"/>
                </a:ext>
              </a:extLst>
            </p:cNvPr>
            <p:cNvSpPr/>
            <p:nvPr/>
          </p:nvSpPr>
          <p:spPr bwMode="auto">
            <a:xfrm>
              <a:off x="2105964" y="2757414"/>
              <a:ext cx="1161737" cy="1762271"/>
            </a:xfrm>
            <a:custGeom>
              <a:avLst/>
              <a:gdLst>
                <a:gd name="T0" fmla="*/ 1226 w 6380"/>
                <a:gd name="T1" fmla="*/ 9676 h 9678"/>
                <a:gd name="T2" fmla="*/ 1034 w 6380"/>
                <a:gd name="T3" fmla="*/ 9652 h 9678"/>
                <a:gd name="T4" fmla="*/ 846 w 6380"/>
                <a:gd name="T5" fmla="*/ 9600 h 9678"/>
                <a:gd name="T6" fmla="*/ 666 w 6380"/>
                <a:gd name="T7" fmla="*/ 9518 h 9678"/>
                <a:gd name="T8" fmla="*/ 500 w 6380"/>
                <a:gd name="T9" fmla="*/ 9408 h 9678"/>
                <a:gd name="T10" fmla="*/ 348 w 6380"/>
                <a:gd name="T11" fmla="*/ 9268 h 9678"/>
                <a:gd name="T12" fmla="*/ 262 w 6380"/>
                <a:gd name="T13" fmla="*/ 9168 h 9678"/>
                <a:gd name="T14" fmla="*/ 156 w 6380"/>
                <a:gd name="T15" fmla="*/ 9004 h 9678"/>
                <a:gd name="T16" fmla="*/ 78 w 6380"/>
                <a:gd name="T17" fmla="*/ 8832 h 9678"/>
                <a:gd name="T18" fmla="*/ 26 w 6380"/>
                <a:gd name="T19" fmla="*/ 8652 h 9678"/>
                <a:gd name="T20" fmla="*/ 2 w 6380"/>
                <a:gd name="T21" fmla="*/ 8466 h 9678"/>
                <a:gd name="T22" fmla="*/ 4 w 6380"/>
                <a:gd name="T23" fmla="*/ 8282 h 9678"/>
                <a:gd name="T24" fmla="*/ 32 w 6380"/>
                <a:gd name="T25" fmla="*/ 8098 h 9678"/>
                <a:gd name="T26" fmla="*/ 88 w 6380"/>
                <a:gd name="T27" fmla="*/ 7918 h 9678"/>
                <a:gd name="T28" fmla="*/ 168 w 6380"/>
                <a:gd name="T29" fmla="*/ 7748 h 9678"/>
                <a:gd name="T30" fmla="*/ 276 w 6380"/>
                <a:gd name="T31" fmla="*/ 7588 h 9678"/>
                <a:gd name="T32" fmla="*/ 410 w 6380"/>
                <a:gd name="T33" fmla="*/ 7442 h 9678"/>
                <a:gd name="T34" fmla="*/ 410 w 6380"/>
                <a:gd name="T35" fmla="*/ 2234 h 9678"/>
                <a:gd name="T36" fmla="*/ 276 w 6380"/>
                <a:gd name="T37" fmla="*/ 2090 h 9678"/>
                <a:gd name="T38" fmla="*/ 168 w 6380"/>
                <a:gd name="T39" fmla="*/ 1930 h 9678"/>
                <a:gd name="T40" fmla="*/ 88 w 6380"/>
                <a:gd name="T41" fmla="*/ 1760 h 9678"/>
                <a:gd name="T42" fmla="*/ 32 w 6380"/>
                <a:gd name="T43" fmla="*/ 1580 h 9678"/>
                <a:gd name="T44" fmla="*/ 4 w 6380"/>
                <a:gd name="T45" fmla="*/ 1396 h 9678"/>
                <a:gd name="T46" fmla="*/ 2 w 6380"/>
                <a:gd name="T47" fmla="*/ 1210 h 9678"/>
                <a:gd name="T48" fmla="*/ 26 w 6380"/>
                <a:gd name="T49" fmla="*/ 1026 h 9678"/>
                <a:gd name="T50" fmla="*/ 78 w 6380"/>
                <a:gd name="T51" fmla="*/ 846 h 9678"/>
                <a:gd name="T52" fmla="*/ 156 w 6380"/>
                <a:gd name="T53" fmla="*/ 672 h 9678"/>
                <a:gd name="T54" fmla="*/ 262 w 6380"/>
                <a:gd name="T55" fmla="*/ 510 h 9678"/>
                <a:gd name="T56" fmla="*/ 348 w 6380"/>
                <a:gd name="T57" fmla="*/ 410 h 9678"/>
                <a:gd name="T58" fmla="*/ 492 w 6380"/>
                <a:gd name="T59" fmla="*/ 276 h 9678"/>
                <a:gd name="T60" fmla="*/ 652 w 6380"/>
                <a:gd name="T61" fmla="*/ 168 h 9678"/>
                <a:gd name="T62" fmla="*/ 822 w 6380"/>
                <a:gd name="T63" fmla="*/ 86 h 9678"/>
                <a:gd name="T64" fmla="*/ 1002 w 6380"/>
                <a:gd name="T65" fmla="*/ 32 h 9678"/>
                <a:gd name="T66" fmla="*/ 1186 w 6380"/>
                <a:gd name="T67" fmla="*/ 4 h 9678"/>
                <a:gd name="T68" fmla="*/ 1372 w 6380"/>
                <a:gd name="T69" fmla="*/ 2 h 9678"/>
                <a:gd name="T70" fmla="*/ 1556 w 6380"/>
                <a:gd name="T71" fmla="*/ 26 h 9678"/>
                <a:gd name="T72" fmla="*/ 1736 w 6380"/>
                <a:gd name="T73" fmla="*/ 78 h 9678"/>
                <a:gd name="T74" fmla="*/ 1910 w 6380"/>
                <a:gd name="T75" fmla="*/ 156 h 9678"/>
                <a:gd name="T76" fmla="*/ 2072 w 6380"/>
                <a:gd name="T77" fmla="*/ 262 h 9678"/>
                <a:gd name="T78" fmla="*/ 5970 w 6380"/>
                <a:gd name="T79" fmla="*/ 3896 h 9678"/>
                <a:gd name="T80" fmla="*/ 6062 w 6380"/>
                <a:gd name="T81" fmla="*/ 3992 h 9678"/>
                <a:gd name="T82" fmla="*/ 6180 w 6380"/>
                <a:gd name="T83" fmla="*/ 4150 h 9678"/>
                <a:gd name="T84" fmla="*/ 6274 w 6380"/>
                <a:gd name="T85" fmla="*/ 4324 h 9678"/>
                <a:gd name="T86" fmla="*/ 6338 w 6380"/>
                <a:gd name="T87" fmla="*/ 4510 h 9678"/>
                <a:gd name="T88" fmla="*/ 6374 w 6380"/>
                <a:gd name="T89" fmla="*/ 4706 h 9678"/>
                <a:gd name="T90" fmla="*/ 6380 w 6380"/>
                <a:gd name="T91" fmla="*/ 4838 h 9678"/>
                <a:gd name="T92" fmla="*/ 6364 w 6380"/>
                <a:gd name="T93" fmla="*/ 5038 h 9678"/>
                <a:gd name="T94" fmla="*/ 6320 w 6380"/>
                <a:gd name="T95" fmla="*/ 5230 h 9678"/>
                <a:gd name="T96" fmla="*/ 6246 w 6380"/>
                <a:gd name="T97" fmla="*/ 5412 h 9678"/>
                <a:gd name="T98" fmla="*/ 6144 w 6380"/>
                <a:gd name="T99" fmla="*/ 5582 h 9678"/>
                <a:gd name="T100" fmla="*/ 6018 w 6380"/>
                <a:gd name="T101" fmla="*/ 5736 h 9678"/>
                <a:gd name="T102" fmla="*/ 2174 w 6380"/>
                <a:gd name="T103" fmla="*/ 9330 h 9678"/>
                <a:gd name="T104" fmla="*/ 2026 w 6380"/>
                <a:gd name="T105" fmla="*/ 9448 h 9678"/>
                <a:gd name="T106" fmla="*/ 1868 w 6380"/>
                <a:gd name="T107" fmla="*/ 9542 h 9678"/>
                <a:gd name="T108" fmla="*/ 1700 w 6380"/>
                <a:gd name="T109" fmla="*/ 9612 h 9678"/>
                <a:gd name="T110" fmla="*/ 1528 w 6380"/>
                <a:gd name="T111" fmla="*/ 9656 h 9678"/>
                <a:gd name="T112" fmla="*/ 1350 w 6380"/>
                <a:gd name="T113" fmla="*/ 9676 h 9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80" h="9678">
                  <a:moveTo>
                    <a:pt x="1292" y="9678"/>
                  </a:moveTo>
                  <a:lnTo>
                    <a:pt x="1292" y="9678"/>
                  </a:lnTo>
                  <a:lnTo>
                    <a:pt x="1226" y="9676"/>
                  </a:lnTo>
                  <a:lnTo>
                    <a:pt x="1162" y="9672"/>
                  </a:lnTo>
                  <a:lnTo>
                    <a:pt x="1098" y="9664"/>
                  </a:lnTo>
                  <a:lnTo>
                    <a:pt x="1034" y="9652"/>
                  </a:lnTo>
                  <a:lnTo>
                    <a:pt x="970" y="9638"/>
                  </a:lnTo>
                  <a:lnTo>
                    <a:pt x="908" y="9620"/>
                  </a:lnTo>
                  <a:lnTo>
                    <a:pt x="846" y="9600"/>
                  </a:lnTo>
                  <a:lnTo>
                    <a:pt x="786" y="9576"/>
                  </a:lnTo>
                  <a:lnTo>
                    <a:pt x="726" y="9548"/>
                  </a:lnTo>
                  <a:lnTo>
                    <a:pt x="666" y="9518"/>
                  </a:lnTo>
                  <a:lnTo>
                    <a:pt x="610" y="9484"/>
                  </a:lnTo>
                  <a:lnTo>
                    <a:pt x="554" y="9448"/>
                  </a:lnTo>
                  <a:lnTo>
                    <a:pt x="500" y="9408"/>
                  </a:lnTo>
                  <a:lnTo>
                    <a:pt x="446" y="9364"/>
                  </a:lnTo>
                  <a:lnTo>
                    <a:pt x="396" y="9318"/>
                  </a:lnTo>
                  <a:lnTo>
                    <a:pt x="348" y="9268"/>
                  </a:lnTo>
                  <a:lnTo>
                    <a:pt x="348" y="9268"/>
                  </a:lnTo>
                  <a:lnTo>
                    <a:pt x="304" y="9218"/>
                  </a:lnTo>
                  <a:lnTo>
                    <a:pt x="262" y="9168"/>
                  </a:lnTo>
                  <a:lnTo>
                    <a:pt x="224" y="9114"/>
                  </a:lnTo>
                  <a:lnTo>
                    <a:pt x="188" y="9060"/>
                  </a:lnTo>
                  <a:lnTo>
                    <a:pt x="156" y="9004"/>
                  </a:lnTo>
                  <a:lnTo>
                    <a:pt x="128" y="8948"/>
                  </a:lnTo>
                  <a:lnTo>
                    <a:pt x="102" y="8890"/>
                  </a:lnTo>
                  <a:lnTo>
                    <a:pt x="78" y="8832"/>
                  </a:lnTo>
                  <a:lnTo>
                    <a:pt x="58" y="8772"/>
                  </a:lnTo>
                  <a:lnTo>
                    <a:pt x="42" y="8712"/>
                  </a:lnTo>
                  <a:lnTo>
                    <a:pt x="26" y="8652"/>
                  </a:lnTo>
                  <a:lnTo>
                    <a:pt x="16" y="8590"/>
                  </a:lnTo>
                  <a:lnTo>
                    <a:pt x="8" y="8528"/>
                  </a:lnTo>
                  <a:lnTo>
                    <a:pt x="2" y="8466"/>
                  </a:lnTo>
                  <a:lnTo>
                    <a:pt x="0" y="8404"/>
                  </a:lnTo>
                  <a:lnTo>
                    <a:pt x="0" y="8342"/>
                  </a:lnTo>
                  <a:lnTo>
                    <a:pt x="4" y="8282"/>
                  </a:lnTo>
                  <a:lnTo>
                    <a:pt x="10" y="8220"/>
                  </a:lnTo>
                  <a:lnTo>
                    <a:pt x="20" y="8158"/>
                  </a:lnTo>
                  <a:lnTo>
                    <a:pt x="32" y="8098"/>
                  </a:lnTo>
                  <a:lnTo>
                    <a:pt x="48" y="8036"/>
                  </a:lnTo>
                  <a:lnTo>
                    <a:pt x="66" y="7978"/>
                  </a:lnTo>
                  <a:lnTo>
                    <a:pt x="88" y="7918"/>
                  </a:lnTo>
                  <a:lnTo>
                    <a:pt x="112" y="7860"/>
                  </a:lnTo>
                  <a:lnTo>
                    <a:pt x="138" y="7804"/>
                  </a:lnTo>
                  <a:lnTo>
                    <a:pt x="168" y="7748"/>
                  </a:lnTo>
                  <a:lnTo>
                    <a:pt x="202" y="7694"/>
                  </a:lnTo>
                  <a:lnTo>
                    <a:pt x="238" y="7640"/>
                  </a:lnTo>
                  <a:lnTo>
                    <a:pt x="276" y="7588"/>
                  </a:lnTo>
                  <a:lnTo>
                    <a:pt x="318" y="7538"/>
                  </a:lnTo>
                  <a:lnTo>
                    <a:pt x="362" y="7490"/>
                  </a:lnTo>
                  <a:lnTo>
                    <a:pt x="410" y="7442"/>
                  </a:lnTo>
                  <a:lnTo>
                    <a:pt x="3196" y="4838"/>
                  </a:lnTo>
                  <a:lnTo>
                    <a:pt x="410" y="2234"/>
                  </a:lnTo>
                  <a:lnTo>
                    <a:pt x="410" y="2234"/>
                  </a:lnTo>
                  <a:lnTo>
                    <a:pt x="362" y="2188"/>
                  </a:lnTo>
                  <a:lnTo>
                    <a:pt x="318" y="2140"/>
                  </a:lnTo>
                  <a:lnTo>
                    <a:pt x="276" y="2090"/>
                  </a:lnTo>
                  <a:lnTo>
                    <a:pt x="238" y="2038"/>
                  </a:lnTo>
                  <a:lnTo>
                    <a:pt x="202" y="1984"/>
                  </a:lnTo>
                  <a:lnTo>
                    <a:pt x="168" y="1930"/>
                  </a:lnTo>
                  <a:lnTo>
                    <a:pt x="138" y="1874"/>
                  </a:lnTo>
                  <a:lnTo>
                    <a:pt x="112" y="1818"/>
                  </a:lnTo>
                  <a:lnTo>
                    <a:pt x="88" y="1760"/>
                  </a:lnTo>
                  <a:lnTo>
                    <a:pt x="66" y="1700"/>
                  </a:lnTo>
                  <a:lnTo>
                    <a:pt x="48" y="1640"/>
                  </a:lnTo>
                  <a:lnTo>
                    <a:pt x="32" y="1580"/>
                  </a:lnTo>
                  <a:lnTo>
                    <a:pt x="20" y="1520"/>
                  </a:lnTo>
                  <a:lnTo>
                    <a:pt x="10" y="1458"/>
                  </a:lnTo>
                  <a:lnTo>
                    <a:pt x="4" y="1396"/>
                  </a:lnTo>
                  <a:lnTo>
                    <a:pt x="0" y="1334"/>
                  </a:lnTo>
                  <a:lnTo>
                    <a:pt x="0" y="1272"/>
                  </a:lnTo>
                  <a:lnTo>
                    <a:pt x="2" y="1210"/>
                  </a:lnTo>
                  <a:lnTo>
                    <a:pt x="8" y="1148"/>
                  </a:lnTo>
                  <a:lnTo>
                    <a:pt x="16" y="1088"/>
                  </a:lnTo>
                  <a:lnTo>
                    <a:pt x="26" y="1026"/>
                  </a:lnTo>
                  <a:lnTo>
                    <a:pt x="42" y="966"/>
                  </a:lnTo>
                  <a:lnTo>
                    <a:pt x="58" y="906"/>
                  </a:lnTo>
                  <a:lnTo>
                    <a:pt x="78" y="846"/>
                  </a:lnTo>
                  <a:lnTo>
                    <a:pt x="102" y="788"/>
                  </a:lnTo>
                  <a:lnTo>
                    <a:pt x="128" y="730"/>
                  </a:lnTo>
                  <a:lnTo>
                    <a:pt x="156" y="672"/>
                  </a:lnTo>
                  <a:lnTo>
                    <a:pt x="188" y="618"/>
                  </a:lnTo>
                  <a:lnTo>
                    <a:pt x="224" y="562"/>
                  </a:lnTo>
                  <a:lnTo>
                    <a:pt x="262" y="510"/>
                  </a:lnTo>
                  <a:lnTo>
                    <a:pt x="304" y="458"/>
                  </a:lnTo>
                  <a:lnTo>
                    <a:pt x="348" y="410"/>
                  </a:lnTo>
                  <a:lnTo>
                    <a:pt x="348" y="410"/>
                  </a:lnTo>
                  <a:lnTo>
                    <a:pt x="394" y="362"/>
                  </a:lnTo>
                  <a:lnTo>
                    <a:pt x="442" y="318"/>
                  </a:lnTo>
                  <a:lnTo>
                    <a:pt x="492" y="276"/>
                  </a:lnTo>
                  <a:lnTo>
                    <a:pt x="544" y="236"/>
                  </a:lnTo>
                  <a:lnTo>
                    <a:pt x="598" y="200"/>
                  </a:lnTo>
                  <a:lnTo>
                    <a:pt x="652" y="168"/>
                  </a:lnTo>
                  <a:lnTo>
                    <a:pt x="708" y="138"/>
                  </a:lnTo>
                  <a:lnTo>
                    <a:pt x="764" y="112"/>
                  </a:lnTo>
                  <a:lnTo>
                    <a:pt x="822" y="86"/>
                  </a:lnTo>
                  <a:lnTo>
                    <a:pt x="882" y="66"/>
                  </a:lnTo>
                  <a:lnTo>
                    <a:pt x="942" y="48"/>
                  </a:lnTo>
                  <a:lnTo>
                    <a:pt x="1002" y="32"/>
                  </a:lnTo>
                  <a:lnTo>
                    <a:pt x="1062" y="20"/>
                  </a:lnTo>
                  <a:lnTo>
                    <a:pt x="1124" y="10"/>
                  </a:lnTo>
                  <a:lnTo>
                    <a:pt x="1186" y="4"/>
                  </a:lnTo>
                  <a:lnTo>
                    <a:pt x="1248" y="0"/>
                  </a:lnTo>
                  <a:lnTo>
                    <a:pt x="1310" y="0"/>
                  </a:lnTo>
                  <a:lnTo>
                    <a:pt x="1372" y="2"/>
                  </a:lnTo>
                  <a:lnTo>
                    <a:pt x="1434" y="8"/>
                  </a:lnTo>
                  <a:lnTo>
                    <a:pt x="1494" y="16"/>
                  </a:lnTo>
                  <a:lnTo>
                    <a:pt x="1556" y="26"/>
                  </a:lnTo>
                  <a:lnTo>
                    <a:pt x="1616" y="40"/>
                  </a:lnTo>
                  <a:lnTo>
                    <a:pt x="1676" y="58"/>
                  </a:lnTo>
                  <a:lnTo>
                    <a:pt x="1736" y="78"/>
                  </a:lnTo>
                  <a:lnTo>
                    <a:pt x="1796" y="102"/>
                  </a:lnTo>
                  <a:lnTo>
                    <a:pt x="1852" y="128"/>
                  </a:lnTo>
                  <a:lnTo>
                    <a:pt x="1910" y="156"/>
                  </a:lnTo>
                  <a:lnTo>
                    <a:pt x="1964" y="188"/>
                  </a:lnTo>
                  <a:lnTo>
                    <a:pt x="2020" y="224"/>
                  </a:lnTo>
                  <a:lnTo>
                    <a:pt x="2072" y="262"/>
                  </a:lnTo>
                  <a:lnTo>
                    <a:pt x="2124" y="302"/>
                  </a:lnTo>
                  <a:lnTo>
                    <a:pt x="2174" y="348"/>
                  </a:lnTo>
                  <a:lnTo>
                    <a:pt x="5970" y="3896"/>
                  </a:lnTo>
                  <a:lnTo>
                    <a:pt x="5970" y="3896"/>
                  </a:lnTo>
                  <a:lnTo>
                    <a:pt x="6018" y="3942"/>
                  </a:lnTo>
                  <a:lnTo>
                    <a:pt x="6062" y="3992"/>
                  </a:lnTo>
                  <a:lnTo>
                    <a:pt x="6106" y="4042"/>
                  </a:lnTo>
                  <a:lnTo>
                    <a:pt x="6144" y="4096"/>
                  </a:lnTo>
                  <a:lnTo>
                    <a:pt x="6180" y="4150"/>
                  </a:lnTo>
                  <a:lnTo>
                    <a:pt x="6214" y="4206"/>
                  </a:lnTo>
                  <a:lnTo>
                    <a:pt x="6246" y="4264"/>
                  </a:lnTo>
                  <a:lnTo>
                    <a:pt x="6274" y="4324"/>
                  </a:lnTo>
                  <a:lnTo>
                    <a:pt x="6298" y="4386"/>
                  </a:lnTo>
                  <a:lnTo>
                    <a:pt x="6320" y="4448"/>
                  </a:lnTo>
                  <a:lnTo>
                    <a:pt x="6338" y="4510"/>
                  </a:lnTo>
                  <a:lnTo>
                    <a:pt x="6352" y="4574"/>
                  </a:lnTo>
                  <a:lnTo>
                    <a:pt x="6364" y="4640"/>
                  </a:lnTo>
                  <a:lnTo>
                    <a:pt x="6374" y="4706"/>
                  </a:lnTo>
                  <a:lnTo>
                    <a:pt x="6378" y="4772"/>
                  </a:lnTo>
                  <a:lnTo>
                    <a:pt x="6380" y="4838"/>
                  </a:lnTo>
                  <a:lnTo>
                    <a:pt x="6380" y="4838"/>
                  </a:lnTo>
                  <a:lnTo>
                    <a:pt x="6378" y="4906"/>
                  </a:lnTo>
                  <a:lnTo>
                    <a:pt x="6374" y="4972"/>
                  </a:lnTo>
                  <a:lnTo>
                    <a:pt x="6364" y="5038"/>
                  </a:lnTo>
                  <a:lnTo>
                    <a:pt x="6352" y="5102"/>
                  </a:lnTo>
                  <a:lnTo>
                    <a:pt x="6338" y="5166"/>
                  </a:lnTo>
                  <a:lnTo>
                    <a:pt x="6320" y="5230"/>
                  </a:lnTo>
                  <a:lnTo>
                    <a:pt x="6298" y="5292"/>
                  </a:lnTo>
                  <a:lnTo>
                    <a:pt x="6274" y="5354"/>
                  </a:lnTo>
                  <a:lnTo>
                    <a:pt x="6246" y="5412"/>
                  </a:lnTo>
                  <a:lnTo>
                    <a:pt x="6214" y="5470"/>
                  </a:lnTo>
                  <a:lnTo>
                    <a:pt x="6180" y="5528"/>
                  </a:lnTo>
                  <a:lnTo>
                    <a:pt x="6144" y="5582"/>
                  </a:lnTo>
                  <a:lnTo>
                    <a:pt x="6106" y="5636"/>
                  </a:lnTo>
                  <a:lnTo>
                    <a:pt x="6062" y="5686"/>
                  </a:lnTo>
                  <a:lnTo>
                    <a:pt x="6018" y="5736"/>
                  </a:lnTo>
                  <a:lnTo>
                    <a:pt x="5970" y="5782"/>
                  </a:lnTo>
                  <a:lnTo>
                    <a:pt x="2174" y="9330"/>
                  </a:lnTo>
                  <a:lnTo>
                    <a:pt x="2174" y="9330"/>
                  </a:lnTo>
                  <a:lnTo>
                    <a:pt x="2126" y="9372"/>
                  </a:lnTo>
                  <a:lnTo>
                    <a:pt x="2076" y="9412"/>
                  </a:lnTo>
                  <a:lnTo>
                    <a:pt x="2026" y="9448"/>
                  </a:lnTo>
                  <a:lnTo>
                    <a:pt x="1974" y="9482"/>
                  </a:lnTo>
                  <a:lnTo>
                    <a:pt x="1922" y="9514"/>
                  </a:lnTo>
                  <a:lnTo>
                    <a:pt x="1868" y="9542"/>
                  </a:lnTo>
                  <a:lnTo>
                    <a:pt x="1814" y="9568"/>
                  </a:lnTo>
                  <a:lnTo>
                    <a:pt x="1758" y="9592"/>
                  </a:lnTo>
                  <a:lnTo>
                    <a:pt x="1700" y="9612"/>
                  </a:lnTo>
                  <a:lnTo>
                    <a:pt x="1644" y="9630"/>
                  </a:lnTo>
                  <a:lnTo>
                    <a:pt x="1586" y="9644"/>
                  </a:lnTo>
                  <a:lnTo>
                    <a:pt x="1528" y="9656"/>
                  </a:lnTo>
                  <a:lnTo>
                    <a:pt x="1468" y="9666"/>
                  </a:lnTo>
                  <a:lnTo>
                    <a:pt x="1410" y="9672"/>
                  </a:lnTo>
                  <a:lnTo>
                    <a:pt x="1350" y="9676"/>
                  </a:lnTo>
                  <a:lnTo>
                    <a:pt x="1292" y="9678"/>
                  </a:lnTo>
                  <a:lnTo>
                    <a:pt x="1292" y="967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587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7" name="ï$ḷiḑe">
              <a:extLst>
                <a:ext uri="{FF2B5EF4-FFF2-40B4-BE49-F238E27FC236}">
                  <a16:creationId xmlns:a16="http://schemas.microsoft.com/office/drawing/2014/main" xmlns="" id="{16F361D0-3B9B-4C17-AD2C-29296C3CBB9C}"/>
                </a:ext>
              </a:extLst>
            </p:cNvPr>
            <p:cNvSpPr/>
            <p:nvPr/>
          </p:nvSpPr>
          <p:spPr bwMode="auto">
            <a:xfrm>
              <a:off x="3469631" y="2757414"/>
              <a:ext cx="1161737" cy="1762271"/>
            </a:xfrm>
            <a:custGeom>
              <a:avLst/>
              <a:gdLst>
                <a:gd name="T0" fmla="*/ 1226 w 6380"/>
                <a:gd name="T1" fmla="*/ 9676 h 9678"/>
                <a:gd name="T2" fmla="*/ 1034 w 6380"/>
                <a:gd name="T3" fmla="*/ 9652 h 9678"/>
                <a:gd name="T4" fmla="*/ 846 w 6380"/>
                <a:gd name="T5" fmla="*/ 9600 h 9678"/>
                <a:gd name="T6" fmla="*/ 666 w 6380"/>
                <a:gd name="T7" fmla="*/ 9518 h 9678"/>
                <a:gd name="T8" fmla="*/ 500 w 6380"/>
                <a:gd name="T9" fmla="*/ 9408 h 9678"/>
                <a:gd name="T10" fmla="*/ 348 w 6380"/>
                <a:gd name="T11" fmla="*/ 9268 h 9678"/>
                <a:gd name="T12" fmla="*/ 262 w 6380"/>
                <a:gd name="T13" fmla="*/ 9168 h 9678"/>
                <a:gd name="T14" fmla="*/ 156 w 6380"/>
                <a:gd name="T15" fmla="*/ 9004 h 9678"/>
                <a:gd name="T16" fmla="*/ 78 w 6380"/>
                <a:gd name="T17" fmla="*/ 8832 h 9678"/>
                <a:gd name="T18" fmla="*/ 26 w 6380"/>
                <a:gd name="T19" fmla="*/ 8652 h 9678"/>
                <a:gd name="T20" fmla="*/ 2 w 6380"/>
                <a:gd name="T21" fmla="*/ 8466 h 9678"/>
                <a:gd name="T22" fmla="*/ 4 w 6380"/>
                <a:gd name="T23" fmla="*/ 8282 h 9678"/>
                <a:gd name="T24" fmla="*/ 32 w 6380"/>
                <a:gd name="T25" fmla="*/ 8098 h 9678"/>
                <a:gd name="T26" fmla="*/ 88 w 6380"/>
                <a:gd name="T27" fmla="*/ 7918 h 9678"/>
                <a:gd name="T28" fmla="*/ 168 w 6380"/>
                <a:gd name="T29" fmla="*/ 7748 h 9678"/>
                <a:gd name="T30" fmla="*/ 276 w 6380"/>
                <a:gd name="T31" fmla="*/ 7588 h 9678"/>
                <a:gd name="T32" fmla="*/ 410 w 6380"/>
                <a:gd name="T33" fmla="*/ 7442 h 9678"/>
                <a:gd name="T34" fmla="*/ 410 w 6380"/>
                <a:gd name="T35" fmla="*/ 2234 h 9678"/>
                <a:gd name="T36" fmla="*/ 276 w 6380"/>
                <a:gd name="T37" fmla="*/ 2090 h 9678"/>
                <a:gd name="T38" fmla="*/ 168 w 6380"/>
                <a:gd name="T39" fmla="*/ 1930 h 9678"/>
                <a:gd name="T40" fmla="*/ 88 w 6380"/>
                <a:gd name="T41" fmla="*/ 1760 h 9678"/>
                <a:gd name="T42" fmla="*/ 32 w 6380"/>
                <a:gd name="T43" fmla="*/ 1580 h 9678"/>
                <a:gd name="T44" fmla="*/ 4 w 6380"/>
                <a:gd name="T45" fmla="*/ 1396 h 9678"/>
                <a:gd name="T46" fmla="*/ 2 w 6380"/>
                <a:gd name="T47" fmla="*/ 1210 h 9678"/>
                <a:gd name="T48" fmla="*/ 26 w 6380"/>
                <a:gd name="T49" fmla="*/ 1026 h 9678"/>
                <a:gd name="T50" fmla="*/ 78 w 6380"/>
                <a:gd name="T51" fmla="*/ 846 h 9678"/>
                <a:gd name="T52" fmla="*/ 156 w 6380"/>
                <a:gd name="T53" fmla="*/ 672 h 9678"/>
                <a:gd name="T54" fmla="*/ 262 w 6380"/>
                <a:gd name="T55" fmla="*/ 510 h 9678"/>
                <a:gd name="T56" fmla="*/ 348 w 6380"/>
                <a:gd name="T57" fmla="*/ 410 h 9678"/>
                <a:gd name="T58" fmla="*/ 492 w 6380"/>
                <a:gd name="T59" fmla="*/ 276 h 9678"/>
                <a:gd name="T60" fmla="*/ 652 w 6380"/>
                <a:gd name="T61" fmla="*/ 168 h 9678"/>
                <a:gd name="T62" fmla="*/ 822 w 6380"/>
                <a:gd name="T63" fmla="*/ 86 h 9678"/>
                <a:gd name="T64" fmla="*/ 1002 w 6380"/>
                <a:gd name="T65" fmla="*/ 32 h 9678"/>
                <a:gd name="T66" fmla="*/ 1186 w 6380"/>
                <a:gd name="T67" fmla="*/ 4 h 9678"/>
                <a:gd name="T68" fmla="*/ 1372 w 6380"/>
                <a:gd name="T69" fmla="*/ 2 h 9678"/>
                <a:gd name="T70" fmla="*/ 1556 w 6380"/>
                <a:gd name="T71" fmla="*/ 26 h 9678"/>
                <a:gd name="T72" fmla="*/ 1736 w 6380"/>
                <a:gd name="T73" fmla="*/ 78 h 9678"/>
                <a:gd name="T74" fmla="*/ 1910 w 6380"/>
                <a:gd name="T75" fmla="*/ 156 h 9678"/>
                <a:gd name="T76" fmla="*/ 2072 w 6380"/>
                <a:gd name="T77" fmla="*/ 262 h 9678"/>
                <a:gd name="T78" fmla="*/ 5970 w 6380"/>
                <a:gd name="T79" fmla="*/ 3896 h 9678"/>
                <a:gd name="T80" fmla="*/ 6062 w 6380"/>
                <a:gd name="T81" fmla="*/ 3992 h 9678"/>
                <a:gd name="T82" fmla="*/ 6180 w 6380"/>
                <a:gd name="T83" fmla="*/ 4150 h 9678"/>
                <a:gd name="T84" fmla="*/ 6274 w 6380"/>
                <a:gd name="T85" fmla="*/ 4324 h 9678"/>
                <a:gd name="T86" fmla="*/ 6338 w 6380"/>
                <a:gd name="T87" fmla="*/ 4510 h 9678"/>
                <a:gd name="T88" fmla="*/ 6374 w 6380"/>
                <a:gd name="T89" fmla="*/ 4706 h 9678"/>
                <a:gd name="T90" fmla="*/ 6380 w 6380"/>
                <a:gd name="T91" fmla="*/ 4838 h 9678"/>
                <a:gd name="T92" fmla="*/ 6364 w 6380"/>
                <a:gd name="T93" fmla="*/ 5038 h 9678"/>
                <a:gd name="T94" fmla="*/ 6320 w 6380"/>
                <a:gd name="T95" fmla="*/ 5230 h 9678"/>
                <a:gd name="T96" fmla="*/ 6246 w 6380"/>
                <a:gd name="T97" fmla="*/ 5412 h 9678"/>
                <a:gd name="T98" fmla="*/ 6144 w 6380"/>
                <a:gd name="T99" fmla="*/ 5582 h 9678"/>
                <a:gd name="T100" fmla="*/ 6018 w 6380"/>
                <a:gd name="T101" fmla="*/ 5736 h 9678"/>
                <a:gd name="T102" fmla="*/ 2174 w 6380"/>
                <a:gd name="T103" fmla="*/ 9330 h 9678"/>
                <a:gd name="T104" fmla="*/ 2026 w 6380"/>
                <a:gd name="T105" fmla="*/ 9448 h 9678"/>
                <a:gd name="T106" fmla="*/ 1868 w 6380"/>
                <a:gd name="T107" fmla="*/ 9542 h 9678"/>
                <a:gd name="T108" fmla="*/ 1700 w 6380"/>
                <a:gd name="T109" fmla="*/ 9612 h 9678"/>
                <a:gd name="T110" fmla="*/ 1528 w 6380"/>
                <a:gd name="T111" fmla="*/ 9656 h 9678"/>
                <a:gd name="T112" fmla="*/ 1350 w 6380"/>
                <a:gd name="T113" fmla="*/ 9676 h 9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80" h="9678">
                  <a:moveTo>
                    <a:pt x="1292" y="9678"/>
                  </a:moveTo>
                  <a:lnTo>
                    <a:pt x="1292" y="9678"/>
                  </a:lnTo>
                  <a:lnTo>
                    <a:pt x="1226" y="9676"/>
                  </a:lnTo>
                  <a:lnTo>
                    <a:pt x="1162" y="9672"/>
                  </a:lnTo>
                  <a:lnTo>
                    <a:pt x="1098" y="9664"/>
                  </a:lnTo>
                  <a:lnTo>
                    <a:pt x="1034" y="9652"/>
                  </a:lnTo>
                  <a:lnTo>
                    <a:pt x="970" y="9638"/>
                  </a:lnTo>
                  <a:lnTo>
                    <a:pt x="908" y="9620"/>
                  </a:lnTo>
                  <a:lnTo>
                    <a:pt x="846" y="9600"/>
                  </a:lnTo>
                  <a:lnTo>
                    <a:pt x="786" y="9576"/>
                  </a:lnTo>
                  <a:lnTo>
                    <a:pt x="726" y="9548"/>
                  </a:lnTo>
                  <a:lnTo>
                    <a:pt x="666" y="9518"/>
                  </a:lnTo>
                  <a:lnTo>
                    <a:pt x="610" y="9484"/>
                  </a:lnTo>
                  <a:lnTo>
                    <a:pt x="554" y="9448"/>
                  </a:lnTo>
                  <a:lnTo>
                    <a:pt x="500" y="9408"/>
                  </a:lnTo>
                  <a:lnTo>
                    <a:pt x="446" y="9364"/>
                  </a:lnTo>
                  <a:lnTo>
                    <a:pt x="396" y="9318"/>
                  </a:lnTo>
                  <a:lnTo>
                    <a:pt x="348" y="9268"/>
                  </a:lnTo>
                  <a:lnTo>
                    <a:pt x="348" y="9268"/>
                  </a:lnTo>
                  <a:lnTo>
                    <a:pt x="304" y="9218"/>
                  </a:lnTo>
                  <a:lnTo>
                    <a:pt x="262" y="9168"/>
                  </a:lnTo>
                  <a:lnTo>
                    <a:pt x="224" y="9114"/>
                  </a:lnTo>
                  <a:lnTo>
                    <a:pt x="188" y="9060"/>
                  </a:lnTo>
                  <a:lnTo>
                    <a:pt x="156" y="9004"/>
                  </a:lnTo>
                  <a:lnTo>
                    <a:pt x="128" y="8948"/>
                  </a:lnTo>
                  <a:lnTo>
                    <a:pt x="102" y="8890"/>
                  </a:lnTo>
                  <a:lnTo>
                    <a:pt x="78" y="8832"/>
                  </a:lnTo>
                  <a:lnTo>
                    <a:pt x="58" y="8772"/>
                  </a:lnTo>
                  <a:lnTo>
                    <a:pt x="42" y="8712"/>
                  </a:lnTo>
                  <a:lnTo>
                    <a:pt x="26" y="8652"/>
                  </a:lnTo>
                  <a:lnTo>
                    <a:pt x="16" y="8590"/>
                  </a:lnTo>
                  <a:lnTo>
                    <a:pt x="8" y="8528"/>
                  </a:lnTo>
                  <a:lnTo>
                    <a:pt x="2" y="8466"/>
                  </a:lnTo>
                  <a:lnTo>
                    <a:pt x="0" y="8404"/>
                  </a:lnTo>
                  <a:lnTo>
                    <a:pt x="0" y="8342"/>
                  </a:lnTo>
                  <a:lnTo>
                    <a:pt x="4" y="8282"/>
                  </a:lnTo>
                  <a:lnTo>
                    <a:pt x="10" y="8220"/>
                  </a:lnTo>
                  <a:lnTo>
                    <a:pt x="20" y="8158"/>
                  </a:lnTo>
                  <a:lnTo>
                    <a:pt x="32" y="8098"/>
                  </a:lnTo>
                  <a:lnTo>
                    <a:pt x="48" y="8036"/>
                  </a:lnTo>
                  <a:lnTo>
                    <a:pt x="66" y="7978"/>
                  </a:lnTo>
                  <a:lnTo>
                    <a:pt x="88" y="7918"/>
                  </a:lnTo>
                  <a:lnTo>
                    <a:pt x="112" y="7860"/>
                  </a:lnTo>
                  <a:lnTo>
                    <a:pt x="138" y="7804"/>
                  </a:lnTo>
                  <a:lnTo>
                    <a:pt x="168" y="7748"/>
                  </a:lnTo>
                  <a:lnTo>
                    <a:pt x="202" y="7694"/>
                  </a:lnTo>
                  <a:lnTo>
                    <a:pt x="238" y="7640"/>
                  </a:lnTo>
                  <a:lnTo>
                    <a:pt x="276" y="7588"/>
                  </a:lnTo>
                  <a:lnTo>
                    <a:pt x="318" y="7538"/>
                  </a:lnTo>
                  <a:lnTo>
                    <a:pt x="362" y="7490"/>
                  </a:lnTo>
                  <a:lnTo>
                    <a:pt x="410" y="7442"/>
                  </a:lnTo>
                  <a:lnTo>
                    <a:pt x="3196" y="4838"/>
                  </a:lnTo>
                  <a:lnTo>
                    <a:pt x="410" y="2234"/>
                  </a:lnTo>
                  <a:lnTo>
                    <a:pt x="410" y="2234"/>
                  </a:lnTo>
                  <a:lnTo>
                    <a:pt x="362" y="2188"/>
                  </a:lnTo>
                  <a:lnTo>
                    <a:pt x="318" y="2140"/>
                  </a:lnTo>
                  <a:lnTo>
                    <a:pt x="276" y="2090"/>
                  </a:lnTo>
                  <a:lnTo>
                    <a:pt x="238" y="2038"/>
                  </a:lnTo>
                  <a:lnTo>
                    <a:pt x="202" y="1984"/>
                  </a:lnTo>
                  <a:lnTo>
                    <a:pt x="168" y="1930"/>
                  </a:lnTo>
                  <a:lnTo>
                    <a:pt x="138" y="1874"/>
                  </a:lnTo>
                  <a:lnTo>
                    <a:pt x="112" y="1818"/>
                  </a:lnTo>
                  <a:lnTo>
                    <a:pt x="88" y="1760"/>
                  </a:lnTo>
                  <a:lnTo>
                    <a:pt x="66" y="1700"/>
                  </a:lnTo>
                  <a:lnTo>
                    <a:pt x="48" y="1640"/>
                  </a:lnTo>
                  <a:lnTo>
                    <a:pt x="32" y="1580"/>
                  </a:lnTo>
                  <a:lnTo>
                    <a:pt x="20" y="1520"/>
                  </a:lnTo>
                  <a:lnTo>
                    <a:pt x="10" y="1458"/>
                  </a:lnTo>
                  <a:lnTo>
                    <a:pt x="4" y="1396"/>
                  </a:lnTo>
                  <a:lnTo>
                    <a:pt x="0" y="1334"/>
                  </a:lnTo>
                  <a:lnTo>
                    <a:pt x="0" y="1272"/>
                  </a:lnTo>
                  <a:lnTo>
                    <a:pt x="2" y="1210"/>
                  </a:lnTo>
                  <a:lnTo>
                    <a:pt x="8" y="1148"/>
                  </a:lnTo>
                  <a:lnTo>
                    <a:pt x="16" y="1088"/>
                  </a:lnTo>
                  <a:lnTo>
                    <a:pt x="26" y="1026"/>
                  </a:lnTo>
                  <a:lnTo>
                    <a:pt x="42" y="966"/>
                  </a:lnTo>
                  <a:lnTo>
                    <a:pt x="58" y="906"/>
                  </a:lnTo>
                  <a:lnTo>
                    <a:pt x="78" y="846"/>
                  </a:lnTo>
                  <a:lnTo>
                    <a:pt x="102" y="788"/>
                  </a:lnTo>
                  <a:lnTo>
                    <a:pt x="128" y="730"/>
                  </a:lnTo>
                  <a:lnTo>
                    <a:pt x="156" y="672"/>
                  </a:lnTo>
                  <a:lnTo>
                    <a:pt x="188" y="618"/>
                  </a:lnTo>
                  <a:lnTo>
                    <a:pt x="224" y="562"/>
                  </a:lnTo>
                  <a:lnTo>
                    <a:pt x="262" y="510"/>
                  </a:lnTo>
                  <a:lnTo>
                    <a:pt x="304" y="458"/>
                  </a:lnTo>
                  <a:lnTo>
                    <a:pt x="348" y="410"/>
                  </a:lnTo>
                  <a:lnTo>
                    <a:pt x="348" y="410"/>
                  </a:lnTo>
                  <a:lnTo>
                    <a:pt x="394" y="362"/>
                  </a:lnTo>
                  <a:lnTo>
                    <a:pt x="442" y="318"/>
                  </a:lnTo>
                  <a:lnTo>
                    <a:pt x="492" y="276"/>
                  </a:lnTo>
                  <a:lnTo>
                    <a:pt x="544" y="236"/>
                  </a:lnTo>
                  <a:lnTo>
                    <a:pt x="598" y="200"/>
                  </a:lnTo>
                  <a:lnTo>
                    <a:pt x="652" y="168"/>
                  </a:lnTo>
                  <a:lnTo>
                    <a:pt x="708" y="138"/>
                  </a:lnTo>
                  <a:lnTo>
                    <a:pt x="764" y="112"/>
                  </a:lnTo>
                  <a:lnTo>
                    <a:pt x="822" y="86"/>
                  </a:lnTo>
                  <a:lnTo>
                    <a:pt x="882" y="66"/>
                  </a:lnTo>
                  <a:lnTo>
                    <a:pt x="942" y="48"/>
                  </a:lnTo>
                  <a:lnTo>
                    <a:pt x="1002" y="32"/>
                  </a:lnTo>
                  <a:lnTo>
                    <a:pt x="1062" y="20"/>
                  </a:lnTo>
                  <a:lnTo>
                    <a:pt x="1124" y="10"/>
                  </a:lnTo>
                  <a:lnTo>
                    <a:pt x="1186" y="4"/>
                  </a:lnTo>
                  <a:lnTo>
                    <a:pt x="1248" y="0"/>
                  </a:lnTo>
                  <a:lnTo>
                    <a:pt x="1310" y="0"/>
                  </a:lnTo>
                  <a:lnTo>
                    <a:pt x="1372" y="2"/>
                  </a:lnTo>
                  <a:lnTo>
                    <a:pt x="1434" y="8"/>
                  </a:lnTo>
                  <a:lnTo>
                    <a:pt x="1494" y="16"/>
                  </a:lnTo>
                  <a:lnTo>
                    <a:pt x="1556" y="26"/>
                  </a:lnTo>
                  <a:lnTo>
                    <a:pt x="1616" y="40"/>
                  </a:lnTo>
                  <a:lnTo>
                    <a:pt x="1676" y="58"/>
                  </a:lnTo>
                  <a:lnTo>
                    <a:pt x="1736" y="78"/>
                  </a:lnTo>
                  <a:lnTo>
                    <a:pt x="1796" y="102"/>
                  </a:lnTo>
                  <a:lnTo>
                    <a:pt x="1852" y="128"/>
                  </a:lnTo>
                  <a:lnTo>
                    <a:pt x="1910" y="156"/>
                  </a:lnTo>
                  <a:lnTo>
                    <a:pt x="1964" y="188"/>
                  </a:lnTo>
                  <a:lnTo>
                    <a:pt x="2020" y="224"/>
                  </a:lnTo>
                  <a:lnTo>
                    <a:pt x="2072" y="262"/>
                  </a:lnTo>
                  <a:lnTo>
                    <a:pt x="2124" y="302"/>
                  </a:lnTo>
                  <a:lnTo>
                    <a:pt x="2174" y="348"/>
                  </a:lnTo>
                  <a:lnTo>
                    <a:pt x="5970" y="3896"/>
                  </a:lnTo>
                  <a:lnTo>
                    <a:pt x="5970" y="3896"/>
                  </a:lnTo>
                  <a:lnTo>
                    <a:pt x="6018" y="3942"/>
                  </a:lnTo>
                  <a:lnTo>
                    <a:pt x="6062" y="3992"/>
                  </a:lnTo>
                  <a:lnTo>
                    <a:pt x="6106" y="4042"/>
                  </a:lnTo>
                  <a:lnTo>
                    <a:pt x="6144" y="4096"/>
                  </a:lnTo>
                  <a:lnTo>
                    <a:pt x="6180" y="4150"/>
                  </a:lnTo>
                  <a:lnTo>
                    <a:pt x="6214" y="4206"/>
                  </a:lnTo>
                  <a:lnTo>
                    <a:pt x="6246" y="4264"/>
                  </a:lnTo>
                  <a:lnTo>
                    <a:pt x="6274" y="4324"/>
                  </a:lnTo>
                  <a:lnTo>
                    <a:pt x="6298" y="4386"/>
                  </a:lnTo>
                  <a:lnTo>
                    <a:pt x="6320" y="4448"/>
                  </a:lnTo>
                  <a:lnTo>
                    <a:pt x="6338" y="4510"/>
                  </a:lnTo>
                  <a:lnTo>
                    <a:pt x="6352" y="4574"/>
                  </a:lnTo>
                  <a:lnTo>
                    <a:pt x="6364" y="4640"/>
                  </a:lnTo>
                  <a:lnTo>
                    <a:pt x="6374" y="4706"/>
                  </a:lnTo>
                  <a:lnTo>
                    <a:pt x="6378" y="4772"/>
                  </a:lnTo>
                  <a:lnTo>
                    <a:pt x="6380" y="4838"/>
                  </a:lnTo>
                  <a:lnTo>
                    <a:pt x="6380" y="4838"/>
                  </a:lnTo>
                  <a:lnTo>
                    <a:pt x="6378" y="4906"/>
                  </a:lnTo>
                  <a:lnTo>
                    <a:pt x="6374" y="4972"/>
                  </a:lnTo>
                  <a:lnTo>
                    <a:pt x="6364" y="5038"/>
                  </a:lnTo>
                  <a:lnTo>
                    <a:pt x="6352" y="5102"/>
                  </a:lnTo>
                  <a:lnTo>
                    <a:pt x="6338" y="5166"/>
                  </a:lnTo>
                  <a:lnTo>
                    <a:pt x="6320" y="5230"/>
                  </a:lnTo>
                  <a:lnTo>
                    <a:pt x="6298" y="5292"/>
                  </a:lnTo>
                  <a:lnTo>
                    <a:pt x="6274" y="5354"/>
                  </a:lnTo>
                  <a:lnTo>
                    <a:pt x="6246" y="5412"/>
                  </a:lnTo>
                  <a:lnTo>
                    <a:pt x="6214" y="5470"/>
                  </a:lnTo>
                  <a:lnTo>
                    <a:pt x="6180" y="5528"/>
                  </a:lnTo>
                  <a:lnTo>
                    <a:pt x="6144" y="5582"/>
                  </a:lnTo>
                  <a:lnTo>
                    <a:pt x="6106" y="5636"/>
                  </a:lnTo>
                  <a:lnTo>
                    <a:pt x="6062" y="5686"/>
                  </a:lnTo>
                  <a:lnTo>
                    <a:pt x="6018" y="5736"/>
                  </a:lnTo>
                  <a:lnTo>
                    <a:pt x="5970" y="5782"/>
                  </a:lnTo>
                  <a:lnTo>
                    <a:pt x="2174" y="9330"/>
                  </a:lnTo>
                  <a:lnTo>
                    <a:pt x="2174" y="9330"/>
                  </a:lnTo>
                  <a:lnTo>
                    <a:pt x="2126" y="9372"/>
                  </a:lnTo>
                  <a:lnTo>
                    <a:pt x="2076" y="9412"/>
                  </a:lnTo>
                  <a:lnTo>
                    <a:pt x="2026" y="9448"/>
                  </a:lnTo>
                  <a:lnTo>
                    <a:pt x="1974" y="9482"/>
                  </a:lnTo>
                  <a:lnTo>
                    <a:pt x="1922" y="9514"/>
                  </a:lnTo>
                  <a:lnTo>
                    <a:pt x="1868" y="9542"/>
                  </a:lnTo>
                  <a:lnTo>
                    <a:pt x="1814" y="9568"/>
                  </a:lnTo>
                  <a:lnTo>
                    <a:pt x="1758" y="9592"/>
                  </a:lnTo>
                  <a:lnTo>
                    <a:pt x="1700" y="9612"/>
                  </a:lnTo>
                  <a:lnTo>
                    <a:pt x="1644" y="9630"/>
                  </a:lnTo>
                  <a:lnTo>
                    <a:pt x="1586" y="9644"/>
                  </a:lnTo>
                  <a:lnTo>
                    <a:pt x="1528" y="9656"/>
                  </a:lnTo>
                  <a:lnTo>
                    <a:pt x="1468" y="9666"/>
                  </a:lnTo>
                  <a:lnTo>
                    <a:pt x="1410" y="9672"/>
                  </a:lnTo>
                  <a:lnTo>
                    <a:pt x="1350" y="9676"/>
                  </a:lnTo>
                  <a:lnTo>
                    <a:pt x="1292" y="9678"/>
                  </a:lnTo>
                  <a:lnTo>
                    <a:pt x="1292" y="967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587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8" name="íṣḻîḋe">
              <a:extLst>
                <a:ext uri="{FF2B5EF4-FFF2-40B4-BE49-F238E27FC236}">
                  <a16:creationId xmlns:a16="http://schemas.microsoft.com/office/drawing/2014/main" xmlns="" id="{8E696569-6519-4F0E-8427-7F9226F1C851}"/>
                </a:ext>
              </a:extLst>
            </p:cNvPr>
            <p:cNvSpPr/>
            <p:nvPr/>
          </p:nvSpPr>
          <p:spPr bwMode="auto">
            <a:xfrm>
              <a:off x="4833298" y="2757414"/>
              <a:ext cx="1161737" cy="1762271"/>
            </a:xfrm>
            <a:custGeom>
              <a:avLst/>
              <a:gdLst>
                <a:gd name="T0" fmla="*/ 1226 w 6380"/>
                <a:gd name="T1" fmla="*/ 9676 h 9678"/>
                <a:gd name="T2" fmla="*/ 1034 w 6380"/>
                <a:gd name="T3" fmla="*/ 9652 h 9678"/>
                <a:gd name="T4" fmla="*/ 846 w 6380"/>
                <a:gd name="T5" fmla="*/ 9600 h 9678"/>
                <a:gd name="T6" fmla="*/ 666 w 6380"/>
                <a:gd name="T7" fmla="*/ 9518 h 9678"/>
                <a:gd name="T8" fmla="*/ 500 w 6380"/>
                <a:gd name="T9" fmla="*/ 9408 h 9678"/>
                <a:gd name="T10" fmla="*/ 348 w 6380"/>
                <a:gd name="T11" fmla="*/ 9268 h 9678"/>
                <a:gd name="T12" fmla="*/ 262 w 6380"/>
                <a:gd name="T13" fmla="*/ 9168 h 9678"/>
                <a:gd name="T14" fmla="*/ 156 w 6380"/>
                <a:gd name="T15" fmla="*/ 9004 h 9678"/>
                <a:gd name="T16" fmla="*/ 78 w 6380"/>
                <a:gd name="T17" fmla="*/ 8832 h 9678"/>
                <a:gd name="T18" fmla="*/ 26 w 6380"/>
                <a:gd name="T19" fmla="*/ 8652 h 9678"/>
                <a:gd name="T20" fmla="*/ 2 w 6380"/>
                <a:gd name="T21" fmla="*/ 8466 h 9678"/>
                <a:gd name="T22" fmla="*/ 4 w 6380"/>
                <a:gd name="T23" fmla="*/ 8282 h 9678"/>
                <a:gd name="T24" fmla="*/ 32 w 6380"/>
                <a:gd name="T25" fmla="*/ 8098 h 9678"/>
                <a:gd name="T26" fmla="*/ 88 w 6380"/>
                <a:gd name="T27" fmla="*/ 7918 h 9678"/>
                <a:gd name="T28" fmla="*/ 168 w 6380"/>
                <a:gd name="T29" fmla="*/ 7748 h 9678"/>
                <a:gd name="T30" fmla="*/ 276 w 6380"/>
                <a:gd name="T31" fmla="*/ 7588 h 9678"/>
                <a:gd name="T32" fmla="*/ 410 w 6380"/>
                <a:gd name="T33" fmla="*/ 7442 h 9678"/>
                <a:gd name="T34" fmla="*/ 410 w 6380"/>
                <a:gd name="T35" fmla="*/ 2234 h 9678"/>
                <a:gd name="T36" fmla="*/ 276 w 6380"/>
                <a:gd name="T37" fmla="*/ 2090 h 9678"/>
                <a:gd name="T38" fmla="*/ 168 w 6380"/>
                <a:gd name="T39" fmla="*/ 1930 h 9678"/>
                <a:gd name="T40" fmla="*/ 88 w 6380"/>
                <a:gd name="T41" fmla="*/ 1760 h 9678"/>
                <a:gd name="T42" fmla="*/ 32 w 6380"/>
                <a:gd name="T43" fmla="*/ 1580 h 9678"/>
                <a:gd name="T44" fmla="*/ 4 w 6380"/>
                <a:gd name="T45" fmla="*/ 1396 h 9678"/>
                <a:gd name="T46" fmla="*/ 2 w 6380"/>
                <a:gd name="T47" fmla="*/ 1210 h 9678"/>
                <a:gd name="T48" fmla="*/ 26 w 6380"/>
                <a:gd name="T49" fmla="*/ 1026 h 9678"/>
                <a:gd name="T50" fmla="*/ 78 w 6380"/>
                <a:gd name="T51" fmla="*/ 846 h 9678"/>
                <a:gd name="T52" fmla="*/ 156 w 6380"/>
                <a:gd name="T53" fmla="*/ 672 h 9678"/>
                <a:gd name="T54" fmla="*/ 262 w 6380"/>
                <a:gd name="T55" fmla="*/ 510 h 9678"/>
                <a:gd name="T56" fmla="*/ 348 w 6380"/>
                <a:gd name="T57" fmla="*/ 410 h 9678"/>
                <a:gd name="T58" fmla="*/ 492 w 6380"/>
                <a:gd name="T59" fmla="*/ 276 h 9678"/>
                <a:gd name="T60" fmla="*/ 652 w 6380"/>
                <a:gd name="T61" fmla="*/ 168 h 9678"/>
                <a:gd name="T62" fmla="*/ 822 w 6380"/>
                <a:gd name="T63" fmla="*/ 86 h 9678"/>
                <a:gd name="T64" fmla="*/ 1002 w 6380"/>
                <a:gd name="T65" fmla="*/ 32 h 9678"/>
                <a:gd name="T66" fmla="*/ 1186 w 6380"/>
                <a:gd name="T67" fmla="*/ 4 h 9678"/>
                <a:gd name="T68" fmla="*/ 1372 w 6380"/>
                <a:gd name="T69" fmla="*/ 2 h 9678"/>
                <a:gd name="T70" fmla="*/ 1556 w 6380"/>
                <a:gd name="T71" fmla="*/ 26 h 9678"/>
                <a:gd name="T72" fmla="*/ 1736 w 6380"/>
                <a:gd name="T73" fmla="*/ 78 h 9678"/>
                <a:gd name="T74" fmla="*/ 1910 w 6380"/>
                <a:gd name="T75" fmla="*/ 156 h 9678"/>
                <a:gd name="T76" fmla="*/ 2072 w 6380"/>
                <a:gd name="T77" fmla="*/ 262 h 9678"/>
                <a:gd name="T78" fmla="*/ 5970 w 6380"/>
                <a:gd name="T79" fmla="*/ 3896 h 9678"/>
                <a:gd name="T80" fmla="*/ 6062 w 6380"/>
                <a:gd name="T81" fmla="*/ 3992 h 9678"/>
                <a:gd name="T82" fmla="*/ 6180 w 6380"/>
                <a:gd name="T83" fmla="*/ 4150 h 9678"/>
                <a:gd name="T84" fmla="*/ 6274 w 6380"/>
                <a:gd name="T85" fmla="*/ 4324 h 9678"/>
                <a:gd name="T86" fmla="*/ 6338 w 6380"/>
                <a:gd name="T87" fmla="*/ 4510 h 9678"/>
                <a:gd name="T88" fmla="*/ 6374 w 6380"/>
                <a:gd name="T89" fmla="*/ 4706 h 9678"/>
                <a:gd name="T90" fmla="*/ 6380 w 6380"/>
                <a:gd name="T91" fmla="*/ 4838 h 9678"/>
                <a:gd name="T92" fmla="*/ 6364 w 6380"/>
                <a:gd name="T93" fmla="*/ 5038 h 9678"/>
                <a:gd name="T94" fmla="*/ 6320 w 6380"/>
                <a:gd name="T95" fmla="*/ 5230 h 9678"/>
                <a:gd name="T96" fmla="*/ 6246 w 6380"/>
                <a:gd name="T97" fmla="*/ 5412 h 9678"/>
                <a:gd name="T98" fmla="*/ 6144 w 6380"/>
                <a:gd name="T99" fmla="*/ 5582 h 9678"/>
                <a:gd name="T100" fmla="*/ 6018 w 6380"/>
                <a:gd name="T101" fmla="*/ 5736 h 9678"/>
                <a:gd name="T102" fmla="*/ 2174 w 6380"/>
                <a:gd name="T103" fmla="*/ 9330 h 9678"/>
                <a:gd name="T104" fmla="*/ 2026 w 6380"/>
                <a:gd name="T105" fmla="*/ 9448 h 9678"/>
                <a:gd name="T106" fmla="*/ 1868 w 6380"/>
                <a:gd name="T107" fmla="*/ 9542 h 9678"/>
                <a:gd name="T108" fmla="*/ 1700 w 6380"/>
                <a:gd name="T109" fmla="*/ 9612 h 9678"/>
                <a:gd name="T110" fmla="*/ 1528 w 6380"/>
                <a:gd name="T111" fmla="*/ 9656 h 9678"/>
                <a:gd name="T112" fmla="*/ 1350 w 6380"/>
                <a:gd name="T113" fmla="*/ 9676 h 9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80" h="9678">
                  <a:moveTo>
                    <a:pt x="1292" y="9678"/>
                  </a:moveTo>
                  <a:lnTo>
                    <a:pt x="1292" y="9678"/>
                  </a:lnTo>
                  <a:lnTo>
                    <a:pt x="1226" y="9676"/>
                  </a:lnTo>
                  <a:lnTo>
                    <a:pt x="1162" y="9672"/>
                  </a:lnTo>
                  <a:lnTo>
                    <a:pt x="1098" y="9664"/>
                  </a:lnTo>
                  <a:lnTo>
                    <a:pt x="1034" y="9652"/>
                  </a:lnTo>
                  <a:lnTo>
                    <a:pt x="970" y="9638"/>
                  </a:lnTo>
                  <a:lnTo>
                    <a:pt x="908" y="9620"/>
                  </a:lnTo>
                  <a:lnTo>
                    <a:pt x="846" y="9600"/>
                  </a:lnTo>
                  <a:lnTo>
                    <a:pt x="786" y="9576"/>
                  </a:lnTo>
                  <a:lnTo>
                    <a:pt x="726" y="9548"/>
                  </a:lnTo>
                  <a:lnTo>
                    <a:pt x="666" y="9518"/>
                  </a:lnTo>
                  <a:lnTo>
                    <a:pt x="610" y="9484"/>
                  </a:lnTo>
                  <a:lnTo>
                    <a:pt x="554" y="9448"/>
                  </a:lnTo>
                  <a:lnTo>
                    <a:pt x="500" y="9408"/>
                  </a:lnTo>
                  <a:lnTo>
                    <a:pt x="446" y="9364"/>
                  </a:lnTo>
                  <a:lnTo>
                    <a:pt x="396" y="9318"/>
                  </a:lnTo>
                  <a:lnTo>
                    <a:pt x="348" y="9268"/>
                  </a:lnTo>
                  <a:lnTo>
                    <a:pt x="348" y="9268"/>
                  </a:lnTo>
                  <a:lnTo>
                    <a:pt x="304" y="9218"/>
                  </a:lnTo>
                  <a:lnTo>
                    <a:pt x="262" y="9168"/>
                  </a:lnTo>
                  <a:lnTo>
                    <a:pt x="224" y="9114"/>
                  </a:lnTo>
                  <a:lnTo>
                    <a:pt x="188" y="9060"/>
                  </a:lnTo>
                  <a:lnTo>
                    <a:pt x="156" y="9004"/>
                  </a:lnTo>
                  <a:lnTo>
                    <a:pt x="128" y="8948"/>
                  </a:lnTo>
                  <a:lnTo>
                    <a:pt x="102" y="8890"/>
                  </a:lnTo>
                  <a:lnTo>
                    <a:pt x="78" y="8832"/>
                  </a:lnTo>
                  <a:lnTo>
                    <a:pt x="58" y="8772"/>
                  </a:lnTo>
                  <a:lnTo>
                    <a:pt x="42" y="8712"/>
                  </a:lnTo>
                  <a:lnTo>
                    <a:pt x="26" y="8652"/>
                  </a:lnTo>
                  <a:lnTo>
                    <a:pt x="16" y="8590"/>
                  </a:lnTo>
                  <a:lnTo>
                    <a:pt x="8" y="8528"/>
                  </a:lnTo>
                  <a:lnTo>
                    <a:pt x="2" y="8466"/>
                  </a:lnTo>
                  <a:lnTo>
                    <a:pt x="0" y="8404"/>
                  </a:lnTo>
                  <a:lnTo>
                    <a:pt x="0" y="8342"/>
                  </a:lnTo>
                  <a:lnTo>
                    <a:pt x="4" y="8282"/>
                  </a:lnTo>
                  <a:lnTo>
                    <a:pt x="10" y="8220"/>
                  </a:lnTo>
                  <a:lnTo>
                    <a:pt x="20" y="8158"/>
                  </a:lnTo>
                  <a:lnTo>
                    <a:pt x="32" y="8098"/>
                  </a:lnTo>
                  <a:lnTo>
                    <a:pt x="48" y="8036"/>
                  </a:lnTo>
                  <a:lnTo>
                    <a:pt x="66" y="7978"/>
                  </a:lnTo>
                  <a:lnTo>
                    <a:pt x="88" y="7918"/>
                  </a:lnTo>
                  <a:lnTo>
                    <a:pt x="112" y="7860"/>
                  </a:lnTo>
                  <a:lnTo>
                    <a:pt x="138" y="7804"/>
                  </a:lnTo>
                  <a:lnTo>
                    <a:pt x="168" y="7748"/>
                  </a:lnTo>
                  <a:lnTo>
                    <a:pt x="202" y="7694"/>
                  </a:lnTo>
                  <a:lnTo>
                    <a:pt x="238" y="7640"/>
                  </a:lnTo>
                  <a:lnTo>
                    <a:pt x="276" y="7588"/>
                  </a:lnTo>
                  <a:lnTo>
                    <a:pt x="318" y="7538"/>
                  </a:lnTo>
                  <a:lnTo>
                    <a:pt x="362" y="7490"/>
                  </a:lnTo>
                  <a:lnTo>
                    <a:pt x="410" y="7442"/>
                  </a:lnTo>
                  <a:lnTo>
                    <a:pt x="3196" y="4838"/>
                  </a:lnTo>
                  <a:lnTo>
                    <a:pt x="410" y="2234"/>
                  </a:lnTo>
                  <a:lnTo>
                    <a:pt x="410" y="2234"/>
                  </a:lnTo>
                  <a:lnTo>
                    <a:pt x="362" y="2188"/>
                  </a:lnTo>
                  <a:lnTo>
                    <a:pt x="318" y="2140"/>
                  </a:lnTo>
                  <a:lnTo>
                    <a:pt x="276" y="2090"/>
                  </a:lnTo>
                  <a:lnTo>
                    <a:pt x="238" y="2038"/>
                  </a:lnTo>
                  <a:lnTo>
                    <a:pt x="202" y="1984"/>
                  </a:lnTo>
                  <a:lnTo>
                    <a:pt x="168" y="1930"/>
                  </a:lnTo>
                  <a:lnTo>
                    <a:pt x="138" y="1874"/>
                  </a:lnTo>
                  <a:lnTo>
                    <a:pt x="112" y="1818"/>
                  </a:lnTo>
                  <a:lnTo>
                    <a:pt x="88" y="1760"/>
                  </a:lnTo>
                  <a:lnTo>
                    <a:pt x="66" y="1700"/>
                  </a:lnTo>
                  <a:lnTo>
                    <a:pt x="48" y="1640"/>
                  </a:lnTo>
                  <a:lnTo>
                    <a:pt x="32" y="1580"/>
                  </a:lnTo>
                  <a:lnTo>
                    <a:pt x="20" y="1520"/>
                  </a:lnTo>
                  <a:lnTo>
                    <a:pt x="10" y="1458"/>
                  </a:lnTo>
                  <a:lnTo>
                    <a:pt x="4" y="1396"/>
                  </a:lnTo>
                  <a:lnTo>
                    <a:pt x="0" y="1334"/>
                  </a:lnTo>
                  <a:lnTo>
                    <a:pt x="0" y="1272"/>
                  </a:lnTo>
                  <a:lnTo>
                    <a:pt x="2" y="1210"/>
                  </a:lnTo>
                  <a:lnTo>
                    <a:pt x="8" y="1148"/>
                  </a:lnTo>
                  <a:lnTo>
                    <a:pt x="16" y="1088"/>
                  </a:lnTo>
                  <a:lnTo>
                    <a:pt x="26" y="1026"/>
                  </a:lnTo>
                  <a:lnTo>
                    <a:pt x="42" y="966"/>
                  </a:lnTo>
                  <a:lnTo>
                    <a:pt x="58" y="906"/>
                  </a:lnTo>
                  <a:lnTo>
                    <a:pt x="78" y="846"/>
                  </a:lnTo>
                  <a:lnTo>
                    <a:pt x="102" y="788"/>
                  </a:lnTo>
                  <a:lnTo>
                    <a:pt x="128" y="730"/>
                  </a:lnTo>
                  <a:lnTo>
                    <a:pt x="156" y="672"/>
                  </a:lnTo>
                  <a:lnTo>
                    <a:pt x="188" y="618"/>
                  </a:lnTo>
                  <a:lnTo>
                    <a:pt x="224" y="562"/>
                  </a:lnTo>
                  <a:lnTo>
                    <a:pt x="262" y="510"/>
                  </a:lnTo>
                  <a:lnTo>
                    <a:pt x="304" y="458"/>
                  </a:lnTo>
                  <a:lnTo>
                    <a:pt x="348" y="410"/>
                  </a:lnTo>
                  <a:lnTo>
                    <a:pt x="348" y="410"/>
                  </a:lnTo>
                  <a:lnTo>
                    <a:pt x="394" y="362"/>
                  </a:lnTo>
                  <a:lnTo>
                    <a:pt x="442" y="318"/>
                  </a:lnTo>
                  <a:lnTo>
                    <a:pt x="492" y="276"/>
                  </a:lnTo>
                  <a:lnTo>
                    <a:pt x="544" y="236"/>
                  </a:lnTo>
                  <a:lnTo>
                    <a:pt x="598" y="200"/>
                  </a:lnTo>
                  <a:lnTo>
                    <a:pt x="652" y="168"/>
                  </a:lnTo>
                  <a:lnTo>
                    <a:pt x="708" y="138"/>
                  </a:lnTo>
                  <a:lnTo>
                    <a:pt x="764" y="112"/>
                  </a:lnTo>
                  <a:lnTo>
                    <a:pt x="822" y="86"/>
                  </a:lnTo>
                  <a:lnTo>
                    <a:pt x="882" y="66"/>
                  </a:lnTo>
                  <a:lnTo>
                    <a:pt x="942" y="48"/>
                  </a:lnTo>
                  <a:lnTo>
                    <a:pt x="1002" y="32"/>
                  </a:lnTo>
                  <a:lnTo>
                    <a:pt x="1062" y="20"/>
                  </a:lnTo>
                  <a:lnTo>
                    <a:pt x="1124" y="10"/>
                  </a:lnTo>
                  <a:lnTo>
                    <a:pt x="1186" y="4"/>
                  </a:lnTo>
                  <a:lnTo>
                    <a:pt x="1248" y="0"/>
                  </a:lnTo>
                  <a:lnTo>
                    <a:pt x="1310" y="0"/>
                  </a:lnTo>
                  <a:lnTo>
                    <a:pt x="1372" y="2"/>
                  </a:lnTo>
                  <a:lnTo>
                    <a:pt x="1434" y="8"/>
                  </a:lnTo>
                  <a:lnTo>
                    <a:pt x="1494" y="16"/>
                  </a:lnTo>
                  <a:lnTo>
                    <a:pt x="1556" y="26"/>
                  </a:lnTo>
                  <a:lnTo>
                    <a:pt x="1616" y="40"/>
                  </a:lnTo>
                  <a:lnTo>
                    <a:pt x="1676" y="58"/>
                  </a:lnTo>
                  <a:lnTo>
                    <a:pt x="1736" y="78"/>
                  </a:lnTo>
                  <a:lnTo>
                    <a:pt x="1796" y="102"/>
                  </a:lnTo>
                  <a:lnTo>
                    <a:pt x="1852" y="128"/>
                  </a:lnTo>
                  <a:lnTo>
                    <a:pt x="1910" y="156"/>
                  </a:lnTo>
                  <a:lnTo>
                    <a:pt x="1964" y="188"/>
                  </a:lnTo>
                  <a:lnTo>
                    <a:pt x="2020" y="224"/>
                  </a:lnTo>
                  <a:lnTo>
                    <a:pt x="2072" y="262"/>
                  </a:lnTo>
                  <a:lnTo>
                    <a:pt x="2124" y="302"/>
                  </a:lnTo>
                  <a:lnTo>
                    <a:pt x="2174" y="348"/>
                  </a:lnTo>
                  <a:lnTo>
                    <a:pt x="5970" y="3896"/>
                  </a:lnTo>
                  <a:lnTo>
                    <a:pt x="5970" y="3896"/>
                  </a:lnTo>
                  <a:lnTo>
                    <a:pt x="6018" y="3942"/>
                  </a:lnTo>
                  <a:lnTo>
                    <a:pt x="6062" y="3992"/>
                  </a:lnTo>
                  <a:lnTo>
                    <a:pt x="6106" y="4042"/>
                  </a:lnTo>
                  <a:lnTo>
                    <a:pt x="6144" y="4096"/>
                  </a:lnTo>
                  <a:lnTo>
                    <a:pt x="6180" y="4150"/>
                  </a:lnTo>
                  <a:lnTo>
                    <a:pt x="6214" y="4206"/>
                  </a:lnTo>
                  <a:lnTo>
                    <a:pt x="6246" y="4264"/>
                  </a:lnTo>
                  <a:lnTo>
                    <a:pt x="6274" y="4324"/>
                  </a:lnTo>
                  <a:lnTo>
                    <a:pt x="6298" y="4386"/>
                  </a:lnTo>
                  <a:lnTo>
                    <a:pt x="6320" y="4448"/>
                  </a:lnTo>
                  <a:lnTo>
                    <a:pt x="6338" y="4510"/>
                  </a:lnTo>
                  <a:lnTo>
                    <a:pt x="6352" y="4574"/>
                  </a:lnTo>
                  <a:lnTo>
                    <a:pt x="6364" y="4640"/>
                  </a:lnTo>
                  <a:lnTo>
                    <a:pt x="6374" y="4706"/>
                  </a:lnTo>
                  <a:lnTo>
                    <a:pt x="6378" y="4772"/>
                  </a:lnTo>
                  <a:lnTo>
                    <a:pt x="6380" y="4838"/>
                  </a:lnTo>
                  <a:lnTo>
                    <a:pt x="6380" y="4838"/>
                  </a:lnTo>
                  <a:lnTo>
                    <a:pt x="6378" y="4906"/>
                  </a:lnTo>
                  <a:lnTo>
                    <a:pt x="6374" y="4972"/>
                  </a:lnTo>
                  <a:lnTo>
                    <a:pt x="6364" y="5038"/>
                  </a:lnTo>
                  <a:lnTo>
                    <a:pt x="6352" y="5102"/>
                  </a:lnTo>
                  <a:lnTo>
                    <a:pt x="6338" y="5166"/>
                  </a:lnTo>
                  <a:lnTo>
                    <a:pt x="6320" y="5230"/>
                  </a:lnTo>
                  <a:lnTo>
                    <a:pt x="6298" y="5292"/>
                  </a:lnTo>
                  <a:lnTo>
                    <a:pt x="6274" y="5354"/>
                  </a:lnTo>
                  <a:lnTo>
                    <a:pt x="6246" y="5412"/>
                  </a:lnTo>
                  <a:lnTo>
                    <a:pt x="6214" y="5470"/>
                  </a:lnTo>
                  <a:lnTo>
                    <a:pt x="6180" y="5528"/>
                  </a:lnTo>
                  <a:lnTo>
                    <a:pt x="6144" y="5582"/>
                  </a:lnTo>
                  <a:lnTo>
                    <a:pt x="6106" y="5636"/>
                  </a:lnTo>
                  <a:lnTo>
                    <a:pt x="6062" y="5686"/>
                  </a:lnTo>
                  <a:lnTo>
                    <a:pt x="6018" y="5736"/>
                  </a:lnTo>
                  <a:lnTo>
                    <a:pt x="5970" y="5782"/>
                  </a:lnTo>
                  <a:lnTo>
                    <a:pt x="2174" y="9330"/>
                  </a:lnTo>
                  <a:lnTo>
                    <a:pt x="2174" y="9330"/>
                  </a:lnTo>
                  <a:lnTo>
                    <a:pt x="2126" y="9372"/>
                  </a:lnTo>
                  <a:lnTo>
                    <a:pt x="2076" y="9412"/>
                  </a:lnTo>
                  <a:lnTo>
                    <a:pt x="2026" y="9448"/>
                  </a:lnTo>
                  <a:lnTo>
                    <a:pt x="1974" y="9482"/>
                  </a:lnTo>
                  <a:lnTo>
                    <a:pt x="1922" y="9514"/>
                  </a:lnTo>
                  <a:lnTo>
                    <a:pt x="1868" y="9542"/>
                  </a:lnTo>
                  <a:lnTo>
                    <a:pt x="1814" y="9568"/>
                  </a:lnTo>
                  <a:lnTo>
                    <a:pt x="1758" y="9592"/>
                  </a:lnTo>
                  <a:lnTo>
                    <a:pt x="1700" y="9612"/>
                  </a:lnTo>
                  <a:lnTo>
                    <a:pt x="1644" y="9630"/>
                  </a:lnTo>
                  <a:lnTo>
                    <a:pt x="1586" y="9644"/>
                  </a:lnTo>
                  <a:lnTo>
                    <a:pt x="1528" y="9656"/>
                  </a:lnTo>
                  <a:lnTo>
                    <a:pt x="1468" y="9666"/>
                  </a:lnTo>
                  <a:lnTo>
                    <a:pt x="1410" y="9672"/>
                  </a:lnTo>
                  <a:lnTo>
                    <a:pt x="1350" y="9676"/>
                  </a:lnTo>
                  <a:lnTo>
                    <a:pt x="1292" y="9678"/>
                  </a:lnTo>
                  <a:lnTo>
                    <a:pt x="1292" y="967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587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9" name="îṡļïḑê">
              <a:extLst>
                <a:ext uri="{FF2B5EF4-FFF2-40B4-BE49-F238E27FC236}">
                  <a16:creationId xmlns:a16="http://schemas.microsoft.com/office/drawing/2014/main" xmlns="" id="{3ECB8559-3174-49CE-AA7B-E72C973363FF}"/>
                </a:ext>
              </a:extLst>
            </p:cNvPr>
            <p:cNvSpPr/>
            <p:nvPr/>
          </p:nvSpPr>
          <p:spPr bwMode="auto">
            <a:xfrm>
              <a:off x="6196965" y="2757414"/>
              <a:ext cx="1161737" cy="1762271"/>
            </a:xfrm>
            <a:custGeom>
              <a:avLst/>
              <a:gdLst>
                <a:gd name="T0" fmla="*/ 1226 w 6380"/>
                <a:gd name="T1" fmla="*/ 9676 h 9678"/>
                <a:gd name="T2" fmla="*/ 1034 w 6380"/>
                <a:gd name="T3" fmla="*/ 9652 h 9678"/>
                <a:gd name="T4" fmla="*/ 846 w 6380"/>
                <a:gd name="T5" fmla="*/ 9600 h 9678"/>
                <a:gd name="T6" fmla="*/ 666 w 6380"/>
                <a:gd name="T7" fmla="*/ 9518 h 9678"/>
                <a:gd name="T8" fmla="*/ 500 w 6380"/>
                <a:gd name="T9" fmla="*/ 9408 h 9678"/>
                <a:gd name="T10" fmla="*/ 348 w 6380"/>
                <a:gd name="T11" fmla="*/ 9268 h 9678"/>
                <a:gd name="T12" fmla="*/ 262 w 6380"/>
                <a:gd name="T13" fmla="*/ 9168 h 9678"/>
                <a:gd name="T14" fmla="*/ 156 w 6380"/>
                <a:gd name="T15" fmla="*/ 9004 h 9678"/>
                <a:gd name="T16" fmla="*/ 78 w 6380"/>
                <a:gd name="T17" fmla="*/ 8832 h 9678"/>
                <a:gd name="T18" fmla="*/ 26 w 6380"/>
                <a:gd name="T19" fmla="*/ 8652 h 9678"/>
                <a:gd name="T20" fmla="*/ 2 w 6380"/>
                <a:gd name="T21" fmla="*/ 8466 h 9678"/>
                <a:gd name="T22" fmla="*/ 4 w 6380"/>
                <a:gd name="T23" fmla="*/ 8282 h 9678"/>
                <a:gd name="T24" fmla="*/ 32 w 6380"/>
                <a:gd name="T25" fmla="*/ 8098 h 9678"/>
                <a:gd name="T26" fmla="*/ 88 w 6380"/>
                <a:gd name="T27" fmla="*/ 7918 h 9678"/>
                <a:gd name="T28" fmla="*/ 168 w 6380"/>
                <a:gd name="T29" fmla="*/ 7748 h 9678"/>
                <a:gd name="T30" fmla="*/ 276 w 6380"/>
                <a:gd name="T31" fmla="*/ 7588 h 9678"/>
                <a:gd name="T32" fmla="*/ 410 w 6380"/>
                <a:gd name="T33" fmla="*/ 7442 h 9678"/>
                <a:gd name="T34" fmla="*/ 410 w 6380"/>
                <a:gd name="T35" fmla="*/ 2234 h 9678"/>
                <a:gd name="T36" fmla="*/ 276 w 6380"/>
                <a:gd name="T37" fmla="*/ 2090 h 9678"/>
                <a:gd name="T38" fmla="*/ 168 w 6380"/>
                <a:gd name="T39" fmla="*/ 1930 h 9678"/>
                <a:gd name="T40" fmla="*/ 88 w 6380"/>
                <a:gd name="T41" fmla="*/ 1760 h 9678"/>
                <a:gd name="T42" fmla="*/ 32 w 6380"/>
                <a:gd name="T43" fmla="*/ 1580 h 9678"/>
                <a:gd name="T44" fmla="*/ 4 w 6380"/>
                <a:gd name="T45" fmla="*/ 1396 h 9678"/>
                <a:gd name="T46" fmla="*/ 2 w 6380"/>
                <a:gd name="T47" fmla="*/ 1210 h 9678"/>
                <a:gd name="T48" fmla="*/ 26 w 6380"/>
                <a:gd name="T49" fmla="*/ 1026 h 9678"/>
                <a:gd name="T50" fmla="*/ 78 w 6380"/>
                <a:gd name="T51" fmla="*/ 846 h 9678"/>
                <a:gd name="T52" fmla="*/ 156 w 6380"/>
                <a:gd name="T53" fmla="*/ 672 h 9678"/>
                <a:gd name="T54" fmla="*/ 262 w 6380"/>
                <a:gd name="T55" fmla="*/ 510 h 9678"/>
                <a:gd name="T56" fmla="*/ 348 w 6380"/>
                <a:gd name="T57" fmla="*/ 410 h 9678"/>
                <a:gd name="T58" fmla="*/ 492 w 6380"/>
                <a:gd name="T59" fmla="*/ 276 h 9678"/>
                <a:gd name="T60" fmla="*/ 652 w 6380"/>
                <a:gd name="T61" fmla="*/ 168 h 9678"/>
                <a:gd name="T62" fmla="*/ 822 w 6380"/>
                <a:gd name="T63" fmla="*/ 86 h 9678"/>
                <a:gd name="T64" fmla="*/ 1002 w 6380"/>
                <a:gd name="T65" fmla="*/ 32 h 9678"/>
                <a:gd name="T66" fmla="*/ 1186 w 6380"/>
                <a:gd name="T67" fmla="*/ 4 h 9678"/>
                <a:gd name="T68" fmla="*/ 1372 w 6380"/>
                <a:gd name="T69" fmla="*/ 2 h 9678"/>
                <a:gd name="T70" fmla="*/ 1556 w 6380"/>
                <a:gd name="T71" fmla="*/ 26 h 9678"/>
                <a:gd name="T72" fmla="*/ 1736 w 6380"/>
                <a:gd name="T73" fmla="*/ 78 h 9678"/>
                <a:gd name="T74" fmla="*/ 1910 w 6380"/>
                <a:gd name="T75" fmla="*/ 156 h 9678"/>
                <a:gd name="T76" fmla="*/ 2072 w 6380"/>
                <a:gd name="T77" fmla="*/ 262 h 9678"/>
                <a:gd name="T78" fmla="*/ 5970 w 6380"/>
                <a:gd name="T79" fmla="*/ 3896 h 9678"/>
                <a:gd name="T80" fmla="*/ 6062 w 6380"/>
                <a:gd name="T81" fmla="*/ 3992 h 9678"/>
                <a:gd name="T82" fmla="*/ 6180 w 6380"/>
                <a:gd name="T83" fmla="*/ 4150 h 9678"/>
                <a:gd name="T84" fmla="*/ 6274 w 6380"/>
                <a:gd name="T85" fmla="*/ 4324 h 9678"/>
                <a:gd name="T86" fmla="*/ 6338 w 6380"/>
                <a:gd name="T87" fmla="*/ 4510 h 9678"/>
                <a:gd name="T88" fmla="*/ 6374 w 6380"/>
                <a:gd name="T89" fmla="*/ 4706 h 9678"/>
                <a:gd name="T90" fmla="*/ 6380 w 6380"/>
                <a:gd name="T91" fmla="*/ 4838 h 9678"/>
                <a:gd name="T92" fmla="*/ 6364 w 6380"/>
                <a:gd name="T93" fmla="*/ 5038 h 9678"/>
                <a:gd name="T94" fmla="*/ 6320 w 6380"/>
                <a:gd name="T95" fmla="*/ 5230 h 9678"/>
                <a:gd name="T96" fmla="*/ 6246 w 6380"/>
                <a:gd name="T97" fmla="*/ 5412 h 9678"/>
                <a:gd name="T98" fmla="*/ 6144 w 6380"/>
                <a:gd name="T99" fmla="*/ 5582 h 9678"/>
                <a:gd name="T100" fmla="*/ 6018 w 6380"/>
                <a:gd name="T101" fmla="*/ 5736 h 9678"/>
                <a:gd name="T102" fmla="*/ 2174 w 6380"/>
                <a:gd name="T103" fmla="*/ 9330 h 9678"/>
                <a:gd name="T104" fmla="*/ 2026 w 6380"/>
                <a:gd name="T105" fmla="*/ 9448 h 9678"/>
                <a:gd name="T106" fmla="*/ 1868 w 6380"/>
                <a:gd name="T107" fmla="*/ 9542 h 9678"/>
                <a:gd name="T108" fmla="*/ 1700 w 6380"/>
                <a:gd name="T109" fmla="*/ 9612 h 9678"/>
                <a:gd name="T110" fmla="*/ 1528 w 6380"/>
                <a:gd name="T111" fmla="*/ 9656 h 9678"/>
                <a:gd name="T112" fmla="*/ 1350 w 6380"/>
                <a:gd name="T113" fmla="*/ 9676 h 9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80" h="9678">
                  <a:moveTo>
                    <a:pt x="1292" y="9678"/>
                  </a:moveTo>
                  <a:lnTo>
                    <a:pt x="1292" y="9678"/>
                  </a:lnTo>
                  <a:lnTo>
                    <a:pt x="1226" y="9676"/>
                  </a:lnTo>
                  <a:lnTo>
                    <a:pt x="1162" y="9672"/>
                  </a:lnTo>
                  <a:lnTo>
                    <a:pt x="1098" y="9664"/>
                  </a:lnTo>
                  <a:lnTo>
                    <a:pt x="1034" y="9652"/>
                  </a:lnTo>
                  <a:lnTo>
                    <a:pt x="970" y="9638"/>
                  </a:lnTo>
                  <a:lnTo>
                    <a:pt x="908" y="9620"/>
                  </a:lnTo>
                  <a:lnTo>
                    <a:pt x="846" y="9600"/>
                  </a:lnTo>
                  <a:lnTo>
                    <a:pt x="786" y="9576"/>
                  </a:lnTo>
                  <a:lnTo>
                    <a:pt x="726" y="9548"/>
                  </a:lnTo>
                  <a:lnTo>
                    <a:pt x="666" y="9518"/>
                  </a:lnTo>
                  <a:lnTo>
                    <a:pt x="610" y="9484"/>
                  </a:lnTo>
                  <a:lnTo>
                    <a:pt x="554" y="9448"/>
                  </a:lnTo>
                  <a:lnTo>
                    <a:pt x="500" y="9408"/>
                  </a:lnTo>
                  <a:lnTo>
                    <a:pt x="446" y="9364"/>
                  </a:lnTo>
                  <a:lnTo>
                    <a:pt x="396" y="9318"/>
                  </a:lnTo>
                  <a:lnTo>
                    <a:pt x="348" y="9268"/>
                  </a:lnTo>
                  <a:lnTo>
                    <a:pt x="348" y="9268"/>
                  </a:lnTo>
                  <a:lnTo>
                    <a:pt x="304" y="9218"/>
                  </a:lnTo>
                  <a:lnTo>
                    <a:pt x="262" y="9168"/>
                  </a:lnTo>
                  <a:lnTo>
                    <a:pt x="224" y="9114"/>
                  </a:lnTo>
                  <a:lnTo>
                    <a:pt x="188" y="9060"/>
                  </a:lnTo>
                  <a:lnTo>
                    <a:pt x="156" y="9004"/>
                  </a:lnTo>
                  <a:lnTo>
                    <a:pt x="128" y="8948"/>
                  </a:lnTo>
                  <a:lnTo>
                    <a:pt x="102" y="8890"/>
                  </a:lnTo>
                  <a:lnTo>
                    <a:pt x="78" y="8832"/>
                  </a:lnTo>
                  <a:lnTo>
                    <a:pt x="58" y="8772"/>
                  </a:lnTo>
                  <a:lnTo>
                    <a:pt x="42" y="8712"/>
                  </a:lnTo>
                  <a:lnTo>
                    <a:pt x="26" y="8652"/>
                  </a:lnTo>
                  <a:lnTo>
                    <a:pt x="16" y="8590"/>
                  </a:lnTo>
                  <a:lnTo>
                    <a:pt x="8" y="8528"/>
                  </a:lnTo>
                  <a:lnTo>
                    <a:pt x="2" y="8466"/>
                  </a:lnTo>
                  <a:lnTo>
                    <a:pt x="0" y="8404"/>
                  </a:lnTo>
                  <a:lnTo>
                    <a:pt x="0" y="8342"/>
                  </a:lnTo>
                  <a:lnTo>
                    <a:pt x="4" y="8282"/>
                  </a:lnTo>
                  <a:lnTo>
                    <a:pt x="10" y="8220"/>
                  </a:lnTo>
                  <a:lnTo>
                    <a:pt x="20" y="8158"/>
                  </a:lnTo>
                  <a:lnTo>
                    <a:pt x="32" y="8098"/>
                  </a:lnTo>
                  <a:lnTo>
                    <a:pt x="48" y="8036"/>
                  </a:lnTo>
                  <a:lnTo>
                    <a:pt x="66" y="7978"/>
                  </a:lnTo>
                  <a:lnTo>
                    <a:pt x="88" y="7918"/>
                  </a:lnTo>
                  <a:lnTo>
                    <a:pt x="112" y="7860"/>
                  </a:lnTo>
                  <a:lnTo>
                    <a:pt x="138" y="7804"/>
                  </a:lnTo>
                  <a:lnTo>
                    <a:pt x="168" y="7748"/>
                  </a:lnTo>
                  <a:lnTo>
                    <a:pt x="202" y="7694"/>
                  </a:lnTo>
                  <a:lnTo>
                    <a:pt x="238" y="7640"/>
                  </a:lnTo>
                  <a:lnTo>
                    <a:pt x="276" y="7588"/>
                  </a:lnTo>
                  <a:lnTo>
                    <a:pt x="318" y="7538"/>
                  </a:lnTo>
                  <a:lnTo>
                    <a:pt x="362" y="7490"/>
                  </a:lnTo>
                  <a:lnTo>
                    <a:pt x="410" y="7442"/>
                  </a:lnTo>
                  <a:lnTo>
                    <a:pt x="3196" y="4838"/>
                  </a:lnTo>
                  <a:lnTo>
                    <a:pt x="410" y="2234"/>
                  </a:lnTo>
                  <a:lnTo>
                    <a:pt x="410" y="2234"/>
                  </a:lnTo>
                  <a:lnTo>
                    <a:pt x="362" y="2188"/>
                  </a:lnTo>
                  <a:lnTo>
                    <a:pt x="318" y="2140"/>
                  </a:lnTo>
                  <a:lnTo>
                    <a:pt x="276" y="2090"/>
                  </a:lnTo>
                  <a:lnTo>
                    <a:pt x="238" y="2038"/>
                  </a:lnTo>
                  <a:lnTo>
                    <a:pt x="202" y="1984"/>
                  </a:lnTo>
                  <a:lnTo>
                    <a:pt x="168" y="1930"/>
                  </a:lnTo>
                  <a:lnTo>
                    <a:pt x="138" y="1874"/>
                  </a:lnTo>
                  <a:lnTo>
                    <a:pt x="112" y="1818"/>
                  </a:lnTo>
                  <a:lnTo>
                    <a:pt x="88" y="1760"/>
                  </a:lnTo>
                  <a:lnTo>
                    <a:pt x="66" y="1700"/>
                  </a:lnTo>
                  <a:lnTo>
                    <a:pt x="48" y="1640"/>
                  </a:lnTo>
                  <a:lnTo>
                    <a:pt x="32" y="1580"/>
                  </a:lnTo>
                  <a:lnTo>
                    <a:pt x="20" y="1520"/>
                  </a:lnTo>
                  <a:lnTo>
                    <a:pt x="10" y="1458"/>
                  </a:lnTo>
                  <a:lnTo>
                    <a:pt x="4" y="1396"/>
                  </a:lnTo>
                  <a:lnTo>
                    <a:pt x="0" y="1334"/>
                  </a:lnTo>
                  <a:lnTo>
                    <a:pt x="0" y="1272"/>
                  </a:lnTo>
                  <a:lnTo>
                    <a:pt x="2" y="1210"/>
                  </a:lnTo>
                  <a:lnTo>
                    <a:pt x="8" y="1148"/>
                  </a:lnTo>
                  <a:lnTo>
                    <a:pt x="16" y="1088"/>
                  </a:lnTo>
                  <a:lnTo>
                    <a:pt x="26" y="1026"/>
                  </a:lnTo>
                  <a:lnTo>
                    <a:pt x="42" y="966"/>
                  </a:lnTo>
                  <a:lnTo>
                    <a:pt x="58" y="906"/>
                  </a:lnTo>
                  <a:lnTo>
                    <a:pt x="78" y="846"/>
                  </a:lnTo>
                  <a:lnTo>
                    <a:pt x="102" y="788"/>
                  </a:lnTo>
                  <a:lnTo>
                    <a:pt x="128" y="730"/>
                  </a:lnTo>
                  <a:lnTo>
                    <a:pt x="156" y="672"/>
                  </a:lnTo>
                  <a:lnTo>
                    <a:pt x="188" y="618"/>
                  </a:lnTo>
                  <a:lnTo>
                    <a:pt x="224" y="562"/>
                  </a:lnTo>
                  <a:lnTo>
                    <a:pt x="262" y="510"/>
                  </a:lnTo>
                  <a:lnTo>
                    <a:pt x="304" y="458"/>
                  </a:lnTo>
                  <a:lnTo>
                    <a:pt x="348" y="410"/>
                  </a:lnTo>
                  <a:lnTo>
                    <a:pt x="348" y="410"/>
                  </a:lnTo>
                  <a:lnTo>
                    <a:pt x="394" y="362"/>
                  </a:lnTo>
                  <a:lnTo>
                    <a:pt x="442" y="318"/>
                  </a:lnTo>
                  <a:lnTo>
                    <a:pt x="492" y="276"/>
                  </a:lnTo>
                  <a:lnTo>
                    <a:pt x="544" y="236"/>
                  </a:lnTo>
                  <a:lnTo>
                    <a:pt x="598" y="200"/>
                  </a:lnTo>
                  <a:lnTo>
                    <a:pt x="652" y="168"/>
                  </a:lnTo>
                  <a:lnTo>
                    <a:pt x="708" y="138"/>
                  </a:lnTo>
                  <a:lnTo>
                    <a:pt x="764" y="112"/>
                  </a:lnTo>
                  <a:lnTo>
                    <a:pt x="822" y="86"/>
                  </a:lnTo>
                  <a:lnTo>
                    <a:pt x="882" y="66"/>
                  </a:lnTo>
                  <a:lnTo>
                    <a:pt x="942" y="48"/>
                  </a:lnTo>
                  <a:lnTo>
                    <a:pt x="1002" y="32"/>
                  </a:lnTo>
                  <a:lnTo>
                    <a:pt x="1062" y="20"/>
                  </a:lnTo>
                  <a:lnTo>
                    <a:pt x="1124" y="10"/>
                  </a:lnTo>
                  <a:lnTo>
                    <a:pt x="1186" y="4"/>
                  </a:lnTo>
                  <a:lnTo>
                    <a:pt x="1248" y="0"/>
                  </a:lnTo>
                  <a:lnTo>
                    <a:pt x="1310" y="0"/>
                  </a:lnTo>
                  <a:lnTo>
                    <a:pt x="1372" y="2"/>
                  </a:lnTo>
                  <a:lnTo>
                    <a:pt x="1434" y="8"/>
                  </a:lnTo>
                  <a:lnTo>
                    <a:pt x="1494" y="16"/>
                  </a:lnTo>
                  <a:lnTo>
                    <a:pt x="1556" y="26"/>
                  </a:lnTo>
                  <a:lnTo>
                    <a:pt x="1616" y="40"/>
                  </a:lnTo>
                  <a:lnTo>
                    <a:pt x="1676" y="58"/>
                  </a:lnTo>
                  <a:lnTo>
                    <a:pt x="1736" y="78"/>
                  </a:lnTo>
                  <a:lnTo>
                    <a:pt x="1796" y="102"/>
                  </a:lnTo>
                  <a:lnTo>
                    <a:pt x="1852" y="128"/>
                  </a:lnTo>
                  <a:lnTo>
                    <a:pt x="1910" y="156"/>
                  </a:lnTo>
                  <a:lnTo>
                    <a:pt x="1964" y="188"/>
                  </a:lnTo>
                  <a:lnTo>
                    <a:pt x="2020" y="224"/>
                  </a:lnTo>
                  <a:lnTo>
                    <a:pt x="2072" y="262"/>
                  </a:lnTo>
                  <a:lnTo>
                    <a:pt x="2124" y="302"/>
                  </a:lnTo>
                  <a:lnTo>
                    <a:pt x="2174" y="348"/>
                  </a:lnTo>
                  <a:lnTo>
                    <a:pt x="5970" y="3896"/>
                  </a:lnTo>
                  <a:lnTo>
                    <a:pt x="5970" y="3896"/>
                  </a:lnTo>
                  <a:lnTo>
                    <a:pt x="6018" y="3942"/>
                  </a:lnTo>
                  <a:lnTo>
                    <a:pt x="6062" y="3992"/>
                  </a:lnTo>
                  <a:lnTo>
                    <a:pt x="6106" y="4042"/>
                  </a:lnTo>
                  <a:lnTo>
                    <a:pt x="6144" y="4096"/>
                  </a:lnTo>
                  <a:lnTo>
                    <a:pt x="6180" y="4150"/>
                  </a:lnTo>
                  <a:lnTo>
                    <a:pt x="6214" y="4206"/>
                  </a:lnTo>
                  <a:lnTo>
                    <a:pt x="6246" y="4264"/>
                  </a:lnTo>
                  <a:lnTo>
                    <a:pt x="6274" y="4324"/>
                  </a:lnTo>
                  <a:lnTo>
                    <a:pt x="6298" y="4386"/>
                  </a:lnTo>
                  <a:lnTo>
                    <a:pt x="6320" y="4448"/>
                  </a:lnTo>
                  <a:lnTo>
                    <a:pt x="6338" y="4510"/>
                  </a:lnTo>
                  <a:lnTo>
                    <a:pt x="6352" y="4574"/>
                  </a:lnTo>
                  <a:lnTo>
                    <a:pt x="6364" y="4640"/>
                  </a:lnTo>
                  <a:lnTo>
                    <a:pt x="6374" y="4706"/>
                  </a:lnTo>
                  <a:lnTo>
                    <a:pt x="6378" y="4772"/>
                  </a:lnTo>
                  <a:lnTo>
                    <a:pt x="6380" y="4838"/>
                  </a:lnTo>
                  <a:lnTo>
                    <a:pt x="6380" y="4838"/>
                  </a:lnTo>
                  <a:lnTo>
                    <a:pt x="6378" y="4906"/>
                  </a:lnTo>
                  <a:lnTo>
                    <a:pt x="6374" y="4972"/>
                  </a:lnTo>
                  <a:lnTo>
                    <a:pt x="6364" y="5038"/>
                  </a:lnTo>
                  <a:lnTo>
                    <a:pt x="6352" y="5102"/>
                  </a:lnTo>
                  <a:lnTo>
                    <a:pt x="6338" y="5166"/>
                  </a:lnTo>
                  <a:lnTo>
                    <a:pt x="6320" y="5230"/>
                  </a:lnTo>
                  <a:lnTo>
                    <a:pt x="6298" y="5292"/>
                  </a:lnTo>
                  <a:lnTo>
                    <a:pt x="6274" y="5354"/>
                  </a:lnTo>
                  <a:lnTo>
                    <a:pt x="6246" y="5412"/>
                  </a:lnTo>
                  <a:lnTo>
                    <a:pt x="6214" y="5470"/>
                  </a:lnTo>
                  <a:lnTo>
                    <a:pt x="6180" y="5528"/>
                  </a:lnTo>
                  <a:lnTo>
                    <a:pt x="6144" y="5582"/>
                  </a:lnTo>
                  <a:lnTo>
                    <a:pt x="6106" y="5636"/>
                  </a:lnTo>
                  <a:lnTo>
                    <a:pt x="6062" y="5686"/>
                  </a:lnTo>
                  <a:lnTo>
                    <a:pt x="6018" y="5736"/>
                  </a:lnTo>
                  <a:lnTo>
                    <a:pt x="5970" y="5782"/>
                  </a:lnTo>
                  <a:lnTo>
                    <a:pt x="2174" y="9330"/>
                  </a:lnTo>
                  <a:lnTo>
                    <a:pt x="2174" y="9330"/>
                  </a:lnTo>
                  <a:lnTo>
                    <a:pt x="2126" y="9372"/>
                  </a:lnTo>
                  <a:lnTo>
                    <a:pt x="2076" y="9412"/>
                  </a:lnTo>
                  <a:lnTo>
                    <a:pt x="2026" y="9448"/>
                  </a:lnTo>
                  <a:lnTo>
                    <a:pt x="1974" y="9482"/>
                  </a:lnTo>
                  <a:lnTo>
                    <a:pt x="1922" y="9514"/>
                  </a:lnTo>
                  <a:lnTo>
                    <a:pt x="1868" y="9542"/>
                  </a:lnTo>
                  <a:lnTo>
                    <a:pt x="1814" y="9568"/>
                  </a:lnTo>
                  <a:lnTo>
                    <a:pt x="1758" y="9592"/>
                  </a:lnTo>
                  <a:lnTo>
                    <a:pt x="1700" y="9612"/>
                  </a:lnTo>
                  <a:lnTo>
                    <a:pt x="1644" y="9630"/>
                  </a:lnTo>
                  <a:lnTo>
                    <a:pt x="1586" y="9644"/>
                  </a:lnTo>
                  <a:lnTo>
                    <a:pt x="1528" y="9656"/>
                  </a:lnTo>
                  <a:lnTo>
                    <a:pt x="1468" y="9666"/>
                  </a:lnTo>
                  <a:lnTo>
                    <a:pt x="1410" y="9672"/>
                  </a:lnTo>
                  <a:lnTo>
                    <a:pt x="1350" y="9676"/>
                  </a:lnTo>
                  <a:lnTo>
                    <a:pt x="1292" y="9678"/>
                  </a:lnTo>
                  <a:lnTo>
                    <a:pt x="1292" y="9678"/>
                  </a:lnTo>
                  <a:close/>
                </a:path>
              </a:pathLst>
            </a:custGeom>
            <a:solidFill>
              <a:schemeClr val="accent1"/>
            </a:solidFill>
            <a:ln w="1587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0" name="ïs1ïḋé">
              <a:extLst>
                <a:ext uri="{FF2B5EF4-FFF2-40B4-BE49-F238E27FC236}">
                  <a16:creationId xmlns:a16="http://schemas.microsoft.com/office/drawing/2014/main" xmlns="" id="{A3083DC6-EB87-4DC1-8DE7-A8381A7A8026}"/>
                </a:ext>
              </a:extLst>
            </p:cNvPr>
            <p:cNvSpPr/>
            <p:nvPr/>
          </p:nvSpPr>
          <p:spPr bwMode="auto">
            <a:xfrm>
              <a:off x="7560632" y="2757414"/>
              <a:ext cx="1161737" cy="1762271"/>
            </a:xfrm>
            <a:custGeom>
              <a:avLst/>
              <a:gdLst>
                <a:gd name="T0" fmla="*/ 1226 w 6380"/>
                <a:gd name="T1" fmla="*/ 9676 h 9678"/>
                <a:gd name="T2" fmla="*/ 1034 w 6380"/>
                <a:gd name="T3" fmla="*/ 9652 h 9678"/>
                <a:gd name="T4" fmla="*/ 846 w 6380"/>
                <a:gd name="T5" fmla="*/ 9600 h 9678"/>
                <a:gd name="T6" fmla="*/ 666 w 6380"/>
                <a:gd name="T7" fmla="*/ 9518 h 9678"/>
                <a:gd name="T8" fmla="*/ 500 w 6380"/>
                <a:gd name="T9" fmla="*/ 9408 h 9678"/>
                <a:gd name="T10" fmla="*/ 348 w 6380"/>
                <a:gd name="T11" fmla="*/ 9268 h 9678"/>
                <a:gd name="T12" fmla="*/ 262 w 6380"/>
                <a:gd name="T13" fmla="*/ 9168 h 9678"/>
                <a:gd name="T14" fmla="*/ 156 w 6380"/>
                <a:gd name="T15" fmla="*/ 9004 h 9678"/>
                <a:gd name="T16" fmla="*/ 78 w 6380"/>
                <a:gd name="T17" fmla="*/ 8832 h 9678"/>
                <a:gd name="T18" fmla="*/ 26 w 6380"/>
                <a:gd name="T19" fmla="*/ 8652 h 9678"/>
                <a:gd name="T20" fmla="*/ 2 w 6380"/>
                <a:gd name="T21" fmla="*/ 8466 h 9678"/>
                <a:gd name="T22" fmla="*/ 4 w 6380"/>
                <a:gd name="T23" fmla="*/ 8282 h 9678"/>
                <a:gd name="T24" fmla="*/ 32 w 6380"/>
                <a:gd name="T25" fmla="*/ 8098 h 9678"/>
                <a:gd name="T26" fmla="*/ 88 w 6380"/>
                <a:gd name="T27" fmla="*/ 7918 h 9678"/>
                <a:gd name="T28" fmla="*/ 168 w 6380"/>
                <a:gd name="T29" fmla="*/ 7748 h 9678"/>
                <a:gd name="T30" fmla="*/ 276 w 6380"/>
                <a:gd name="T31" fmla="*/ 7588 h 9678"/>
                <a:gd name="T32" fmla="*/ 410 w 6380"/>
                <a:gd name="T33" fmla="*/ 7442 h 9678"/>
                <a:gd name="T34" fmla="*/ 410 w 6380"/>
                <a:gd name="T35" fmla="*/ 2234 h 9678"/>
                <a:gd name="T36" fmla="*/ 276 w 6380"/>
                <a:gd name="T37" fmla="*/ 2090 h 9678"/>
                <a:gd name="T38" fmla="*/ 168 w 6380"/>
                <a:gd name="T39" fmla="*/ 1930 h 9678"/>
                <a:gd name="T40" fmla="*/ 88 w 6380"/>
                <a:gd name="T41" fmla="*/ 1760 h 9678"/>
                <a:gd name="T42" fmla="*/ 32 w 6380"/>
                <a:gd name="T43" fmla="*/ 1580 h 9678"/>
                <a:gd name="T44" fmla="*/ 4 w 6380"/>
                <a:gd name="T45" fmla="*/ 1396 h 9678"/>
                <a:gd name="T46" fmla="*/ 2 w 6380"/>
                <a:gd name="T47" fmla="*/ 1210 h 9678"/>
                <a:gd name="T48" fmla="*/ 26 w 6380"/>
                <a:gd name="T49" fmla="*/ 1026 h 9678"/>
                <a:gd name="T50" fmla="*/ 78 w 6380"/>
                <a:gd name="T51" fmla="*/ 846 h 9678"/>
                <a:gd name="T52" fmla="*/ 156 w 6380"/>
                <a:gd name="T53" fmla="*/ 672 h 9678"/>
                <a:gd name="T54" fmla="*/ 262 w 6380"/>
                <a:gd name="T55" fmla="*/ 510 h 9678"/>
                <a:gd name="T56" fmla="*/ 348 w 6380"/>
                <a:gd name="T57" fmla="*/ 410 h 9678"/>
                <a:gd name="T58" fmla="*/ 492 w 6380"/>
                <a:gd name="T59" fmla="*/ 276 h 9678"/>
                <a:gd name="T60" fmla="*/ 652 w 6380"/>
                <a:gd name="T61" fmla="*/ 168 h 9678"/>
                <a:gd name="T62" fmla="*/ 822 w 6380"/>
                <a:gd name="T63" fmla="*/ 86 h 9678"/>
                <a:gd name="T64" fmla="*/ 1002 w 6380"/>
                <a:gd name="T65" fmla="*/ 32 h 9678"/>
                <a:gd name="T66" fmla="*/ 1186 w 6380"/>
                <a:gd name="T67" fmla="*/ 4 h 9678"/>
                <a:gd name="T68" fmla="*/ 1372 w 6380"/>
                <a:gd name="T69" fmla="*/ 2 h 9678"/>
                <a:gd name="T70" fmla="*/ 1556 w 6380"/>
                <a:gd name="T71" fmla="*/ 26 h 9678"/>
                <a:gd name="T72" fmla="*/ 1736 w 6380"/>
                <a:gd name="T73" fmla="*/ 78 h 9678"/>
                <a:gd name="T74" fmla="*/ 1910 w 6380"/>
                <a:gd name="T75" fmla="*/ 156 h 9678"/>
                <a:gd name="T76" fmla="*/ 2072 w 6380"/>
                <a:gd name="T77" fmla="*/ 262 h 9678"/>
                <a:gd name="T78" fmla="*/ 5970 w 6380"/>
                <a:gd name="T79" fmla="*/ 3896 h 9678"/>
                <a:gd name="T80" fmla="*/ 6062 w 6380"/>
                <a:gd name="T81" fmla="*/ 3992 h 9678"/>
                <a:gd name="T82" fmla="*/ 6180 w 6380"/>
                <a:gd name="T83" fmla="*/ 4150 h 9678"/>
                <a:gd name="T84" fmla="*/ 6274 w 6380"/>
                <a:gd name="T85" fmla="*/ 4324 h 9678"/>
                <a:gd name="T86" fmla="*/ 6338 w 6380"/>
                <a:gd name="T87" fmla="*/ 4510 h 9678"/>
                <a:gd name="T88" fmla="*/ 6374 w 6380"/>
                <a:gd name="T89" fmla="*/ 4706 h 9678"/>
                <a:gd name="T90" fmla="*/ 6380 w 6380"/>
                <a:gd name="T91" fmla="*/ 4838 h 9678"/>
                <a:gd name="T92" fmla="*/ 6364 w 6380"/>
                <a:gd name="T93" fmla="*/ 5038 h 9678"/>
                <a:gd name="T94" fmla="*/ 6320 w 6380"/>
                <a:gd name="T95" fmla="*/ 5230 h 9678"/>
                <a:gd name="T96" fmla="*/ 6246 w 6380"/>
                <a:gd name="T97" fmla="*/ 5412 h 9678"/>
                <a:gd name="T98" fmla="*/ 6144 w 6380"/>
                <a:gd name="T99" fmla="*/ 5582 h 9678"/>
                <a:gd name="T100" fmla="*/ 6018 w 6380"/>
                <a:gd name="T101" fmla="*/ 5736 h 9678"/>
                <a:gd name="T102" fmla="*/ 2174 w 6380"/>
                <a:gd name="T103" fmla="*/ 9330 h 9678"/>
                <a:gd name="T104" fmla="*/ 2026 w 6380"/>
                <a:gd name="T105" fmla="*/ 9448 h 9678"/>
                <a:gd name="T106" fmla="*/ 1868 w 6380"/>
                <a:gd name="T107" fmla="*/ 9542 h 9678"/>
                <a:gd name="T108" fmla="*/ 1700 w 6380"/>
                <a:gd name="T109" fmla="*/ 9612 h 9678"/>
                <a:gd name="T110" fmla="*/ 1528 w 6380"/>
                <a:gd name="T111" fmla="*/ 9656 h 9678"/>
                <a:gd name="T112" fmla="*/ 1350 w 6380"/>
                <a:gd name="T113" fmla="*/ 9676 h 9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80" h="9678">
                  <a:moveTo>
                    <a:pt x="1292" y="9678"/>
                  </a:moveTo>
                  <a:lnTo>
                    <a:pt x="1292" y="9678"/>
                  </a:lnTo>
                  <a:lnTo>
                    <a:pt x="1226" y="9676"/>
                  </a:lnTo>
                  <a:lnTo>
                    <a:pt x="1162" y="9672"/>
                  </a:lnTo>
                  <a:lnTo>
                    <a:pt x="1098" y="9664"/>
                  </a:lnTo>
                  <a:lnTo>
                    <a:pt x="1034" y="9652"/>
                  </a:lnTo>
                  <a:lnTo>
                    <a:pt x="970" y="9638"/>
                  </a:lnTo>
                  <a:lnTo>
                    <a:pt x="908" y="9620"/>
                  </a:lnTo>
                  <a:lnTo>
                    <a:pt x="846" y="9600"/>
                  </a:lnTo>
                  <a:lnTo>
                    <a:pt x="786" y="9576"/>
                  </a:lnTo>
                  <a:lnTo>
                    <a:pt x="726" y="9548"/>
                  </a:lnTo>
                  <a:lnTo>
                    <a:pt x="666" y="9518"/>
                  </a:lnTo>
                  <a:lnTo>
                    <a:pt x="610" y="9484"/>
                  </a:lnTo>
                  <a:lnTo>
                    <a:pt x="554" y="9448"/>
                  </a:lnTo>
                  <a:lnTo>
                    <a:pt x="500" y="9408"/>
                  </a:lnTo>
                  <a:lnTo>
                    <a:pt x="446" y="9364"/>
                  </a:lnTo>
                  <a:lnTo>
                    <a:pt x="396" y="9318"/>
                  </a:lnTo>
                  <a:lnTo>
                    <a:pt x="348" y="9268"/>
                  </a:lnTo>
                  <a:lnTo>
                    <a:pt x="348" y="9268"/>
                  </a:lnTo>
                  <a:lnTo>
                    <a:pt x="304" y="9218"/>
                  </a:lnTo>
                  <a:lnTo>
                    <a:pt x="262" y="9168"/>
                  </a:lnTo>
                  <a:lnTo>
                    <a:pt x="224" y="9114"/>
                  </a:lnTo>
                  <a:lnTo>
                    <a:pt x="188" y="9060"/>
                  </a:lnTo>
                  <a:lnTo>
                    <a:pt x="156" y="9004"/>
                  </a:lnTo>
                  <a:lnTo>
                    <a:pt x="128" y="8948"/>
                  </a:lnTo>
                  <a:lnTo>
                    <a:pt x="102" y="8890"/>
                  </a:lnTo>
                  <a:lnTo>
                    <a:pt x="78" y="8832"/>
                  </a:lnTo>
                  <a:lnTo>
                    <a:pt x="58" y="8772"/>
                  </a:lnTo>
                  <a:lnTo>
                    <a:pt x="42" y="8712"/>
                  </a:lnTo>
                  <a:lnTo>
                    <a:pt x="26" y="8652"/>
                  </a:lnTo>
                  <a:lnTo>
                    <a:pt x="16" y="8590"/>
                  </a:lnTo>
                  <a:lnTo>
                    <a:pt x="8" y="8528"/>
                  </a:lnTo>
                  <a:lnTo>
                    <a:pt x="2" y="8466"/>
                  </a:lnTo>
                  <a:lnTo>
                    <a:pt x="0" y="8404"/>
                  </a:lnTo>
                  <a:lnTo>
                    <a:pt x="0" y="8342"/>
                  </a:lnTo>
                  <a:lnTo>
                    <a:pt x="4" y="8282"/>
                  </a:lnTo>
                  <a:lnTo>
                    <a:pt x="10" y="8220"/>
                  </a:lnTo>
                  <a:lnTo>
                    <a:pt x="20" y="8158"/>
                  </a:lnTo>
                  <a:lnTo>
                    <a:pt x="32" y="8098"/>
                  </a:lnTo>
                  <a:lnTo>
                    <a:pt x="48" y="8036"/>
                  </a:lnTo>
                  <a:lnTo>
                    <a:pt x="66" y="7978"/>
                  </a:lnTo>
                  <a:lnTo>
                    <a:pt x="88" y="7918"/>
                  </a:lnTo>
                  <a:lnTo>
                    <a:pt x="112" y="7860"/>
                  </a:lnTo>
                  <a:lnTo>
                    <a:pt x="138" y="7804"/>
                  </a:lnTo>
                  <a:lnTo>
                    <a:pt x="168" y="7748"/>
                  </a:lnTo>
                  <a:lnTo>
                    <a:pt x="202" y="7694"/>
                  </a:lnTo>
                  <a:lnTo>
                    <a:pt x="238" y="7640"/>
                  </a:lnTo>
                  <a:lnTo>
                    <a:pt x="276" y="7588"/>
                  </a:lnTo>
                  <a:lnTo>
                    <a:pt x="318" y="7538"/>
                  </a:lnTo>
                  <a:lnTo>
                    <a:pt x="362" y="7490"/>
                  </a:lnTo>
                  <a:lnTo>
                    <a:pt x="410" y="7442"/>
                  </a:lnTo>
                  <a:lnTo>
                    <a:pt x="3196" y="4838"/>
                  </a:lnTo>
                  <a:lnTo>
                    <a:pt x="410" y="2234"/>
                  </a:lnTo>
                  <a:lnTo>
                    <a:pt x="410" y="2234"/>
                  </a:lnTo>
                  <a:lnTo>
                    <a:pt x="362" y="2188"/>
                  </a:lnTo>
                  <a:lnTo>
                    <a:pt x="318" y="2140"/>
                  </a:lnTo>
                  <a:lnTo>
                    <a:pt x="276" y="2090"/>
                  </a:lnTo>
                  <a:lnTo>
                    <a:pt x="238" y="2038"/>
                  </a:lnTo>
                  <a:lnTo>
                    <a:pt x="202" y="1984"/>
                  </a:lnTo>
                  <a:lnTo>
                    <a:pt x="168" y="1930"/>
                  </a:lnTo>
                  <a:lnTo>
                    <a:pt x="138" y="1874"/>
                  </a:lnTo>
                  <a:lnTo>
                    <a:pt x="112" y="1818"/>
                  </a:lnTo>
                  <a:lnTo>
                    <a:pt x="88" y="1760"/>
                  </a:lnTo>
                  <a:lnTo>
                    <a:pt x="66" y="1700"/>
                  </a:lnTo>
                  <a:lnTo>
                    <a:pt x="48" y="1640"/>
                  </a:lnTo>
                  <a:lnTo>
                    <a:pt x="32" y="1580"/>
                  </a:lnTo>
                  <a:lnTo>
                    <a:pt x="20" y="1520"/>
                  </a:lnTo>
                  <a:lnTo>
                    <a:pt x="10" y="1458"/>
                  </a:lnTo>
                  <a:lnTo>
                    <a:pt x="4" y="1396"/>
                  </a:lnTo>
                  <a:lnTo>
                    <a:pt x="0" y="1334"/>
                  </a:lnTo>
                  <a:lnTo>
                    <a:pt x="0" y="1272"/>
                  </a:lnTo>
                  <a:lnTo>
                    <a:pt x="2" y="1210"/>
                  </a:lnTo>
                  <a:lnTo>
                    <a:pt x="8" y="1148"/>
                  </a:lnTo>
                  <a:lnTo>
                    <a:pt x="16" y="1088"/>
                  </a:lnTo>
                  <a:lnTo>
                    <a:pt x="26" y="1026"/>
                  </a:lnTo>
                  <a:lnTo>
                    <a:pt x="42" y="966"/>
                  </a:lnTo>
                  <a:lnTo>
                    <a:pt x="58" y="906"/>
                  </a:lnTo>
                  <a:lnTo>
                    <a:pt x="78" y="846"/>
                  </a:lnTo>
                  <a:lnTo>
                    <a:pt x="102" y="788"/>
                  </a:lnTo>
                  <a:lnTo>
                    <a:pt x="128" y="730"/>
                  </a:lnTo>
                  <a:lnTo>
                    <a:pt x="156" y="672"/>
                  </a:lnTo>
                  <a:lnTo>
                    <a:pt x="188" y="618"/>
                  </a:lnTo>
                  <a:lnTo>
                    <a:pt x="224" y="562"/>
                  </a:lnTo>
                  <a:lnTo>
                    <a:pt x="262" y="510"/>
                  </a:lnTo>
                  <a:lnTo>
                    <a:pt x="304" y="458"/>
                  </a:lnTo>
                  <a:lnTo>
                    <a:pt x="348" y="410"/>
                  </a:lnTo>
                  <a:lnTo>
                    <a:pt x="348" y="410"/>
                  </a:lnTo>
                  <a:lnTo>
                    <a:pt x="394" y="362"/>
                  </a:lnTo>
                  <a:lnTo>
                    <a:pt x="442" y="318"/>
                  </a:lnTo>
                  <a:lnTo>
                    <a:pt x="492" y="276"/>
                  </a:lnTo>
                  <a:lnTo>
                    <a:pt x="544" y="236"/>
                  </a:lnTo>
                  <a:lnTo>
                    <a:pt x="598" y="200"/>
                  </a:lnTo>
                  <a:lnTo>
                    <a:pt x="652" y="168"/>
                  </a:lnTo>
                  <a:lnTo>
                    <a:pt x="708" y="138"/>
                  </a:lnTo>
                  <a:lnTo>
                    <a:pt x="764" y="112"/>
                  </a:lnTo>
                  <a:lnTo>
                    <a:pt x="822" y="86"/>
                  </a:lnTo>
                  <a:lnTo>
                    <a:pt x="882" y="66"/>
                  </a:lnTo>
                  <a:lnTo>
                    <a:pt x="942" y="48"/>
                  </a:lnTo>
                  <a:lnTo>
                    <a:pt x="1002" y="32"/>
                  </a:lnTo>
                  <a:lnTo>
                    <a:pt x="1062" y="20"/>
                  </a:lnTo>
                  <a:lnTo>
                    <a:pt x="1124" y="10"/>
                  </a:lnTo>
                  <a:lnTo>
                    <a:pt x="1186" y="4"/>
                  </a:lnTo>
                  <a:lnTo>
                    <a:pt x="1248" y="0"/>
                  </a:lnTo>
                  <a:lnTo>
                    <a:pt x="1310" y="0"/>
                  </a:lnTo>
                  <a:lnTo>
                    <a:pt x="1372" y="2"/>
                  </a:lnTo>
                  <a:lnTo>
                    <a:pt x="1434" y="8"/>
                  </a:lnTo>
                  <a:lnTo>
                    <a:pt x="1494" y="16"/>
                  </a:lnTo>
                  <a:lnTo>
                    <a:pt x="1556" y="26"/>
                  </a:lnTo>
                  <a:lnTo>
                    <a:pt x="1616" y="40"/>
                  </a:lnTo>
                  <a:lnTo>
                    <a:pt x="1676" y="58"/>
                  </a:lnTo>
                  <a:lnTo>
                    <a:pt x="1736" y="78"/>
                  </a:lnTo>
                  <a:lnTo>
                    <a:pt x="1796" y="102"/>
                  </a:lnTo>
                  <a:lnTo>
                    <a:pt x="1852" y="128"/>
                  </a:lnTo>
                  <a:lnTo>
                    <a:pt x="1910" y="156"/>
                  </a:lnTo>
                  <a:lnTo>
                    <a:pt x="1964" y="188"/>
                  </a:lnTo>
                  <a:lnTo>
                    <a:pt x="2020" y="224"/>
                  </a:lnTo>
                  <a:lnTo>
                    <a:pt x="2072" y="262"/>
                  </a:lnTo>
                  <a:lnTo>
                    <a:pt x="2124" y="302"/>
                  </a:lnTo>
                  <a:lnTo>
                    <a:pt x="2174" y="348"/>
                  </a:lnTo>
                  <a:lnTo>
                    <a:pt x="5970" y="3896"/>
                  </a:lnTo>
                  <a:lnTo>
                    <a:pt x="5970" y="3896"/>
                  </a:lnTo>
                  <a:lnTo>
                    <a:pt x="6018" y="3942"/>
                  </a:lnTo>
                  <a:lnTo>
                    <a:pt x="6062" y="3992"/>
                  </a:lnTo>
                  <a:lnTo>
                    <a:pt x="6106" y="4042"/>
                  </a:lnTo>
                  <a:lnTo>
                    <a:pt x="6144" y="4096"/>
                  </a:lnTo>
                  <a:lnTo>
                    <a:pt x="6180" y="4150"/>
                  </a:lnTo>
                  <a:lnTo>
                    <a:pt x="6214" y="4206"/>
                  </a:lnTo>
                  <a:lnTo>
                    <a:pt x="6246" y="4264"/>
                  </a:lnTo>
                  <a:lnTo>
                    <a:pt x="6274" y="4324"/>
                  </a:lnTo>
                  <a:lnTo>
                    <a:pt x="6298" y="4386"/>
                  </a:lnTo>
                  <a:lnTo>
                    <a:pt x="6320" y="4448"/>
                  </a:lnTo>
                  <a:lnTo>
                    <a:pt x="6338" y="4510"/>
                  </a:lnTo>
                  <a:lnTo>
                    <a:pt x="6352" y="4574"/>
                  </a:lnTo>
                  <a:lnTo>
                    <a:pt x="6364" y="4640"/>
                  </a:lnTo>
                  <a:lnTo>
                    <a:pt x="6374" y="4706"/>
                  </a:lnTo>
                  <a:lnTo>
                    <a:pt x="6378" y="4772"/>
                  </a:lnTo>
                  <a:lnTo>
                    <a:pt x="6380" y="4838"/>
                  </a:lnTo>
                  <a:lnTo>
                    <a:pt x="6380" y="4838"/>
                  </a:lnTo>
                  <a:lnTo>
                    <a:pt x="6378" y="4906"/>
                  </a:lnTo>
                  <a:lnTo>
                    <a:pt x="6374" y="4972"/>
                  </a:lnTo>
                  <a:lnTo>
                    <a:pt x="6364" y="5038"/>
                  </a:lnTo>
                  <a:lnTo>
                    <a:pt x="6352" y="5102"/>
                  </a:lnTo>
                  <a:lnTo>
                    <a:pt x="6338" y="5166"/>
                  </a:lnTo>
                  <a:lnTo>
                    <a:pt x="6320" y="5230"/>
                  </a:lnTo>
                  <a:lnTo>
                    <a:pt x="6298" y="5292"/>
                  </a:lnTo>
                  <a:lnTo>
                    <a:pt x="6274" y="5354"/>
                  </a:lnTo>
                  <a:lnTo>
                    <a:pt x="6246" y="5412"/>
                  </a:lnTo>
                  <a:lnTo>
                    <a:pt x="6214" y="5470"/>
                  </a:lnTo>
                  <a:lnTo>
                    <a:pt x="6180" y="5528"/>
                  </a:lnTo>
                  <a:lnTo>
                    <a:pt x="6144" y="5582"/>
                  </a:lnTo>
                  <a:lnTo>
                    <a:pt x="6106" y="5636"/>
                  </a:lnTo>
                  <a:lnTo>
                    <a:pt x="6062" y="5686"/>
                  </a:lnTo>
                  <a:lnTo>
                    <a:pt x="6018" y="5736"/>
                  </a:lnTo>
                  <a:lnTo>
                    <a:pt x="5970" y="5782"/>
                  </a:lnTo>
                  <a:lnTo>
                    <a:pt x="2174" y="9330"/>
                  </a:lnTo>
                  <a:lnTo>
                    <a:pt x="2174" y="9330"/>
                  </a:lnTo>
                  <a:lnTo>
                    <a:pt x="2126" y="9372"/>
                  </a:lnTo>
                  <a:lnTo>
                    <a:pt x="2076" y="9412"/>
                  </a:lnTo>
                  <a:lnTo>
                    <a:pt x="2026" y="9448"/>
                  </a:lnTo>
                  <a:lnTo>
                    <a:pt x="1974" y="9482"/>
                  </a:lnTo>
                  <a:lnTo>
                    <a:pt x="1922" y="9514"/>
                  </a:lnTo>
                  <a:lnTo>
                    <a:pt x="1868" y="9542"/>
                  </a:lnTo>
                  <a:lnTo>
                    <a:pt x="1814" y="9568"/>
                  </a:lnTo>
                  <a:lnTo>
                    <a:pt x="1758" y="9592"/>
                  </a:lnTo>
                  <a:lnTo>
                    <a:pt x="1700" y="9612"/>
                  </a:lnTo>
                  <a:lnTo>
                    <a:pt x="1644" y="9630"/>
                  </a:lnTo>
                  <a:lnTo>
                    <a:pt x="1586" y="9644"/>
                  </a:lnTo>
                  <a:lnTo>
                    <a:pt x="1528" y="9656"/>
                  </a:lnTo>
                  <a:lnTo>
                    <a:pt x="1468" y="9666"/>
                  </a:lnTo>
                  <a:lnTo>
                    <a:pt x="1410" y="9672"/>
                  </a:lnTo>
                  <a:lnTo>
                    <a:pt x="1350" y="9676"/>
                  </a:lnTo>
                  <a:lnTo>
                    <a:pt x="1292" y="9678"/>
                  </a:lnTo>
                  <a:lnTo>
                    <a:pt x="1292" y="967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587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1" name="íŝlîḍê">
              <a:extLst>
                <a:ext uri="{FF2B5EF4-FFF2-40B4-BE49-F238E27FC236}">
                  <a16:creationId xmlns:a16="http://schemas.microsoft.com/office/drawing/2014/main" xmlns="" id="{57C9822C-83D6-490E-8FD9-8F74788A5AA6}"/>
                </a:ext>
              </a:extLst>
            </p:cNvPr>
            <p:cNvSpPr/>
            <p:nvPr/>
          </p:nvSpPr>
          <p:spPr bwMode="auto">
            <a:xfrm>
              <a:off x="8924299" y="2757414"/>
              <a:ext cx="1161737" cy="1762271"/>
            </a:xfrm>
            <a:custGeom>
              <a:avLst/>
              <a:gdLst>
                <a:gd name="T0" fmla="*/ 1226 w 6380"/>
                <a:gd name="T1" fmla="*/ 9676 h 9678"/>
                <a:gd name="T2" fmla="*/ 1034 w 6380"/>
                <a:gd name="T3" fmla="*/ 9652 h 9678"/>
                <a:gd name="T4" fmla="*/ 846 w 6380"/>
                <a:gd name="T5" fmla="*/ 9600 h 9678"/>
                <a:gd name="T6" fmla="*/ 666 w 6380"/>
                <a:gd name="T7" fmla="*/ 9518 h 9678"/>
                <a:gd name="T8" fmla="*/ 500 w 6380"/>
                <a:gd name="T9" fmla="*/ 9408 h 9678"/>
                <a:gd name="T10" fmla="*/ 348 w 6380"/>
                <a:gd name="T11" fmla="*/ 9268 h 9678"/>
                <a:gd name="T12" fmla="*/ 262 w 6380"/>
                <a:gd name="T13" fmla="*/ 9168 h 9678"/>
                <a:gd name="T14" fmla="*/ 156 w 6380"/>
                <a:gd name="T15" fmla="*/ 9004 h 9678"/>
                <a:gd name="T16" fmla="*/ 78 w 6380"/>
                <a:gd name="T17" fmla="*/ 8832 h 9678"/>
                <a:gd name="T18" fmla="*/ 26 w 6380"/>
                <a:gd name="T19" fmla="*/ 8652 h 9678"/>
                <a:gd name="T20" fmla="*/ 2 w 6380"/>
                <a:gd name="T21" fmla="*/ 8466 h 9678"/>
                <a:gd name="T22" fmla="*/ 4 w 6380"/>
                <a:gd name="T23" fmla="*/ 8282 h 9678"/>
                <a:gd name="T24" fmla="*/ 32 w 6380"/>
                <a:gd name="T25" fmla="*/ 8098 h 9678"/>
                <a:gd name="T26" fmla="*/ 88 w 6380"/>
                <a:gd name="T27" fmla="*/ 7918 h 9678"/>
                <a:gd name="T28" fmla="*/ 168 w 6380"/>
                <a:gd name="T29" fmla="*/ 7748 h 9678"/>
                <a:gd name="T30" fmla="*/ 276 w 6380"/>
                <a:gd name="T31" fmla="*/ 7588 h 9678"/>
                <a:gd name="T32" fmla="*/ 410 w 6380"/>
                <a:gd name="T33" fmla="*/ 7442 h 9678"/>
                <a:gd name="T34" fmla="*/ 410 w 6380"/>
                <a:gd name="T35" fmla="*/ 2234 h 9678"/>
                <a:gd name="T36" fmla="*/ 276 w 6380"/>
                <a:gd name="T37" fmla="*/ 2090 h 9678"/>
                <a:gd name="T38" fmla="*/ 168 w 6380"/>
                <a:gd name="T39" fmla="*/ 1930 h 9678"/>
                <a:gd name="T40" fmla="*/ 88 w 6380"/>
                <a:gd name="T41" fmla="*/ 1760 h 9678"/>
                <a:gd name="T42" fmla="*/ 32 w 6380"/>
                <a:gd name="T43" fmla="*/ 1580 h 9678"/>
                <a:gd name="T44" fmla="*/ 4 w 6380"/>
                <a:gd name="T45" fmla="*/ 1396 h 9678"/>
                <a:gd name="T46" fmla="*/ 2 w 6380"/>
                <a:gd name="T47" fmla="*/ 1210 h 9678"/>
                <a:gd name="T48" fmla="*/ 26 w 6380"/>
                <a:gd name="T49" fmla="*/ 1026 h 9678"/>
                <a:gd name="T50" fmla="*/ 78 w 6380"/>
                <a:gd name="T51" fmla="*/ 846 h 9678"/>
                <a:gd name="T52" fmla="*/ 156 w 6380"/>
                <a:gd name="T53" fmla="*/ 672 h 9678"/>
                <a:gd name="T54" fmla="*/ 262 w 6380"/>
                <a:gd name="T55" fmla="*/ 510 h 9678"/>
                <a:gd name="T56" fmla="*/ 348 w 6380"/>
                <a:gd name="T57" fmla="*/ 410 h 9678"/>
                <a:gd name="T58" fmla="*/ 492 w 6380"/>
                <a:gd name="T59" fmla="*/ 276 h 9678"/>
                <a:gd name="T60" fmla="*/ 652 w 6380"/>
                <a:gd name="T61" fmla="*/ 168 h 9678"/>
                <a:gd name="T62" fmla="*/ 822 w 6380"/>
                <a:gd name="T63" fmla="*/ 86 h 9678"/>
                <a:gd name="T64" fmla="*/ 1002 w 6380"/>
                <a:gd name="T65" fmla="*/ 32 h 9678"/>
                <a:gd name="T66" fmla="*/ 1186 w 6380"/>
                <a:gd name="T67" fmla="*/ 4 h 9678"/>
                <a:gd name="T68" fmla="*/ 1372 w 6380"/>
                <a:gd name="T69" fmla="*/ 2 h 9678"/>
                <a:gd name="T70" fmla="*/ 1556 w 6380"/>
                <a:gd name="T71" fmla="*/ 26 h 9678"/>
                <a:gd name="T72" fmla="*/ 1736 w 6380"/>
                <a:gd name="T73" fmla="*/ 78 h 9678"/>
                <a:gd name="T74" fmla="*/ 1910 w 6380"/>
                <a:gd name="T75" fmla="*/ 156 h 9678"/>
                <a:gd name="T76" fmla="*/ 2072 w 6380"/>
                <a:gd name="T77" fmla="*/ 262 h 9678"/>
                <a:gd name="T78" fmla="*/ 5970 w 6380"/>
                <a:gd name="T79" fmla="*/ 3896 h 9678"/>
                <a:gd name="T80" fmla="*/ 6062 w 6380"/>
                <a:gd name="T81" fmla="*/ 3992 h 9678"/>
                <a:gd name="T82" fmla="*/ 6180 w 6380"/>
                <a:gd name="T83" fmla="*/ 4150 h 9678"/>
                <a:gd name="T84" fmla="*/ 6274 w 6380"/>
                <a:gd name="T85" fmla="*/ 4324 h 9678"/>
                <a:gd name="T86" fmla="*/ 6338 w 6380"/>
                <a:gd name="T87" fmla="*/ 4510 h 9678"/>
                <a:gd name="T88" fmla="*/ 6374 w 6380"/>
                <a:gd name="T89" fmla="*/ 4706 h 9678"/>
                <a:gd name="T90" fmla="*/ 6380 w 6380"/>
                <a:gd name="T91" fmla="*/ 4838 h 9678"/>
                <a:gd name="T92" fmla="*/ 6364 w 6380"/>
                <a:gd name="T93" fmla="*/ 5038 h 9678"/>
                <a:gd name="T94" fmla="*/ 6320 w 6380"/>
                <a:gd name="T95" fmla="*/ 5230 h 9678"/>
                <a:gd name="T96" fmla="*/ 6246 w 6380"/>
                <a:gd name="T97" fmla="*/ 5412 h 9678"/>
                <a:gd name="T98" fmla="*/ 6144 w 6380"/>
                <a:gd name="T99" fmla="*/ 5582 h 9678"/>
                <a:gd name="T100" fmla="*/ 6018 w 6380"/>
                <a:gd name="T101" fmla="*/ 5736 h 9678"/>
                <a:gd name="T102" fmla="*/ 2174 w 6380"/>
                <a:gd name="T103" fmla="*/ 9330 h 9678"/>
                <a:gd name="T104" fmla="*/ 2026 w 6380"/>
                <a:gd name="T105" fmla="*/ 9448 h 9678"/>
                <a:gd name="T106" fmla="*/ 1868 w 6380"/>
                <a:gd name="T107" fmla="*/ 9542 h 9678"/>
                <a:gd name="T108" fmla="*/ 1700 w 6380"/>
                <a:gd name="T109" fmla="*/ 9612 h 9678"/>
                <a:gd name="T110" fmla="*/ 1528 w 6380"/>
                <a:gd name="T111" fmla="*/ 9656 h 9678"/>
                <a:gd name="T112" fmla="*/ 1350 w 6380"/>
                <a:gd name="T113" fmla="*/ 9676 h 9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80" h="9678">
                  <a:moveTo>
                    <a:pt x="1292" y="9678"/>
                  </a:moveTo>
                  <a:lnTo>
                    <a:pt x="1292" y="9678"/>
                  </a:lnTo>
                  <a:lnTo>
                    <a:pt x="1226" y="9676"/>
                  </a:lnTo>
                  <a:lnTo>
                    <a:pt x="1162" y="9672"/>
                  </a:lnTo>
                  <a:lnTo>
                    <a:pt x="1098" y="9664"/>
                  </a:lnTo>
                  <a:lnTo>
                    <a:pt x="1034" y="9652"/>
                  </a:lnTo>
                  <a:lnTo>
                    <a:pt x="970" y="9638"/>
                  </a:lnTo>
                  <a:lnTo>
                    <a:pt x="908" y="9620"/>
                  </a:lnTo>
                  <a:lnTo>
                    <a:pt x="846" y="9600"/>
                  </a:lnTo>
                  <a:lnTo>
                    <a:pt x="786" y="9576"/>
                  </a:lnTo>
                  <a:lnTo>
                    <a:pt x="726" y="9548"/>
                  </a:lnTo>
                  <a:lnTo>
                    <a:pt x="666" y="9518"/>
                  </a:lnTo>
                  <a:lnTo>
                    <a:pt x="610" y="9484"/>
                  </a:lnTo>
                  <a:lnTo>
                    <a:pt x="554" y="9448"/>
                  </a:lnTo>
                  <a:lnTo>
                    <a:pt x="500" y="9408"/>
                  </a:lnTo>
                  <a:lnTo>
                    <a:pt x="446" y="9364"/>
                  </a:lnTo>
                  <a:lnTo>
                    <a:pt x="396" y="9318"/>
                  </a:lnTo>
                  <a:lnTo>
                    <a:pt x="348" y="9268"/>
                  </a:lnTo>
                  <a:lnTo>
                    <a:pt x="348" y="9268"/>
                  </a:lnTo>
                  <a:lnTo>
                    <a:pt x="304" y="9218"/>
                  </a:lnTo>
                  <a:lnTo>
                    <a:pt x="262" y="9168"/>
                  </a:lnTo>
                  <a:lnTo>
                    <a:pt x="224" y="9114"/>
                  </a:lnTo>
                  <a:lnTo>
                    <a:pt x="188" y="9060"/>
                  </a:lnTo>
                  <a:lnTo>
                    <a:pt x="156" y="9004"/>
                  </a:lnTo>
                  <a:lnTo>
                    <a:pt x="128" y="8948"/>
                  </a:lnTo>
                  <a:lnTo>
                    <a:pt x="102" y="8890"/>
                  </a:lnTo>
                  <a:lnTo>
                    <a:pt x="78" y="8832"/>
                  </a:lnTo>
                  <a:lnTo>
                    <a:pt x="58" y="8772"/>
                  </a:lnTo>
                  <a:lnTo>
                    <a:pt x="42" y="8712"/>
                  </a:lnTo>
                  <a:lnTo>
                    <a:pt x="26" y="8652"/>
                  </a:lnTo>
                  <a:lnTo>
                    <a:pt x="16" y="8590"/>
                  </a:lnTo>
                  <a:lnTo>
                    <a:pt x="8" y="8528"/>
                  </a:lnTo>
                  <a:lnTo>
                    <a:pt x="2" y="8466"/>
                  </a:lnTo>
                  <a:lnTo>
                    <a:pt x="0" y="8404"/>
                  </a:lnTo>
                  <a:lnTo>
                    <a:pt x="0" y="8342"/>
                  </a:lnTo>
                  <a:lnTo>
                    <a:pt x="4" y="8282"/>
                  </a:lnTo>
                  <a:lnTo>
                    <a:pt x="10" y="8220"/>
                  </a:lnTo>
                  <a:lnTo>
                    <a:pt x="20" y="8158"/>
                  </a:lnTo>
                  <a:lnTo>
                    <a:pt x="32" y="8098"/>
                  </a:lnTo>
                  <a:lnTo>
                    <a:pt x="48" y="8036"/>
                  </a:lnTo>
                  <a:lnTo>
                    <a:pt x="66" y="7978"/>
                  </a:lnTo>
                  <a:lnTo>
                    <a:pt x="88" y="7918"/>
                  </a:lnTo>
                  <a:lnTo>
                    <a:pt x="112" y="7860"/>
                  </a:lnTo>
                  <a:lnTo>
                    <a:pt x="138" y="7804"/>
                  </a:lnTo>
                  <a:lnTo>
                    <a:pt x="168" y="7748"/>
                  </a:lnTo>
                  <a:lnTo>
                    <a:pt x="202" y="7694"/>
                  </a:lnTo>
                  <a:lnTo>
                    <a:pt x="238" y="7640"/>
                  </a:lnTo>
                  <a:lnTo>
                    <a:pt x="276" y="7588"/>
                  </a:lnTo>
                  <a:lnTo>
                    <a:pt x="318" y="7538"/>
                  </a:lnTo>
                  <a:lnTo>
                    <a:pt x="362" y="7490"/>
                  </a:lnTo>
                  <a:lnTo>
                    <a:pt x="410" y="7442"/>
                  </a:lnTo>
                  <a:lnTo>
                    <a:pt x="3196" y="4838"/>
                  </a:lnTo>
                  <a:lnTo>
                    <a:pt x="410" y="2234"/>
                  </a:lnTo>
                  <a:lnTo>
                    <a:pt x="410" y="2234"/>
                  </a:lnTo>
                  <a:lnTo>
                    <a:pt x="362" y="2188"/>
                  </a:lnTo>
                  <a:lnTo>
                    <a:pt x="318" y="2140"/>
                  </a:lnTo>
                  <a:lnTo>
                    <a:pt x="276" y="2090"/>
                  </a:lnTo>
                  <a:lnTo>
                    <a:pt x="238" y="2038"/>
                  </a:lnTo>
                  <a:lnTo>
                    <a:pt x="202" y="1984"/>
                  </a:lnTo>
                  <a:lnTo>
                    <a:pt x="168" y="1930"/>
                  </a:lnTo>
                  <a:lnTo>
                    <a:pt x="138" y="1874"/>
                  </a:lnTo>
                  <a:lnTo>
                    <a:pt x="112" y="1818"/>
                  </a:lnTo>
                  <a:lnTo>
                    <a:pt x="88" y="1760"/>
                  </a:lnTo>
                  <a:lnTo>
                    <a:pt x="66" y="1700"/>
                  </a:lnTo>
                  <a:lnTo>
                    <a:pt x="48" y="1640"/>
                  </a:lnTo>
                  <a:lnTo>
                    <a:pt x="32" y="1580"/>
                  </a:lnTo>
                  <a:lnTo>
                    <a:pt x="20" y="1520"/>
                  </a:lnTo>
                  <a:lnTo>
                    <a:pt x="10" y="1458"/>
                  </a:lnTo>
                  <a:lnTo>
                    <a:pt x="4" y="1396"/>
                  </a:lnTo>
                  <a:lnTo>
                    <a:pt x="0" y="1334"/>
                  </a:lnTo>
                  <a:lnTo>
                    <a:pt x="0" y="1272"/>
                  </a:lnTo>
                  <a:lnTo>
                    <a:pt x="2" y="1210"/>
                  </a:lnTo>
                  <a:lnTo>
                    <a:pt x="8" y="1148"/>
                  </a:lnTo>
                  <a:lnTo>
                    <a:pt x="16" y="1088"/>
                  </a:lnTo>
                  <a:lnTo>
                    <a:pt x="26" y="1026"/>
                  </a:lnTo>
                  <a:lnTo>
                    <a:pt x="42" y="966"/>
                  </a:lnTo>
                  <a:lnTo>
                    <a:pt x="58" y="906"/>
                  </a:lnTo>
                  <a:lnTo>
                    <a:pt x="78" y="846"/>
                  </a:lnTo>
                  <a:lnTo>
                    <a:pt x="102" y="788"/>
                  </a:lnTo>
                  <a:lnTo>
                    <a:pt x="128" y="730"/>
                  </a:lnTo>
                  <a:lnTo>
                    <a:pt x="156" y="672"/>
                  </a:lnTo>
                  <a:lnTo>
                    <a:pt x="188" y="618"/>
                  </a:lnTo>
                  <a:lnTo>
                    <a:pt x="224" y="562"/>
                  </a:lnTo>
                  <a:lnTo>
                    <a:pt x="262" y="510"/>
                  </a:lnTo>
                  <a:lnTo>
                    <a:pt x="304" y="458"/>
                  </a:lnTo>
                  <a:lnTo>
                    <a:pt x="348" y="410"/>
                  </a:lnTo>
                  <a:lnTo>
                    <a:pt x="348" y="410"/>
                  </a:lnTo>
                  <a:lnTo>
                    <a:pt x="394" y="362"/>
                  </a:lnTo>
                  <a:lnTo>
                    <a:pt x="442" y="318"/>
                  </a:lnTo>
                  <a:lnTo>
                    <a:pt x="492" y="276"/>
                  </a:lnTo>
                  <a:lnTo>
                    <a:pt x="544" y="236"/>
                  </a:lnTo>
                  <a:lnTo>
                    <a:pt x="598" y="200"/>
                  </a:lnTo>
                  <a:lnTo>
                    <a:pt x="652" y="168"/>
                  </a:lnTo>
                  <a:lnTo>
                    <a:pt x="708" y="138"/>
                  </a:lnTo>
                  <a:lnTo>
                    <a:pt x="764" y="112"/>
                  </a:lnTo>
                  <a:lnTo>
                    <a:pt x="822" y="86"/>
                  </a:lnTo>
                  <a:lnTo>
                    <a:pt x="882" y="66"/>
                  </a:lnTo>
                  <a:lnTo>
                    <a:pt x="942" y="48"/>
                  </a:lnTo>
                  <a:lnTo>
                    <a:pt x="1002" y="32"/>
                  </a:lnTo>
                  <a:lnTo>
                    <a:pt x="1062" y="20"/>
                  </a:lnTo>
                  <a:lnTo>
                    <a:pt x="1124" y="10"/>
                  </a:lnTo>
                  <a:lnTo>
                    <a:pt x="1186" y="4"/>
                  </a:lnTo>
                  <a:lnTo>
                    <a:pt x="1248" y="0"/>
                  </a:lnTo>
                  <a:lnTo>
                    <a:pt x="1310" y="0"/>
                  </a:lnTo>
                  <a:lnTo>
                    <a:pt x="1372" y="2"/>
                  </a:lnTo>
                  <a:lnTo>
                    <a:pt x="1434" y="8"/>
                  </a:lnTo>
                  <a:lnTo>
                    <a:pt x="1494" y="16"/>
                  </a:lnTo>
                  <a:lnTo>
                    <a:pt x="1556" y="26"/>
                  </a:lnTo>
                  <a:lnTo>
                    <a:pt x="1616" y="40"/>
                  </a:lnTo>
                  <a:lnTo>
                    <a:pt x="1676" y="58"/>
                  </a:lnTo>
                  <a:lnTo>
                    <a:pt x="1736" y="78"/>
                  </a:lnTo>
                  <a:lnTo>
                    <a:pt x="1796" y="102"/>
                  </a:lnTo>
                  <a:lnTo>
                    <a:pt x="1852" y="128"/>
                  </a:lnTo>
                  <a:lnTo>
                    <a:pt x="1910" y="156"/>
                  </a:lnTo>
                  <a:lnTo>
                    <a:pt x="1964" y="188"/>
                  </a:lnTo>
                  <a:lnTo>
                    <a:pt x="2020" y="224"/>
                  </a:lnTo>
                  <a:lnTo>
                    <a:pt x="2072" y="262"/>
                  </a:lnTo>
                  <a:lnTo>
                    <a:pt x="2124" y="302"/>
                  </a:lnTo>
                  <a:lnTo>
                    <a:pt x="2174" y="348"/>
                  </a:lnTo>
                  <a:lnTo>
                    <a:pt x="5970" y="3896"/>
                  </a:lnTo>
                  <a:lnTo>
                    <a:pt x="5970" y="3896"/>
                  </a:lnTo>
                  <a:lnTo>
                    <a:pt x="6018" y="3942"/>
                  </a:lnTo>
                  <a:lnTo>
                    <a:pt x="6062" y="3992"/>
                  </a:lnTo>
                  <a:lnTo>
                    <a:pt x="6106" y="4042"/>
                  </a:lnTo>
                  <a:lnTo>
                    <a:pt x="6144" y="4096"/>
                  </a:lnTo>
                  <a:lnTo>
                    <a:pt x="6180" y="4150"/>
                  </a:lnTo>
                  <a:lnTo>
                    <a:pt x="6214" y="4206"/>
                  </a:lnTo>
                  <a:lnTo>
                    <a:pt x="6246" y="4264"/>
                  </a:lnTo>
                  <a:lnTo>
                    <a:pt x="6274" y="4324"/>
                  </a:lnTo>
                  <a:lnTo>
                    <a:pt x="6298" y="4386"/>
                  </a:lnTo>
                  <a:lnTo>
                    <a:pt x="6320" y="4448"/>
                  </a:lnTo>
                  <a:lnTo>
                    <a:pt x="6338" y="4510"/>
                  </a:lnTo>
                  <a:lnTo>
                    <a:pt x="6352" y="4574"/>
                  </a:lnTo>
                  <a:lnTo>
                    <a:pt x="6364" y="4640"/>
                  </a:lnTo>
                  <a:lnTo>
                    <a:pt x="6374" y="4706"/>
                  </a:lnTo>
                  <a:lnTo>
                    <a:pt x="6378" y="4772"/>
                  </a:lnTo>
                  <a:lnTo>
                    <a:pt x="6380" y="4838"/>
                  </a:lnTo>
                  <a:lnTo>
                    <a:pt x="6380" y="4838"/>
                  </a:lnTo>
                  <a:lnTo>
                    <a:pt x="6378" y="4906"/>
                  </a:lnTo>
                  <a:lnTo>
                    <a:pt x="6374" y="4972"/>
                  </a:lnTo>
                  <a:lnTo>
                    <a:pt x="6364" y="5038"/>
                  </a:lnTo>
                  <a:lnTo>
                    <a:pt x="6352" y="5102"/>
                  </a:lnTo>
                  <a:lnTo>
                    <a:pt x="6338" y="5166"/>
                  </a:lnTo>
                  <a:lnTo>
                    <a:pt x="6320" y="5230"/>
                  </a:lnTo>
                  <a:lnTo>
                    <a:pt x="6298" y="5292"/>
                  </a:lnTo>
                  <a:lnTo>
                    <a:pt x="6274" y="5354"/>
                  </a:lnTo>
                  <a:lnTo>
                    <a:pt x="6246" y="5412"/>
                  </a:lnTo>
                  <a:lnTo>
                    <a:pt x="6214" y="5470"/>
                  </a:lnTo>
                  <a:lnTo>
                    <a:pt x="6180" y="5528"/>
                  </a:lnTo>
                  <a:lnTo>
                    <a:pt x="6144" y="5582"/>
                  </a:lnTo>
                  <a:lnTo>
                    <a:pt x="6106" y="5636"/>
                  </a:lnTo>
                  <a:lnTo>
                    <a:pt x="6062" y="5686"/>
                  </a:lnTo>
                  <a:lnTo>
                    <a:pt x="6018" y="5736"/>
                  </a:lnTo>
                  <a:lnTo>
                    <a:pt x="5970" y="5782"/>
                  </a:lnTo>
                  <a:lnTo>
                    <a:pt x="2174" y="9330"/>
                  </a:lnTo>
                  <a:lnTo>
                    <a:pt x="2174" y="9330"/>
                  </a:lnTo>
                  <a:lnTo>
                    <a:pt x="2126" y="9372"/>
                  </a:lnTo>
                  <a:lnTo>
                    <a:pt x="2076" y="9412"/>
                  </a:lnTo>
                  <a:lnTo>
                    <a:pt x="2026" y="9448"/>
                  </a:lnTo>
                  <a:lnTo>
                    <a:pt x="1974" y="9482"/>
                  </a:lnTo>
                  <a:lnTo>
                    <a:pt x="1922" y="9514"/>
                  </a:lnTo>
                  <a:lnTo>
                    <a:pt x="1868" y="9542"/>
                  </a:lnTo>
                  <a:lnTo>
                    <a:pt x="1814" y="9568"/>
                  </a:lnTo>
                  <a:lnTo>
                    <a:pt x="1758" y="9592"/>
                  </a:lnTo>
                  <a:lnTo>
                    <a:pt x="1700" y="9612"/>
                  </a:lnTo>
                  <a:lnTo>
                    <a:pt x="1644" y="9630"/>
                  </a:lnTo>
                  <a:lnTo>
                    <a:pt x="1586" y="9644"/>
                  </a:lnTo>
                  <a:lnTo>
                    <a:pt x="1528" y="9656"/>
                  </a:lnTo>
                  <a:lnTo>
                    <a:pt x="1468" y="9666"/>
                  </a:lnTo>
                  <a:lnTo>
                    <a:pt x="1410" y="9672"/>
                  </a:lnTo>
                  <a:lnTo>
                    <a:pt x="1350" y="9676"/>
                  </a:lnTo>
                  <a:lnTo>
                    <a:pt x="1292" y="9678"/>
                  </a:lnTo>
                  <a:lnTo>
                    <a:pt x="1292" y="967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587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grpSp>
          <p:nvGrpSpPr>
            <p:cNvPr id="12" name="ï$ľiḍè">
              <a:extLst>
                <a:ext uri="{FF2B5EF4-FFF2-40B4-BE49-F238E27FC236}">
                  <a16:creationId xmlns:a16="http://schemas.microsoft.com/office/drawing/2014/main" xmlns="" id="{8AE40C10-FA83-4561-84D1-557F1C03CF6B}"/>
                </a:ext>
              </a:extLst>
            </p:cNvPr>
            <p:cNvGrpSpPr/>
            <p:nvPr/>
          </p:nvGrpSpPr>
          <p:grpSpPr>
            <a:xfrm>
              <a:off x="5712535" y="1130300"/>
              <a:ext cx="1954777" cy="1051866"/>
              <a:chOff x="5712535" y="1130300"/>
              <a:chExt cx="1954777" cy="1051866"/>
            </a:xfrm>
          </p:grpSpPr>
          <p:sp>
            <p:nvSpPr>
              <p:cNvPr id="30" name="ïšḻiḍè">
                <a:extLst>
                  <a:ext uri="{FF2B5EF4-FFF2-40B4-BE49-F238E27FC236}">
                    <a16:creationId xmlns:a16="http://schemas.microsoft.com/office/drawing/2014/main" xmlns="" id="{76088809-5071-4400-A6D6-2B812CA8BB36}"/>
                  </a:ext>
                </a:extLst>
              </p:cNvPr>
              <p:cNvSpPr/>
              <p:nvPr/>
            </p:nvSpPr>
            <p:spPr>
              <a:xfrm>
                <a:off x="5712535" y="1130300"/>
                <a:ext cx="1954776" cy="470126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 defTabSz="914378">
                  <a:defRPr/>
                </a:pPr>
                <a:r>
                  <a:rPr lang="en-US" altLang="zh-CN" b="1" dirty="0">
                    <a:solidFill>
                      <a:schemeClr val="tx1"/>
                    </a:solidFill>
                  </a:rPr>
                  <a:t>Text here</a:t>
                </a:r>
                <a:endParaRPr lang="zh-CN" altLang="en-US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íśḻîḓè">
                <a:extLst>
                  <a:ext uri="{FF2B5EF4-FFF2-40B4-BE49-F238E27FC236}">
                    <a16:creationId xmlns:a16="http://schemas.microsoft.com/office/drawing/2014/main" xmlns="" id="{6B6A2132-A743-42AB-B56B-72A96DD60AA7}"/>
                  </a:ext>
                </a:extLst>
              </p:cNvPr>
              <p:cNvSpPr/>
              <p:nvPr/>
            </p:nvSpPr>
            <p:spPr>
              <a:xfrm>
                <a:off x="5712536" y="1600427"/>
                <a:ext cx="1954776" cy="581739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normAutofit lnSpcReduction="10000"/>
              </a:bodyPr>
              <a:lstStyle/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solidFill>
                      <a:schemeClr val="tx1"/>
                    </a:solidFill>
                  </a:rPr>
                  <a:t>Supporting text here. 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solidFill>
                      <a:schemeClr val="tx1"/>
                    </a:solidFill>
                  </a:rPr>
                  <a:t>……</a:t>
                </a:r>
              </a:p>
            </p:txBody>
          </p:sp>
        </p:grpSp>
        <p:grpSp>
          <p:nvGrpSpPr>
            <p:cNvPr id="13" name="îŝlíḋé">
              <a:extLst>
                <a:ext uri="{FF2B5EF4-FFF2-40B4-BE49-F238E27FC236}">
                  <a16:creationId xmlns:a16="http://schemas.microsoft.com/office/drawing/2014/main" xmlns="" id="{06E4DAE4-9048-4756-877D-09CD4B011661}"/>
                </a:ext>
              </a:extLst>
            </p:cNvPr>
            <p:cNvGrpSpPr/>
            <p:nvPr/>
          </p:nvGrpSpPr>
          <p:grpSpPr>
            <a:xfrm>
              <a:off x="2878521" y="1675458"/>
              <a:ext cx="1954777" cy="1051866"/>
              <a:chOff x="2878521" y="1675458"/>
              <a:chExt cx="1954777" cy="1051866"/>
            </a:xfrm>
          </p:grpSpPr>
          <p:sp>
            <p:nvSpPr>
              <p:cNvPr id="28" name="iṥliḑe">
                <a:extLst>
                  <a:ext uri="{FF2B5EF4-FFF2-40B4-BE49-F238E27FC236}">
                    <a16:creationId xmlns:a16="http://schemas.microsoft.com/office/drawing/2014/main" xmlns="" id="{12DB73C2-EEE5-4908-9500-74E5083E8423}"/>
                  </a:ext>
                </a:extLst>
              </p:cNvPr>
              <p:cNvSpPr/>
              <p:nvPr/>
            </p:nvSpPr>
            <p:spPr>
              <a:xfrm>
                <a:off x="2878521" y="1675458"/>
                <a:ext cx="1954776" cy="470126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 defTabSz="914378">
                  <a:defRPr/>
                </a:pPr>
                <a:r>
                  <a:rPr lang="en-US" altLang="zh-CN" b="1" dirty="0">
                    <a:solidFill>
                      <a:schemeClr val="tx1"/>
                    </a:solidFill>
                  </a:rPr>
                  <a:t>Text here</a:t>
                </a:r>
                <a:endParaRPr lang="zh-CN" altLang="en-US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íš1ïdè">
                <a:extLst>
                  <a:ext uri="{FF2B5EF4-FFF2-40B4-BE49-F238E27FC236}">
                    <a16:creationId xmlns:a16="http://schemas.microsoft.com/office/drawing/2014/main" xmlns="" id="{611E294B-1B68-4A5E-B838-7C25654C1338}"/>
                  </a:ext>
                </a:extLst>
              </p:cNvPr>
              <p:cNvSpPr/>
              <p:nvPr/>
            </p:nvSpPr>
            <p:spPr>
              <a:xfrm>
                <a:off x="2878522" y="2145585"/>
                <a:ext cx="1954776" cy="581739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normAutofit lnSpcReduction="10000"/>
              </a:bodyPr>
              <a:lstStyle/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solidFill>
                      <a:schemeClr val="tx1"/>
                    </a:solidFill>
                  </a:rPr>
                  <a:t>Supporting text here. 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solidFill>
                      <a:schemeClr val="tx1"/>
                    </a:solidFill>
                  </a:rPr>
                  <a:t>……</a:t>
                </a:r>
              </a:p>
            </p:txBody>
          </p:sp>
        </p:grpSp>
        <p:grpSp>
          <p:nvGrpSpPr>
            <p:cNvPr id="14" name="îṥlíḓe">
              <a:extLst>
                <a:ext uri="{FF2B5EF4-FFF2-40B4-BE49-F238E27FC236}">
                  <a16:creationId xmlns:a16="http://schemas.microsoft.com/office/drawing/2014/main" xmlns="" id="{118504DF-EF3F-43D6-B07A-5CCF8E9E06BD}"/>
                </a:ext>
              </a:extLst>
            </p:cNvPr>
            <p:cNvGrpSpPr/>
            <p:nvPr/>
          </p:nvGrpSpPr>
          <p:grpSpPr>
            <a:xfrm>
              <a:off x="8546548" y="1675458"/>
              <a:ext cx="1954777" cy="1051866"/>
              <a:chOff x="8546548" y="1675458"/>
              <a:chExt cx="1954777" cy="1051866"/>
            </a:xfrm>
          </p:grpSpPr>
          <p:sp>
            <p:nvSpPr>
              <p:cNvPr id="26" name="ïsḻïḓê">
                <a:extLst>
                  <a:ext uri="{FF2B5EF4-FFF2-40B4-BE49-F238E27FC236}">
                    <a16:creationId xmlns:a16="http://schemas.microsoft.com/office/drawing/2014/main" xmlns="" id="{0FCC260F-4D59-4487-9E50-558B6B30CE40}"/>
                  </a:ext>
                </a:extLst>
              </p:cNvPr>
              <p:cNvSpPr/>
              <p:nvPr/>
            </p:nvSpPr>
            <p:spPr>
              <a:xfrm>
                <a:off x="8546548" y="1675458"/>
                <a:ext cx="1954776" cy="470126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 defTabSz="914378">
                  <a:defRPr/>
                </a:pPr>
                <a:r>
                  <a:rPr lang="en-US" altLang="zh-CN" b="1" dirty="0">
                    <a:solidFill>
                      <a:schemeClr val="tx1"/>
                    </a:solidFill>
                  </a:rPr>
                  <a:t>Text here</a:t>
                </a:r>
                <a:endParaRPr lang="zh-CN" altLang="en-US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ïṣ1ïḓè">
                <a:extLst>
                  <a:ext uri="{FF2B5EF4-FFF2-40B4-BE49-F238E27FC236}">
                    <a16:creationId xmlns:a16="http://schemas.microsoft.com/office/drawing/2014/main" xmlns="" id="{AF5C2A49-DBB9-49AC-B7AF-189A58C7E098}"/>
                  </a:ext>
                </a:extLst>
              </p:cNvPr>
              <p:cNvSpPr/>
              <p:nvPr/>
            </p:nvSpPr>
            <p:spPr>
              <a:xfrm>
                <a:off x="8546549" y="2145585"/>
                <a:ext cx="1954776" cy="581739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normAutofit lnSpcReduction="10000"/>
              </a:bodyPr>
              <a:lstStyle/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solidFill>
                      <a:schemeClr val="tx1"/>
                    </a:solidFill>
                  </a:rPr>
                  <a:t>Supporting text here. 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solidFill>
                      <a:schemeClr val="tx1"/>
                    </a:solidFill>
                  </a:rPr>
                  <a:t>……</a:t>
                </a:r>
              </a:p>
            </p:txBody>
          </p:sp>
        </p:grpSp>
        <p:grpSp>
          <p:nvGrpSpPr>
            <p:cNvPr id="15" name="îšḷiḍè">
              <a:extLst>
                <a:ext uri="{FF2B5EF4-FFF2-40B4-BE49-F238E27FC236}">
                  <a16:creationId xmlns:a16="http://schemas.microsoft.com/office/drawing/2014/main" xmlns="" id="{B2225251-265D-4EA7-A1DE-FA30555ABA19}"/>
                </a:ext>
              </a:extLst>
            </p:cNvPr>
            <p:cNvGrpSpPr/>
            <p:nvPr/>
          </p:nvGrpSpPr>
          <p:grpSpPr>
            <a:xfrm>
              <a:off x="4135509" y="5094933"/>
              <a:ext cx="1954777" cy="1051867"/>
              <a:chOff x="4135509" y="5094933"/>
              <a:chExt cx="1954777" cy="1051867"/>
            </a:xfrm>
          </p:grpSpPr>
          <p:sp>
            <p:nvSpPr>
              <p:cNvPr id="24" name="iṩḻíḑè">
                <a:extLst>
                  <a:ext uri="{FF2B5EF4-FFF2-40B4-BE49-F238E27FC236}">
                    <a16:creationId xmlns:a16="http://schemas.microsoft.com/office/drawing/2014/main" xmlns="" id="{C11B5591-AFF4-4147-B61C-E0C804CD18F5}"/>
                  </a:ext>
                </a:extLst>
              </p:cNvPr>
              <p:cNvSpPr/>
              <p:nvPr/>
            </p:nvSpPr>
            <p:spPr>
              <a:xfrm>
                <a:off x="4135509" y="5094933"/>
                <a:ext cx="1954776" cy="470126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 defTabSz="914378">
                  <a:defRPr/>
                </a:pPr>
                <a:r>
                  <a:rPr lang="en-US" altLang="zh-CN" b="1" dirty="0">
                    <a:solidFill>
                      <a:schemeClr val="tx1"/>
                    </a:solidFill>
                  </a:rPr>
                  <a:t>Text here</a:t>
                </a:r>
                <a:endParaRPr lang="zh-CN" altLang="en-US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ïṩľîḑé">
                <a:extLst>
                  <a:ext uri="{FF2B5EF4-FFF2-40B4-BE49-F238E27FC236}">
                    <a16:creationId xmlns:a16="http://schemas.microsoft.com/office/drawing/2014/main" xmlns="" id="{DAC5433C-3494-44E4-A942-3B9C27B2A61A}"/>
                  </a:ext>
                </a:extLst>
              </p:cNvPr>
              <p:cNvSpPr/>
              <p:nvPr/>
            </p:nvSpPr>
            <p:spPr>
              <a:xfrm>
                <a:off x="4135510" y="5565061"/>
                <a:ext cx="1954776" cy="581739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normAutofit lnSpcReduction="10000"/>
              </a:bodyPr>
              <a:lstStyle/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solidFill>
                      <a:schemeClr val="tx1"/>
                    </a:solidFill>
                  </a:rPr>
                  <a:t>Supporting text here. 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solidFill>
                      <a:schemeClr val="tx1"/>
                    </a:solidFill>
                  </a:rPr>
                  <a:t>……</a:t>
                </a:r>
              </a:p>
            </p:txBody>
          </p:sp>
        </p:grpSp>
        <p:grpSp>
          <p:nvGrpSpPr>
            <p:cNvPr id="16" name="ïṧľiḓè">
              <a:extLst>
                <a:ext uri="{FF2B5EF4-FFF2-40B4-BE49-F238E27FC236}">
                  <a16:creationId xmlns:a16="http://schemas.microsoft.com/office/drawing/2014/main" xmlns="" id="{E12DB126-C6B9-4725-828A-C22CE4931CE4}"/>
                </a:ext>
              </a:extLst>
            </p:cNvPr>
            <p:cNvGrpSpPr/>
            <p:nvPr/>
          </p:nvGrpSpPr>
          <p:grpSpPr>
            <a:xfrm>
              <a:off x="1301495" y="5094933"/>
              <a:ext cx="1954777" cy="1051867"/>
              <a:chOff x="1301495" y="5094933"/>
              <a:chExt cx="1954777" cy="1051867"/>
            </a:xfrm>
          </p:grpSpPr>
          <p:sp>
            <p:nvSpPr>
              <p:cNvPr id="22" name="îṡliḍé">
                <a:extLst>
                  <a:ext uri="{FF2B5EF4-FFF2-40B4-BE49-F238E27FC236}">
                    <a16:creationId xmlns:a16="http://schemas.microsoft.com/office/drawing/2014/main" xmlns="" id="{4BEDD36D-362A-43AA-A1DE-BB8C3DFBF087}"/>
                  </a:ext>
                </a:extLst>
              </p:cNvPr>
              <p:cNvSpPr/>
              <p:nvPr/>
            </p:nvSpPr>
            <p:spPr>
              <a:xfrm>
                <a:off x="1301495" y="5094933"/>
                <a:ext cx="1954776" cy="470126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 defTabSz="914378">
                  <a:defRPr/>
                </a:pPr>
                <a:r>
                  <a:rPr lang="en-US" altLang="zh-CN" b="1" dirty="0">
                    <a:solidFill>
                      <a:schemeClr val="tx1"/>
                    </a:solidFill>
                  </a:rPr>
                  <a:t>Text here</a:t>
                </a:r>
                <a:endParaRPr lang="zh-CN" altLang="en-US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îSḷîḋè">
                <a:extLst>
                  <a:ext uri="{FF2B5EF4-FFF2-40B4-BE49-F238E27FC236}">
                    <a16:creationId xmlns:a16="http://schemas.microsoft.com/office/drawing/2014/main" xmlns="" id="{4C104D34-03DB-49A0-A790-4C2EF687EBFC}"/>
                  </a:ext>
                </a:extLst>
              </p:cNvPr>
              <p:cNvSpPr/>
              <p:nvPr/>
            </p:nvSpPr>
            <p:spPr>
              <a:xfrm>
                <a:off x="1301496" y="5565061"/>
                <a:ext cx="1954776" cy="581739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normAutofit lnSpcReduction="10000"/>
              </a:bodyPr>
              <a:lstStyle/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solidFill>
                      <a:schemeClr val="tx1"/>
                    </a:solidFill>
                  </a:rPr>
                  <a:t>Supporting text here. 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solidFill>
                      <a:schemeClr val="tx1"/>
                    </a:solidFill>
                  </a:rPr>
                  <a:t>……</a:t>
                </a:r>
              </a:p>
            </p:txBody>
          </p:sp>
        </p:grpSp>
        <p:grpSp>
          <p:nvGrpSpPr>
            <p:cNvPr id="17" name="íṧ1iḓe">
              <a:extLst>
                <a:ext uri="{FF2B5EF4-FFF2-40B4-BE49-F238E27FC236}">
                  <a16:creationId xmlns:a16="http://schemas.microsoft.com/office/drawing/2014/main" xmlns="" id="{6D435B50-7654-4D6D-A0CE-CD30CE8151C9}"/>
                </a:ext>
              </a:extLst>
            </p:cNvPr>
            <p:cNvGrpSpPr/>
            <p:nvPr/>
          </p:nvGrpSpPr>
          <p:grpSpPr>
            <a:xfrm>
              <a:off x="6969522" y="5094933"/>
              <a:ext cx="1954777" cy="1051867"/>
              <a:chOff x="6969522" y="5094933"/>
              <a:chExt cx="1954777" cy="1051867"/>
            </a:xfrm>
          </p:grpSpPr>
          <p:sp>
            <p:nvSpPr>
              <p:cNvPr id="20" name="íśļiḓe">
                <a:extLst>
                  <a:ext uri="{FF2B5EF4-FFF2-40B4-BE49-F238E27FC236}">
                    <a16:creationId xmlns:a16="http://schemas.microsoft.com/office/drawing/2014/main" xmlns="" id="{FF7024E1-2258-4176-9932-BF7A35FAC0E9}"/>
                  </a:ext>
                </a:extLst>
              </p:cNvPr>
              <p:cNvSpPr/>
              <p:nvPr/>
            </p:nvSpPr>
            <p:spPr>
              <a:xfrm>
                <a:off x="6969522" y="5094933"/>
                <a:ext cx="1954776" cy="470126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 defTabSz="914378">
                  <a:defRPr/>
                </a:pPr>
                <a:r>
                  <a:rPr lang="en-US" altLang="zh-CN" b="1" dirty="0">
                    <a:solidFill>
                      <a:schemeClr val="tx1"/>
                    </a:solidFill>
                  </a:rPr>
                  <a:t>Text here</a:t>
                </a:r>
                <a:endParaRPr lang="zh-CN" altLang="en-US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i$ḻïďe">
                <a:extLst>
                  <a:ext uri="{FF2B5EF4-FFF2-40B4-BE49-F238E27FC236}">
                    <a16:creationId xmlns:a16="http://schemas.microsoft.com/office/drawing/2014/main" xmlns="" id="{4439F045-38AF-4AE9-ADB0-5775F052017A}"/>
                  </a:ext>
                </a:extLst>
              </p:cNvPr>
              <p:cNvSpPr/>
              <p:nvPr/>
            </p:nvSpPr>
            <p:spPr>
              <a:xfrm>
                <a:off x="6969523" y="5565061"/>
                <a:ext cx="1954776" cy="581739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normAutofit lnSpcReduction="10000"/>
              </a:bodyPr>
              <a:lstStyle/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solidFill>
                      <a:schemeClr val="tx1"/>
                    </a:solidFill>
                  </a:rPr>
                  <a:t>Supporting text here. 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solidFill>
                      <a:schemeClr val="tx1"/>
                    </a:solidFill>
                  </a:rPr>
                  <a:t>……</a:t>
                </a:r>
              </a:p>
            </p:txBody>
          </p:sp>
        </p:grpSp>
        <p:sp>
          <p:nvSpPr>
            <p:cNvPr id="18" name="íSlïďé">
              <a:extLst>
                <a:ext uri="{FF2B5EF4-FFF2-40B4-BE49-F238E27FC236}">
                  <a16:creationId xmlns:a16="http://schemas.microsoft.com/office/drawing/2014/main" xmlns="" id="{1D4A9CA9-E315-4B07-816B-C2AC1C4937B8}"/>
                </a:ext>
              </a:extLst>
            </p:cNvPr>
            <p:cNvSpPr/>
            <p:nvPr/>
          </p:nvSpPr>
          <p:spPr>
            <a:xfrm>
              <a:off x="6637970" y="2833305"/>
              <a:ext cx="83128" cy="83124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/>
            <a:p>
              <a:pPr algn="ctr"/>
              <a:endParaRPr lang="zh-CN" altLang="en-US"/>
            </a:p>
          </p:txBody>
        </p:sp>
        <p:cxnSp>
          <p:nvCxnSpPr>
            <p:cNvPr id="19" name="直接连接符 18">
              <a:extLst>
                <a:ext uri="{FF2B5EF4-FFF2-40B4-BE49-F238E27FC236}">
                  <a16:creationId xmlns:a16="http://schemas.microsoft.com/office/drawing/2014/main" xmlns="" id="{7F301FBC-0C97-4465-9094-D8BEF5C399EA}"/>
                </a:ext>
              </a:extLst>
            </p:cNvPr>
            <p:cNvCxnSpPr>
              <a:stCxn id="31" idx="2"/>
              <a:endCxn id="18" idx="7"/>
            </p:cNvCxnSpPr>
            <p:nvPr/>
          </p:nvCxnSpPr>
          <p:spPr>
            <a:xfrm>
              <a:off x="6689924" y="2182166"/>
              <a:ext cx="0" cy="663312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14643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EDDA10A5-745E-498B-93F6-19EC513C55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C25300E1-F9B9-442F-A9B3-475D9999CA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EC225DC1-C722-4CA1-AF61-C687D18719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grpSp>
        <p:nvGrpSpPr>
          <p:cNvPr id="5" name="21087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6F2BDD00-2291-48E4-8075-8491B333052F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3100" y="1130300"/>
            <a:ext cx="10847388" cy="5016500"/>
            <a:chOff x="673100" y="1130300"/>
            <a:chExt cx="10847388" cy="5016500"/>
          </a:xfrm>
        </p:grpSpPr>
        <p:sp>
          <p:nvSpPr>
            <p:cNvPr id="6" name="îṡḻíďé">
              <a:extLst>
                <a:ext uri="{FF2B5EF4-FFF2-40B4-BE49-F238E27FC236}">
                  <a16:creationId xmlns:a16="http://schemas.microsoft.com/office/drawing/2014/main" xmlns="" id="{3F9FDEAA-7780-437F-A059-4060C3CD6F9C}"/>
                </a:ext>
              </a:extLst>
            </p:cNvPr>
            <p:cNvSpPr/>
            <p:nvPr/>
          </p:nvSpPr>
          <p:spPr>
            <a:xfrm rot="18900000">
              <a:off x="6366185" y="2504995"/>
              <a:ext cx="858431" cy="8817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2960" y="2851"/>
                    <a:pt x="4637" y="6730"/>
                    <a:pt x="4660" y="10784"/>
                  </a:cubicBezTo>
                  <a:cubicBezTo>
                    <a:pt x="4684" y="14829"/>
                    <a:pt x="3060" y="18718"/>
                    <a:pt x="144" y="21600"/>
                  </a:cubicBezTo>
                  <a:lnTo>
                    <a:pt x="21358" y="21288"/>
                  </a:lnTo>
                  <a:cubicBezTo>
                    <a:pt x="18644" y="18590"/>
                    <a:pt x="17078" y="14994"/>
                    <a:pt x="16974" y="11219"/>
                  </a:cubicBezTo>
                  <a:cubicBezTo>
                    <a:pt x="16858" y="7040"/>
                    <a:pt x="18534" y="3002"/>
                    <a:pt x="21600" y="7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 defTabSz="609524"/>
              <a:endParaRPr sz="11200">
                <a:solidFill>
                  <a:srgbClr val="070707"/>
                </a:solidFill>
              </a:endParaRPr>
            </a:p>
          </p:txBody>
        </p:sp>
        <p:sp>
          <p:nvSpPr>
            <p:cNvPr id="7" name="îşliḑè">
              <a:extLst>
                <a:ext uri="{FF2B5EF4-FFF2-40B4-BE49-F238E27FC236}">
                  <a16:creationId xmlns:a16="http://schemas.microsoft.com/office/drawing/2014/main" xmlns="" id="{1F6AF339-C572-49D4-A037-3BE100EB44D5}"/>
                </a:ext>
              </a:extLst>
            </p:cNvPr>
            <p:cNvSpPr/>
            <p:nvPr/>
          </p:nvSpPr>
          <p:spPr>
            <a:xfrm rot="18900000">
              <a:off x="5573044" y="1720619"/>
              <a:ext cx="1216243" cy="12162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 fontScale="77500" lnSpcReduction="20000"/>
            </a:bodyPr>
            <a:lstStyle/>
            <a:p>
              <a:pPr defTabSz="609524"/>
              <a:endParaRPr sz="11200">
                <a:solidFill>
                  <a:srgbClr val="070707"/>
                </a:solidFill>
              </a:endParaRPr>
            </a:p>
          </p:txBody>
        </p:sp>
        <p:sp>
          <p:nvSpPr>
            <p:cNvPr id="8" name="iṥ1îďè">
              <a:extLst>
                <a:ext uri="{FF2B5EF4-FFF2-40B4-BE49-F238E27FC236}">
                  <a16:creationId xmlns:a16="http://schemas.microsoft.com/office/drawing/2014/main" xmlns="" id="{7110F15B-6250-4360-BE4E-169409848149}"/>
                </a:ext>
              </a:extLst>
            </p:cNvPr>
            <p:cNvSpPr/>
            <p:nvPr/>
          </p:nvSpPr>
          <p:spPr>
            <a:xfrm>
              <a:off x="5759197" y="1909442"/>
              <a:ext cx="851076" cy="851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defTabSz="609524">
                <a:defRPr sz="4800">
                  <a:solidFill>
                    <a:srgbClr val="070707"/>
                  </a:solidFill>
                </a:defRPr>
              </a:pPr>
              <a:endParaRPr sz="6400"/>
            </a:p>
          </p:txBody>
        </p:sp>
        <p:sp>
          <p:nvSpPr>
            <p:cNvPr id="9" name="iṡļïḑê">
              <a:extLst>
                <a:ext uri="{FF2B5EF4-FFF2-40B4-BE49-F238E27FC236}">
                  <a16:creationId xmlns:a16="http://schemas.microsoft.com/office/drawing/2014/main" xmlns="" id="{7B665AD5-52CD-4057-9064-B6E205011084}"/>
                </a:ext>
              </a:extLst>
            </p:cNvPr>
            <p:cNvSpPr/>
            <p:nvPr/>
          </p:nvSpPr>
          <p:spPr>
            <a:xfrm rot="18900000">
              <a:off x="6806286" y="2951829"/>
              <a:ext cx="1216243" cy="12162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 fontScale="77500" lnSpcReduction="20000"/>
            </a:bodyPr>
            <a:lstStyle/>
            <a:p>
              <a:pPr defTabSz="609524"/>
              <a:endParaRPr sz="11200">
                <a:solidFill>
                  <a:srgbClr val="070707"/>
                </a:solidFill>
              </a:endParaRPr>
            </a:p>
          </p:txBody>
        </p:sp>
        <p:sp>
          <p:nvSpPr>
            <p:cNvPr id="10" name="íṡlîḑê">
              <a:extLst>
                <a:ext uri="{FF2B5EF4-FFF2-40B4-BE49-F238E27FC236}">
                  <a16:creationId xmlns:a16="http://schemas.microsoft.com/office/drawing/2014/main" xmlns="" id="{A365261F-D15C-4956-902A-784A8AC3B03E}"/>
                </a:ext>
              </a:extLst>
            </p:cNvPr>
            <p:cNvSpPr/>
            <p:nvPr/>
          </p:nvSpPr>
          <p:spPr>
            <a:xfrm>
              <a:off x="6993514" y="3143700"/>
              <a:ext cx="851075" cy="851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defTabSz="609524">
                <a:defRPr sz="4800">
                  <a:solidFill>
                    <a:srgbClr val="070707"/>
                  </a:solidFill>
                </a:defRPr>
              </a:pPr>
              <a:endParaRPr sz="6400"/>
            </a:p>
          </p:txBody>
        </p:sp>
        <p:sp>
          <p:nvSpPr>
            <p:cNvPr id="11" name="ïSlíḑê">
              <a:extLst>
                <a:ext uri="{FF2B5EF4-FFF2-40B4-BE49-F238E27FC236}">
                  <a16:creationId xmlns:a16="http://schemas.microsoft.com/office/drawing/2014/main" xmlns="" id="{3D1F6E98-E6DF-4371-84EE-6F34C73117C3}"/>
                </a:ext>
              </a:extLst>
            </p:cNvPr>
            <p:cNvSpPr/>
            <p:nvPr/>
          </p:nvSpPr>
          <p:spPr>
            <a:xfrm rot="18900000">
              <a:off x="6278686" y="3817466"/>
              <a:ext cx="858430" cy="8817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2960" y="2851"/>
                    <a:pt x="4637" y="6730"/>
                    <a:pt x="4660" y="10784"/>
                  </a:cubicBezTo>
                  <a:cubicBezTo>
                    <a:pt x="4684" y="14829"/>
                    <a:pt x="3060" y="18718"/>
                    <a:pt x="144" y="21600"/>
                  </a:cubicBezTo>
                  <a:lnTo>
                    <a:pt x="21358" y="21288"/>
                  </a:lnTo>
                  <a:cubicBezTo>
                    <a:pt x="18644" y="18590"/>
                    <a:pt x="17078" y="14994"/>
                    <a:pt x="16974" y="11219"/>
                  </a:cubicBezTo>
                  <a:cubicBezTo>
                    <a:pt x="16858" y="7040"/>
                    <a:pt x="18534" y="3002"/>
                    <a:pt x="21600" y="7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 defTabSz="609524">
                <a:defRPr sz="8400">
                  <a:solidFill>
                    <a:srgbClr val="070707"/>
                  </a:solidFill>
                </a:defRPr>
              </a:pPr>
              <a:endParaRPr sz="11200"/>
            </a:p>
          </p:txBody>
        </p:sp>
        <p:sp>
          <p:nvSpPr>
            <p:cNvPr id="12" name="iS1iḑé">
              <a:extLst>
                <a:ext uri="{FF2B5EF4-FFF2-40B4-BE49-F238E27FC236}">
                  <a16:creationId xmlns:a16="http://schemas.microsoft.com/office/drawing/2014/main" xmlns="" id="{85B1C69D-3753-4146-BE0B-89E02633C8F7}"/>
                </a:ext>
              </a:extLst>
            </p:cNvPr>
            <p:cNvSpPr/>
            <p:nvPr/>
          </p:nvSpPr>
          <p:spPr>
            <a:xfrm rot="18900000">
              <a:off x="5485545" y="3033089"/>
              <a:ext cx="1216243" cy="12162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 defTabSz="609524">
                <a:defRPr sz="11600">
                  <a:solidFill>
                    <a:srgbClr val="77716C"/>
                  </a:solidFill>
                </a:defRPr>
              </a:pPr>
              <a:endParaRPr sz="15467"/>
            </a:p>
          </p:txBody>
        </p:sp>
        <p:sp>
          <p:nvSpPr>
            <p:cNvPr id="13" name="ïsļîḋé">
              <a:extLst>
                <a:ext uri="{FF2B5EF4-FFF2-40B4-BE49-F238E27FC236}">
                  <a16:creationId xmlns:a16="http://schemas.microsoft.com/office/drawing/2014/main" xmlns="" id="{07529EAB-E9FB-4363-9E8F-2F339D1387A4}"/>
                </a:ext>
              </a:extLst>
            </p:cNvPr>
            <p:cNvSpPr/>
            <p:nvPr/>
          </p:nvSpPr>
          <p:spPr>
            <a:xfrm>
              <a:off x="5680966" y="3218288"/>
              <a:ext cx="851075" cy="8510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defTabSz="609524">
                <a:defRPr sz="4800">
                  <a:solidFill>
                    <a:srgbClr val="070707"/>
                  </a:solidFill>
                </a:defRPr>
              </a:pPr>
              <a:endParaRPr sz="6400"/>
            </a:p>
          </p:txBody>
        </p:sp>
        <p:sp>
          <p:nvSpPr>
            <p:cNvPr id="14" name="íşļîḑe">
              <a:extLst>
                <a:ext uri="{FF2B5EF4-FFF2-40B4-BE49-F238E27FC236}">
                  <a16:creationId xmlns:a16="http://schemas.microsoft.com/office/drawing/2014/main" xmlns="" id="{DBCF09B0-B8C4-45CE-95CC-638D184561FC}"/>
                </a:ext>
              </a:extLst>
            </p:cNvPr>
            <p:cNvSpPr/>
            <p:nvPr/>
          </p:nvSpPr>
          <p:spPr>
            <a:xfrm rot="18900000">
              <a:off x="6718786" y="4264300"/>
              <a:ext cx="1216243" cy="12162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 defTabSz="609524">
                <a:defRPr sz="11600">
                  <a:solidFill>
                    <a:srgbClr val="77716C"/>
                  </a:solidFill>
                </a:defRPr>
              </a:pPr>
              <a:endParaRPr sz="15467"/>
            </a:p>
          </p:txBody>
        </p:sp>
        <p:sp>
          <p:nvSpPr>
            <p:cNvPr id="15" name="ïṣḻiḋé">
              <a:extLst>
                <a:ext uri="{FF2B5EF4-FFF2-40B4-BE49-F238E27FC236}">
                  <a16:creationId xmlns:a16="http://schemas.microsoft.com/office/drawing/2014/main" xmlns="" id="{F18821A4-2E47-4E37-A2FC-F58FD9CED42B}"/>
                </a:ext>
              </a:extLst>
            </p:cNvPr>
            <p:cNvSpPr/>
            <p:nvPr/>
          </p:nvSpPr>
          <p:spPr>
            <a:xfrm>
              <a:off x="6907701" y="4452547"/>
              <a:ext cx="851075" cy="8510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defTabSz="609524">
                <a:defRPr sz="4800">
                  <a:solidFill>
                    <a:srgbClr val="070707"/>
                  </a:solidFill>
                </a:defRPr>
              </a:pPr>
              <a:endParaRPr sz="6400"/>
            </a:p>
          </p:txBody>
        </p:sp>
        <p:sp>
          <p:nvSpPr>
            <p:cNvPr id="16" name="íslídé">
              <a:extLst>
                <a:ext uri="{FF2B5EF4-FFF2-40B4-BE49-F238E27FC236}">
                  <a16:creationId xmlns:a16="http://schemas.microsoft.com/office/drawing/2014/main" xmlns="" id="{08EE4594-5461-4051-A30E-64135E7A61F6}"/>
                </a:ext>
              </a:extLst>
            </p:cNvPr>
            <p:cNvSpPr/>
            <p:nvPr/>
          </p:nvSpPr>
          <p:spPr>
            <a:xfrm rot="18900000">
              <a:off x="4962611" y="3893404"/>
              <a:ext cx="858430" cy="8817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2960" y="2851"/>
                    <a:pt x="4637" y="6730"/>
                    <a:pt x="4660" y="10784"/>
                  </a:cubicBezTo>
                  <a:cubicBezTo>
                    <a:pt x="4684" y="14829"/>
                    <a:pt x="3060" y="18718"/>
                    <a:pt x="144" y="21600"/>
                  </a:cubicBezTo>
                  <a:lnTo>
                    <a:pt x="21358" y="21288"/>
                  </a:lnTo>
                  <a:cubicBezTo>
                    <a:pt x="18644" y="18590"/>
                    <a:pt x="17078" y="14994"/>
                    <a:pt x="16974" y="11219"/>
                  </a:cubicBezTo>
                  <a:cubicBezTo>
                    <a:pt x="16858" y="7040"/>
                    <a:pt x="18534" y="3002"/>
                    <a:pt x="21600" y="7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 defTabSz="609524">
                <a:defRPr sz="8400">
                  <a:solidFill>
                    <a:srgbClr val="070707"/>
                  </a:solidFill>
                </a:defRPr>
              </a:pPr>
              <a:endParaRPr sz="11200"/>
            </a:p>
          </p:txBody>
        </p:sp>
        <p:sp>
          <p:nvSpPr>
            <p:cNvPr id="17" name="iŝḻiḑê">
              <a:extLst>
                <a:ext uri="{FF2B5EF4-FFF2-40B4-BE49-F238E27FC236}">
                  <a16:creationId xmlns:a16="http://schemas.microsoft.com/office/drawing/2014/main" xmlns="" id="{16DED8C0-A1A5-42AA-814A-FDF9AB96AC2A}"/>
                </a:ext>
              </a:extLst>
            </p:cNvPr>
            <p:cNvSpPr/>
            <p:nvPr/>
          </p:nvSpPr>
          <p:spPr>
            <a:xfrm rot="18900000">
              <a:off x="4169471" y="3109028"/>
              <a:ext cx="1216243" cy="12162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 defTabSz="609524">
                <a:defRPr sz="11600">
                  <a:solidFill>
                    <a:srgbClr val="77716C"/>
                  </a:solidFill>
                </a:defRPr>
              </a:pPr>
              <a:endParaRPr sz="15467"/>
            </a:p>
          </p:txBody>
        </p:sp>
        <p:sp>
          <p:nvSpPr>
            <p:cNvPr id="18" name="íSḻidè">
              <a:extLst>
                <a:ext uri="{FF2B5EF4-FFF2-40B4-BE49-F238E27FC236}">
                  <a16:creationId xmlns:a16="http://schemas.microsoft.com/office/drawing/2014/main" xmlns="" id="{8EE241D0-7C24-48E1-BF01-2DF611042FFE}"/>
                </a:ext>
              </a:extLst>
            </p:cNvPr>
            <p:cNvSpPr/>
            <p:nvPr/>
          </p:nvSpPr>
          <p:spPr>
            <a:xfrm>
              <a:off x="4353258" y="3285298"/>
              <a:ext cx="851076" cy="851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defTabSz="609524">
                <a:defRPr sz="4800">
                  <a:solidFill>
                    <a:srgbClr val="070707"/>
                  </a:solidFill>
                </a:defRPr>
              </a:pPr>
              <a:endParaRPr sz="6400"/>
            </a:p>
          </p:txBody>
        </p:sp>
        <p:sp>
          <p:nvSpPr>
            <p:cNvPr id="19" name="iŝ1îḋé">
              <a:extLst>
                <a:ext uri="{FF2B5EF4-FFF2-40B4-BE49-F238E27FC236}">
                  <a16:creationId xmlns:a16="http://schemas.microsoft.com/office/drawing/2014/main" xmlns="" id="{9C865F0B-79E9-45C2-8E2B-0066C1F8F11C}"/>
                </a:ext>
              </a:extLst>
            </p:cNvPr>
            <p:cNvSpPr/>
            <p:nvPr/>
          </p:nvSpPr>
          <p:spPr>
            <a:xfrm rot="18900000">
              <a:off x="5402713" y="4340240"/>
              <a:ext cx="1216243" cy="12162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 defTabSz="609524">
                <a:defRPr sz="11600">
                  <a:solidFill>
                    <a:srgbClr val="77716C"/>
                  </a:solidFill>
                </a:defRPr>
              </a:pPr>
              <a:endParaRPr sz="15467"/>
            </a:p>
          </p:txBody>
        </p:sp>
        <p:sp>
          <p:nvSpPr>
            <p:cNvPr id="20" name="íśļiḍê">
              <a:extLst>
                <a:ext uri="{FF2B5EF4-FFF2-40B4-BE49-F238E27FC236}">
                  <a16:creationId xmlns:a16="http://schemas.microsoft.com/office/drawing/2014/main" xmlns="" id="{9F699F8F-1B9A-40A8-BD24-24948028FBDE}"/>
                </a:ext>
              </a:extLst>
            </p:cNvPr>
            <p:cNvSpPr/>
            <p:nvPr/>
          </p:nvSpPr>
          <p:spPr>
            <a:xfrm>
              <a:off x="5579996" y="4519557"/>
              <a:ext cx="851075" cy="851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defTabSz="609524">
                <a:defRPr sz="4800">
                  <a:solidFill>
                    <a:srgbClr val="070707"/>
                  </a:solidFill>
                </a:defRPr>
              </a:pPr>
              <a:endParaRPr sz="6400"/>
            </a:p>
          </p:txBody>
        </p:sp>
        <p:sp>
          <p:nvSpPr>
            <p:cNvPr id="21" name="ïšḻîḓè">
              <a:extLst>
                <a:ext uri="{FF2B5EF4-FFF2-40B4-BE49-F238E27FC236}">
                  <a16:creationId xmlns:a16="http://schemas.microsoft.com/office/drawing/2014/main" xmlns="" id="{640E1E2E-1209-4AB0-8818-B7C48A2D05C1}"/>
                </a:ext>
              </a:extLst>
            </p:cNvPr>
            <p:cNvSpPr/>
            <p:nvPr/>
          </p:nvSpPr>
          <p:spPr bwMode="auto">
            <a:xfrm>
              <a:off x="5975270" y="2136251"/>
              <a:ext cx="411792" cy="384975"/>
            </a:xfrm>
            <a:custGeom>
              <a:avLst/>
              <a:gdLst>
                <a:gd name="T0" fmla="*/ 736 w 1492"/>
                <a:gd name="T1" fmla="*/ 1230 h 1397"/>
                <a:gd name="T2" fmla="*/ 830 w 1492"/>
                <a:gd name="T3" fmla="*/ 903 h 1397"/>
                <a:gd name="T4" fmla="*/ 950 w 1492"/>
                <a:gd name="T5" fmla="*/ 791 h 1397"/>
                <a:gd name="T6" fmla="*/ 1492 w 1492"/>
                <a:gd name="T7" fmla="*/ 903 h 1397"/>
                <a:gd name="T8" fmla="*/ 1492 w 1492"/>
                <a:gd name="T9" fmla="*/ 1231 h 1397"/>
                <a:gd name="T10" fmla="*/ 1371 w 1492"/>
                <a:gd name="T11" fmla="*/ 1397 h 1397"/>
                <a:gd name="T12" fmla="*/ 830 w 1492"/>
                <a:gd name="T13" fmla="*/ 1286 h 1397"/>
                <a:gd name="T14" fmla="*/ 120 w 1492"/>
                <a:gd name="T15" fmla="*/ 0 h 1397"/>
                <a:gd name="T16" fmla="*/ 625 w 1492"/>
                <a:gd name="T17" fmla="*/ 30 h 1397"/>
                <a:gd name="T18" fmla="*/ 661 w 1492"/>
                <a:gd name="T19" fmla="*/ 438 h 1397"/>
                <a:gd name="T20" fmla="*/ 625 w 1492"/>
                <a:gd name="T21" fmla="*/ 573 h 1397"/>
                <a:gd name="T22" fmla="*/ 366 w 1492"/>
                <a:gd name="T23" fmla="*/ 644 h 1397"/>
                <a:gd name="T24" fmla="*/ 295 w 1492"/>
                <a:gd name="T25" fmla="*/ 605 h 1397"/>
                <a:gd name="T26" fmla="*/ 0 w 1492"/>
                <a:gd name="T27" fmla="*/ 493 h 1397"/>
                <a:gd name="T28" fmla="*/ 0 w 1492"/>
                <a:gd name="T29" fmla="*/ 437 h 1397"/>
                <a:gd name="T30" fmla="*/ 36 w 1492"/>
                <a:gd name="T31" fmla="*/ 30 h 1397"/>
                <a:gd name="T32" fmla="*/ 541 w 1492"/>
                <a:gd name="T33" fmla="*/ 71 h 1397"/>
                <a:gd name="T34" fmla="*/ 85 w 1492"/>
                <a:gd name="T35" fmla="*/ 84 h 1397"/>
                <a:gd name="T36" fmla="*/ 71 w 1492"/>
                <a:gd name="T37" fmla="*/ 110 h 1397"/>
                <a:gd name="T38" fmla="*/ 589 w 1492"/>
                <a:gd name="T39" fmla="*/ 110 h 1397"/>
                <a:gd name="T40" fmla="*/ 541 w 1492"/>
                <a:gd name="T41" fmla="*/ 71 h 1397"/>
                <a:gd name="T42" fmla="*/ 71 w 1492"/>
                <a:gd name="T43" fmla="*/ 493 h 1397"/>
                <a:gd name="T44" fmla="*/ 541 w 1492"/>
                <a:gd name="T45" fmla="*/ 533 h 1397"/>
                <a:gd name="T46" fmla="*/ 589 w 1492"/>
                <a:gd name="T47" fmla="*/ 474 h 1397"/>
                <a:gd name="T48" fmla="*/ 902 w 1492"/>
                <a:gd name="T49" fmla="*/ 1194 h 1397"/>
                <a:gd name="T50" fmla="*/ 1420 w 1492"/>
                <a:gd name="T51" fmla="*/ 903 h 1397"/>
                <a:gd name="T52" fmla="*/ 950 w 1492"/>
                <a:gd name="T53" fmla="*/ 863 h 1397"/>
                <a:gd name="T54" fmla="*/ 902 w 1492"/>
                <a:gd name="T55" fmla="*/ 903 h 1397"/>
                <a:gd name="T56" fmla="*/ 1420 w 1492"/>
                <a:gd name="T57" fmla="*/ 1266 h 1397"/>
                <a:gd name="T58" fmla="*/ 902 w 1492"/>
                <a:gd name="T59" fmla="*/ 1286 h 1397"/>
                <a:gd name="T60" fmla="*/ 1371 w 1492"/>
                <a:gd name="T61" fmla="*/ 1325 h 1397"/>
                <a:gd name="T62" fmla="*/ 1420 w 1492"/>
                <a:gd name="T63" fmla="*/ 1266 h 1397"/>
                <a:gd name="T64" fmla="*/ 295 w 1492"/>
                <a:gd name="T65" fmla="*/ 890 h 1397"/>
                <a:gd name="T66" fmla="*/ 366 w 1492"/>
                <a:gd name="T67" fmla="*/ 935 h 1397"/>
                <a:gd name="T68" fmla="*/ 295 w 1492"/>
                <a:gd name="T69" fmla="*/ 890 h 1397"/>
                <a:gd name="T70" fmla="*/ 295 w 1492"/>
                <a:gd name="T71" fmla="*/ 746 h 1397"/>
                <a:gd name="T72" fmla="*/ 366 w 1492"/>
                <a:gd name="T73" fmla="*/ 793 h 1397"/>
                <a:gd name="T74" fmla="*/ 295 w 1492"/>
                <a:gd name="T75" fmla="*/ 746 h 1397"/>
                <a:gd name="T76" fmla="*/ 295 w 1492"/>
                <a:gd name="T77" fmla="*/ 1031 h 1397"/>
                <a:gd name="T78" fmla="*/ 366 w 1492"/>
                <a:gd name="T79" fmla="*/ 1078 h 1397"/>
                <a:gd name="T80" fmla="*/ 295 w 1492"/>
                <a:gd name="T81" fmla="*/ 1031 h 1397"/>
                <a:gd name="T82" fmla="*/ 536 w 1492"/>
                <a:gd name="T83" fmla="*/ 1194 h 1397"/>
                <a:gd name="T84" fmla="*/ 490 w 1492"/>
                <a:gd name="T85" fmla="*/ 1266 h 1397"/>
                <a:gd name="T86" fmla="*/ 536 w 1492"/>
                <a:gd name="T87" fmla="*/ 1194 h 1397"/>
                <a:gd name="T88" fmla="*/ 677 w 1492"/>
                <a:gd name="T89" fmla="*/ 1194 h 1397"/>
                <a:gd name="T90" fmla="*/ 630 w 1492"/>
                <a:gd name="T91" fmla="*/ 1266 h 1397"/>
                <a:gd name="T92" fmla="*/ 677 w 1492"/>
                <a:gd name="T93" fmla="*/ 1194 h 1397"/>
                <a:gd name="T94" fmla="*/ 295 w 1492"/>
                <a:gd name="T95" fmla="*/ 1164 h 1397"/>
                <a:gd name="T96" fmla="*/ 366 w 1492"/>
                <a:gd name="T97" fmla="*/ 1194 h 1397"/>
                <a:gd name="T98" fmla="*/ 396 w 1492"/>
                <a:gd name="T99" fmla="*/ 1266 h 1397"/>
                <a:gd name="T100" fmla="*/ 299 w 1492"/>
                <a:gd name="T101" fmla="*/ 1249 h 1397"/>
                <a:gd name="T102" fmla="*/ 299 w 1492"/>
                <a:gd name="T103" fmla="*/ 1247 h 1397"/>
                <a:gd name="T104" fmla="*/ 298 w 1492"/>
                <a:gd name="T105" fmla="*/ 1246 h 1397"/>
                <a:gd name="T106" fmla="*/ 297 w 1492"/>
                <a:gd name="T107" fmla="*/ 1245 h 1397"/>
                <a:gd name="T108" fmla="*/ 296 w 1492"/>
                <a:gd name="T109" fmla="*/ 1242 h 1397"/>
                <a:gd name="T110" fmla="*/ 295 w 1492"/>
                <a:gd name="T111" fmla="*/ 1240 h 1397"/>
                <a:gd name="T112" fmla="*/ 295 w 1492"/>
                <a:gd name="T113" fmla="*/ 1237 h 1397"/>
                <a:gd name="T114" fmla="*/ 295 w 1492"/>
                <a:gd name="T115" fmla="*/ 1236 h 1397"/>
                <a:gd name="T116" fmla="*/ 295 w 1492"/>
                <a:gd name="T117" fmla="*/ 1233 h 1397"/>
                <a:gd name="T118" fmla="*/ 295 w 1492"/>
                <a:gd name="T119" fmla="*/ 1231 h 1397"/>
                <a:gd name="T120" fmla="*/ 295 w 1492"/>
                <a:gd name="T121" fmla="*/ 1230 h 1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92" h="1397">
                  <a:moveTo>
                    <a:pt x="830" y="1266"/>
                  </a:moveTo>
                  <a:cubicBezTo>
                    <a:pt x="772" y="1266"/>
                    <a:pt x="772" y="1266"/>
                    <a:pt x="772" y="1266"/>
                  </a:cubicBezTo>
                  <a:cubicBezTo>
                    <a:pt x="752" y="1266"/>
                    <a:pt x="736" y="1250"/>
                    <a:pt x="736" y="1230"/>
                  </a:cubicBezTo>
                  <a:cubicBezTo>
                    <a:pt x="736" y="1211"/>
                    <a:pt x="752" y="1194"/>
                    <a:pt x="772" y="1194"/>
                  </a:cubicBezTo>
                  <a:cubicBezTo>
                    <a:pt x="830" y="1194"/>
                    <a:pt x="830" y="1194"/>
                    <a:pt x="830" y="1194"/>
                  </a:cubicBezTo>
                  <a:cubicBezTo>
                    <a:pt x="830" y="903"/>
                    <a:pt x="830" y="903"/>
                    <a:pt x="830" y="903"/>
                  </a:cubicBezTo>
                  <a:cubicBezTo>
                    <a:pt x="830" y="872"/>
                    <a:pt x="844" y="843"/>
                    <a:pt x="866" y="823"/>
                  </a:cubicBezTo>
                  <a:cubicBezTo>
                    <a:pt x="869" y="821"/>
                    <a:pt x="869" y="821"/>
                    <a:pt x="869" y="821"/>
                  </a:cubicBezTo>
                  <a:cubicBezTo>
                    <a:pt x="891" y="802"/>
                    <a:pt x="920" y="791"/>
                    <a:pt x="950" y="791"/>
                  </a:cubicBezTo>
                  <a:cubicBezTo>
                    <a:pt x="1371" y="791"/>
                    <a:pt x="1371" y="791"/>
                    <a:pt x="1371" y="791"/>
                  </a:cubicBezTo>
                  <a:cubicBezTo>
                    <a:pt x="1404" y="791"/>
                    <a:pt x="1434" y="803"/>
                    <a:pt x="1455" y="823"/>
                  </a:cubicBezTo>
                  <a:cubicBezTo>
                    <a:pt x="1478" y="843"/>
                    <a:pt x="1492" y="872"/>
                    <a:pt x="1492" y="903"/>
                  </a:cubicBezTo>
                  <a:cubicBezTo>
                    <a:pt x="1492" y="1230"/>
                    <a:pt x="1492" y="1230"/>
                    <a:pt x="1492" y="1230"/>
                  </a:cubicBezTo>
                  <a:cubicBezTo>
                    <a:pt x="1492" y="1230"/>
                    <a:pt x="1492" y="1230"/>
                    <a:pt x="1492" y="1230"/>
                  </a:cubicBezTo>
                  <a:cubicBezTo>
                    <a:pt x="1492" y="1231"/>
                    <a:pt x="1492" y="1231"/>
                    <a:pt x="1492" y="1231"/>
                  </a:cubicBezTo>
                  <a:cubicBezTo>
                    <a:pt x="1492" y="1286"/>
                    <a:pt x="1492" y="1286"/>
                    <a:pt x="1492" y="1286"/>
                  </a:cubicBezTo>
                  <a:cubicBezTo>
                    <a:pt x="1492" y="1317"/>
                    <a:pt x="1478" y="1345"/>
                    <a:pt x="1455" y="1366"/>
                  </a:cubicBezTo>
                  <a:cubicBezTo>
                    <a:pt x="1434" y="1385"/>
                    <a:pt x="1404" y="1397"/>
                    <a:pt x="1371" y="1397"/>
                  </a:cubicBezTo>
                  <a:cubicBezTo>
                    <a:pt x="950" y="1397"/>
                    <a:pt x="950" y="1397"/>
                    <a:pt x="950" y="1397"/>
                  </a:cubicBezTo>
                  <a:cubicBezTo>
                    <a:pt x="918" y="1397"/>
                    <a:pt x="888" y="1385"/>
                    <a:pt x="867" y="1366"/>
                  </a:cubicBezTo>
                  <a:cubicBezTo>
                    <a:pt x="844" y="1345"/>
                    <a:pt x="830" y="1317"/>
                    <a:pt x="830" y="1286"/>
                  </a:cubicBezTo>
                  <a:cubicBezTo>
                    <a:pt x="830" y="1266"/>
                    <a:pt x="830" y="1266"/>
                    <a:pt x="830" y="1266"/>
                  </a:cubicBezTo>
                  <a:cubicBezTo>
                    <a:pt x="830" y="1266"/>
                    <a:pt x="830" y="1266"/>
                    <a:pt x="830" y="1266"/>
                  </a:cubicBezTo>
                  <a:close/>
                  <a:moveTo>
                    <a:pt x="120" y="0"/>
                  </a:moveTo>
                  <a:cubicBezTo>
                    <a:pt x="120" y="0"/>
                    <a:pt x="120" y="0"/>
                    <a:pt x="120" y="0"/>
                  </a:cubicBezTo>
                  <a:cubicBezTo>
                    <a:pt x="541" y="0"/>
                    <a:pt x="541" y="0"/>
                    <a:pt x="541" y="0"/>
                  </a:cubicBezTo>
                  <a:cubicBezTo>
                    <a:pt x="573" y="0"/>
                    <a:pt x="603" y="11"/>
                    <a:pt x="625" y="30"/>
                  </a:cubicBezTo>
                  <a:cubicBezTo>
                    <a:pt x="648" y="52"/>
                    <a:pt x="661" y="79"/>
                    <a:pt x="661" y="110"/>
                  </a:cubicBezTo>
                  <a:cubicBezTo>
                    <a:pt x="661" y="437"/>
                    <a:pt x="661" y="437"/>
                    <a:pt x="661" y="437"/>
                  </a:cubicBezTo>
                  <a:cubicBezTo>
                    <a:pt x="661" y="438"/>
                    <a:pt x="661" y="438"/>
                    <a:pt x="661" y="438"/>
                  </a:cubicBezTo>
                  <a:cubicBezTo>
                    <a:pt x="661" y="439"/>
                    <a:pt x="661" y="439"/>
                    <a:pt x="661" y="439"/>
                  </a:cubicBezTo>
                  <a:cubicBezTo>
                    <a:pt x="661" y="493"/>
                    <a:pt x="661" y="493"/>
                    <a:pt x="661" y="493"/>
                  </a:cubicBezTo>
                  <a:cubicBezTo>
                    <a:pt x="661" y="524"/>
                    <a:pt x="648" y="553"/>
                    <a:pt x="625" y="573"/>
                  </a:cubicBezTo>
                  <a:cubicBezTo>
                    <a:pt x="603" y="593"/>
                    <a:pt x="573" y="605"/>
                    <a:pt x="541" y="605"/>
                  </a:cubicBezTo>
                  <a:cubicBezTo>
                    <a:pt x="366" y="605"/>
                    <a:pt x="366" y="605"/>
                    <a:pt x="366" y="605"/>
                  </a:cubicBezTo>
                  <a:cubicBezTo>
                    <a:pt x="366" y="644"/>
                    <a:pt x="366" y="644"/>
                    <a:pt x="366" y="644"/>
                  </a:cubicBezTo>
                  <a:cubicBezTo>
                    <a:pt x="366" y="664"/>
                    <a:pt x="350" y="680"/>
                    <a:pt x="330" y="680"/>
                  </a:cubicBezTo>
                  <a:cubicBezTo>
                    <a:pt x="311" y="680"/>
                    <a:pt x="295" y="664"/>
                    <a:pt x="295" y="644"/>
                  </a:cubicBezTo>
                  <a:cubicBezTo>
                    <a:pt x="295" y="605"/>
                    <a:pt x="295" y="605"/>
                    <a:pt x="295" y="605"/>
                  </a:cubicBezTo>
                  <a:cubicBezTo>
                    <a:pt x="120" y="605"/>
                    <a:pt x="120" y="605"/>
                    <a:pt x="120" y="605"/>
                  </a:cubicBezTo>
                  <a:cubicBezTo>
                    <a:pt x="88" y="605"/>
                    <a:pt x="58" y="593"/>
                    <a:pt x="36" y="573"/>
                  </a:cubicBezTo>
                  <a:cubicBezTo>
                    <a:pt x="14" y="553"/>
                    <a:pt x="0" y="524"/>
                    <a:pt x="0" y="493"/>
                  </a:cubicBezTo>
                  <a:cubicBezTo>
                    <a:pt x="0" y="439"/>
                    <a:pt x="0" y="439"/>
                    <a:pt x="0" y="439"/>
                  </a:cubicBezTo>
                  <a:cubicBezTo>
                    <a:pt x="0" y="438"/>
                    <a:pt x="0" y="438"/>
                    <a:pt x="0" y="438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79"/>
                    <a:pt x="14" y="52"/>
                    <a:pt x="36" y="31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58" y="11"/>
                    <a:pt x="87" y="0"/>
                    <a:pt x="120" y="0"/>
                  </a:cubicBezTo>
                  <a:cubicBezTo>
                    <a:pt x="120" y="0"/>
                    <a:pt x="120" y="0"/>
                    <a:pt x="120" y="0"/>
                  </a:cubicBezTo>
                  <a:close/>
                  <a:moveTo>
                    <a:pt x="541" y="71"/>
                  </a:moveTo>
                  <a:cubicBezTo>
                    <a:pt x="541" y="71"/>
                    <a:pt x="541" y="71"/>
                    <a:pt x="541" y="71"/>
                  </a:cubicBezTo>
                  <a:cubicBezTo>
                    <a:pt x="120" y="71"/>
                    <a:pt x="120" y="71"/>
                    <a:pt x="120" y="71"/>
                  </a:cubicBezTo>
                  <a:cubicBezTo>
                    <a:pt x="106" y="71"/>
                    <a:pt x="93" y="76"/>
                    <a:pt x="85" y="84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76" y="91"/>
                    <a:pt x="71" y="100"/>
                    <a:pt x="71" y="110"/>
                  </a:cubicBezTo>
                  <a:cubicBezTo>
                    <a:pt x="71" y="402"/>
                    <a:pt x="71" y="402"/>
                    <a:pt x="71" y="402"/>
                  </a:cubicBezTo>
                  <a:cubicBezTo>
                    <a:pt x="589" y="402"/>
                    <a:pt x="589" y="402"/>
                    <a:pt x="589" y="402"/>
                  </a:cubicBezTo>
                  <a:cubicBezTo>
                    <a:pt x="589" y="110"/>
                    <a:pt x="589" y="110"/>
                    <a:pt x="589" y="110"/>
                  </a:cubicBezTo>
                  <a:cubicBezTo>
                    <a:pt x="589" y="100"/>
                    <a:pt x="584" y="91"/>
                    <a:pt x="577" y="84"/>
                  </a:cubicBezTo>
                  <a:cubicBezTo>
                    <a:pt x="567" y="76"/>
                    <a:pt x="555" y="71"/>
                    <a:pt x="541" y="71"/>
                  </a:cubicBezTo>
                  <a:cubicBezTo>
                    <a:pt x="541" y="71"/>
                    <a:pt x="541" y="71"/>
                    <a:pt x="541" y="71"/>
                  </a:cubicBezTo>
                  <a:close/>
                  <a:moveTo>
                    <a:pt x="71" y="474"/>
                  </a:moveTo>
                  <a:cubicBezTo>
                    <a:pt x="71" y="474"/>
                    <a:pt x="71" y="474"/>
                    <a:pt x="71" y="474"/>
                  </a:cubicBezTo>
                  <a:cubicBezTo>
                    <a:pt x="71" y="493"/>
                    <a:pt x="71" y="493"/>
                    <a:pt x="71" y="493"/>
                  </a:cubicBezTo>
                  <a:cubicBezTo>
                    <a:pt x="71" y="503"/>
                    <a:pt x="76" y="513"/>
                    <a:pt x="85" y="520"/>
                  </a:cubicBezTo>
                  <a:cubicBezTo>
                    <a:pt x="93" y="528"/>
                    <a:pt x="106" y="533"/>
                    <a:pt x="120" y="533"/>
                  </a:cubicBezTo>
                  <a:cubicBezTo>
                    <a:pt x="541" y="533"/>
                    <a:pt x="541" y="533"/>
                    <a:pt x="541" y="533"/>
                  </a:cubicBezTo>
                  <a:cubicBezTo>
                    <a:pt x="555" y="533"/>
                    <a:pt x="567" y="528"/>
                    <a:pt x="577" y="520"/>
                  </a:cubicBezTo>
                  <a:cubicBezTo>
                    <a:pt x="584" y="513"/>
                    <a:pt x="589" y="503"/>
                    <a:pt x="589" y="493"/>
                  </a:cubicBezTo>
                  <a:cubicBezTo>
                    <a:pt x="589" y="474"/>
                    <a:pt x="589" y="474"/>
                    <a:pt x="589" y="474"/>
                  </a:cubicBezTo>
                  <a:cubicBezTo>
                    <a:pt x="71" y="474"/>
                    <a:pt x="71" y="474"/>
                    <a:pt x="71" y="474"/>
                  </a:cubicBezTo>
                  <a:cubicBezTo>
                    <a:pt x="71" y="474"/>
                    <a:pt x="71" y="474"/>
                    <a:pt x="71" y="474"/>
                  </a:cubicBezTo>
                  <a:close/>
                  <a:moveTo>
                    <a:pt x="902" y="1194"/>
                  </a:moveTo>
                  <a:cubicBezTo>
                    <a:pt x="902" y="1194"/>
                    <a:pt x="902" y="1194"/>
                    <a:pt x="902" y="1194"/>
                  </a:cubicBezTo>
                  <a:cubicBezTo>
                    <a:pt x="1420" y="1194"/>
                    <a:pt x="1420" y="1194"/>
                    <a:pt x="1420" y="1194"/>
                  </a:cubicBezTo>
                  <a:cubicBezTo>
                    <a:pt x="1420" y="903"/>
                    <a:pt x="1420" y="903"/>
                    <a:pt x="1420" y="903"/>
                  </a:cubicBezTo>
                  <a:cubicBezTo>
                    <a:pt x="1420" y="893"/>
                    <a:pt x="1416" y="883"/>
                    <a:pt x="1407" y="876"/>
                  </a:cubicBezTo>
                  <a:cubicBezTo>
                    <a:pt x="1398" y="869"/>
                    <a:pt x="1386" y="863"/>
                    <a:pt x="1371" y="863"/>
                  </a:cubicBezTo>
                  <a:cubicBezTo>
                    <a:pt x="950" y="863"/>
                    <a:pt x="950" y="863"/>
                    <a:pt x="950" y="863"/>
                  </a:cubicBezTo>
                  <a:cubicBezTo>
                    <a:pt x="937" y="863"/>
                    <a:pt x="925" y="867"/>
                    <a:pt x="916" y="875"/>
                  </a:cubicBezTo>
                  <a:cubicBezTo>
                    <a:pt x="915" y="876"/>
                    <a:pt x="915" y="876"/>
                    <a:pt x="915" y="876"/>
                  </a:cubicBezTo>
                  <a:cubicBezTo>
                    <a:pt x="907" y="883"/>
                    <a:pt x="902" y="893"/>
                    <a:pt x="902" y="903"/>
                  </a:cubicBezTo>
                  <a:cubicBezTo>
                    <a:pt x="902" y="1194"/>
                    <a:pt x="902" y="1194"/>
                    <a:pt x="902" y="1194"/>
                  </a:cubicBezTo>
                  <a:cubicBezTo>
                    <a:pt x="902" y="1194"/>
                    <a:pt x="902" y="1194"/>
                    <a:pt x="902" y="1194"/>
                  </a:cubicBezTo>
                  <a:close/>
                  <a:moveTo>
                    <a:pt x="1420" y="1266"/>
                  </a:moveTo>
                  <a:cubicBezTo>
                    <a:pt x="1420" y="1266"/>
                    <a:pt x="1420" y="1266"/>
                    <a:pt x="1420" y="1266"/>
                  </a:cubicBezTo>
                  <a:cubicBezTo>
                    <a:pt x="902" y="1266"/>
                    <a:pt x="902" y="1266"/>
                    <a:pt x="902" y="1266"/>
                  </a:cubicBezTo>
                  <a:cubicBezTo>
                    <a:pt x="902" y="1286"/>
                    <a:pt x="902" y="1286"/>
                    <a:pt x="902" y="1286"/>
                  </a:cubicBezTo>
                  <a:cubicBezTo>
                    <a:pt x="902" y="1296"/>
                    <a:pt x="907" y="1305"/>
                    <a:pt x="915" y="1312"/>
                  </a:cubicBezTo>
                  <a:cubicBezTo>
                    <a:pt x="924" y="1320"/>
                    <a:pt x="936" y="1325"/>
                    <a:pt x="950" y="1325"/>
                  </a:cubicBezTo>
                  <a:cubicBezTo>
                    <a:pt x="1371" y="1325"/>
                    <a:pt x="1371" y="1325"/>
                    <a:pt x="1371" y="1325"/>
                  </a:cubicBezTo>
                  <a:cubicBezTo>
                    <a:pt x="1386" y="1325"/>
                    <a:pt x="1398" y="1320"/>
                    <a:pt x="1407" y="1312"/>
                  </a:cubicBezTo>
                  <a:cubicBezTo>
                    <a:pt x="1416" y="1305"/>
                    <a:pt x="1420" y="1296"/>
                    <a:pt x="1420" y="1286"/>
                  </a:cubicBezTo>
                  <a:cubicBezTo>
                    <a:pt x="1420" y="1266"/>
                    <a:pt x="1420" y="1266"/>
                    <a:pt x="1420" y="1266"/>
                  </a:cubicBezTo>
                  <a:cubicBezTo>
                    <a:pt x="1420" y="1266"/>
                    <a:pt x="1420" y="1266"/>
                    <a:pt x="1420" y="1266"/>
                  </a:cubicBezTo>
                  <a:close/>
                  <a:moveTo>
                    <a:pt x="295" y="890"/>
                  </a:moveTo>
                  <a:cubicBezTo>
                    <a:pt x="295" y="890"/>
                    <a:pt x="295" y="890"/>
                    <a:pt x="295" y="890"/>
                  </a:cubicBezTo>
                  <a:cubicBezTo>
                    <a:pt x="295" y="869"/>
                    <a:pt x="311" y="853"/>
                    <a:pt x="330" y="853"/>
                  </a:cubicBezTo>
                  <a:cubicBezTo>
                    <a:pt x="350" y="853"/>
                    <a:pt x="366" y="869"/>
                    <a:pt x="366" y="890"/>
                  </a:cubicBezTo>
                  <a:cubicBezTo>
                    <a:pt x="366" y="935"/>
                    <a:pt x="366" y="935"/>
                    <a:pt x="366" y="935"/>
                  </a:cubicBezTo>
                  <a:cubicBezTo>
                    <a:pt x="366" y="955"/>
                    <a:pt x="350" y="971"/>
                    <a:pt x="330" y="971"/>
                  </a:cubicBezTo>
                  <a:cubicBezTo>
                    <a:pt x="311" y="971"/>
                    <a:pt x="295" y="955"/>
                    <a:pt x="295" y="935"/>
                  </a:cubicBezTo>
                  <a:cubicBezTo>
                    <a:pt x="295" y="890"/>
                    <a:pt x="295" y="890"/>
                    <a:pt x="295" y="890"/>
                  </a:cubicBezTo>
                  <a:cubicBezTo>
                    <a:pt x="295" y="890"/>
                    <a:pt x="295" y="890"/>
                    <a:pt x="295" y="890"/>
                  </a:cubicBezTo>
                  <a:close/>
                  <a:moveTo>
                    <a:pt x="295" y="746"/>
                  </a:moveTo>
                  <a:cubicBezTo>
                    <a:pt x="295" y="746"/>
                    <a:pt x="295" y="746"/>
                    <a:pt x="295" y="746"/>
                  </a:cubicBezTo>
                  <a:cubicBezTo>
                    <a:pt x="295" y="727"/>
                    <a:pt x="311" y="710"/>
                    <a:pt x="330" y="710"/>
                  </a:cubicBezTo>
                  <a:cubicBezTo>
                    <a:pt x="350" y="710"/>
                    <a:pt x="366" y="727"/>
                    <a:pt x="366" y="746"/>
                  </a:cubicBezTo>
                  <a:cubicBezTo>
                    <a:pt x="366" y="793"/>
                    <a:pt x="366" y="793"/>
                    <a:pt x="366" y="793"/>
                  </a:cubicBezTo>
                  <a:cubicBezTo>
                    <a:pt x="366" y="812"/>
                    <a:pt x="350" y="829"/>
                    <a:pt x="330" y="829"/>
                  </a:cubicBezTo>
                  <a:cubicBezTo>
                    <a:pt x="311" y="829"/>
                    <a:pt x="295" y="812"/>
                    <a:pt x="295" y="793"/>
                  </a:cubicBezTo>
                  <a:cubicBezTo>
                    <a:pt x="295" y="746"/>
                    <a:pt x="295" y="746"/>
                    <a:pt x="295" y="746"/>
                  </a:cubicBezTo>
                  <a:cubicBezTo>
                    <a:pt x="295" y="746"/>
                    <a:pt x="295" y="746"/>
                    <a:pt x="295" y="746"/>
                  </a:cubicBezTo>
                  <a:close/>
                  <a:moveTo>
                    <a:pt x="295" y="1031"/>
                  </a:moveTo>
                  <a:cubicBezTo>
                    <a:pt x="295" y="1031"/>
                    <a:pt x="295" y="1031"/>
                    <a:pt x="295" y="1031"/>
                  </a:cubicBezTo>
                  <a:cubicBezTo>
                    <a:pt x="295" y="1012"/>
                    <a:pt x="311" y="996"/>
                    <a:pt x="330" y="996"/>
                  </a:cubicBezTo>
                  <a:cubicBezTo>
                    <a:pt x="350" y="996"/>
                    <a:pt x="366" y="1012"/>
                    <a:pt x="366" y="1031"/>
                  </a:cubicBezTo>
                  <a:cubicBezTo>
                    <a:pt x="366" y="1078"/>
                    <a:pt x="366" y="1078"/>
                    <a:pt x="366" y="1078"/>
                  </a:cubicBezTo>
                  <a:cubicBezTo>
                    <a:pt x="366" y="1098"/>
                    <a:pt x="350" y="1114"/>
                    <a:pt x="330" y="1114"/>
                  </a:cubicBezTo>
                  <a:cubicBezTo>
                    <a:pt x="311" y="1114"/>
                    <a:pt x="295" y="1098"/>
                    <a:pt x="295" y="1078"/>
                  </a:cubicBezTo>
                  <a:cubicBezTo>
                    <a:pt x="295" y="1031"/>
                    <a:pt x="295" y="1031"/>
                    <a:pt x="295" y="1031"/>
                  </a:cubicBezTo>
                  <a:cubicBezTo>
                    <a:pt x="295" y="1031"/>
                    <a:pt x="295" y="1031"/>
                    <a:pt x="295" y="1031"/>
                  </a:cubicBezTo>
                  <a:close/>
                  <a:moveTo>
                    <a:pt x="536" y="1194"/>
                  </a:moveTo>
                  <a:cubicBezTo>
                    <a:pt x="536" y="1194"/>
                    <a:pt x="536" y="1194"/>
                    <a:pt x="536" y="1194"/>
                  </a:cubicBezTo>
                  <a:cubicBezTo>
                    <a:pt x="556" y="1194"/>
                    <a:pt x="573" y="1211"/>
                    <a:pt x="573" y="1230"/>
                  </a:cubicBezTo>
                  <a:cubicBezTo>
                    <a:pt x="573" y="1250"/>
                    <a:pt x="556" y="1266"/>
                    <a:pt x="536" y="1266"/>
                  </a:cubicBezTo>
                  <a:cubicBezTo>
                    <a:pt x="490" y="1266"/>
                    <a:pt x="490" y="1266"/>
                    <a:pt x="490" y="1266"/>
                  </a:cubicBezTo>
                  <a:cubicBezTo>
                    <a:pt x="470" y="1266"/>
                    <a:pt x="454" y="1250"/>
                    <a:pt x="454" y="1230"/>
                  </a:cubicBezTo>
                  <a:cubicBezTo>
                    <a:pt x="454" y="1211"/>
                    <a:pt x="470" y="1194"/>
                    <a:pt x="490" y="1194"/>
                  </a:cubicBezTo>
                  <a:cubicBezTo>
                    <a:pt x="536" y="1194"/>
                    <a:pt x="536" y="1194"/>
                    <a:pt x="536" y="1194"/>
                  </a:cubicBezTo>
                  <a:cubicBezTo>
                    <a:pt x="536" y="1194"/>
                    <a:pt x="536" y="1194"/>
                    <a:pt x="536" y="1194"/>
                  </a:cubicBezTo>
                  <a:close/>
                  <a:moveTo>
                    <a:pt x="677" y="1194"/>
                  </a:moveTo>
                  <a:cubicBezTo>
                    <a:pt x="677" y="1194"/>
                    <a:pt x="677" y="1194"/>
                    <a:pt x="677" y="1194"/>
                  </a:cubicBezTo>
                  <a:cubicBezTo>
                    <a:pt x="696" y="1194"/>
                    <a:pt x="712" y="1211"/>
                    <a:pt x="712" y="1230"/>
                  </a:cubicBezTo>
                  <a:cubicBezTo>
                    <a:pt x="712" y="1250"/>
                    <a:pt x="696" y="1266"/>
                    <a:pt x="677" y="1266"/>
                  </a:cubicBezTo>
                  <a:cubicBezTo>
                    <a:pt x="630" y="1266"/>
                    <a:pt x="630" y="1266"/>
                    <a:pt x="630" y="1266"/>
                  </a:cubicBezTo>
                  <a:cubicBezTo>
                    <a:pt x="610" y="1266"/>
                    <a:pt x="595" y="1250"/>
                    <a:pt x="595" y="1230"/>
                  </a:cubicBezTo>
                  <a:cubicBezTo>
                    <a:pt x="595" y="1211"/>
                    <a:pt x="610" y="1194"/>
                    <a:pt x="630" y="1194"/>
                  </a:cubicBezTo>
                  <a:cubicBezTo>
                    <a:pt x="677" y="1194"/>
                    <a:pt x="677" y="1194"/>
                    <a:pt x="677" y="1194"/>
                  </a:cubicBezTo>
                  <a:cubicBezTo>
                    <a:pt x="677" y="1194"/>
                    <a:pt x="677" y="1194"/>
                    <a:pt x="677" y="1194"/>
                  </a:cubicBezTo>
                  <a:close/>
                  <a:moveTo>
                    <a:pt x="295" y="1164"/>
                  </a:moveTo>
                  <a:cubicBezTo>
                    <a:pt x="295" y="1164"/>
                    <a:pt x="295" y="1164"/>
                    <a:pt x="295" y="1164"/>
                  </a:cubicBezTo>
                  <a:cubicBezTo>
                    <a:pt x="295" y="1144"/>
                    <a:pt x="311" y="1129"/>
                    <a:pt x="330" y="1129"/>
                  </a:cubicBezTo>
                  <a:cubicBezTo>
                    <a:pt x="350" y="1129"/>
                    <a:pt x="366" y="1144"/>
                    <a:pt x="366" y="1164"/>
                  </a:cubicBezTo>
                  <a:cubicBezTo>
                    <a:pt x="366" y="1194"/>
                    <a:pt x="366" y="1194"/>
                    <a:pt x="366" y="1194"/>
                  </a:cubicBezTo>
                  <a:cubicBezTo>
                    <a:pt x="396" y="1194"/>
                    <a:pt x="396" y="1194"/>
                    <a:pt x="396" y="1194"/>
                  </a:cubicBezTo>
                  <a:cubicBezTo>
                    <a:pt x="416" y="1194"/>
                    <a:pt x="433" y="1211"/>
                    <a:pt x="433" y="1230"/>
                  </a:cubicBezTo>
                  <a:cubicBezTo>
                    <a:pt x="433" y="1250"/>
                    <a:pt x="416" y="1266"/>
                    <a:pt x="396" y="1266"/>
                  </a:cubicBezTo>
                  <a:cubicBezTo>
                    <a:pt x="333" y="1266"/>
                    <a:pt x="333" y="1266"/>
                    <a:pt x="333" y="1266"/>
                  </a:cubicBezTo>
                  <a:cubicBezTo>
                    <a:pt x="330" y="1266"/>
                    <a:pt x="330" y="1266"/>
                    <a:pt x="330" y="1266"/>
                  </a:cubicBezTo>
                  <a:cubicBezTo>
                    <a:pt x="317" y="1266"/>
                    <a:pt x="305" y="1260"/>
                    <a:pt x="299" y="1249"/>
                  </a:cubicBezTo>
                  <a:cubicBezTo>
                    <a:pt x="299" y="1248"/>
                    <a:pt x="299" y="1248"/>
                    <a:pt x="299" y="1248"/>
                  </a:cubicBezTo>
                  <a:cubicBezTo>
                    <a:pt x="299" y="1248"/>
                    <a:pt x="299" y="1248"/>
                    <a:pt x="299" y="1248"/>
                  </a:cubicBezTo>
                  <a:cubicBezTo>
                    <a:pt x="299" y="1247"/>
                    <a:pt x="299" y="1247"/>
                    <a:pt x="299" y="1247"/>
                  </a:cubicBezTo>
                  <a:cubicBezTo>
                    <a:pt x="299" y="1246"/>
                    <a:pt x="299" y="1246"/>
                    <a:pt x="299" y="1246"/>
                  </a:cubicBezTo>
                  <a:cubicBezTo>
                    <a:pt x="298" y="1246"/>
                    <a:pt x="298" y="1246"/>
                    <a:pt x="298" y="1246"/>
                  </a:cubicBezTo>
                  <a:cubicBezTo>
                    <a:pt x="298" y="1246"/>
                    <a:pt x="298" y="1246"/>
                    <a:pt x="298" y="1246"/>
                  </a:cubicBezTo>
                  <a:cubicBezTo>
                    <a:pt x="298" y="1245"/>
                    <a:pt x="298" y="1245"/>
                    <a:pt x="298" y="1245"/>
                  </a:cubicBezTo>
                  <a:cubicBezTo>
                    <a:pt x="298" y="1245"/>
                    <a:pt x="298" y="1245"/>
                    <a:pt x="298" y="1245"/>
                  </a:cubicBezTo>
                  <a:cubicBezTo>
                    <a:pt x="297" y="1245"/>
                    <a:pt x="297" y="1245"/>
                    <a:pt x="297" y="1245"/>
                  </a:cubicBezTo>
                  <a:cubicBezTo>
                    <a:pt x="297" y="1244"/>
                    <a:pt x="297" y="1244"/>
                    <a:pt x="297" y="1244"/>
                  </a:cubicBezTo>
                  <a:cubicBezTo>
                    <a:pt x="296" y="1243"/>
                    <a:pt x="296" y="1243"/>
                    <a:pt x="296" y="1243"/>
                  </a:cubicBezTo>
                  <a:cubicBezTo>
                    <a:pt x="296" y="1242"/>
                    <a:pt x="296" y="1242"/>
                    <a:pt x="296" y="1242"/>
                  </a:cubicBezTo>
                  <a:cubicBezTo>
                    <a:pt x="296" y="1241"/>
                    <a:pt x="296" y="1241"/>
                    <a:pt x="296" y="1241"/>
                  </a:cubicBezTo>
                  <a:cubicBezTo>
                    <a:pt x="295" y="1240"/>
                    <a:pt x="295" y="1240"/>
                    <a:pt x="295" y="1240"/>
                  </a:cubicBezTo>
                  <a:cubicBezTo>
                    <a:pt x="295" y="1240"/>
                    <a:pt x="295" y="1240"/>
                    <a:pt x="295" y="1240"/>
                  </a:cubicBezTo>
                  <a:cubicBezTo>
                    <a:pt x="295" y="1239"/>
                    <a:pt x="295" y="1239"/>
                    <a:pt x="295" y="1239"/>
                  </a:cubicBezTo>
                  <a:cubicBezTo>
                    <a:pt x="295" y="1238"/>
                    <a:pt x="295" y="1238"/>
                    <a:pt x="295" y="1238"/>
                  </a:cubicBezTo>
                  <a:cubicBezTo>
                    <a:pt x="295" y="1237"/>
                    <a:pt x="295" y="1237"/>
                    <a:pt x="295" y="1237"/>
                  </a:cubicBezTo>
                  <a:cubicBezTo>
                    <a:pt x="295" y="1237"/>
                    <a:pt x="295" y="1237"/>
                    <a:pt x="295" y="1237"/>
                  </a:cubicBezTo>
                  <a:cubicBezTo>
                    <a:pt x="295" y="1236"/>
                    <a:pt x="295" y="1236"/>
                    <a:pt x="295" y="1236"/>
                  </a:cubicBezTo>
                  <a:cubicBezTo>
                    <a:pt x="295" y="1236"/>
                    <a:pt x="295" y="1236"/>
                    <a:pt x="295" y="1236"/>
                  </a:cubicBezTo>
                  <a:cubicBezTo>
                    <a:pt x="295" y="1235"/>
                    <a:pt x="295" y="1235"/>
                    <a:pt x="295" y="1235"/>
                  </a:cubicBezTo>
                  <a:cubicBezTo>
                    <a:pt x="295" y="1234"/>
                    <a:pt x="295" y="1234"/>
                    <a:pt x="295" y="1234"/>
                  </a:cubicBezTo>
                  <a:cubicBezTo>
                    <a:pt x="295" y="1233"/>
                    <a:pt x="295" y="1233"/>
                    <a:pt x="295" y="1233"/>
                  </a:cubicBezTo>
                  <a:cubicBezTo>
                    <a:pt x="295" y="1232"/>
                    <a:pt x="295" y="1232"/>
                    <a:pt x="295" y="1232"/>
                  </a:cubicBezTo>
                  <a:cubicBezTo>
                    <a:pt x="295" y="1232"/>
                    <a:pt x="295" y="1232"/>
                    <a:pt x="295" y="1232"/>
                  </a:cubicBezTo>
                  <a:cubicBezTo>
                    <a:pt x="295" y="1231"/>
                    <a:pt x="295" y="1231"/>
                    <a:pt x="295" y="1231"/>
                  </a:cubicBezTo>
                  <a:cubicBezTo>
                    <a:pt x="295" y="1231"/>
                    <a:pt x="295" y="1231"/>
                    <a:pt x="295" y="1231"/>
                  </a:cubicBezTo>
                  <a:cubicBezTo>
                    <a:pt x="295" y="1230"/>
                    <a:pt x="295" y="1230"/>
                    <a:pt x="295" y="1230"/>
                  </a:cubicBezTo>
                  <a:cubicBezTo>
                    <a:pt x="295" y="1230"/>
                    <a:pt x="295" y="1230"/>
                    <a:pt x="295" y="1230"/>
                  </a:cubicBezTo>
                  <a:cubicBezTo>
                    <a:pt x="295" y="1164"/>
                    <a:pt x="295" y="1164"/>
                    <a:pt x="295" y="1164"/>
                  </a:cubicBezTo>
                  <a:cubicBezTo>
                    <a:pt x="295" y="1164"/>
                    <a:pt x="295" y="1164"/>
                    <a:pt x="295" y="1164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2" name="íṣḻïḍé">
              <a:extLst>
                <a:ext uri="{FF2B5EF4-FFF2-40B4-BE49-F238E27FC236}">
                  <a16:creationId xmlns:a16="http://schemas.microsoft.com/office/drawing/2014/main" xmlns="" id="{1957D280-F8A8-4DA3-942E-FC110C5B7304}"/>
                </a:ext>
              </a:extLst>
            </p:cNvPr>
            <p:cNvSpPr/>
            <p:nvPr/>
          </p:nvSpPr>
          <p:spPr bwMode="auto">
            <a:xfrm>
              <a:off x="5899129" y="3447117"/>
              <a:ext cx="389076" cy="388188"/>
            </a:xfrm>
            <a:custGeom>
              <a:avLst/>
              <a:gdLst>
                <a:gd name="connsiteX0" fmla="*/ 235923 w 529695"/>
                <a:gd name="connsiteY0" fmla="*/ 409298 h 528485"/>
                <a:gd name="connsiteX1" fmla="*/ 287736 w 529695"/>
                <a:gd name="connsiteY1" fmla="*/ 409298 h 528485"/>
                <a:gd name="connsiteX2" fmla="*/ 287736 w 529695"/>
                <a:gd name="connsiteY2" fmla="*/ 438466 h 528485"/>
                <a:gd name="connsiteX3" fmla="*/ 303330 w 529695"/>
                <a:gd name="connsiteY3" fmla="*/ 454559 h 528485"/>
                <a:gd name="connsiteX4" fmla="*/ 502531 w 529695"/>
                <a:gd name="connsiteY4" fmla="*/ 454559 h 528485"/>
                <a:gd name="connsiteX5" fmla="*/ 529695 w 529695"/>
                <a:gd name="connsiteY5" fmla="*/ 481716 h 528485"/>
                <a:gd name="connsiteX6" fmla="*/ 502531 w 529695"/>
                <a:gd name="connsiteY6" fmla="*/ 508872 h 528485"/>
                <a:gd name="connsiteX7" fmla="*/ 300815 w 529695"/>
                <a:gd name="connsiteY7" fmla="*/ 508872 h 528485"/>
                <a:gd name="connsiteX8" fmla="*/ 261578 w 529695"/>
                <a:gd name="connsiteY8" fmla="*/ 528485 h 528485"/>
                <a:gd name="connsiteX9" fmla="*/ 222844 w 529695"/>
                <a:gd name="connsiteY9" fmla="*/ 508872 h 528485"/>
                <a:gd name="connsiteX10" fmla="*/ 27164 w 529695"/>
                <a:gd name="connsiteY10" fmla="*/ 508872 h 528485"/>
                <a:gd name="connsiteX11" fmla="*/ 0 w 529695"/>
                <a:gd name="connsiteY11" fmla="*/ 481716 h 528485"/>
                <a:gd name="connsiteX12" fmla="*/ 27164 w 529695"/>
                <a:gd name="connsiteY12" fmla="*/ 454559 h 528485"/>
                <a:gd name="connsiteX13" fmla="*/ 220329 w 529695"/>
                <a:gd name="connsiteY13" fmla="*/ 454559 h 528485"/>
                <a:gd name="connsiteX14" fmla="*/ 235923 w 529695"/>
                <a:gd name="connsiteY14" fmla="*/ 438466 h 528485"/>
                <a:gd name="connsiteX15" fmla="*/ 235923 w 529695"/>
                <a:gd name="connsiteY15" fmla="*/ 409298 h 528485"/>
                <a:gd name="connsiteX16" fmla="*/ 109759 w 529695"/>
                <a:gd name="connsiteY16" fmla="*/ 322990 h 528485"/>
                <a:gd name="connsiteX17" fmla="*/ 188163 w 529695"/>
                <a:gd name="connsiteY17" fmla="*/ 322990 h 528485"/>
                <a:gd name="connsiteX18" fmla="*/ 234401 w 529695"/>
                <a:gd name="connsiteY18" fmla="*/ 339072 h 528485"/>
                <a:gd name="connsiteX19" fmla="*/ 288177 w 529695"/>
                <a:gd name="connsiteY19" fmla="*/ 394354 h 528485"/>
                <a:gd name="connsiteX20" fmla="*/ 109759 w 529695"/>
                <a:gd name="connsiteY20" fmla="*/ 322990 h 528485"/>
                <a:gd name="connsiteX21" fmla="*/ 398938 w 529695"/>
                <a:gd name="connsiteY21" fmla="*/ 205978 h 528485"/>
                <a:gd name="connsiteX22" fmla="*/ 446771 w 529695"/>
                <a:gd name="connsiteY22" fmla="*/ 275270 h 528485"/>
                <a:gd name="connsiteX23" fmla="*/ 318880 w 529695"/>
                <a:gd name="connsiteY23" fmla="*/ 388748 h 528485"/>
                <a:gd name="connsiteX24" fmla="*/ 251913 w 529695"/>
                <a:gd name="connsiteY24" fmla="*/ 325984 h 528485"/>
                <a:gd name="connsiteX25" fmla="*/ 263997 w 529695"/>
                <a:gd name="connsiteY25" fmla="*/ 301380 h 528485"/>
                <a:gd name="connsiteX26" fmla="*/ 375776 w 529695"/>
                <a:gd name="connsiteY26" fmla="*/ 212506 h 528485"/>
                <a:gd name="connsiteX27" fmla="*/ 398938 w 529695"/>
                <a:gd name="connsiteY27" fmla="*/ 205978 h 528485"/>
                <a:gd name="connsiteX28" fmla="*/ 151866 w 529695"/>
                <a:gd name="connsiteY28" fmla="*/ 126198 h 528485"/>
                <a:gd name="connsiteX29" fmla="*/ 178534 w 529695"/>
                <a:gd name="connsiteY29" fmla="*/ 152818 h 528485"/>
                <a:gd name="connsiteX30" fmla="*/ 194132 w 529695"/>
                <a:gd name="connsiteY30" fmla="*/ 263820 h 528485"/>
                <a:gd name="connsiteX31" fmla="*/ 177025 w 529695"/>
                <a:gd name="connsiteY31" fmla="*/ 303499 h 528485"/>
                <a:gd name="connsiteX32" fmla="*/ 92493 w 529695"/>
                <a:gd name="connsiteY32" fmla="*/ 298476 h 528485"/>
                <a:gd name="connsiteX33" fmla="*/ 68843 w 529695"/>
                <a:gd name="connsiteY33" fmla="*/ 160855 h 528485"/>
                <a:gd name="connsiteX34" fmla="*/ 151866 w 529695"/>
                <a:gd name="connsiteY34" fmla="*/ 126198 h 528485"/>
                <a:gd name="connsiteX35" fmla="*/ 233907 w 529695"/>
                <a:gd name="connsiteY35" fmla="*/ 121605 h 528485"/>
                <a:gd name="connsiteX36" fmla="*/ 337554 w 529695"/>
                <a:gd name="connsiteY36" fmla="*/ 154231 h 528485"/>
                <a:gd name="connsiteX37" fmla="*/ 354661 w 529695"/>
                <a:gd name="connsiteY37" fmla="*/ 205930 h 528485"/>
                <a:gd name="connsiteX38" fmla="*/ 260574 w 529695"/>
                <a:gd name="connsiteY38" fmla="*/ 279715 h 528485"/>
                <a:gd name="connsiteX39" fmla="*/ 213781 w 529695"/>
                <a:gd name="connsiteY39" fmla="*/ 255622 h 528485"/>
                <a:gd name="connsiteX40" fmla="*/ 199693 w 529695"/>
                <a:gd name="connsiteY40" fmla="*/ 154231 h 528485"/>
                <a:gd name="connsiteX41" fmla="*/ 233907 w 529695"/>
                <a:gd name="connsiteY41" fmla="*/ 121605 h 528485"/>
                <a:gd name="connsiteX42" fmla="*/ 429023 w 529695"/>
                <a:gd name="connsiteY42" fmla="*/ 90418 h 528485"/>
                <a:gd name="connsiteX43" fmla="*/ 456725 w 529695"/>
                <a:gd name="connsiteY43" fmla="*/ 245627 h 528485"/>
                <a:gd name="connsiteX44" fmla="*/ 414920 w 529695"/>
                <a:gd name="connsiteY44" fmla="*/ 190375 h 528485"/>
                <a:gd name="connsiteX45" fmla="*/ 413409 w 529695"/>
                <a:gd name="connsiteY45" fmla="*/ 148684 h 528485"/>
                <a:gd name="connsiteX46" fmla="*/ 429023 w 529695"/>
                <a:gd name="connsiteY46" fmla="*/ 90418 h 528485"/>
                <a:gd name="connsiteX47" fmla="*/ 232331 w 529695"/>
                <a:gd name="connsiteY47" fmla="*/ 2417 h 528485"/>
                <a:gd name="connsiteX48" fmla="*/ 196608 w 529695"/>
                <a:gd name="connsiteY48" fmla="*/ 70765 h 528485"/>
                <a:gd name="connsiteX49" fmla="*/ 150822 w 529695"/>
                <a:gd name="connsiteY49" fmla="*/ 104436 h 528485"/>
                <a:gd name="connsiteX50" fmla="*/ 77363 w 529695"/>
                <a:gd name="connsiteY50" fmla="*/ 130066 h 528485"/>
                <a:gd name="connsiteX51" fmla="*/ 232331 w 529695"/>
                <a:gd name="connsiteY51" fmla="*/ 2417 h 528485"/>
                <a:gd name="connsiteX52" fmla="*/ 263105 w 529695"/>
                <a:gd name="connsiteY52" fmla="*/ 0 h 528485"/>
                <a:gd name="connsiteX53" fmla="*/ 411959 w 529695"/>
                <a:gd name="connsiteY53" fmla="*/ 65760 h 528485"/>
                <a:gd name="connsiteX54" fmla="*/ 396370 w 529695"/>
                <a:gd name="connsiteY54" fmla="*/ 133025 h 528485"/>
                <a:gd name="connsiteX55" fmla="*/ 349098 w 529695"/>
                <a:gd name="connsiteY55" fmla="*/ 138045 h 528485"/>
                <a:gd name="connsiteX56" fmla="*/ 232429 w 529695"/>
                <a:gd name="connsiteY56" fmla="*/ 100396 h 528485"/>
                <a:gd name="connsiteX57" fmla="*/ 217342 w 529695"/>
                <a:gd name="connsiteY57" fmla="*/ 77305 h 528485"/>
                <a:gd name="connsiteX58" fmla="*/ 263105 w 529695"/>
                <a:gd name="connsiteY58" fmla="*/ 0 h 528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529695" h="528485">
                  <a:moveTo>
                    <a:pt x="235923" y="409298"/>
                  </a:moveTo>
                  <a:cubicBezTo>
                    <a:pt x="235923" y="409298"/>
                    <a:pt x="235923" y="409298"/>
                    <a:pt x="287736" y="409298"/>
                  </a:cubicBezTo>
                  <a:cubicBezTo>
                    <a:pt x="287736" y="409298"/>
                    <a:pt x="287736" y="409298"/>
                    <a:pt x="287736" y="438466"/>
                  </a:cubicBezTo>
                  <a:cubicBezTo>
                    <a:pt x="294275" y="442489"/>
                    <a:pt x="299306" y="448021"/>
                    <a:pt x="303330" y="454559"/>
                  </a:cubicBezTo>
                  <a:cubicBezTo>
                    <a:pt x="303330" y="454559"/>
                    <a:pt x="303330" y="454559"/>
                    <a:pt x="502531" y="454559"/>
                  </a:cubicBezTo>
                  <a:cubicBezTo>
                    <a:pt x="517622" y="454559"/>
                    <a:pt x="529695" y="466629"/>
                    <a:pt x="529695" y="481716"/>
                  </a:cubicBezTo>
                  <a:cubicBezTo>
                    <a:pt x="529695" y="496803"/>
                    <a:pt x="517622" y="508872"/>
                    <a:pt x="502531" y="508872"/>
                  </a:cubicBezTo>
                  <a:cubicBezTo>
                    <a:pt x="502531" y="508872"/>
                    <a:pt x="502531" y="508872"/>
                    <a:pt x="300815" y="508872"/>
                  </a:cubicBezTo>
                  <a:cubicBezTo>
                    <a:pt x="291760" y="520942"/>
                    <a:pt x="277675" y="528485"/>
                    <a:pt x="261578" y="528485"/>
                  </a:cubicBezTo>
                  <a:cubicBezTo>
                    <a:pt x="245984" y="528485"/>
                    <a:pt x="231899" y="520942"/>
                    <a:pt x="222844" y="508872"/>
                  </a:cubicBezTo>
                  <a:cubicBezTo>
                    <a:pt x="222844" y="508872"/>
                    <a:pt x="222844" y="508872"/>
                    <a:pt x="27164" y="508872"/>
                  </a:cubicBezTo>
                  <a:cubicBezTo>
                    <a:pt x="12073" y="508872"/>
                    <a:pt x="0" y="496803"/>
                    <a:pt x="0" y="481716"/>
                  </a:cubicBezTo>
                  <a:cubicBezTo>
                    <a:pt x="0" y="466629"/>
                    <a:pt x="12073" y="454559"/>
                    <a:pt x="27164" y="454559"/>
                  </a:cubicBezTo>
                  <a:cubicBezTo>
                    <a:pt x="27164" y="454559"/>
                    <a:pt x="27164" y="454559"/>
                    <a:pt x="220329" y="454559"/>
                  </a:cubicBezTo>
                  <a:cubicBezTo>
                    <a:pt x="224353" y="448021"/>
                    <a:pt x="229384" y="442489"/>
                    <a:pt x="235923" y="438466"/>
                  </a:cubicBezTo>
                  <a:cubicBezTo>
                    <a:pt x="235923" y="438466"/>
                    <a:pt x="235923" y="438466"/>
                    <a:pt x="235923" y="409298"/>
                  </a:cubicBezTo>
                  <a:close/>
                  <a:moveTo>
                    <a:pt x="109759" y="322990"/>
                  </a:moveTo>
                  <a:cubicBezTo>
                    <a:pt x="142930" y="330026"/>
                    <a:pt x="188163" y="322990"/>
                    <a:pt x="188163" y="322990"/>
                  </a:cubicBezTo>
                  <a:cubicBezTo>
                    <a:pt x="199722" y="347616"/>
                    <a:pt x="234401" y="339072"/>
                    <a:pt x="234401" y="339072"/>
                  </a:cubicBezTo>
                  <a:cubicBezTo>
                    <a:pt x="243950" y="352641"/>
                    <a:pt x="288177" y="394354"/>
                    <a:pt x="288177" y="394354"/>
                  </a:cubicBezTo>
                  <a:cubicBezTo>
                    <a:pt x="163536" y="405913"/>
                    <a:pt x="109759" y="322990"/>
                    <a:pt x="109759" y="322990"/>
                  </a:cubicBezTo>
                  <a:close/>
                  <a:moveTo>
                    <a:pt x="398938" y="205978"/>
                  </a:moveTo>
                  <a:cubicBezTo>
                    <a:pt x="398938" y="205978"/>
                    <a:pt x="431162" y="236105"/>
                    <a:pt x="446771" y="275270"/>
                  </a:cubicBezTo>
                  <a:cubicBezTo>
                    <a:pt x="446771" y="275270"/>
                    <a:pt x="416561" y="361132"/>
                    <a:pt x="318880" y="388748"/>
                  </a:cubicBezTo>
                  <a:cubicBezTo>
                    <a:pt x="318880" y="388748"/>
                    <a:pt x="274571" y="360128"/>
                    <a:pt x="251913" y="325984"/>
                  </a:cubicBezTo>
                  <a:cubicBezTo>
                    <a:pt x="251913" y="325984"/>
                    <a:pt x="260473" y="322469"/>
                    <a:pt x="263997" y="301380"/>
                  </a:cubicBezTo>
                  <a:cubicBezTo>
                    <a:pt x="263997" y="301380"/>
                    <a:pt x="332978" y="277279"/>
                    <a:pt x="375776" y="212506"/>
                  </a:cubicBezTo>
                  <a:cubicBezTo>
                    <a:pt x="375776" y="212506"/>
                    <a:pt x="389371" y="213510"/>
                    <a:pt x="398938" y="205978"/>
                  </a:cubicBezTo>
                  <a:close/>
                  <a:moveTo>
                    <a:pt x="151866" y="126198"/>
                  </a:moveTo>
                  <a:cubicBezTo>
                    <a:pt x="156898" y="147796"/>
                    <a:pt x="178534" y="152818"/>
                    <a:pt x="178534" y="152818"/>
                  </a:cubicBezTo>
                  <a:cubicBezTo>
                    <a:pt x="172999" y="210077"/>
                    <a:pt x="194132" y="263820"/>
                    <a:pt x="194132" y="263820"/>
                  </a:cubicBezTo>
                  <a:cubicBezTo>
                    <a:pt x="177025" y="276879"/>
                    <a:pt x="177025" y="303499"/>
                    <a:pt x="177025" y="303499"/>
                  </a:cubicBezTo>
                  <a:cubicBezTo>
                    <a:pt x="134759" y="307517"/>
                    <a:pt x="92493" y="298476"/>
                    <a:pt x="92493" y="298476"/>
                  </a:cubicBezTo>
                  <a:cubicBezTo>
                    <a:pt x="51736" y="231675"/>
                    <a:pt x="68843" y="160855"/>
                    <a:pt x="68843" y="160855"/>
                  </a:cubicBezTo>
                  <a:cubicBezTo>
                    <a:pt x="101047" y="136746"/>
                    <a:pt x="151866" y="126198"/>
                    <a:pt x="151866" y="126198"/>
                  </a:cubicBezTo>
                  <a:close/>
                  <a:moveTo>
                    <a:pt x="233907" y="121605"/>
                  </a:moveTo>
                  <a:cubicBezTo>
                    <a:pt x="233907" y="121605"/>
                    <a:pt x="291265" y="127126"/>
                    <a:pt x="337554" y="154231"/>
                  </a:cubicBezTo>
                  <a:cubicBezTo>
                    <a:pt x="337554" y="154231"/>
                    <a:pt x="326485" y="188865"/>
                    <a:pt x="354661" y="205930"/>
                  </a:cubicBezTo>
                  <a:cubicBezTo>
                    <a:pt x="354661" y="205930"/>
                    <a:pt x="325982" y="249097"/>
                    <a:pt x="260574" y="279715"/>
                  </a:cubicBezTo>
                  <a:cubicBezTo>
                    <a:pt x="260574" y="279715"/>
                    <a:pt x="247995" y="250101"/>
                    <a:pt x="213781" y="255622"/>
                  </a:cubicBezTo>
                  <a:cubicBezTo>
                    <a:pt x="214284" y="255622"/>
                    <a:pt x="200196" y="229020"/>
                    <a:pt x="199693" y="154231"/>
                  </a:cubicBezTo>
                  <a:cubicBezTo>
                    <a:pt x="199693" y="154231"/>
                    <a:pt x="228876" y="156239"/>
                    <a:pt x="233907" y="121605"/>
                  </a:cubicBezTo>
                  <a:close/>
                  <a:moveTo>
                    <a:pt x="429023" y="90418"/>
                  </a:moveTo>
                  <a:cubicBezTo>
                    <a:pt x="429023" y="90418"/>
                    <a:pt x="479893" y="148182"/>
                    <a:pt x="456725" y="245627"/>
                  </a:cubicBezTo>
                  <a:cubicBezTo>
                    <a:pt x="456725" y="245627"/>
                    <a:pt x="429023" y="200923"/>
                    <a:pt x="414920" y="190375"/>
                  </a:cubicBezTo>
                  <a:cubicBezTo>
                    <a:pt x="414920" y="190375"/>
                    <a:pt x="427512" y="166265"/>
                    <a:pt x="413409" y="148684"/>
                  </a:cubicBezTo>
                  <a:cubicBezTo>
                    <a:pt x="413409" y="148684"/>
                    <a:pt x="426505" y="122565"/>
                    <a:pt x="429023" y="90418"/>
                  </a:cubicBezTo>
                  <a:close/>
                  <a:moveTo>
                    <a:pt x="232331" y="2417"/>
                  </a:moveTo>
                  <a:cubicBezTo>
                    <a:pt x="232331" y="2417"/>
                    <a:pt x="214218" y="29053"/>
                    <a:pt x="196608" y="70765"/>
                  </a:cubicBezTo>
                  <a:cubicBezTo>
                    <a:pt x="196608" y="70765"/>
                    <a:pt x="159376" y="66744"/>
                    <a:pt x="150822" y="104436"/>
                  </a:cubicBezTo>
                  <a:cubicBezTo>
                    <a:pt x="150822" y="104436"/>
                    <a:pt x="111577" y="111472"/>
                    <a:pt x="77363" y="130066"/>
                  </a:cubicBezTo>
                  <a:cubicBezTo>
                    <a:pt x="77363" y="130066"/>
                    <a:pt x="112080" y="22519"/>
                    <a:pt x="232331" y="2417"/>
                  </a:cubicBezTo>
                  <a:close/>
                  <a:moveTo>
                    <a:pt x="263105" y="0"/>
                  </a:moveTo>
                  <a:cubicBezTo>
                    <a:pt x="363682" y="2008"/>
                    <a:pt x="411959" y="65760"/>
                    <a:pt x="411959" y="65760"/>
                  </a:cubicBezTo>
                  <a:cubicBezTo>
                    <a:pt x="409445" y="108930"/>
                    <a:pt x="396370" y="133025"/>
                    <a:pt x="396370" y="133025"/>
                  </a:cubicBezTo>
                  <a:cubicBezTo>
                    <a:pt x="373237" y="117966"/>
                    <a:pt x="349098" y="138045"/>
                    <a:pt x="349098" y="138045"/>
                  </a:cubicBezTo>
                  <a:cubicBezTo>
                    <a:pt x="294787" y="103910"/>
                    <a:pt x="232429" y="100396"/>
                    <a:pt x="232429" y="100396"/>
                  </a:cubicBezTo>
                  <a:cubicBezTo>
                    <a:pt x="231926" y="89353"/>
                    <a:pt x="217342" y="77305"/>
                    <a:pt x="217342" y="77305"/>
                  </a:cubicBezTo>
                  <a:cubicBezTo>
                    <a:pt x="223880" y="53210"/>
                    <a:pt x="263105" y="0"/>
                    <a:pt x="26310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3" name="îśľîḍé">
              <a:extLst>
                <a:ext uri="{FF2B5EF4-FFF2-40B4-BE49-F238E27FC236}">
                  <a16:creationId xmlns:a16="http://schemas.microsoft.com/office/drawing/2014/main" xmlns="" id="{76A1333F-3582-46F2-BBFD-4B935346E3B2}"/>
                </a:ext>
              </a:extLst>
            </p:cNvPr>
            <p:cNvSpPr/>
            <p:nvPr/>
          </p:nvSpPr>
          <p:spPr bwMode="auto">
            <a:xfrm>
              <a:off x="5832481" y="4761306"/>
              <a:ext cx="356706" cy="374109"/>
            </a:xfrm>
            <a:custGeom>
              <a:avLst/>
              <a:gdLst>
                <a:gd name="T0" fmla="*/ 994 w 1104"/>
                <a:gd name="T1" fmla="*/ 355 h 1159"/>
                <a:gd name="T2" fmla="*/ 994 w 1104"/>
                <a:gd name="T3" fmla="*/ 607 h 1159"/>
                <a:gd name="T4" fmla="*/ 735 w 1104"/>
                <a:gd name="T5" fmla="*/ 607 h 1159"/>
                <a:gd name="T6" fmla="*/ 552 w 1104"/>
                <a:gd name="T7" fmla="*/ 746 h 1159"/>
                <a:gd name="T8" fmla="*/ 369 w 1104"/>
                <a:gd name="T9" fmla="*/ 607 h 1159"/>
                <a:gd name="T10" fmla="*/ 221 w 1104"/>
                <a:gd name="T11" fmla="*/ 607 h 1159"/>
                <a:gd name="T12" fmla="*/ 221 w 1104"/>
                <a:gd name="T13" fmla="*/ 775 h 1159"/>
                <a:gd name="T14" fmla="*/ 386 w 1104"/>
                <a:gd name="T15" fmla="*/ 966 h 1159"/>
                <a:gd name="T16" fmla="*/ 193 w 1104"/>
                <a:gd name="T17" fmla="*/ 1159 h 1159"/>
                <a:gd name="T18" fmla="*/ 0 w 1104"/>
                <a:gd name="T19" fmla="*/ 966 h 1159"/>
                <a:gd name="T20" fmla="*/ 110 w 1104"/>
                <a:gd name="T21" fmla="*/ 792 h 1159"/>
                <a:gd name="T22" fmla="*/ 110 w 1104"/>
                <a:gd name="T23" fmla="*/ 497 h 1159"/>
                <a:gd name="T24" fmla="*/ 374 w 1104"/>
                <a:gd name="T25" fmla="*/ 497 h 1159"/>
                <a:gd name="T26" fmla="*/ 552 w 1104"/>
                <a:gd name="T27" fmla="*/ 374 h 1159"/>
                <a:gd name="T28" fmla="*/ 730 w 1104"/>
                <a:gd name="T29" fmla="*/ 497 h 1159"/>
                <a:gd name="T30" fmla="*/ 883 w 1104"/>
                <a:gd name="T31" fmla="*/ 497 h 1159"/>
                <a:gd name="T32" fmla="*/ 879 w 1104"/>
                <a:gd name="T33" fmla="*/ 369 h 1159"/>
                <a:gd name="T34" fmla="*/ 724 w 1104"/>
                <a:gd name="T35" fmla="*/ 186 h 1159"/>
                <a:gd name="T36" fmla="*/ 914 w 1104"/>
                <a:gd name="T37" fmla="*/ 0 h 1159"/>
                <a:gd name="T38" fmla="*/ 1104 w 1104"/>
                <a:gd name="T39" fmla="*/ 186 h 1159"/>
                <a:gd name="T40" fmla="*/ 994 w 1104"/>
                <a:gd name="T41" fmla="*/ 355 h 1159"/>
                <a:gd name="T42" fmla="*/ 76 w 1104"/>
                <a:gd name="T43" fmla="*/ 973 h 1159"/>
                <a:gd name="T44" fmla="*/ 191 w 1104"/>
                <a:gd name="T45" fmla="*/ 1087 h 1159"/>
                <a:gd name="T46" fmla="*/ 305 w 1104"/>
                <a:gd name="T47" fmla="*/ 973 h 1159"/>
                <a:gd name="T48" fmla="*/ 191 w 1104"/>
                <a:gd name="T49" fmla="*/ 860 h 1159"/>
                <a:gd name="T50" fmla="*/ 76 w 1104"/>
                <a:gd name="T51" fmla="*/ 973 h 1159"/>
                <a:gd name="T52" fmla="*/ 552 w 1104"/>
                <a:gd name="T53" fmla="*/ 447 h 1159"/>
                <a:gd name="T54" fmla="*/ 438 w 1104"/>
                <a:gd name="T55" fmla="*/ 561 h 1159"/>
                <a:gd name="T56" fmla="*/ 552 w 1104"/>
                <a:gd name="T57" fmla="*/ 674 h 1159"/>
                <a:gd name="T58" fmla="*/ 667 w 1104"/>
                <a:gd name="T59" fmla="*/ 561 h 1159"/>
                <a:gd name="T60" fmla="*/ 552 w 1104"/>
                <a:gd name="T61" fmla="*/ 447 h 1159"/>
                <a:gd name="T62" fmla="*/ 914 w 1104"/>
                <a:gd name="T63" fmla="*/ 73 h 1159"/>
                <a:gd name="T64" fmla="*/ 799 w 1104"/>
                <a:gd name="T65" fmla="*/ 187 h 1159"/>
                <a:gd name="T66" fmla="*/ 914 w 1104"/>
                <a:gd name="T67" fmla="*/ 300 h 1159"/>
                <a:gd name="T68" fmla="*/ 1029 w 1104"/>
                <a:gd name="T69" fmla="*/ 187 h 1159"/>
                <a:gd name="T70" fmla="*/ 914 w 1104"/>
                <a:gd name="T71" fmla="*/ 73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04" h="1159">
                  <a:moveTo>
                    <a:pt x="994" y="355"/>
                  </a:moveTo>
                  <a:cubicBezTo>
                    <a:pt x="994" y="607"/>
                    <a:pt x="994" y="607"/>
                    <a:pt x="994" y="607"/>
                  </a:cubicBezTo>
                  <a:cubicBezTo>
                    <a:pt x="735" y="607"/>
                    <a:pt x="735" y="607"/>
                    <a:pt x="735" y="607"/>
                  </a:cubicBezTo>
                  <a:cubicBezTo>
                    <a:pt x="714" y="687"/>
                    <a:pt x="640" y="746"/>
                    <a:pt x="552" y="746"/>
                  </a:cubicBezTo>
                  <a:cubicBezTo>
                    <a:pt x="464" y="746"/>
                    <a:pt x="390" y="687"/>
                    <a:pt x="369" y="607"/>
                  </a:cubicBezTo>
                  <a:cubicBezTo>
                    <a:pt x="221" y="607"/>
                    <a:pt x="221" y="607"/>
                    <a:pt x="221" y="607"/>
                  </a:cubicBezTo>
                  <a:cubicBezTo>
                    <a:pt x="221" y="775"/>
                    <a:pt x="221" y="775"/>
                    <a:pt x="221" y="775"/>
                  </a:cubicBezTo>
                  <a:cubicBezTo>
                    <a:pt x="314" y="789"/>
                    <a:pt x="386" y="869"/>
                    <a:pt x="386" y="966"/>
                  </a:cubicBezTo>
                  <a:cubicBezTo>
                    <a:pt x="386" y="1072"/>
                    <a:pt x="300" y="1159"/>
                    <a:pt x="193" y="1159"/>
                  </a:cubicBezTo>
                  <a:cubicBezTo>
                    <a:pt x="87" y="1159"/>
                    <a:pt x="0" y="1072"/>
                    <a:pt x="0" y="966"/>
                  </a:cubicBezTo>
                  <a:cubicBezTo>
                    <a:pt x="0" y="889"/>
                    <a:pt x="45" y="823"/>
                    <a:pt x="110" y="792"/>
                  </a:cubicBezTo>
                  <a:cubicBezTo>
                    <a:pt x="110" y="497"/>
                    <a:pt x="110" y="497"/>
                    <a:pt x="110" y="497"/>
                  </a:cubicBezTo>
                  <a:cubicBezTo>
                    <a:pt x="374" y="497"/>
                    <a:pt x="374" y="497"/>
                    <a:pt x="374" y="497"/>
                  </a:cubicBezTo>
                  <a:cubicBezTo>
                    <a:pt x="400" y="425"/>
                    <a:pt x="470" y="374"/>
                    <a:pt x="552" y="374"/>
                  </a:cubicBezTo>
                  <a:cubicBezTo>
                    <a:pt x="634" y="374"/>
                    <a:pt x="704" y="425"/>
                    <a:pt x="730" y="497"/>
                  </a:cubicBezTo>
                  <a:cubicBezTo>
                    <a:pt x="883" y="497"/>
                    <a:pt x="883" y="497"/>
                    <a:pt x="883" y="497"/>
                  </a:cubicBezTo>
                  <a:cubicBezTo>
                    <a:pt x="879" y="369"/>
                    <a:pt x="879" y="369"/>
                    <a:pt x="879" y="369"/>
                  </a:cubicBezTo>
                  <a:cubicBezTo>
                    <a:pt x="790" y="353"/>
                    <a:pt x="724" y="277"/>
                    <a:pt x="724" y="186"/>
                  </a:cubicBezTo>
                  <a:cubicBezTo>
                    <a:pt x="724" y="83"/>
                    <a:pt x="809" y="0"/>
                    <a:pt x="914" y="0"/>
                  </a:cubicBezTo>
                  <a:cubicBezTo>
                    <a:pt x="1019" y="0"/>
                    <a:pt x="1104" y="83"/>
                    <a:pt x="1104" y="186"/>
                  </a:cubicBezTo>
                  <a:cubicBezTo>
                    <a:pt x="1104" y="261"/>
                    <a:pt x="1059" y="325"/>
                    <a:pt x="994" y="355"/>
                  </a:cubicBezTo>
                  <a:close/>
                  <a:moveTo>
                    <a:pt x="76" y="973"/>
                  </a:moveTo>
                  <a:cubicBezTo>
                    <a:pt x="76" y="1036"/>
                    <a:pt x="127" y="1087"/>
                    <a:pt x="191" y="1087"/>
                  </a:cubicBezTo>
                  <a:cubicBezTo>
                    <a:pt x="254" y="1087"/>
                    <a:pt x="305" y="1036"/>
                    <a:pt x="305" y="973"/>
                  </a:cubicBezTo>
                  <a:cubicBezTo>
                    <a:pt x="305" y="911"/>
                    <a:pt x="254" y="860"/>
                    <a:pt x="191" y="860"/>
                  </a:cubicBezTo>
                  <a:cubicBezTo>
                    <a:pt x="127" y="860"/>
                    <a:pt x="76" y="911"/>
                    <a:pt x="76" y="973"/>
                  </a:cubicBezTo>
                  <a:close/>
                  <a:moveTo>
                    <a:pt x="552" y="447"/>
                  </a:moveTo>
                  <a:cubicBezTo>
                    <a:pt x="489" y="447"/>
                    <a:pt x="438" y="498"/>
                    <a:pt x="438" y="561"/>
                  </a:cubicBezTo>
                  <a:cubicBezTo>
                    <a:pt x="438" y="623"/>
                    <a:pt x="489" y="674"/>
                    <a:pt x="552" y="674"/>
                  </a:cubicBezTo>
                  <a:cubicBezTo>
                    <a:pt x="616" y="674"/>
                    <a:pt x="667" y="623"/>
                    <a:pt x="667" y="561"/>
                  </a:cubicBezTo>
                  <a:cubicBezTo>
                    <a:pt x="667" y="498"/>
                    <a:pt x="616" y="447"/>
                    <a:pt x="552" y="447"/>
                  </a:cubicBezTo>
                  <a:close/>
                  <a:moveTo>
                    <a:pt x="914" y="73"/>
                  </a:moveTo>
                  <a:cubicBezTo>
                    <a:pt x="851" y="73"/>
                    <a:pt x="799" y="124"/>
                    <a:pt x="799" y="187"/>
                  </a:cubicBezTo>
                  <a:cubicBezTo>
                    <a:pt x="799" y="249"/>
                    <a:pt x="851" y="300"/>
                    <a:pt x="914" y="300"/>
                  </a:cubicBezTo>
                  <a:cubicBezTo>
                    <a:pt x="977" y="300"/>
                    <a:pt x="1029" y="249"/>
                    <a:pt x="1029" y="187"/>
                  </a:cubicBezTo>
                  <a:cubicBezTo>
                    <a:pt x="1029" y="124"/>
                    <a:pt x="977" y="73"/>
                    <a:pt x="914" y="73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4" name="išļîďè">
              <a:extLst>
                <a:ext uri="{FF2B5EF4-FFF2-40B4-BE49-F238E27FC236}">
                  <a16:creationId xmlns:a16="http://schemas.microsoft.com/office/drawing/2014/main" xmlns="" id="{7CFA3A28-8565-4451-9510-24AE8686F18A}"/>
                </a:ext>
              </a:extLst>
            </p:cNvPr>
            <p:cNvSpPr/>
            <p:nvPr/>
          </p:nvSpPr>
          <p:spPr bwMode="auto">
            <a:xfrm>
              <a:off x="7220185" y="3366808"/>
              <a:ext cx="388446" cy="386283"/>
            </a:xfrm>
            <a:custGeom>
              <a:avLst/>
              <a:gdLst>
                <a:gd name="connsiteX0" fmla="*/ 463604 w 528837"/>
                <a:gd name="connsiteY0" fmla="*/ 361011 h 525894"/>
                <a:gd name="connsiteX1" fmla="*/ 468167 w 528837"/>
                <a:gd name="connsiteY1" fmla="*/ 363857 h 525894"/>
                <a:gd name="connsiteX2" fmla="*/ 485277 w 528837"/>
                <a:gd name="connsiteY2" fmla="*/ 399140 h 525894"/>
                <a:gd name="connsiteX3" fmla="*/ 524061 w 528837"/>
                <a:gd name="connsiteY3" fmla="*/ 404831 h 525894"/>
                <a:gd name="connsiteX4" fmla="*/ 528624 w 528837"/>
                <a:gd name="connsiteY4" fmla="*/ 408245 h 525894"/>
                <a:gd name="connsiteX5" fmla="*/ 526913 w 528837"/>
                <a:gd name="connsiteY5" fmla="*/ 413367 h 525894"/>
                <a:gd name="connsiteX6" fmla="*/ 498966 w 528837"/>
                <a:gd name="connsiteY6" fmla="*/ 440683 h 525894"/>
                <a:gd name="connsiteX7" fmla="*/ 505810 w 528837"/>
                <a:gd name="connsiteY7" fmla="*/ 479380 h 525894"/>
                <a:gd name="connsiteX8" fmla="*/ 503528 w 528837"/>
                <a:gd name="connsiteY8" fmla="*/ 484502 h 525894"/>
                <a:gd name="connsiteX9" fmla="*/ 497825 w 528837"/>
                <a:gd name="connsiteY9" fmla="*/ 485071 h 525894"/>
                <a:gd name="connsiteX10" fmla="*/ 463604 w 528837"/>
                <a:gd name="connsiteY10" fmla="*/ 466861 h 525894"/>
                <a:gd name="connsiteX11" fmla="*/ 428813 w 528837"/>
                <a:gd name="connsiteY11" fmla="*/ 485071 h 525894"/>
                <a:gd name="connsiteX12" fmla="*/ 423109 w 528837"/>
                <a:gd name="connsiteY12" fmla="*/ 484502 h 525894"/>
                <a:gd name="connsiteX13" fmla="*/ 420828 w 528837"/>
                <a:gd name="connsiteY13" fmla="*/ 479380 h 525894"/>
                <a:gd name="connsiteX14" fmla="*/ 427672 w 528837"/>
                <a:gd name="connsiteY14" fmla="*/ 440683 h 525894"/>
                <a:gd name="connsiteX15" fmla="*/ 399725 w 528837"/>
                <a:gd name="connsiteY15" fmla="*/ 413367 h 525894"/>
                <a:gd name="connsiteX16" fmla="*/ 398014 w 528837"/>
                <a:gd name="connsiteY16" fmla="*/ 408245 h 525894"/>
                <a:gd name="connsiteX17" fmla="*/ 402576 w 528837"/>
                <a:gd name="connsiteY17" fmla="*/ 404831 h 525894"/>
                <a:gd name="connsiteX18" fmla="*/ 441360 w 528837"/>
                <a:gd name="connsiteY18" fmla="*/ 399140 h 525894"/>
                <a:gd name="connsiteX19" fmla="*/ 458471 w 528837"/>
                <a:gd name="connsiteY19" fmla="*/ 363857 h 525894"/>
                <a:gd name="connsiteX20" fmla="*/ 463604 w 528837"/>
                <a:gd name="connsiteY20" fmla="*/ 361011 h 525894"/>
                <a:gd name="connsiteX21" fmla="*/ 308013 w 528837"/>
                <a:gd name="connsiteY21" fmla="*/ 361011 h 525894"/>
                <a:gd name="connsiteX22" fmla="*/ 312576 w 528837"/>
                <a:gd name="connsiteY22" fmla="*/ 363857 h 525894"/>
                <a:gd name="connsiteX23" fmla="*/ 330260 w 528837"/>
                <a:gd name="connsiteY23" fmla="*/ 399140 h 525894"/>
                <a:gd name="connsiteX24" fmla="*/ 369051 w 528837"/>
                <a:gd name="connsiteY24" fmla="*/ 404831 h 525894"/>
                <a:gd name="connsiteX25" fmla="*/ 373044 w 528837"/>
                <a:gd name="connsiteY25" fmla="*/ 408245 h 525894"/>
                <a:gd name="connsiteX26" fmla="*/ 371903 w 528837"/>
                <a:gd name="connsiteY26" fmla="*/ 413367 h 525894"/>
                <a:gd name="connsiteX27" fmla="*/ 343951 w 528837"/>
                <a:gd name="connsiteY27" fmla="*/ 440683 h 525894"/>
                <a:gd name="connsiteX28" fmla="*/ 350226 w 528837"/>
                <a:gd name="connsiteY28" fmla="*/ 479380 h 525894"/>
                <a:gd name="connsiteX29" fmla="*/ 348515 w 528837"/>
                <a:gd name="connsiteY29" fmla="*/ 484502 h 525894"/>
                <a:gd name="connsiteX30" fmla="*/ 342810 w 528837"/>
                <a:gd name="connsiteY30" fmla="*/ 485071 h 525894"/>
                <a:gd name="connsiteX31" fmla="*/ 308013 w 528837"/>
                <a:gd name="connsiteY31" fmla="*/ 466861 h 525894"/>
                <a:gd name="connsiteX32" fmla="*/ 273215 w 528837"/>
                <a:gd name="connsiteY32" fmla="*/ 485071 h 525894"/>
                <a:gd name="connsiteX33" fmla="*/ 267511 w 528837"/>
                <a:gd name="connsiteY33" fmla="*/ 484502 h 525894"/>
                <a:gd name="connsiteX34" fmla="*/ 265800 w 528837"/>
                <a:gd name="connsiteY34" fmla="*/ 479380 h 525894"/>
                <a:gd name="connsiteX35" fmla="*/ 272075 w 528837"/>
                <a:gd name="connsiteY35" fmla="*/ 440683 h 525894"/>
                <a:gd name="connsiteX36" fmla="*/ 244123 w 528837"/>
                <a:gd name="connsiteY36" fmla="*/ 413367 h 525894"/>
                <a:gd name="connsiteX37" fmla="*/ 242982 w 528837"/>
                <a:gd name="connsiteY37" fmla="*/ 408245 h 525894"/>
                <a:gd name="connsiteX38" fmla="*/ 246975 w 528837"/>
                <a:gd name="connsiteY38" fmla="*/ 404831 h 525894"/>
                <a:gd name="connsiteX39" fmla="*/ 285765 w 528837"/>
                <a:gd name="connsiteY39" fmla="*/ 399140 h 525894"/>
                <a:gd name="connsiteX40" fmla="*/ 303449 w 528837"/>
                <a:gd name="connsiteY40" fmla="*/ 363857 h 525894"/>
                <a:gd name="connsiteX41" fmla="*/ 308013 w 528837"/>
                <a:gd name="connsiteY41" fmla="*/ 361011 h 525894"/>
                <a:gd name="connsiteX42" fmla="*/ 173924 w 528837"/>
                <a:gd name="connsiteY42" fmla="*/ 261878 h 525894"/>
                <a:gd name="connsiteX43" fmla="*/ 155106 w 528837"/>
                <a:gd name="connsiteY43" fmla="*/ 322190 h 525894"/>
                <a:gd name="connsiteX44" fmla="*/ 154536 w 528837"/>
                <a:gd name="connsiteY44" fmla="*/ 326742 h 525894"/>
                <a:gd name="connsiteX45" fmla="*/ 174494 w 528837"/>
                <a:gd name="connsiteY45" fmla="*/ 410950 h 525894"/>
                <a:gd name="connsiteX46" fmla="*/ 174494 w 528837"/>
                <a:gd name="connsiteY46" fmla="*/ 410381 h 525894"/>
                <a:gd name="connsiteX47" fmla="*/ 192742 w 528837"/>
                <a:gd name="connsiteY47" fmla="*/ 326742 h 525894"/>
                <a:gd name="connsiteX48" fmla="*/ 192742 w 528837"/>
                <a:gd name="connsiteY48" fmla="*/ 322190 h 525894"/>
                <a:gd name="connsiteX49" fmla="*/ 175065 w 528837"/>
                <a:gd name="connsiteY49" fmla="*/ 263016 h 525894"/>
                <a:gd name="connsiteX50" fmla="*/ 200155 w 528837"/>
                <a:gd name="connsiteY50" fmla="*/ 297155 h 525894"/>
                <a:gd name="connsiteX51" fmla="*/ 222965 w 528837"/>
                <a:gd name="connsiteY51" fmla="*/ 265292 h 525894"/>
                <a:gd name="connsiteX52" fmla="*/ 232089 w 528837"/>
                <a:gd name="connsiteY52" fmla="*/ 261878 h 525894"/>
                <a:gd name="connsiteX53" fmla="*/ 301658 w 528837"/>
                <a:gd name="connsiteY53" fmla="*/ 305689 h 525894"/>
                <a:gd name="connsiteX54" fmla="*/ 331881 w 528837"/>
                <a:gd name="connsiteY54" fmla="*/ 370553 h 525894"/>
                <a:gd name="connsiteX55" fmla="*/ 321047 w 528837"/>
                <a:gd name="connsiteY55" fmla="*/ 348932 h 525894"/>
                <a:gd name="connsiteX56" fmla="*/ 308501 w 528837"/>
                <a:gd name="connsiteY56" fmla="*/ 341535 h 525894"/>
                <a:gd name="connsiteX57" fmla="*/ 295956 w 528837"/>
                <a:gd name="connsiteY57" fmla="*/ 348932 h 525894"/>
                <a:gd name="connsiteX58" fmla="*/ 277138 w 528837"/>
                <a:gd name="connsiteY58" fmla="*/ 387053 h 525894"/>
                <a:gd name="connsiteX59" fmla="*/ 234940 w 528837"/>
                <a:gd name="connsiteY59" fmla="*/ 393312 h 525894"/>
                <a:gd name="connsiteX60" fmla="*/ 223535 w 528837"/>
                <a:gd name="connsiteY60" fmla="*/ 402984 h 525894"/>
                <a:gd name="connsiteX61" fmla="*/ 227527 w 528837"/>
                <a:gd name="connsiteY61" fmla="*/ 416640 h 525894"/>
                <a:gd name="connsiteX62" fmla="*/ 257750 w 528837"/>
                <a:gd name="connsiteY62" fmla="*/ 446796 h 525894"/>
                <a:gd name="connsiteX63" fmla="*/ 250907 w 528837"/>
                <a:gd name="connsiteY63" fmla="*/ 488331 h 525894"/>
                <a:gd name="connsiteX64" fmla="*/ 256039 w 528837"/>
                <a:gd name="connsiteY64" fmla="*/ 501986 h 525894"/>
                <a:gd name="connsiteX65" fmla="*/ 264593 w 528837"/>
                <a:gd name="connsiteY65" fmla="*/ 504831 h 525894"/>
                <a:gd name="connsiteX66" fmla="*/ 270865 w 528837"/>
                <a:gd name="connsiteY66" fmla="*/ 503124 h 525894"/>
                <a:gd name="connsiteX67" fmla="*/ 308501 w 528837"/>
                <a:gd name="connsiteY67" fmla="*/ 483210 h 525894"/>
                <a:gd name="connsiteX68" fmla="*/ 346137 w 528837"/>
                <a:gd name="connsiteY68" fmla="*/ 503124 h 525894"/>
                <a:gd name="connsiteX69" fmla="*/ 352410 w 528837"/>
                <a:gd name="connsiteY69" fmla="*/ 504831 h 525894"/>
                <a:gd name="connsiteX70" fmla="*/ 355261 w 528837"/>
                <a:gd name="connsiteY70" fmla="*/ 504262 h 525894"/>
                <a:gd name="connsiteX71" fmla="*/ 317055 w 528837"/>
                <a:gd name="connsiteY71" fmla="*/ 525883 h 525894"/>
                <a:gd name="connsiteX72" fmla="*/ 37636 w 528837"/>
                <a:gd name="connsiteY72" fmla="*/ 525883 h 525894"/>
                <a:gd name="connsiteX73" fmla="*/ 1141 w 528837"/>
                <a:gd name="connsiteY73" fmla="*/ 495159 h 525894"/>
                <a:gd name="connsiteX74" fmla="*/ 0 w 528837"/>
                <a:gd name="connsiteY74" fmla="*/ 495159 h 525894"/>
                <a:gd name="connsiteX75" fmla="*/ 42198 w 528837"/>
                <a:gd name="connsiteY75" fmla="*/ 328448 h 525894"/>
                <a:gd name="connsiteX76" fmla="*/ 42768 w 528837"/>
                <a:gd name="connsiteY76" fmla="*/ 329017 h 525894"/>
                <a:gd name="connsiteX77" fmla="*/ 50182 w 528837"/>
                <a:gd name="connsiteY77" fmla="*/ 313086 h 525894"/>
                <a:gd name="connsiteX78" fmla="*/ 49611 w 528837"/>
                <a:gd name="connsiteY78" fmla="*/ 313086 h 525894"/>
                <a:gd name="connsiteX79" fmla="*/ 53033 w 528837"/>
                <a:gd name="connsiteY79" fmla="*/ 306827 h 525894"/>
                <a:gd name="connsiteX80" fmla="*/ 54173 w 528837"/>
                <a:gd name="connsiteY80" fmla="*/ 305689 h 525894"/>
                <a:gd name="connsiteX81" fmla="*/ 55884 w 528837"/>
                <a:gd name="connsiteY81" fmla="*/ 303414 h 525894"/>
                <a:gd name="connsiteX82" fmla="*/ 115189 w 528837"/>
                <a:gd name="connsiteY82" fmla="*/ 264154 h 525894"/>
                <a:gd name="connsiteX83" fmla="*/ 124883 w 528837"/>
                <a:gd name="connsiteY83" fmla="*/ 267568 h 525894"/>
                <a:gd name="connsiteX84" fmla="*/ 147693 w 528837"/>
                <a:gd name="connsiteY84" fmla="*/ 298293 h 525894"/>
                <a:gd name="connsiteX85" fmla="*/ 173924 w 528837"/>
                <a:gd name="connsiteY85" fmla="*/ 261878 h 525894"/>
                <a:gd name="connsiteX86" fmla="*/ 381420 w 528837"/>
                <a:gd name="connsiteY86" fmla="*/ 227618 h 525894"/>
                <a:gd name="connsiteX87" fmla="*/ 385983 w 528837"/>
                <a:gd name="connsiteY87" fmla="*/ 231032 h 525894"/>
                <a:gd name="connsiteX88" fmla="*/ 403667 w 528837"/>
                <a:gd name="connsiteY88" fmla="*/ 265740 h 525894"/>
                <a:gd name="connsiteX89" fmla="*/ 442458 w 528837"/>
                <a:gd name="connsiteY89" fmla="*/ 271430 h 525894"/>
                <a:gd name="connsiteX90" fmla="*/ 446451 w 528837"/>
                <a:gd name="connsiteY90" fmla="*/ 274844 h 525894"/>
                <a:gd name="connsiteX91" fmla="*/ 445310 w 528837"/>
                <a:gd name="connsiteY91" fmla="*/ 280534 h 525894"/>
                <a:gd name="connsiteX92" fmla="*/ 417358 w 528837"/>
                <a:gd name="connsiteY92" fmla="*/ 307845 h 525894"/>
                <a:gd name="connsiteX93" fmla="*/ 423633 w 528837"/>
                <a:gd name="connsiteY93" fmla="*/ 345966 h 525894"/>
                <a:gd name="connsiteX94" fmla="*/ 421922 w 528837"/>
                <a:gd name="connsiteY94" fmla="*/ 351087 h 525894"/>
                <a:gd name="connsiteX95" fmla="*/ 416217 w 528837"/>
                <a:gd name="connsiteY95" fmla="*/ 351656 h 525894"/>
                <a:gd name="connsiteX96" fmla="*/ 381420 w 528837"/>
                <a:gd name="connsiteY96" fmla="*/ 333449 h 525894"/>
                <a:gd name="connsiteX97" fmla="*/ 346622 w 528837"/>
                <a:gd name="connsiteY97" fmla="*/ 351656 h 525894"/>
                <a:gd name="connsiteX98" fmla="*/ 341488 w 528837"/>
                <a:gd name="connsiteY98" fmla="*/ 351087 h 525894"/>
                <a:gd name="connsiteX99" fmla="*/ 339207 w 528837"/>
                <a:gd name="connsiteY99" fmla="*/ 345966 h 525894"/>
                <a:gd name="connsiteX100" fmla="*/ 345482 w 528837"/>
                <a:gd name="connsiteY100" fmla="*/ 307845 h 525894"/>
                <a:gd name="connsiteX101" fmla="*/ 317530 w 528837"/>
                <a:gd name="connsiteY101" fmla="*/ 280534 h 525894"/>
                <a:gd name="connsiteX102" fmla="*/ 316389 w 528837"/>
                <a:gd name="connsiteY102" fmla="*/ 274844 h 525894"/>
                <a:gd name="connsiteX103" fmla="*/ 320382 w 528837"/>
                <a:gd name="connsiteY103" fmla="*/ 271430 h 525894"/>
                <a:gd name="connsiteX104" fmla="*/ 359172 w 528837"/>
                <a:gd name="connsiteY104" fmla="*/ 265740 h 525894"/>
                <a:gd name="connsiteX105" fmla="*/ 376856 w 528837"/>
                <a:gd name="connsiteY105" fmla="*/ 230463 h 525894"/>
                <a:gd name="connsiteX106" fmla="*/ 381420 w 528837"/>
                <a:gd name="connsiteY106" fmla="*/ 227618 h 525894"/>
                <a:gd name="connsiteX107" fmla="*/ 173112 w 528837"/>
                <a:gd name="connsiteY107" fmla="*/ 0 h 525894"/>
                <a:gd name="connsiteX108" fmla="*/ 295550 w 528837"/>
                <a:gd name="connsiteY108" fmla="*/ 121753 h 525894"/>
                <a:gd name="connsiteX109" fmla="*/ 173112 w 528837"/>
                <a:gd name="connsiteY109" fmla="*/ 243506 h 525894"/>
                <a:gd name="connsiteX110" fmla="*/ 50674 w 528837"/>
                <a:gd name="connsiteY110" fmla="*/ 121753 h 525894"/>
                <a:gd name="connsiteX111" fmla="*/ 173112 w 528837"/>
                <a:gd name="connsiteY111" fmla="*/ 0 h 525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528837" h="525894">
                  <a:moveTo>
                    <a:pt x="463604" y="361011"/>
                  </a:moveTo>
                  <a:cubicBezTo>
                    <a:pt x="465315" y="361011"/>
                    <a:pt x="467026" y="362149"/>
                    <a:pt x="468167" y="363857"/>
                  </a:cubicBezTo>
                  <a:cubicBezTo>
                    <a:pt x="485277" y="399140"/>
                    <a:pt x="485277" y="399140"/>
                    <a:pt x="485277" y="399140"/>
                  </a:cubicBezTo>
                  <a:cubicBezTo>
                    <a:pt x="524061" y="404831"/>
                    <a:pt x="524061" y="404831"/>
                    <a:pt x="524061" y="404831"/>
                  </a:cubicBezTo>
                  <a:cubicBezTo>
                    <a:pt x="526342" y="404831"/>
                    <a:pt x="528054" y="405969"/>
                    <a:pt x="528624" y="408245"/>
                  </a:cubicBezTo>
                  <a:cubicBezTo>
                    <a:pt x="529194" y="409952"/>
                    <a:pt x="528624" y="412229"/>
                    <a:pt x="526913" y="413367"/>
                  </a:cubicBezTo>
                  <a:cubicBezTo>
                    <a:pt x="498966" y="440683"/>
                    <a:pt x="498966" y="440683"/>
                    <a:pt x="498966" y="440683"/>
                  </a:cubicBezTo>
                  <a:cubicBezTo>
                    <a:pt x="505810" y="479380"/>
                    <a:pt x="505810" y="479380"/>
                    <a:pt x="505810" y="479380"/>
                  </a:cubicBezTo>
                  <a:cubicBezTo>
                    <a:pt x="505810" y="481088"/>
                    <a:pt x="505240" y="483364"/>
                    <a:pt x="503528" y="484502"/>
                  </a:cubicBezTo>
                  <a:cubicBezTo>
                    <a:pt x="501817" y="485640"/>
                    <a:pt x="500106" y="485640"/>
                    <a:pt x="497825" y="485071"/>
                  </a:cubicBezTo>
                  <a:cubicBezTo>
                    <a:pt x="463604" y="466861"/>
                    <a:pt x="463604" y="466861"/>
                    <a:pt x="463604" y="466861"/>
                  </a:cubicBezTo>
                  <a:cubicBezTo>
                    <a:pt x="428813" y="485071"/>
                    <a:pt x="428813" y="485071"/>
                    <a:pt x="428813" y="485071"/>
                  </a:cubicBezTo>
                  <a:cubicBezTo>
                    <a:pt x="427101" y="485640"/>
                    <a:pt x="424820" y="485640"/>
                    <a:pt x="423109" y="484502"/>
                  </a:cubicBezTo>
                  <a:cubicBezTo>
                    <a:pt x="421398" y="483364"/>
                    <a:pt x="420828" y="481088"/>
                    <a:pt x="420828" y="479380"/>
                  </a:cubicBezTo>
                  <a:cubicBezTo>
                    <a:pt x="427672" y="440683"/>
                    <a:pt x="427672" y="440683"/>
                    <a:pt x="427672" y="440683"/>
                  </a:cubicBezTo>
                  <a:cubicBezTo>
                    <a:pt x="399725" y="413367"/>
                    <a:pt x="399725" y="413367"/>
                    <a:pt x="399725" y="413367"/>
                  </a:cubicBezTo>
                  <a:cubicBezTo>
                    <a:pt x="398014" y="412229"/>
                    <a:pt x="397443" y="409952"/>
                    <a:pt x="398014" y="408245"/>
                  </a:cubicBezTo>
                  <a:cubicBezTo>
                    <a:pt x="398584" y="405969"/>
                    <a:pt x="400295" y="404831"/>
                    <a:pt x="402576" y="404831"/>
                  </a:cubicBezTo>
                  <a:cubicBezTo>
                    <a:pt x="441360" y="399140"/>
                    <a:pt x="441360" y="399140"/>
                    <a:pt x="441360" y="399140"/>
                  </a:cubicBezTo>
                  <a:cubicBezTo>
                    <a:pt x="458471" y="363857"/>
                    <a:pt x="458471" y="363857"/>
                    <a:pt x="458471" y="363857"/>
                  </a:cubicBezTo>
                  <a:cubicBezTo>
                    <a:pt x="459611" y="362149"/>
                    <a:pt x="461323" y="361011"/>
                    <a:pt x="463604" y="361011"/>
                  </a:cubicBezTo>
                  <a:close/>
                  <a:moveTo>
                    <a:pt x="308013" y="361011"/>
                  </a:moveTo>
                  <a:cubicBezTo>
                    <a:pt x="310295" y="361011"/>
                    <a:pt x="312006" y="362149"/>
                    <a:pt x="312576" y="363857"/>
                  </a:cubicBezTo>
                  <a:cubicBezTo>
                    <a:pt x="330260" y="399140"/>
                    <a:pt x="330260" y="399140"/>
                    <a:pt x="330260" y="399140"/>
                  </a:cubicBezTo>
                  <a:cubicBezTo>
                    <a:pt x="369051" y="404831"/>
                    <a:pt x="369051" y="404831"/>
                    <a:pt x="369051" y="404831"/>
                  </a:cubicBezTo>
                  <a:cubicBezTo>
                    <a:pt x="370762" y="404831"/>
                    <a:pt x="372473" y="406538"/>
                    <a:pt x="373044" y="408245"/>
                  </a:cubicBezTo>
                  <a:cubicBezTo>
                    <a:pt x="373614" y="409952"/>
                    <a:pt x="373044" y="412229"/>
                    <a:pt x="371903" y="413367"/>
                  </a:cubicBezTo>
                  <a:cubicBezTo>
                    <a:pt x="343951" y="440683"/>
                    <a:pt x="343951" y="440683"/>
                    <a:pt x="343951" y="440683"/>
                  </a:cubicBezTo>
                  <a:cubicBezTo>
                    <a:pt x="350226" y="479380"/>
                    <a:pt x="350226" y="479380"/>
                    <a:pt x="350226" y="479380"/>
                  </a:cubicBezTo>
                  <a:cubicBezTo>
                    <a:pt x="350796" y="481088"/>
                    <a:pt x="349655" y="483364"/>
                    <a:pt x="348515" y="484502"/>
                  </a:cubicBezTo>
                  <a:cubicBezTo>
                    <a:pt x="346803" y="485640"/>
                    <a:pt x="344521" y="485640"/>
                    <a:pt x="342810" y="485071"/>
                  </a:cubicBezTo>
                  <a:cubicBezTo>
                    <a:pt x="308013" y="466861"/>
                    <a:pt x="308013" y="466861"/>
                    <a:pt x="308013" y="466861"/>
                  </a:cubicBezTo>
                  <a:cubicBezTo>
                    <a:pt x="273215" y="485071"/>
                    <a:pt x="273215" y="485071"/>
                    <a:pt x="273215" y="485071"/>
                  </a:cubicBezTo>
                  <a:cubicBezTo>
                    <a:pt x="271504" y="485640"/>
                    <a:pt x="269222" y="485640"/>
                    <a:pt x="267511" y="484502"/>
                  </a:cubicBezTo>
                  <a:cubicBezTo>
                    <a:pt x="266370" y="483364"/>
                    <a:pt x="265229" y="481657"/>
                    <a:pt x="265800" y="479380"/>
                  </a:cubicBezTo>
                  <a:cubicBezTo>
                    <a:pt x="272075" y="440683"/>
                    <a:pt x="272075" y="440683"/>
                    <a:pt x="272075" y="440683"/>
                  </a:cubicBezTo>
                  <a:cubicBezTo>
                    <a:pt x="244123" y="413367"/>
                    <a:pt x="244123" y="413367"/>
                    <a:pt x="244123" y="413367"/>
                  </a:cubicBezTo>
                  <a:cubicBezTo>
                    <a:pt x="242982" y="412229"/>
                    <a:pt x="242411" y="409952"/>
                    <a:pt x="242982" y="408245"/>
                  </a:cubicBezTo>
                  <a:cubicBezTo>
                    <a:pt x="243552" y="406538"/>
                    <a:pt x="245263" y="404831"/>
                    <a:pt x="246975" y="404831"/>
                  </a:cubicBezTo>
                  <a:cubicBezTo>
                    <a:pt x="285765" y="399140"/>
                    <a:pt x="285765" y="399140"/>
                    <a:pt x="285765" y="399140"/>
                  </a:cubicBezTo>
                  <a:cubicBezTo>
                    <a:pt x="303449" y="363857"/>
                    <a:pt x="303449" y="363857"/>
                    <a:pt x="303449" y="363857"/>
                  </a:cubicBezTo>
                  <a:cubicBezTo>
                    <a:pt x="304020" y="362149"/>
                    <a:pt x="306301" y="361011"/>
                    <a:pt x="308013" y="361011"/>
                  </a:cubicBezTo>
                  <a:close/>
                  <a:moveTo>
                    <a:pt x="173924" y="261878"/>
                  </a:moveTo>
                  <a:cubicBezTo>
                    <a:pt x="173924" y="261878"/>
                    <a:pt x="173924" y="261878"/>
                    <a:pt x="155106" y="322190"/>
                  </a:cubicBezTo>
                  <a:cubicBezTo>
                    <a:pt x="154536" y="323328"/>
                    <a:pt x="154536" y="325035"/>
                    <a:pt x="154536" y="326742"/>
                  </a:cubicBezTo>
                  <a:cubicBezTo>
                    <a:pt x="154536" y="326742"/>
                    <a:pt x="154536" y="326742"/>
                    <a:pt x="174494" y="410950"/>
                  </a:cubicBezTo>
                  <a:lnTo>
                    <a:pt x="174494" y="410381"/>
                  </a:lnTo>
                  <a:cubicBezTo>
                    <a:pt x="174494" y="410381"/>
                    <a:pt x="174494" y="410381"/>
                    <a:pt x="192742" y="326742"/>
                  </a:cubicBezTo>
                  <a:cubicBezTo>
                    <a:pt x="192742" y="325035"/>
                    <a:pt x="192742" y="323897"/>
                    <a:pt x="192742" y="322190"/>
                  </a:cubicBezTo>
                  <a:cubicBezTo>
                    <a:pt x="192742" y="322190"/>
                    <a:pt x="192742" y="322190"/>
                    <a:pt x="175065" y="263016"/>
                  </a:cubicBezTo>
                  <a:cubicBezTo>
                    <a:pt x="175065" y="263016"/>
                    <a:pt x="175065" y="263016"/>
                    <a:pt x="200155" y="297155"/>
                  </a:cubicBezTo>
                  <a:cubicBezTo>
                    <a:pt x="200155" y="297155"/>
                    <a:pt x="200155" y="297155"/>
                    <a:pt x="222965" y="265292"/>
                  </a:cubicBezTo>
                  <a:cubicBezTo>
                    <a:pt x="225246" y="262447"/>
                    <a:pt x="228667" y="261309"/>
                    <a:pt x="232089" y="261878"/>
                  </a:cubicBezTo>
                  <a:cubicBezTo>
                    <a:pt x="254899" y="265292"/>
                    <a:pt x="283981" y="276103"/>
                    <a:pt x="301658" y="305689"/>
                  </a:cubicBezTo>
                  <a:cubicBezTo>
                    <a:pt x="313634" y="320483"/>
                    <a:pt x="323328" y="344949"/>
                    <a:pt x="331881" y="370553"/>
                  </a:cubicBezTo>
                  <a:cubicBezTo>
                    <a:pt x="331881" y="370553"/>
                    <a:pt x="331881" y="370553"/>
                    <a:pt x="321047" y="348932"/>
                  </a:cubicBezTo>
                  <a:cubicBezTo>
                    <a:pt x="318766" y="344380"/>
                    <a:pt x="313634" y="341535"/>
                    <a:pt x="308501" y="341535"/>
                  </a:cubicBezTo>
                  <a:cubicBezTo>
                    <a:pt x="303369" y="341535"/>
                    <a:pt x="298237" y="344380"/>
                    <a:pt x="295956" y="348932"/>
                  </a:cubicBezTo>
                  <a:cubicBezTo>
                    <a:pt x="295956" y="348932"/>
                    <a:pt x="295956" y="348932"/>
                    <a:pt x="277138" y="387053"/>
                  </a:cubicBezTo>
                  <a:cubicBezTo>
                    <a:pt x="277138" y="387053"/>
                    <a:pt x="277138" y="387053"/>
                    <a:pt x="234940" y="393312"/>
                  </a:cubicBezTo>
                  <a:cubicBezTo>
                    <a:pt x="229808" y="393881"/>
                    <a:pt x="225246" y="397864"/>
                    <a:pt x="223535" y="402984"/>
                  </a:cubicBezTo>
                  <a:cubicBezTo>
                    <a:pt x="222395" y="407536"/>
                    <a:pt x="223535" y="413226"/>
                    <a:pt x="227527" y="416640"/>
                  </a:cubicBezTo>
                  <a:cubicBezTo>
                    <a:pt x="227527" y="416640"/>
                    <a:pt x="227527" y="416640"/>
                    <a:pt x="257750" y="446796"/>
                  </a:cubicBezTo>
                  <a:cubicBezTo>
                    <a:pt x="257750" y="446796"/>
                    <a:pt x="257750" y="446796"/>
                    <a:pt x="250907" y="488331"/>
                  </a:cubicBezTo>
                  <a:cubicBezTo>
                    <a:pt x="249766" y="493452"/>
                    <a:pt x="252047" y="499141"/>
                    <a:pt x="256039" y="501986"/>
                  </a:cubicBezTo>
                  <a:cubicBezTo>
                    <a:pt x="258320" y="503693"/>
                    <a:pt x="261171" y="504831"/>
                    <a:pt x="264593" y="504831"/>
                  </a:cubicBezTo>
                  <a:cubicBezTo>
                    <a:pt x="266874" y="504831"/>
                    <a:pt x="268584" y="504262"/>
                    <a:pt x="270865" y="503124"/>
                  </a:cubicBezTo>
                  <a:cubicBezTo>
                    <a:pt x="270865" y="503124"/>
                    <a:pt x="270865" y="503124"/>
                    <a:pt x="308501" y="483210"/>
                  </a:cubicBezTo>
                  <a:cubicBezTo>
                    <a:pt x="308501" y="483210"/>
                    <a:pt x="308501" y="483210"/>
                    <a:pt x="346137" y="503124"/>
                  </a:cubicBezTo>
                  <a:cubicBezTo>
                    <a:pt x="348418" y="504262"/>
                    <a:pt x="350129" y="504831"/>
                    <a:pt x="352410" y="504831"/>
                  </a:cubicBezTo>
                  <a:cubicBezTo>
                    <a:pt x="353551" y="504831"/>
                    <a:pt x="354691" y="504831"/>
                    <a:pt x="355261" y="504262"/>
                  </a:cubicBezTo>
                  <a:cubicBezTo>
                    <a:pt x="346137" y="526452"/>
                    <a:pt x="317055" y="525883"/>
                    <a:pt x="317055" y="525883"/>
                  </a:cubicBezTo>
                  <a:cubicBezTo>
                    <a:pt x="317055" y="525883"/>
                    <a:pt x="317055" y="525883"/>
                    <a:pt x="37636" y="525883"/>
                  </a:cubicBezTo>
                  <a:cubicBezTo>
                    <a:pt x="5132" y="526452"/>
                    <a:pt x="1141" y="505400"/>
                    <a:pt x="1141" y="495159"/>
                  </a:cubicBezTo>
                  <a:cubicBezTo>
                    <a:pt x="1141" y="495159"/>
                    <a:pt x="1141" y="495159"/>
                    <a:pt x="0" y="495159"/>
                  </a:cubicBezTo>
                  <a:cubicBezTo>
                    <a:pt x="0" y="485486"/>
                    <a:pt x="19959" y="380794"/>
                    <a:pt x="42198" y="328448"/>
                  </a:cubicBezTo>
                  <a:cubicBezTo>
                    <a:pt x="42198" y="328448"/>
                    <a:pt x="42768" y="328448"/>
                    <a:pt x="42768" y="329017"/>
                  </a:cubicBezTo>
                  <a:cubicBezTo>
                    <a:pt x="45049" y="323328"/>
                    <a:pt x="47901" y="317638"/>
                    <a:pt x="50182" y="313086"/>
                  </a:cubicBezTo>
                  <a:cubicBezTo>
                    <a:pt x="50182" y="313086"/>
                    <a:pt x="49611" y="313086"/>
                    <a:pt x="49611" y="313086"/>
                  </a:cubicBezTo>
                  <a:cubicBezTo>
                    <a:pt x="50752" y="310810"/>
                    <a:pt x="51892" y="309103"/>
                    <a:pt x="53033" y="306827"/>
                  </a:cubicBezTo>
                  <a:cubicBezTo>
                    <a:pt x="53603" y="306827"/>
                    <a:pt x="54173" y="306258"/>
                    <a:pt x="54173" y="305689"/>
                  </a:cubicBezTo>
                  <a:cubicBezTo>
                    <a:pt x="54744" y="305120"/>
                    <a:pt x="55314" y="304551"/>
                    <a:pt x="55884" y="303414"/>
                  </a:cubicBezTo>
                  <a:cubicBezTo>
                    <a:pt x="72991" y="279516"/>
                    <a:pt x="96941" y="268706"/>
                    <a:pt x="115189" y="264154"/>
                  </a:cubicBezTo>
                  <a:cubicBezTo>
                    <a:pt x="118611" y="263016"/>
                    <a:pt x="122602" y="264723"/>
                    <a:pt x="124883" y="267568"/>
                  </a:cubicBezTo>
                  <a:cubicBezTo>
                    <a:pt x="124883" y="267568"/>
                    <a:pt x="124883" y="267568"/>
                    <a:pt x="147693" y="298293"/>
                  </a:cubicBezTo>
                  <a:cubicBezTo>
                    <a:pt x="147693" y="298293"/>
                    <a:pt x="147693" y="298293"/>
                    <a:pt x="173924" y="261878"/>
                  </a:cubicBezTo>
                  <a:close/>
                  <a:moveTo>
                    <a:pt x="381420" y="227618"/>
                  </a:moveTo>
                  <a:cubicBezTo>
                    <a:pt x="383702" y="227618"/>
                    <a:pt x="385413" y="228756"/>
                    <a:pt x="385983" y="231032"/>
                  </a:cubicBezTo>
                  <a:cubicBezTo>
                    <a:pt x="403667" y="265740"/>
                    <a:pt x="403667" y="265740"/>
                    <a:pt x="403667" y="265740"/>
                  </a:cubicBezTo>
                  <a:cubicBezTo>
                    <a:pt x="442458" y="271430"/>
                    <a:pt x="442458" y="271430"/>
                    <a:pt x="442458" y="271430"/>
                  </a:cubicBezTo>
                  <a:cubicBezTo>
                    <a:pt x="444169" y="271430"/>
                    <a:pt x="445880" y="273137"/>
                    <a:pt x="446451" y="274844"/>
                  </a:cubicBezTo>
                  <a:cubicBezTo>
                    <a:pt x="447021" y="277120"/>
                    <a:pt x="446451" y="278827"/>
                    <a:pt x="445310" y="280534"/>
                  </a:cubicBezTo>
                  <a:cubicBezTo>
                    <a:pt x="417358" y="307845"/>
                    <a:pt x="417358" y="307845"/>
                    <a:pt x="417358" y="307845"/>
                  </a:cubicBezTo>
                  <a:cubicBezTo>
                    <a:pt x="423633" y="345966"/>
                    <a:pt x="423633" y="345966"/>
                    <a:pt x="423633" y="345966"/>
                  </a:cubicBezTo>
                  <a:cubicBezTo>
                    <a:pt x="424203" y="348242"/>
                    <a:pt x="423062" y="349949"/>
                    <a:pt x="421922" y="351087"/>
                  </a:cubicBezTo>
                  <a:cubicBezTo>
                    <a:pt x="420210" y="352794"/>
                    <a:pt x="417928" y="352794"/>
                    <a:pt x="416217" y="351656"/>
                  </a:cubicBezTo>
                  <a:cubicBezTo>
                    <a:pt x="381420" y="333449"/>
                    <a:pt x="381420" y="333449"/>
                    <a:pt x="381420" y="333449"/>
                  </a:cubicBezTo>
                  <a:cubicBezTo>
                    <a:pt x="346622" y="351656"/>
                    <a:pt x="346622" y="351656"/>
                    <a:pt x="346622" y="351656"/>
                  </a:cubicBezTo>
                  <a:cubicBezTo>
                    <a:pt x="344911" y="352794"/>
                    <a:pt x="342629" y="352794"/>
                    <a:pt x="341488" y="351087"/>
                  </a:cubicBezTo>
                  <a:cubicBezTo>
                    <a:pt x="339777" y="349949"/>
                    <a:pt x="338636" y="348242"/>
                    <a:pt x="339207" y="345966"/>
                  </a:cubicBezTo>
                  <a:cubicBezTo>
                    <a:pt x="345482" y="307845"/>
                    <a:pt x="345482" y="307845"/>
                    <a:pt x="345482" y="307845"/>
                  </a:cubicBezTo>
                  <a:cubicBezTo>
                    <a:pt x="317530" y="280534"/>
                    <a:pt x="317530" y="280534"/>
                    <a:pt x="317530" y="280534"/>
                  </a:cubicBezTo>
                  <a:cubicBezTo>
                    <a:pt x="316389" y="278827"/>
                    <a:pt x="315818" y="277120"/>
                    <a:pt x="316389" y="274844"/>
                  </a:cubicBezTo>
                  <a:cubicBezTo>
                    <a:pt x="316959" y="273137"/>
                    <a:pt x="318670" y="271430"/>
                    <a:pt x="320382" y="271430"/>
                  </a:cubicBezTo>
                  <a:cubicBezTo>
                    <a:pt x="359172" y="265740"/>
                    <a:pt x="359172" y="265740"/>
                    <a:pt x="359172" y="265740"/>
                  </a:cubicBezTo>
                  <a:cubicBezTo>
                    <a:pt x="376856" y="230463"/>
                    <a:pt x="376856" y="230463"/>
                    <a:pt x="376856" y="230463"/>
                  </a:cubicBezTo>
                  <a:cubicBezTo>
                    <a:pt x="377427" y="228756"/>
                    <a:pt x="379708" y="227618"/>
                    <a:pt x="381420" y="227618"/>
                  </a:cubicBezTo>
                  <a:close/>
                  <a:moveTo>
                    <a:pt x="173112" y="0"/>
                  </a:moveTo>
                  <a:cubicBezTo>
                    <a:pt x="240733" y="0"/>
                    <a:pt x="295550" y="54511"/>
                    <a:pt x="295550" y="121753"/>
                  </a:cubicBezTo>
                  <a:cubicBezTo>
                    <a:pt x="295550" y="188995"/>
                    <a:pt x="240733" y="243506"/>
                    <a:pt x="173112" y="243506"/>
                  </a:cubicBezTo>
                  <a:cubicBezTo>
                    <a:pt x="105491" y="243506"/>
                    <a:pt x="50674" y="188995"/>
                    <a:pt x="50674" y="121753"/>
                  </a:cubicBezTo>
                  <a:cubicBezTo>
                    <a:pt x="50674" y="54511"/>
                    <a:pt x="105491" y="0"/>
                    <a:pt x="173112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5" name="íṧḻîďê">
              <a:extLst>
                <a:ext uri="{FF2B5EF4-FFF2-40B4-BE49-F238E27FC236}">
                  <a16:creationId xmlns:a16="http://schemas.microsoft.com/office/drawing/2014/main" xmlns="" id="{853AEAB2-CE58-4038-9F85-765FA6D3FBBA}"/>
                </a:ext>
              </a:extLst>
            </p:cNvPr>
            <p:cNvSpPr/>
            <p:nvPr/>
          </p:nvSpPr>
          <p:spPr bwMode="auto">
            <a:xfrm>
              <a:off x="4577390" y="3516946"/>
              <a:ext cx="400405" cy="400405"/>
            </a:xfrm>
            <a:custGeom>
              <a:avLst/>
              <a:gdLst>
                <a:gd name="T0" fmla="*/ 1083 w 1083"/>
                <a:gd name="T1" fmla="*/ 542 h 1084"/>
                <a:gd name="T2" fmla="*/ 158 w 1083"/>
                <a:gd name="T3" fmla="*/ 926 h 1084"/>
                <a:gd name="T4" fmla="*/ 542 w 1083"/>
                <a:gd name="T5" fmla="*/ 0 h 1084"/>
                <a:gd name="T6" fmla="*/ 517 w 1083"/>
                <a:gd name="T7" fmla="*/ 1000 h 1084"/>
                <a:gd name="T8" fmla="*/ 357 w 1083"/>
                <a:gd name="T9" fmla="*/ 861 h 1084"/>
                <a:gd name="T10" fmla="*/ 517 w 1083"/>
                <a:gd name="T11" fmla="*/ 1000 h 1084"/>
                <a:gd name="T12" fmla="*/ 866 w 1083"/>
                <a:gd name="T13" fmla="*/ 218 h 1084"/>
                <a:gd name="T14" fmla="*/ 842 w 1083"/>
                <a:gd name="T15" fmla="*/ 517 h 1084"/>
                <a:gd name="T16" fmla="*/ 866 w 1083"/>
                <a:gd name="T17" fmla="*/ 218 h 1084"/>
                <a:gd name="T18" fmla="*/ 722 w 1083"/>
                <a:gd name="T19" fmla="*/ 120 h 1084"/>
                <a:gd name="T20" fmla="*/ 815 w 1083"/>
                <a:gd name="T21" fmla="*/ 174 h 1084"/>
                <a:gd name="T22" fmla="*/ 617 w 1083"/>
                <a:gd name="T23" fmla="*/ 90 h 1084"/>
                <a:gd name="T24" fmla="*/ 707 w 1083"/>
                <a:gd name="T25" fmla="*/ 231 h 1084"/>
                <a:gd name="T26" fmla="*/ 617 w 1083"/>
                <a:gd name="T27" fmla="*/ 90 h 1084"/>
                <a:gd name="T28" fmla="*/ 517 w 1083"/>
                <a:gd name="T29" fmla="*/ 84 h 1084"/>
                <a:gd name="T30" fmla="*/ 357 w 1083"/>
                <a:gd name="T31" fmla="*/ 224 h 1084"/>
                <a:gd name="T32" fmla="*/ 517 w 1083"/>
                <a:gd name="T33" fmla="*/ 84 h 1084"/>
                <a:gd name="T34" fmla="*/ 362 w 1083"/>
                <a:gd name="T35" fmla="*/ 120 h 1084"/>
                <a:gd name="T36" fmla="*/ 325 w 1083"/>
                <a:gd name="T37" fmla="*/ 177 h 1084"/>
                <a:gd name="T38" fmla="*/ 229 w 1083"/>
                <a:gd name="T39" fmla="*/ 207 h 1084"/>
                <a:gd name="T40" fmla="*/ 84 w 1083"/>
                <a:gd name="T41" fmla="*/ 517 h 1084"/>
                <a:gd name="T42" fmla="*/ 229 w 1083"/>
                <a:gd name="T43" fmla="*/ 207 h 1084"/>
                <a:gd name="T44" fmla="*/ 84 w 1083"/>
                <a:gd name="T45" fmla="*/ 567 h 1084"/>
                <a:gd name="T46" fmla="*/ 292 w 1083"/>
                <a:gd name="T47" fmla="*/ 837 h 1084"/>
                <a:gd name="T48" fmla="*/ 84 w 1083"/>
                <a:gd name="T49" fmla="*/ 567 h 1084"/>
                <a:gd name="T50" fmla="*/ 362 w 1083"/>
                <a:gd name="T51" fmla="*/ 964 h 1084"/>
                <a:gd name="T52" fmla="*/ 268 w 1083"/>
                <a:gd name="T53" fmla="*/ 911 h 1084"/>
                <a:gd name="T54" fmla="*/ 567 w 1083"/>
                <a:gd name="T55" fmla="*/ 1000 h 1084"/>
                <a:gd name="T56" fmla="*/ 726 w 1083"/>
                <a:gd name="T57" fmla="*/ 861 h 1084"/>
                <a:gd name="T58" fmla="*/ 566 w 1083"/>
                <a:gd name="T59" fmla="*/ 1000 h 1084"/>
                <a:gd name="T60" fmla="*/ 722 w 1083"/>
                <a:gd name="T61" fmla="*/ 964 h 1084"/>
                <a:gd name="T62" fmla="*/ 758 w 1083"/>
                <a:gd name="T63" fmla="*/ 908 h 1084"/>
                <a:gd name="T64" fmla="*/ 855 w 1083"/>
                <a:gd name="T65" fmla="*/ 878 h 1084"/>
                <a:gd name="T66" fmla="*/ 1000 w 1083"/>
                <a:gd name="T67" fmla="*/ 567 h 1084"/>
                <a:gd name="T68" fmla="*/ 855 w 1083"/>
                <a:gd name="T69" fmla="*/ 878 h 1084"/>
                <a:gd name="T70" fmla="*/ 746 w 1083"/>
                <a:gd name="T71" fmla="*/ 269 h 1084"/>
                <a:gd name="T72" fmla="*/ 567 w 1083"/>
                <a:gd name="T73" fmla="*/ 517 h 1084"/>
                <a:gd name="T74" fmla="*/ 746 w 1083"/>
                <a:gd name="T75" fmla="*/ 269 h 1084"/>
                <a:gd name="T76" fmla="*/ 358 w 1083"/>
                <a:gd name="T77" fmla="*/ 278 h 1084"/>
                <a:gd name="T78" fmla="*/ 517 w 1083"/>
                <a:gd name="T79" fmla="*/ 517 h 1084"/>
                <a:gd name="T80" fmla="*/ 517 w 1083"/>
                <a:gd name="T81" fmla="*/ 775 h 1084"/>
                <a:gd name="T82" fmla="*/ 292 w 1083"/>
                <a:gd name="T83" fmla="*/ 567 h 1084"/>
                <a:gd name="T84" fmla="*/ 517 w 1083"/>
                <a:gd name="T85" fmla="*/ 775 h 1084"/>
                <a:gd name="T86" fmla="*/ 567 w 1083"/>
                <a:gd name="T87" fmla="*/ 775 h 1084"/>
                <a:gd name="T88" fmla="*/ 792 w 1083"/>
                <a:gd name="T89" fmla="*/ 567 h 1084"/>
                <a:gd name="T90" fmla="*/ 567 w 1083"/>
                <a:gd name="T91" fmla="*/ 775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83" h="1084">
                  <a:moveTo>
                    <a:pt x="542" y="0"/>
                  </a:moveTo>
                  <a:cubicBezTo>
                    <a:pt x="691" y="0"/>
                    <a:pt x="827" y="61"/>
                    <a:pt x="925" y="159"/>
                  </a:cubicBezTo>
                  <a:cubicBezTo>
                    <a:pt x="1023" y="258"/>
                    <a:pt x="1083" y="393"/>
                    <a:pt x="1083" y="542"/>
                  </a:cubicBezTo>
                  <a:cubicBezTo>
                    <a:pt x="1083" y="692"/>
                    <a:pt x="1023" y="827"/>
                    <a:pt x="925" y="926"/>
                  </a:cubicBezTo>
                  <a:cubicBezTo>
                    <a:pt x="827" y="1024"/>
                    <a:pt x="691" y="1084"/>
                    <a:pt x="542" y="1084"/>
                  </a:cubicBezTo>
                  <a:cubicBezTo>
                    <a:pt x="392" y="1084"/>
                    <a:pt x="257" y="1024"/>
                    <a:pt x="158" y="926"/>
                  </a:cubicBezTo>
                  <a:cubicBezTo>
                    <a:pt x="60" y="827"/>
                    <a:pt x="0" y="692"/>
                    <a:pt x="0" y="542"/>
                  </a:cubicBezTo>
                  <a:cubicBezTo>
                    <a:pt x="0" y="393"/>
                    <a:pt x="60" y="258"/>
                    <a:pt x="158" y="159"/>
                  </a:cubicBezTo>
                  <a:cubicBezTo>
                    <a:pt x="257" y="61"/>
                    <a:pt x="392" y="0"/>
                    <a:pt x="542" y="0"/>
                  </a:cubicBezTo>
                  <a:cubicBezTo>
                    <a:pt x="542" y="0"/>
                    <a:pt x="542" y="0"/>
                    <a:pt x="542" y="0"/>
                  </a:cubicBezTo>
                  <a:close/>
                  <a:moveTo>
                    <a:pt x="517" y="1000"/>
                  </a:moveTo>
                  <a:cubicBezTo>
                    <a:pt x="517" y="1000"/>
                    <a:pt x="517" y="1000"/>
                    <a:pt x="517" y="1000"/>
                  </a:cubicBezTo>
                  <a:cubicBezTo>
                    <a:pt x="517" y="825"/>
                    <a:pt x="517" y="825"/>
                    <a:pt x="517" y="825"/>
                  </a:cubicBezTo>
                  <a:cubicBezTo>
                    <a:pt x="468" y="827"/>
                    <a:pt x="420" y="837"/>
                    <a:pt x="376" y="854"/>
                  </a:cubicBezTo>
                  <a:cubicBezTo>
                    <a:pt x="370" y="856"/>
                    <a:pt x="363" y="859"/>
                    <a:pt x="357" y="861"/>
                  </a:cubicBezTo>
                  <a:cubicBezTo>
                    <a:pt x="361" y="869"/>
                    <a:pt x="365" y="877"/>
                    <a:pt x="369" y="884"/>
                  </a:cubicBezTo>
                  <a:cubicBezTo>
                    <a:pt x="396" y="934"/>
                    <a:pt x="430" y="972"/>
                    <a:pt x="466" y="995"/>
                  </a:cubicBezTo>
                  <a:cubicBezTo>
                    <a:pt x="483" y="998"/>
                    <a:pt x="500" y="1000"/>
                    <a:pt x="517" y="1000"/>
                  </a:cubicBezTo>
                  <a:cubicBezTo>
                    <a:pt x="517" y="1000"/>
                    <a:pt x="517" y="1000"/>
                    <a:pt x="517" y="1000"/>
                  </a:cubicBezTo>
                  <a:close/>
                  <a:moveTo>
                    <a:pt x="866" y="218"/>
                  </a:moveTo>
                  <a:cubicBezTo>
                    <a:pt x="866" y="218"/>
                    <a:pt x="866" y="218"/>
                    <a:pt x="866" y="218"/>
                  </a:cubicBezTo>
                  <a:cubicBezTo>
                    <a:pt x="862" y="214"/>
                    <a:pt x="858" y="211"/>
                    <a:pt x="855" y="207"/>
                  </a:cubicBezTo>
                  <a:cubicBezTo>
                    <a:pt x="835" y="223"/>
                    <a:pt x="813" y="236"/>
                    <a:pt x="791" y="248"/>
                  </a:cubicBezTo>
                  <a:cubicBezTo>
                    <a:pt x="820" y="325"/>
                    <a:pt x="839" y="418"/>
                    <a:pt x="842" y="517"/>
                  </a:cubicBezTo>
                  <a:cubicBezTo>
                    <a:pt x="1000" y="517"/>
                    <a:pt x="1000" y="517"/>
                    <a:pt x="1000" y="517"/>
                  </a:cubicBezTo>
                  <a:cubicBezTo>
                    <a:pt x="993" y="401"/>
                    <a:pt x="943" y="296"/>
                    <a:pt x="866" y="218"/>
                  </a:cubicBezTo>
                  <a:cubicBezTo>
                    <a:pt x="866" y="218"/>
                    <a:pt x="866" y="218"/>
                    <a:pt x="866" y="218"/>
                  </a:cubicBezTo>
                  <a:close/>
                  <a:moveTo>
                    <a:pt x="815" y="174"/>
                  </a:moveTo>
                  <a:cubicBezTo>
                    <a:pt x="815" y="174"/>
                    <a:pt x="815" y="174"/>
                    <a:pt x="815" y="174"/>
                  </a:cubicBezTo>
                  <a:cubicBezTo>
                    <a:pt x="787" y="153"/>
                    <a:pt x="755" y="135"/>
                    <a:pt x="722" y="120"/>
                  </a:cubicBezTo>
                  <a:cubicBezTo>
                    <a:pt x="735" y="138"/>
                    <a:pt x="747" y="156"/>
                    <a:pt x="758" y="177"/>
                  </a:cubicBezTo>
                  <a:cubicBezTo>
                    <a:pt x="763" y="185"/>
                    <a:pt x="767" y="193"/>
                    <a:pt x="771" y="202"/>
                  </a:cubicBezTo>
                  <a:cubicBezTo>
                    <a:pt x="787" y="194"/>
                    <a:pt x="801" y="184"/>
                    <a:pt x="815" y="174"/>
                  </a:cubicBezTo>
                  <a:cubicBezTo>
                    <a:pt x="815" y="174"/>
                    <a:pt x="815" y="174"/>
                    <a:pt x="815" y="174"/>
                  </a:cubicBezTo>
                  <a:close/>
                  <a:moveTo>
                    <a:pt x="617" y="90"/>
                  </a:moveTo>
                  <a:cubicBezTo>
                    <a:pt x="617" y="90"/>
                    <a:pt x="617" y="90"/>
                    <a:pt x="617" y="90"/>
                  </a:cubicBezTo>
                  <a:cubicBezTo>
                    <a:pt x="601" y="87"/>
                    <a:pt x="584" y="85"/>
                    <a:pt x="567" y="84"/>
                  </a:cubicBezTo>
                  <a:cubicBezTo>
                    <a:pt x="567" y="260"/>
                    <a:pt x="567" y="260"/>
                    <a:pt x="567" y="260"/>
                  </a:cubicBezTo>
                  <a:cubicBezTo>
                    <a:pt x="616" y="258"/>
                    <a:pt x="664" y="247"/>
                    <a:pt x="707" y="231"/>
                  </a:cubicBezTo>
                  <a:cubicBezTo>
                    <a:pt x="714" y="229"/>
                    <a:pt x="720" y="226"/>
                    <a:pt x="726" y="224"/>
                  </a:cubicBezTo>
                  <a:cubicBezTo>
                    <a:pt x="723" y="216"/>
                    <a:pt x="719" y="208"/>
                    <a:pt x="714" y="201"/>
                  </a:cubicBezTo>
                  <a:cubicBezTo>
                    <a:pt x="687" y="151"/>
                    <a:pt x="654" y="112"/>
                    <a:pt x="617" y="90"/>
                  </a:cubicBezTo>
                  <a:cubicBezTo>
                    <a:pt x="617" y="90"/>
                    <a:pt x="617" y="90"/>
                    <a:pt x="617" y="90"/>
                  </a:cubicBezTo>
                  <a:close/>
                  <a:moveTo>
                    <a:pt x="517" y="84"/>
                  </a:moveTo>
                  <a:cubicBezTo>
                    <a:pt x="517" y="84"/>
                    <a:pt x="517" y="84"/>
                    <a:pt x="517" y="84"/>
                  </a:cubicBezTo>
                  <a:cubicBezTo>
                    <a:pt x="500" y="85"/>
                    <a:pt x="483" y="88"/>
                    <a:pt x="466" y="90"/>
                  </a:cubicBezTo>
                  <a:cubicBezTo>
                    <a:pt x="430" y="112"/>
                    <a:pt x="396" y="151"/>
                    <a:pt x="369" y="201"/>
                  </a:cubicBezTo>
                  <a:cubicBezTo>
                    <a:pt x="365" y="208"/>
                    <a:pt x="361" y="216"/>
                    <a:pt x="357" y="224"/>
                  </a:cubicBezTo>
                  <a:cubicBezTo>
                    <a:pt x="363" y="226"/>
                    <a:pt x="370" y="229"/>
                    <a:pt x="376" y="231"/>
                  </a:cubicBezTo>
                  <a:cubicBezTo>
                    <a:pt x="420" y="247"/>
                    <a:pt x="467" y="258"/>
                    <a:pt x="517" y="260"/>
                  </a:cubicBezTo>
                  <a:cubicBezTo>
                    <a:pt x="517" y="84"/>
                    <a:pt x="517" y="84"/>
                    <a:pt x="517" y="84"/>
                  </a:cubicBezTo>
                  <a:cubicBezTo>
                    <a:pt x="517" y="84"/>
                    <a:pt x="517" y="84"/>
                    <a:pt x="517" y="84"/>
                  </a:cubicBezTo>
                  <a:close/>
                  <a:moveTo>
                    <a:pt x="362" y="120"/>
                  </a:moveTo>
                  <a:cubicBezTo>
                    <a:pt x="362" y="120"/>
                    <a:pt x="362" y="120"/>
                    <a:pt x="362" y="120"/>
                  </a:cubicBezTo>
                  <a:cubicBezTo>
                    <a:pt x="328" y="135"/>
                    <a:pt x="297" y="153"/>
                    <a:pt x="268" y="174"/>
                  </a:cubicBezTo>
                  <a:cubicBezTo>
                    <a:pt x="283" y="184"/>
                    <a:pt x="297" y="194"/>
                    <a:pt x="312" y="202"/>
                  </a:cubicBezTo>
                  <a:cubicBezTo>
                    <a:pt x="316" y="193"/>
                    <a:pt x="320" y="185"/>
                    <a:pt x="325" y="177"/>
                  </a:cubicBezTo>
                  <a:cubicBezTo>
                    <a:pt x="336" y="156"/>
                    <a:pt x="349" y="138"/>
                    <a:pt x="362" y="120"/>
                  </a:cubicBezTo>
                  <a:cubicBezTo>
                    <a:pt x="362" y="120"/>
                    <a:pt x="362" y="120"/>
                    <a:pt x="362" y="120"/>
                  </a:cubicBezTo>
                  <a:close/>
                  <a:moveTo>
                    <a:pt x="229" y="207"/>
                  </a:moveTo>
                  <a:cubicBezTo>
                    <a:pt x="229" y="207"/>
                    <a:pt x="229" y="207"/>
                    <a:pt x="229" y="207"/>
                  </a:cubicBezTo>
                  <a:cubicBezTo>
                    <a:pt x="225" y="211"/>
                    <a:pt x="221" y="214"/>
                    <a:pt x="218" y="218"/>
                  </a:cubicBezTo>
                  <a:cubicBezTo>
                    <a:pt x="140" y="296"/>
                    <a:pt x="90" y="401"/>
                    <a:pt x="84" y="517"/>
                  </a:cubicBezTo>
                  <a:cubicBezTo>
                    <a:pt x="242" y="517"/>
                    <a:pt x="242" y="517"/>
                    <a:pt x="242" y="517"/>
                  </a:cubicBezTo>
                  <a:cubicBezTo>
                    <a:pt x="245" y="418"/>
                    <a:pt x="263" y="325"/>
                    <a:pt x="292" y="248"/>
                  </a:cubicBezTo>
                  <a:cubicBezTo>
                    <a:pt x="270" y="236"/>
                    <a:pt x="249" y="223"/>
                    <a:pt x="229" y="207"/>
                  </a:cubicBezTo>
                  <a:cubicBezTo>
                    <a:pt x="229" y="207"/>
                    <a:pt x="229" y="207"/>
                    <a:pt x="229" y="207"/>
                  </a:cubicBezTo>
                  <a:close/>
                  <a:moveTo>
                    <a:pt x="84" y="567"/>
                  </a:moveTo>
                  <a:cubicBezTo>
                    <a:pt x="84" y="567"/>
                    <a:pt x="84" y="567"/>
                    <a:pt x="84" y="567"/>
                  </a:cubicBezTo>
                  <a:cubicBezTo>
                    <a:pt x="90" y="684"/>
                    <a:pt x="140" y="789"/>
                    <a:pt x="218" y="867"/>
                  </a:cubicBezTo>
                  <a:cubicBezTo>
                    <a:pt x="229" y="878"/>
                    <a:pt x="229" y="878"/>
                    <a:pt x="229" y="878"/>
                  </a:cubicBezTo>
                  <a:cubicBezTo>
                    <a:pt x="249" y="863"/>
                    <a:pt x="270" y="849"/>
                    <a:pt x="292" y="837"/>
                  </a:cubicBezTo>
                  <a:cubicBezTo>
                    <a:pt x="263" y="760"/>
                    <a:pt x="245" y="667"/>
                    <a:pt x="242" y="567"/>
                  </a:cubicBezTo>
                  <a:cubicBezTo>
                    <a:pt x="84" y="567"/>
                    <a:pt x="84" y="567"/>
                    <a:pt x="84" y="567"/>
                  </a:cubicBezTo>
                  <a:cubicBezTo>
                    <a:pt x="84" y="567"/>
                    <a:pt x="84" y="567"/>
                    <a:pt x="84" y="567"/>
                  </a:cubicBezTo>
                  <a:close/>
                  <a:moveTo>
                    <a:pt x="268" y="911"/>
                  </a:moveTo>
                  <a:cubicBezTo>
                    <a:pt x="268" y="911"/>
                    <a:pt x="268" y="911"/>
                    <a:pt x="268" y="911"/>
                  </a:cubicBezTo>
                  <a:cubicBezTo>
                    <a:pt x="297" y="932"/>
                    <a:pt x="328" y="950"/>
                    <a:pt x="362" y="964"/>
                  </a:cubicBezTo>
                  <a:cubicBezTo>
                    <a:pt x="349" y="948"/>
                    <a:pt x="336" y="929"/>
                    <a:pt x="325" y="908"/>
                  </a:cubicBezTo>
                  <a:cubicBezTo>
                    <a:pt x="320" y="900"/>
                    <a:pt x="316" y="892"/>
                    <a:pt x="312" y="883"/>
                  </a:cubicBezTo>
                  <a:cubicBezTo>
                    <a:pt x="297" y="891"/>
                    <a:pt x="283" y="900"/>
                    <a:pt x="268" y="911"/>
                  </a:cubicBezTo>
                  <a:cubicBezTo>
                    <a:pt x="268" y="911"/>
                    <a:pt x="268" y="911"/>
                    <a:pt x="268" y="911"/>
                  </a:cubicBezTo>
                  <a:close/>
                  <a:moveTo>
                    <a:pt x="567" y="1000"/>
                  </a:moveTo>
                  <a:cubicBezTo>
                    <a:pt x="567" y="1000"/>
                    <a:pt x="567" y="1000"/>
                    <a:pt x="567" y="1000"/>
                  </a:cubicBezTo>
                  <a:cubicBezTo>
                    <a:pt x="584" y="1000"/>
                    <a:pt x="601" y="998"/>
                    <a:pt x="617" y="995"/>
                  </a:cubicBezTo>
                  <a:cubicBezTo>
                    <a:pt x="654" y="972"/>
                    <a:pt x="687" y="934"/>
                    <a:pt x="714" y="884"/>
                  </a:cubicBezTo>
                  <a:cubicBezTo>
                    <a:pt x="719" y="877"/>
                    <a:pt x="723" y="869"/>
                    <a:pt x="726" y="861"/>
                  </a:cubicBezTo>
                  <a:cubicBezTo>
                    <a:pt x="720" y="859"/>
                    <a:pt x="714" y="856"/>
                    <a:pt x="707" y="854"/>
                  </a:cubicBezTo>
                  <a:cubicBezTo>
                    <a:pt x="664" y="837"/>
                    <a:pt x="616" y="828"/>
                    <a:pt x="566" y="825"/>
                  </a:cubicBezTo>
                  <a:cubicBezTo>
                    <a:pt x="566" y="1000"/>
                    <a:pt x="566" y="1000"/>
                    <a:pt x="566" y="1000"/>
                  </a:cubicBezTo>
                  <a:cubicBezTo>
                    <a:pt x="567" y="1000"/>
                    <a:pt x="567" y="1000"/>
                    <a:pt x="567" y="1000"/>
                  </a:cubicBezTo>
                  <a:close/>
                  <a:moveTo>
                    <a:pt x="722" y="964"/>
                  </a:moveTo>
                  <a:cubicBezTo>
                    <a:pt x="722" y="964"/>
                    <a:pt x="722" y="964"/>
                    <a:pt x="722" y="964"/>
                  </a:cubicBezTo>
                  <a:cubicBezTo>
                    <a:pt x="755" y="950"/>
                    <a:pt x="787" y="932"/>
                    <a:pt x="815" y="911"/>
                  </a:cubicBezTo>
                  <a:cubicBezTo>
                    <a:pt x="801" y="900"/>
                    <a:pt x="787" y="891"/>
                    <a:pt x="771" y="883"/>
                  </a:cubicBezTo>
                  <a:cubicBezTo>
                    <a:pt x="767" y="892"/>
                    <a:pt x="763" y="900"/>
                    <a:pt x="758" y="908"/>
                  </a:cubicBezTo>
                  <a:cubicBezTo>
                    <a:pt x="747" y="929"/>
                    <a:pt x="735" y="948"/>
                    <a:pt x="722" y="964"/>
                  </a:cubicBezTo>
                  <a:cubicBezTo>
                    <a:pt x="722" y="964"/>
                    <a:pt x="722" y="964"/>
                    <a:pt x="722" y="964"/>
                  </a:cubicBezTo>
                  <a:close/>
                  <a:moveTo>
                    <a:pt x="855" y="878"/>
                  </a:moveTo>
                  <a:cubicBezTo>
                    <a:pt x="855" y="878"/>
                    <a:pt x="855" y="878"/>
                    <a:pt x="855" y="878"/>
                  </a:cubicBezTo>
                  <a:cubicBezTo>
                    <a:pt x="866" y="867"/>
                    <a:pt x="866" y="867"/>
                    <a:pt x="866" y="867"/>
                  </a:cubicBezTo>
                  <a:cubicBezTo>
                    <a:pt x="943" y="789"/>
                    <a:pt x="993" y="684"/>
                    <a:pt x="1000" y="567"/>
                  </a:cubicBezTo>
                  <a:cubicBezTo>
                    <a:pt x="842" y="567"/>
                    <a:pt x="842" y="567"/>
                    <a:pt x="842" y="567"/>
                  </a:cubicBezTo>
                  <a:cubicBezTo>
                    <a:pt x="839" y="667"/>
                    <a:pt x="820" y="760"/>
                    <a:pt x="791" y="837"/>
                  </a:cubicBezTo>
                  <a:cubicBezTo>
                    <a:pt x="813" y="849"/>
                    <a:pt x="835" y="863"/>
                    <a:pt x="855" y="878"/>
                  </a:cubicBezTo>
                  <a:cubicBezTo>
                    <a:pt x="855" y="878"/>
                    <a:pt x="855" y="878"/>
                    <a:pt x="855" y="878"/>
                  </a:cubicBezTo>
                  <a:close/>
                  <a:moveTo>
                    <a:pt x="746" y="269"/>
                  </a:moveTo>
                  <a:cubicBezTo>
                    <a:pt x="746" y="269"/>
                    <a:pt x="746" y="269"/>
                    <a:pt x="746" y="269"/>
                  </a:cubicBezTo>
                  <a:cubicBezTo>
                    <a:pt x="739" y="272"/>
                    <a:pt x="732" y="275"/>
                    <a:pt x="725" y="278"/>
                  </a:cubicBezTo>
                  <a:cubicBezTo>
                    <a:pt x="675" y="296"/>
                    <a:pt x="622" y="308"/>
                    <a:pt x="567" y="310"/>
                  </a:cubicBezTo>
                  <a:cubicBezTo>
                    <a:pt x="567" y="517"/>
                    <a:pt x="567" y="517"/>
                    <a:pt x="567" y="517"/>
                  </a:cubicBezTo>
                  <a:cubicBezTo>
                    <a:pt x="792" y="517"/>
                    <a:pt x="792" y="517"/>
                    <a:pt x="792" y="517"/>
                  </a:cubicBezTo>
                  <a:cubicBezTo>
                    <a:pt x="789" y="425"/>
                    <a:pt x="772" y="340"/>
                    <a:pt x="746" y="269"/>
                  </a:cubicBezTo>
                  <a:cubicBezTo>
                    <a:pt x="746" y="269"/>
                    <a:pt x="746" y="269"/>
                    <a:pt x="746" y="269"/>
                  </a:cubicBezTo>
                  <a:close/>
                  <a:moveTo>
                    <a:pt x="517" y="310"/>
                  </a:moveTo>
                  <a:cubicBezTo>
                    <a:pt x="517" y="310"/>
                    <a:pt x="517" y="310"/>
                    <a:pt x="517" y="310"/>
                  </a:cubicBezTo>
                  <a:cubicBezTo>
                    <a:pt x="462" y="308"/>
                    <a:pt x="409" y="296"/>
                    <a:pt x="358" y="278"/>
                  </a:cubicBezTo>
                  <a:cubicBezTo>
                    <a:pt x="352" y="275"/>
                    <a:pt x="345" y="272"/>
                    <a:pt x="338" y="269"/>
                  </a:cubicBezTo>
                  <a:cubicBezTo>
                    <a:pt x="311" y="340"/>
                    <a:pt x="294" y="425"/>
                    <a:pt x="292" y="517"/>
                  </a:cubicBezTo>
                  <a:cubicBezTo>
                    <a:pt x="517" y="517"/>
                    <a:pt x="517" y="517"/>
                    <a:pt x="517" y="517"/>
                  </a:cubicBezTo>
                  <a:cubicBezTo>
                    <a:pt x="517" y="310"/>
                    <a:pt x="517" y="310"/>
                    <a:pt x="517" y="310"/>
                  </a:cubicBezTo>
                  <a:cubicBezTo>
                    <a:pt x="517" y="310"/>
                    <a:pt x="517" y="310"/>
                    <a:pt x="517" y="310"/>
                  </a:cubicBezTo>
                  <a:close/>
                  <a:moveTo>
                    <a:pt x="517" y="775"/>
                  </a:moveTo>
                  <a:cubicBezTo>
                    <a:pt x="517" y="775"/>
                    <a:pt x="517" y="775"/>
                    <a:pt x="517" y="775"/>
                  </a:cubicBezTo>
                  <a:cubicBezTo>
                    <a:pt x="517" y="567"/>
                    <a:pt x="517" y="567"/>
                    <a:pt x="517" y="567"/>
                  </a:cubicBezTo>
                  <a:cubicBezTo>
                    <a:pt x="292" y="567"/>
                    <a:pt x="292" y="567"/>
                    <a:pt x="292" y="567"/>
                  </a:cubicBezTo>
                  <a:cubicBezTo>
                    <a:pt x="294" y="659"/>
                    <a:pt x="311" y="744"/>
                    <a:pt x="338" y="815"/>
                  </a:cubicBezTo>
                  <a:cubicBezTo>
                    <a:pt x="345" y="813"/>
                    <a:pt x="352" y="810"/>
                    <a:pt x="359" y="807"/>
                  </a:cubicBezTo>
                  <a:cubicBezTo>
                    <a:pt x="409" y="789"/>
                    <a:pt x="462" y="777"/>
                    <a:pt x="517" y="775"/>
                  </a:cubicBezTo>
                  <a:cubicBezTo>
                    <a:pt x="517" y="775"/>
                    <a:pt x="517" y="775"/>
                    <a:pt x="517" y="775"/>
                  </a:cubicBezTo>
                  <a:close/>
                  <a:moveTo>
                    <a:pt x="567" y="775"/>
                  </a:moveTo>
                  <a:cubicBezTo>
                    <a:pt x="567" y="775"/>
                    <a:pt x="567" y="775"/>
                    <a:pt x="567" y="775"/>
                  </a:cubicBezTo>
                  <a:cubicBezTo>
                    <a:pt x="622" y="778"/>
                    <a:pt x="675" y="789"/>
                    <a:pt x="725" y="807"/>
                  </a:cubicBezTo>
                  <a:cubicBezTo>
                    <a:pt x="732" y="810"/>
                    <a:pt x="739" y="813"/>
                    <a:pt x="746" y="815"/>
                  </a:cubicBezTo>
                  <a:cubicBezTo>
                    <a:pt x="772" y="744"/>
                    <a:pt x="789" y="659"/>
                    <a:pt x="792" y="567"/>
                  </a:cubicBezTo>
                  <a:cubicBezTo>
                    <a:pt x="567" y="567"/>
                    <a:pt x="567" y="567"/>
                    <a:pt x="567" y="567"/>
                  </a:cubicBezTo>
                  <a:cubicBezTo>
                    <a:pt x="567" y="775"/>
                    <a:pt x="567" y="775"/>
                    <a:pt x="567" y="775"/>
                  </a:cubicBezTo>
                  <a:cubicBezTo>
                    <a:pt x="567" y="775"/>
                    <a:pt x="567" y="775"/>
                    <a:pt x="567" y="775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6" name="išlidé">
              <a:extLst>
                <a:ext uri="{FF2B5EF4-FFF2-40B4-BE49-F238E27FC236}">
                  <a16:creationId xmlns:a16="http://schemas.microsoft.com/office/drawing/2014/main" xmlns="" id="{A9A3F230-2741-4045-A70B-9CB34F8E7061}"/>
                </a:ext>
              </a:extLst>
            </p:cNvPr>
            <p:cNvSpPr/>
            <p:nvPr/>
          </p:nvSpPr>
          <p:spPr bwMode="auto">
            <a:xfrm>
              <a:off x="7151427" y="4692483"/>
              <a:ext cx="350961" cy="359876"/>
            </a:xfrm>
            <a:custGeom>
              <a:avLst/>
              <a:gdLst>
                <a:gd name="connsiteX0" fmla="*/ 329497 w 352368"/>
                <a:gd name="connsiteY0" fmla="*/ 243145 h 361318"/>
                <a:gd name="connsiteX1" fmla="*/ 341302 w 352368"/>
                <a:gd name="connsiteY1" fmla="*/ 243145 h 361318"/>
                <a:gd name="connsiteX2" fmla="*/ 350155 w 352368"/>
                <a:gd name="connsiteY2" fmla="*/ 249048 h 361318"/>
                <a:gd name="connsiteX3" fmla="*/ 350155 w 352368"/>
                <a:gd name="connsiteY3" fmla="*/ 260852 h 361318"/>
                <a:gd name="connsiteX4" fmla="*/ 282280 w 352368"/>
                <a:gd name="connsiteY4" fmla="*/ 331678 h 361318"/>
                <a:gd name="connsiteX5" fmla="*/ 270476 w 352368"/>
                <a:gd name="connsiteY5" fmla="*/ 331678 h 361318"/>
                <a:gd name="connsiteX6" fmla="*/ 217356 w 352368"/>
                <a:gd name="connsiteY6" fmla="*/ 290363 h 361318"/>
                <a:gd name="connsiteX7" fmla="*/ 214405 w 352368"/>
                <a:gd name="connsiteY7" fmla="*/ 281510 h 361318"/>
                <a:gd name="connsiteX8" fmla="*/ 223258 w 352368"/>
                <a:gd name="connsiteY8" fmla="*/ 272656 h 361318"/>
                <a:gd name="connsiteX9" fmla="*/ 232112 w 352368"/>
                <a:gd name="connsiteY9" fmla="*/ 269705 h 361318"/>
                <a:gd name="connsiteX10" fmla="*/ 267525 w 352368"/>
                <a:gd name="connsiteY10" fmla="*/ 296265 h 361318"/>
                <a:gd name="connsiteX11" fmla="*/ 279329 w 352368"/>
                <a:gd name="connsiteY11" fmla="*/ 293314 h 361318"/>
                <a:gd name="connsiteX12" fmla="*/ 329497 w 352368"/>
                <a:gd name="connsiteY12" fmla="*/ 243145 h 361318"/>
                <a:gd name="connsiteX13" fmla="*/ 157616 w 352368"/>
                <a:gd name="connsiteY13" fmla="*/ 0 h 361318"/>
                <a:gd name="connsiteX14" fmla="*/ 252780 w 352368"/>
                <a:gd name="connsiteY14" fmla="*/ 44425 h 361318"/>
                <a:gd name="connsiteX15" fmla="*/ 309284 w 352368"/>
                <a:gd name="connsiteY15" fmla="*/ 50348 h 361318"/>
                <a:gd name="connsiteX16" fmla="*/ 318205 w 352368"/>
                <a:gd name="connsiteY16" fmla="*/ 59233 h 361318"/>
                <a:gd name="connsiteX17" fmla="*/ 318205 w 352368"/>
                <a:gd name="connsiteY17" fmla="*/ 162890 h 361318"/>
                <a:gd name="connsiteX18" fmla="*/ 312257 w 352368"/>
                <a:gd name="connsiteY18" fmla="*/ 198429 h 361318"/>
                <a:gd name="connsiteX19" fmla="*/ 306310 w 352368"/>
                <a:gd name="connsiteY19" fmla="*/ 204352 h 361318"/>
                <a:gd name="connsiteX20" fmla="*/ 282519 w 352368"/>
                <a:gd name="connsiteY20" fmla="*/ 201391 h 361318"/>
                <a:gd name="connsiteX21" fmla="*/ 196276 w 352368"/>
                <a:gd name="connsiteY21" fmla="*/ 287278 h 361318"/>
                <a:gd name="connsiteX22" fmla="*/ 208172 w 352368"/>
                <a:gd name="connsiteY22" fmla="*/ 331702 h 361318"/>
                <a:gd name="connsiteX23" fmla="*/ 208172 w 352368"/>
                <a:gd name="connsiteY23" fmla="*/ 337625 h 361318"/>
                <a:gd name="connsiteX24" fmla="*/ 157616 w 352368"/>
                <a:gd name="connsiteY24" fmla="*/ 361318 h 361318"/>
                <a:gd name="connsiteX25" fmla="*/ 0 w 352368"/>
                <a:gd name="connsiteY25" fmla="*/ 162890 h 361318"/>
                <a:gd name="connsiteX26" fmla="*/ 2974 w 352368"/>
                <a:gd name="connsiteY26" fmla="*/ 56271 h 361318"/>
                <a:gd name="connsiteX27" fmla="*/ 8922 w 352368"/>
                <a:gd name="connsiteY27" fmla="*/ 47386 h 361318"/>
                <a:gd name="connsiteX28" fmla="*/ 77321 w 352368"/>
                <a:gd name="connsiteY28" fmla="*/ 44425 h 361318"/>
                <a:gd name="connsiteX29" fmla="*/ 157616 w 352368"/>
                <a:gd name="connsiteY29" fmla="*/ 0 h 361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52368" h="361318">
                  <a:moveTo>
                    <a:pt x="329497" y="243145"/>
                  </a:moveTo>
                  <a:cubicBezTo>
                    <a:pt x="332449" y="240194"/>
                    <a:pt x="338351" y="240194"/>
                    <a:pt x="341302" y="243145"/>
                  </a:cubicBezTo>
                  <a:cubicBezTo>
                    <a:pt x="350155" y="249048"/>
                    <a:pt x="350155" y="249048"/>
                    <a:pt x="350155" y="249048"/>
                  </a:cubicBezTo>
                  <a:cubicBezTo>
                    <a:pt x="353106" y="251999"/>
                    <a:pt x="353106" y="257901"/>
                    <a:pt x="350155" y="260852"/>
                  </a:cubicBezTo>
                  <a:lnTo>
                    <a:pt x="282280" y="331678"/>
                  </a:lnTo>
                  <a:cubicBezTo>
                    <a:pt x="279329" y="334629"/>
                    <a:pt x="273427" y="334629"/>
                    <a:pt x="270476" y="331678"/>
                  </a:cubicBezTo>
                  <a:cubicBezTo>
                    <a:pt x="217356" y="290363"/>
                    <a:pt x="217356" y="290363"/>
                    <a:pt x="217356" y="290363"/>
                  </a:cubicBezTo>
                  <a:cubicBezTo>
                    <a:pt x="214405" y="290363"/>
                    <a:pt x="211454" y="284461"/>
                    <a:pt x="214405" y="281510"/>
                  </a:cubicBezTo>
                  <a:cubicBezTo>
                    <a:pt x="223258" y="272656"/>
                    <a:pt x="223258" y="272656"/>
                    <a:pt x="223258" y="272656"/>
                  </a:cubicBezTo>
                  <a:cubicBezTo>
                    <a:pt x="223258" y="266754"/>
                    <a:pt x="229161" y="266754"/>
                    <a:pt x="232112" y="269705"/>
                  </a:cubicBezTo>
                  <a:cubicBezTo>
                    <a:pt x="267525" y="296265"/>
                    <a:pt x="267525" y="296265"/>
                    <a:pt x="267525" y="296265"/>
                  </a:cubicBezTo>
                  <a:cubicBezTo>
                    <a:pt x="270476" y="299216"/>
                    <a:pt x="276378" y="299216"/>
                    <a:pt x="279329" y="293314"/>
                  </a:cubicBezTo>
                  <a:cubicBezTo>
                    <a:pt x="329497" y="243145"/>
                    <a:pt x="329497" y="243145"/>
                    <a:pt x="329497" y="243145"/>
                  </a:cubicBezTo>
                  <a:close/>
                  <a:moveTo>
                    <a:pt x="157616" y="0"/>
                  </a:moveTo>
                  <a:cubicBezTo>
                    <a:pt x="172485" y="0"/>
                    <a:pt x="211146" y="32578"/>
                    <a:pt x="252780" y="44425"/>
                  </a:cubicBezTo>
                  <a:cubicBezTo>
                    <a:pt x="270623" y="50348"/>
                    <a:pt x="291440" y="50348"/>
                    <a:pt x="309284" y="50348"/>
                  </a:cubicBezTo>
                  <a:cubicBezTo>
                    <a:pt x="312257" y="50348"/>
                    <a:pt x="318205" y="50348"/>
                    <a:pt x="318205" y="59233"/>
                  </a:cubicBezTo>
                  <a:cubicBezTo>
                    <a:pt x="318205" y="59233"/>
                    <a:pt x="318205" y="162890"/>
                    <a:pt x="318205" y="162890"/>
                  </a:cubicBezTo>
                  <a:cubicBezTo>
                    <a:pt x="318205" y="174736"/>
                    <a:pt x="315231" y="186582"/>
                    <a:pt x="312257" y="198429"/>
                  </a:cubicBezTo>
                  <a:cubicBezTo>
                    <a:pt x="312257" y="201391"/>
                    <a:pt x="309284" y="204352"/>
                    <a:pt x="306310" y="204352"/>
                  </a:cubicBezTo>
                  <a:cubicBezTo>
                    <a:pt x="300362" y="201391"/>
                    <a:pt x="291440" y="201391"/>
                    <a:pt x="282519" y="201391"/>
                  </a:cubicBezTo>
                  <a:cubicBezTo>
                    <a:pt x="234937" y="201391"/>
                    <a:pt x="196276" y="239892"/>
                    <a:pt x="196276" y="287278"/>
                  </a:cubicBezTo>
                  <a:cubicBezTo>
                    <a:pt x="196276" y="302086"/>
                    <a:pt x="199250" y="319856"/>
                    <a:pt x="208172" y="331702"/>
                  </a:cubicBezTo>
                  <a:cubicBezTo>
                    <a:pt x="208172" y="334664"/>
                    <a:pt x="211146" y="334664"/>
                    <a:pt x="208172" y="337625"/>
                  </a:cubicBezTo>
                  <a:cubicBezTo>
                    <a:pt x="184381" y="355395"/>
                    <a:pt x="169511" y="361318"/>
                    <a:pt x="157616" y="361318"/>
                  </a:cubicBezTo>
                  <a:cubicBezTo>
                    <a:pt x="127877" y="361318"/>
                    <a:pt x="0" y="266546"/>
                    <a:pt x="0" y="162890"/>
                  </a:cubicBezTo>
                  <a:cubicBezTo>
                    <a:pt x="0" y="162890"/>
                    <a:pt x="2974" y="59233"/>
                    <a:pt x="2974" y="56271"/>
                  </a:cubicBezTo>
                  <a:cubicBezTo>
                    <a:pt x="2974" y="47386"/>
                    <a:pt x="5948" y="47386"/>
                    <a:pt x="8922" y="47386"/>
                  </a:cubicBezTo>
                  <a:cubicBezTo>
                    <a:pt x="29739" y="50348"/>
                    <a:pt x="53530" y="50348"/>
                    <a:pt x="77321" y="44425"/>
                  </a:cubicBezTo>
                  <a:cubicBezTo>
                    <a:pt x="118955" y="32578"/>
                    <a:pt x="145720" y="0"/>
                    <a:pt x="157616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27" name="í$líḋe">
              <a:extLst>
                <a:ext uri="{FF2B5EF4-FFF2-40B4-BE49-F238E27FC236}">
                  <a16:creationId xmlns:a16="http://schemas.microsoft.com/office/drawing/2014/main" xmlns="" id="{F96768BB-3417-4C91-932A-86EA865D81C2}"/>
                </a:ext>
              </a:extLst>
            </p:cNvPr>
            <p:cNvGrpSpPr/>
            <p:nvPr/>
          </p:nvGrpSpPr>
          <p:grpSpPr>
            <a:xfrm>
              <a:off x="673100" y="1130300"/>
              <a:ext cx="3394075" cy="965627"/>
              <a:chOff x="3959394" y="1698535"/>
              <a:chExt cx="4334860" cy="899573"/>
            </a:xfrm>
          </p:grpSpPr>
          <p:sp>
            <p:nvSpPr>
              <p:cNvPr id="47" name="ïṧlíďè">
                <a:extLst>
                  <a:ext uri="{FF2B5EF4-FFF2-40B4-BE49-F238E27FC236}">
                    <a16:creationId xmlns:a16="http://schemas.microsoft.com/office/drawing/2014/main" xmlns="" id="{F6D880A1-AE1D-4FA4-A9C0-B344E532AD00}"/>
                  </a:ext>
                </a:extLst>
              </p:cNvPr>
              <p:cNvSpPr/>
              <p:nvPr/>
            </p:nvSpPr>
            <p:spPr bwMode="auto">
              <a:xfrm flipH="1">
                <a:off x="3959394" y="2111414"/>
                <a:ext cx="4334859" cy="4866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48" name="íślíďê">
                <a:extLst>
                  <a:ext uri="{FF2B5EF4-FFF2-40B4-BE49-F238E27FC236}">
                    <a16:creationId xmlns:a16="http://schemas.microsoft.com/office/drawing/2014/main" xmlns="" id="{231D5778-DCBE-4E6B-960B-02DDC8BE85F4}"/>
                  </a:ext>
                </a:extLst>
              </p:cNvPr>
              <p:cNvSpPr txBox="1"/>
              <p:nvPr/>
            </p:nvSpPr>
            <p:spPr bwMode="auto">
              <a:xfrm flipH="1">
                <a:off x="3959395" y="1698535"/>
                <a:ext cx="4334859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  <a:endParaRPr lang="zh-CN" altLang="en-US" sz="2000" b="1" dirty="0"/>
              </a:p>
            </p:txBody>
          </p:sp>
        </p:grpSp>
        <p:grpSp>
          <p:nvGrpSpPr>
            <p:cNvPr id="28" name="iṩlíḋê">
              <a:extLst>
                <a:ext uri="{FF2B5EF4-FFF2-40B4-BE49-F238E27FC236}">
                  <a16:creationId xmlns:a16="http://schemas.microsoft.com/office/drawing/2014/main" xmlns="" id="{3A16A1C4-0F7B-4F59-9471-8235A5628C90}"/>
                </a:ext>
              </a:extLst>
            </p:cNvPr>
            <p:cNvGrpSpPr/>
            <p:nvPr/>
          </p:nvGrpSpPr>
          <p:grpSpPr>
            <a:xfrm>
              <a:off x="673100" y="2414308"/>
              <a:ext cx="3394075" cy="965627"/>
              <a:chOff x="3959394" y="1698535"/>
              <a:chExt cx="4334860" cy="899573"/>
            </a:xfrm>
          </p:grpSpPr>
          <p:sp>
            <p:nvSpPr>
              <p:cNvPr id="45" name="íṣḻïdé">
                <a:extLst>
                  <a:ext uri="{FF2B5EF4-FFF2-40B4-BE49-F238E27FC236}">
                    <a16:creationId xmlns:a16="http://schemas.microsoft.com/office/drawing/2014/main" xmlns="" id="{D50B3808-739D-4372-98DF-1CB835DF3797}"/>
                  </a:ext>
                </a:extLst>
              </p:cNvPr>
              <p:cNvSpPr/>
              <p:nvPr/>
            </p:nvSpPr>
            <p:spPr bwMode="auto">
              <a:xfrm flipH="1">
                <a:off x="3959394" y="2111414"/>
                <a:ext cx="4334859" cy="4866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46" name="íṩḻídê">
                <a:extLst>
                  <a:ext uri="{FF2B5EF4-FFF2-40B4-BE49-F238E27FC236}">
                    <a16:creationId xmlns:a16="http://schemas.microsoft.com/office/drawing/2014/main" xmlns="" id="{74D764D6-950E-4925-90BC-1E0560439E11}"/>
                  </a:ext>
                </a:extLst>
              </p:cNvPr>
              <p:cNvSpPr txBox="1"/>
              <p:nvPr/>
            </p:nvSpPr>
            <p:spPr bwMode="auto">
              <a:xfrm flipH="1">
                <a:off x="3959395" y="1698535"/>
                <a:ext cx="4334859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>
                    <a:solidFill>
                      <a:schemeClr val="accent1"/>
                    </a:solidFill>
                  </a:rPr>
                  <a:t>Text here</a:t>
                </a:r>
                <a:endParaRPr lang="zh-CN" altLang="en-US" sz="2000" b="1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29" name="ïṥḻídè">
              <a:extLst>
                <a:ext uri="{FF2B5EF4-FFF2-40B4-BE49-F238E27FC236}">
                  <a16:creationId xmlns:a16="http://schemas.microsoft.com/office/drawing/2014/main" xmlns="" id="{2272C10D-CC11-4FF4-88F5-EA6D9187D120}"/>
                </a:ext>
              </a:extLst>
            </p:cNvPr>
            <p:cNvGrpSpPr/>
            <p:nvPr/>
          </p:nvGrpSpPr>
          <p:grpSpPr>
            <a:xfrm>
              <a:off x="673100" y="3698317"/>
              <a:ext cx="3394075" cy="965627"/>
              <a:chOff x="3959394" y="1698535"/>
              <a:chExt cx="4334860" cy="899573"/>
            </a:xfrm>
          </p:grpSpPr>
          <p:sp>
            <p:nvSpPr>
              <p:cNvPr id="43" name="íṣļiďé">
                <a:extLst>
                  <a:ext uri="{FF2B5EF4-FFF2-40B4-BE49-F238E27FC236}">
                    <a16:creationId xmlns:a16="http://schemas.microsoft.com/office/drawing/2014/main" xmlns="" id="{3E21EB54-8887-4739-9B9F-0548773186C9}"/>
                  </a:ext>
                </a:extLst>
              </p:cNvPr>
              <p:cNvSpPr/>
              <p:nvPr/>
            </p:nvSpPr>
            <p:spPr bwMode="auto">
              <a:xfrm flipH="1">
                <a:off x="3959394" y="2111414"/>
                <a:ext cx="4334859" cy="4866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44" name="íṣ1îďé">
                <a:extLst>
                  <a:ext uri="{FF2B5EF4-FFF2-40B4-BE49-F238E27FC236}">
                    <a16:creationId xmlns:a16="http://schemas.microsoft.com/office/drawing/2014/main" xmlns="" id="{520B3B79-7963-482F-A831-5C20C32EC92C}"/>
                  </a:ext>
                </a:extLst>
              </p:cNvPr>
              <p:cNvSpPr txBox="1"/>
              <p:nvPr/>
            </p:nvSpPr>
            <p:spPr bwMode="auto">
              <a:xfrm flipH="1">
                <a:off x="3959395" y="1698535"/>
                <a:ext cx="4334859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  <a:endParaRPr lang="zh-CN" altLang="en-US" sz="2000" b="1" dirty="0"/>
              </a:p>
            </p:txBody>
          </p:sp>
        </p:grpSp>
        <p:grpSp>
          <p:nvGrpSpPr>
            <p:cNvPr id="30" name="ïşḷïḍê">
              <a:extLst>
                <a:ext uri="{FF2B5EF4-FFF2-40B4-BE49-F238E27FC236}">
                  <a16:creationId xmlns:a16="http://schemas.microsoft.com/office/drawing/2014/main" xmlns="" id="{D0B95920-DD0B-4403-AAE5-E55E75FF26DC}"/>
                </a:ext>
              </a:extLst>
            </p:cNvPr>
            <p:cNvGrpSpPr/>
            <p:nvPr/>
          </p:nvGrpSpPr>
          <p:grpSpPr>
            <a:xfrm>
              <a:off x="8126413" y="2613156"/>
              <a:ext cx="3394075" cy="965627"/>
              <a:chOff x="3959394" y="1698535"/>
              <a:chExt cx="4334860" cy="899573"/>
            </a:xfrm>
          </p:grpSpPr>
          <p:sp>
            <p:nvSpPr>
              <p:cNvPr id="41" name="íṧ1iḋé">
                <a:extLst>
                  <a:ext uri="{FF2B5EF4-FFF2-40B4-BE49-F238E27FC236}">
                    <a16:creationId xmlns:a16="http://schemas.microsoft.com/office/drawing/2014/main" xmlns="" id="{46E38544-6880-42E2-899F-E6F5A565C612}"/>
                  </a:ext>
                </a:extLst>
              </p:cNvPr>
              <p:cNvSpPr/>
              <p:nvPr/>
            </p:nvSpPr>
            <p:spPr bwMode="auto">
              <a:xfrm flipH="1">
                <a:off x="3959394" y="2111414"/>
                <a:ext cx="4334859" cy="4866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42" name="iSḻiḍè">
                <a:extLst>
                  <a:ext uri="{FF2B5EF4-FFF2-40B4-BE49-F238E27FC236}">
                    <a16:creationId xmlns:a16="http://schemas.microsoft.com/office/drawing/2014/main" xmlns="" id="{6F23148D-826E-499B-8617-9BB30AEBEC7C}"/>
                  </a:ext>
                </a:extLst>
              </p:cNvPr>
              <p:cNvSpPr txBox="1"/>
              <p:nvPr/>
            </p:nvSpPr>
            <p:spPr bwMode="auto">
              <a:xfrm flipH="1">
                <a:off x="3959395" y="1698535"/>
                <a:ext cx="4334859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  <a:endParaRPr lang="zh-CN" altLang="en-US" sz="2000" b="1" dirty="0"/>
              </a:p>
            </p:txBody>
          </p:sp>
        </p:grpSp>
        <p:grpSp>
          <p:nvGrpSpPr>
            <p:cNvPr id="31" name="íṩḻîḋê">
              <a:extLst>
                <a:ext uri="{FF2B5EF4-FFF2-40B4-BE49-F238E27FC236}">
                  <a16:creationId xmlns:a16="http://schemas.microsoft.com/office/drawing/2014/main" xmlns="" id="{3CF175BE-1CFF-4C7C-BD05-9E684333867D}"/>
                </a:ext>
              </a:extLst>
            </p:cNvPr>
            <p:cNvGrpSpPr/>
            <p:nvPr/>
          </p:nvGrpSpPr>
          <p:grpSpPr>
            <a:xfrm>
              <a:off x="8126413" y="3897164"/>
              <a:ext cx="3394075" cy="965627"/>
              <a:chOff x="3959394" y="1698535"/>
              <a:chExt cx="4334860" cy="899573"/>
            </a:xfrm>
          </p:grpSpPr>
          <p:sp>
            <p:nvSpPr>
              <p:cNvPr id="39" name="ïsḷïḓé">
                <a:extLst>
                  <a:ext uri="{FF2B5EF4-FFF2-40B4-BE49-F238E27FC236}">
                    <a16:creationId xmlns:a16="http://schemas.microsoft.com/office/drawing/2014/main" xmlns="" id="{11053921-009C-43BB-A960-D681E003E921}"/>
                  </a:ext>
                </a:extLst>
              </p:cNvPr>
              <p:cNvSpPr/>
              <p:nvPr/>
            </p:nvSpPr>
            <p:spPr bwMode="auto">
              <a:xfrm flipH="1">
                <a:off x="3959394" y="2111414"/>
                <a:ext cx="4334859" cy="4866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40" name="îṡļíďe">
                <a:extLst>
                  <a:ext uri="{FF2B5EF4-FFF2-40B4-BE49-F238E27FC236}">
                    <a16:creationId xmlns:a16="http://schemas.microsoft.com/office/drawing/2014/main" xmlns="" id="{9492F618-CC8F-40A2-B249-54B757453A8D}"/>
                  </a:ext>
                </a:extLst>
              </p:cNvPr>
              <p:cNvSpPr txBox="1"/>
              <p:nvPr/>
            </p:nvSpPr>
            <p:spPr bwMode="auto">
              <a:xfrm flipH="1">
                <a:off x="3959395" y="1698535"/>
                <a:ext cx="4334859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>
                    <a:solidFill>
                      <a:schemeClr val="accent1"/>
                    </a:solidFill>
                  </a:rPr>
                  <a:t>Text here</a:t>
                </a:r>
                <a:endParaRPr lang="zh-CN" altLang="en-US" sz="2000" b="1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2" name="îṣľîḍè">
              <a:extLst>
                <a:ext uri="{FF2B5EF4-FFF2-40B4-BE49-F238E27FC236}">
                  <a16:creationId xmlns:a16="http://schemas.microsoft.com/office/drawing/2014/main" xmlns="" id="{22B3EFC8-5FEE-49E9-BA2B-4A97D42113DD}"/>
                </a:ext>
              </a:extLst>
            </p:cNvPr>
            <p:cNvGrpSpPr/>
            <p:nvPr/>
          </p:nvGrpSpPr>
          <p:grpSpPr>
            <a:xfrm>
              <a:off x="8126413" y="5181173"/>
              <a:ext cx="3394075" cy="965627"/>
              <a:chOff x="3959394" y="1698535"/>
              <a:chExt cx="4334860" cy="899573"/>
            </a:xfrm>
          </p:grpSpPr>
          <p:sp>
            <p:nvSpPr>
              <p:cNvPr id="37" name="ï$ľîdè">
                <a:extLst>
                  <a:ext uri="{FF2B5EF4-FFF2-40B4-BE49-F238E27FC236}">
                    <a16:creationId xmlns:a16="http://schemas.microsoft.com/office/drawing/2014/main" xmlns="" id="{6E162E9C-4956-4054-A241-50B03CEBDB7B}"/>
                  </a:ext>
                </a:extLst>
              </p:cNvPr>
              <p:cNvSpPr/>
              <p:nvPr/>
            </p:nvSpPr>
            <p:spPr bwMode="auto">
              <a:xfrm flipH="1">
                <a:off x="3959394" y="2111414"/>
                <a:ext cx="4334859" cy="4866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38" name="ïṥḷíḓè">
                <a:extLst>
                  <a:ext uri="{FF2B5EF4-FFF2-40B4-BE49-F238E27FC236}">
                    <a16:creationId xmlns:a16="http://schemas.microsoft.com/office/drawing/2014/main" xmlns="" id="{2C11B5BF-AF78-406E-8499-D104CBD58DEA}"/>
                  </a:ext>
                </a:extLst>
              </p:cNvPr>
              <p:cNvSpPr txBox="1"/>
              <p:nvPr/>
            </p:nvSpPr>
            <p:spPr bwMode="auto">
              <a:xfrm flipH="1">
                <a:off x="3959395" y="1698535"/>
                <a:ext cx="4334859" cy="41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  <a:endParaRPr lang="zh-CN" altLang="en-US" sz="2000" b="1" dirty="0"/>
              </a:p>
            </p:txBody>
          </p:sp>
        </p:grpSp>
        <p:cxnSp>
          <p:nvCxnSpPr>
            <p:cNvPr id="33" name="直接连接符 32">
              <a:extLst>
                <a:ext uri="{FF2B5EF4-FFF2-40B4-BE49-F238E27FC236}">
                  <a16:creationId xmlns:a16="http://schemas.microsoft.com/office/drawing/2014/main" xmlns="" id="{BA862F23-7222-4FB4-9385-FE4430887551}"/>
                </a:ext>
              </a:extLst>
            </p:cNvPr>
            <p:cNvCxnSpPr>
              <a:cxnSpLocks/>
            </p:cNvCxnSpPr>
            <p:nvPr/>
          </p:nvCxnSpPr>
          <p:spPr>
            <a:xfrm>
              <a:off x="673100" y="2255117"/>
              <a:ext cx="3394074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连接符 33">
              <a:extLst>
                <a:ext uri="{FF2B5EF4-FFF2-40B4-BE49-F238E27FC236}">
                  <a16:creationId xmlns:a16="http://schemas.microsoft.com/office/drawing/2014/main" xmlns="" id="{0DCDE068-F8EF-4D80-80F6-7BD06E0438B7}"/>
                </a:ext>
              </a:extLst>
            </p:cNvPr>
            <p:cNvCxnSpPr>
              <a:cxnSpLocks/>
            </p:cNvCxnSpPr>
            <p:nvPr/>
          </p:nvCxnSpPr>
          <p:spPr>
            <a:xfrm>
              <a:off x="673100" y="3539126"/>
              <a:ext cx="3394074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>
              <a:extLst>
                <a:ext uri="{FF2B5EF4-FFF2-40B4-BE49-F238E27FC236}">
                  <a16:creationId xmlns:a16="http://schemas.microsoft.com/office/drawing/2014/main" xmlns="" id="{9E679588-0338-4884-8650-48C1344545F1}"/>
                </a:ext>
              </a:extLst>
            </p:cNvPr>
            <p:cNvCxnSpPr>
              <a:cxnSpLocks/>
            </p:cNvCxnSpPr>
            <p:nvPr/>
          </p:nvCxnSpPr>
          <p:spPr>
            <a:xfrm>
              <a:off x="8124827" y="3737973"/>
              <a:ext cx="3394074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接连接符 35">
              <a:extLst>
                <a:ext uri="{FF2B5EF4-FFF2-40B4-BE49-F238E27FC236}">
                  <a16:creationId xmlns:a16="http://schemas.microsoft.com/office/drawing/2014/main" xmlns="" id="{4D4C0055-C4BF-484F-9B8C-E57F8D45892B}"/>
                </a:ext>
              </a:extLst>
            </p:cNvPr>
            <p:cNvCxnSpPr>
              <a:cxnSpLocks/>
            </p:cNvCxnSpPr>
            <p:nvPr/>
          </p:nvCxnSpPr>
          <p:spPr>
            <a:xfrm>
              <a:off x="8124827" y="5021982"/>
              <a:ext cx="3394074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50611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9241CADF-037D-40AB-BDE2-B4B1B7D80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08484870-140F-443F-A572-3A270EDD4A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428114D5-49D7-4D8B-AB72-775DCAB66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5" name="24124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E658A74F-E3E8-4D9A-B732-7ABC1A37025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1282700"/>
            <a:ext cx="12192000" cy="5575300"/>
            <a:chOff x="0" y="1282700"/>
            <a:chExt cx="12192000" cy="5575300"/>
          </a:xfrm>
        </p:grpSpPr>
        <p:sp>
          <p:nvSpPr>
            <p:cNvPr id="6" name="îśḷíde">
              <a:extLst>
                <a:ext uri="{FF2B5EF4-FFF2-40B4-BE49-F238E27FC236}">
                  <a16:creationId xmlns:a16="http://schemas.microsoft.com/office/drawing/2014/main" xmlns="" id="{7FD766C2-DD72-4A16-B296-8FF2E86EEFFE}"/>
                </a:ext>
              </a:extLst>
            </p:cNvPr>
            <p:cNvSpPr/>
            <p:nvPr/>
          </p:nvSpPr>
          <p:spPr>
            <a:xfrm flipH="1">
              <a:off x="0" y="5207000"/>
              <a:ext cx="12192000" cy="16510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lnTo>
                    <a:pt x="0" y="102222"/>
                  </a:lnTo>
                  <a:lnTo>
                    <a:pt x="583" y="102222"/>
                  </a:lnTo>
                  <a:lnTo>
                    <a:pt x="583" y="89777"/>
                  </a:lnTo>
                  <a:lnTo>
                    <a:pt x="4166" y="89777"/>
                  </a:lnTo>
                  <a:lnTo>
                    <a:pt x="4166" y="79111"/>
                  </a:lnTo>
                  <a:lnTo>
                    <a:pt x="6416" y="79111"/>
                  </a:lnTo>
                  <a:lnTo>
                    <a:pt x="6416" y="91111"/>
                  </a:lnTo>
                  <a:lnTo>
                    <a:pt x="7625" y="91111"/>
                  </a:lnTo>
                  <a:lnTo>
                    <a:pt x="7625" y="79111"/>
                  </a:lnTo>
                  <a:lnTo>
                    <a:pt x="8958" y="79111"/>
                  </a:lnTo>
                  <a:lnTo>
                    <a:pt x="8958" y="45333"/>
                  </a:lnTo>
                  <a:lnTo>
                    <a:pt x="9541" y="45333"/>
                  </a:lnTo>
                  <a:lnTo>
                    <a:pt x="9541" y="39111"/>
                  </a:lnTo>
                  <a:lnTo>
                    <a:pt x="10958" y="39111"/>
                  </a:lnTo>
                  <a:lnTo>
                    <a:pt x="10958" y="45333"/>
                  </a:lnTo>
                  <a:lnTo>
                    <a:pt x="11583" y="45333"/>
                  </a:lnTo>
                  <a:lnTo>
                    <a:pt x="11583" y="76000"/>
                  </a:lnTo>
                  <a:lnTo>
                    <a:pt x="12083" y="76000"/>
                  </a:lnTo>
                  <a:lnTo>
                    <a:pt x="12083" y="95555"/>
                  </a:lnTo>
                  <a:lnTo>
                    <a:pt x="13250" y="95555"/>
                  </a:lnTo>
                  <a:lnTo>
                    <a:pt x="13250" y="60000"/>
                  </a:lnTo>
                  <a:lnTo>
                    <a:pt x="14041" y="60000"/>
                  </a:lnTo>
                  <a:lnTo>
                    <a:pt x="14041" y="45333"/>
                  </a:lnTo>
                  <a:lnTo>
                    <a:pt x="14583" y="45333"/>
                  </a:lnTo>
                  <a:lnTo>
                    <a:pt x="14583" y="27555"/>
                  </a:lnTo>
                  <a:lnTo>
                    <a:pt x="14958" y="27555"/>
                  </a:lnTo>
                  <a:lnTo>
                    <a:pt x="14958" y="14222"/>
                  </a:lnTo>
                  <a:lnTo>
                    <a:pt x="15333" y="14222"/>
                  </a:lnTo>
                  <a:lnTo>
                    <a:pt x="15333" y="0"/>
                  </a:lnTo>
                  <a:lnTo>
                    <a:pt x="15958" y="0"/>
                  </a:lnTo>
                  <a:lnTo>
                    <a:pt x="15958" y="13777"/>
                  </a:lnTo>
                  <a:lnTo>
                    <a:pt x="16416" y="13777"/>
                  </a:lnTo>
                  <a:lnTo>
                    <a:pt x="16416" y="24888"/>
                  </a:lnTo>
                  <a:lnTo>
                    <a:pt x="16791" y="24888"/>
                  </a:lnTo>
                  <a:lnTo>
                    <a:pt x="16791" y="46222"/>
                  </a:lnTo>
                  <a:lnTo>
                    <a:pt x="17333" y="46222"/>
                  </a:lnTo>
                  <a:lnTo>
                    <a:pt x="17333" y="61333"/>
                  </a:lnTo>
                  <a:lnTo>
                    <a:pt x="17916" y="61333"/>
                  </a:lnTo>
                  <a:lnTo>
                    <a:pt x="17916" y="101333"/>
                  </a:lnTo>
                  <a:lnTo>
                    <a:pt x="18875" y="101333"/>
                  </a:lnTo>
                  <a:lnTo>
                    <a:pt x="18875" y="92000"/>
                  </a:lnTo>
                  <a:lnTo>
                    <a:pt x="20958" y="92000"/>
                  </a:lnTo>
                  <a:lnTo>
                    <a:pt x="20958" y="96444"/>
                  </a:lnTo>
                  <a:lnTo>
                    <a:pt x="21750" y="96444"/>
                  </a:lnTo>
                  <a:lnTo>
                    <a:pt x="21750" y="54666"/>
                  </a:lnTo>
                  <a:lnTo>
                    <a:pt x="22333" y="54666"/>
                  </a:lnTo>
                  <a:lnTo>
                    <a:pt x="22333" y="42666"/>
                  </a:lnTo>
                  <a:lnTo>
                    <a:pt x="24166" y="42666"/>
                  </a:lnTo>
                  <a:lnTo>
                    <a:pt x="24166" y="53777"/>
                  </a:lnTo>
                  <a:lnTo>
                    <a:pt x="24583" y="56888"/>
                  </a:lnTo>
                  <a:lnTo>
                    <a:pt x="24583" y="85777"/>
                  </a:lnTo>
                  <a:lnTo>
                    <a:pt x="25291" y="85777"/>
                  </a:lnTo>
                  <a:lnTo>
                    <a:pt x="25291" y="79555"/>
                  </a:lnTo>
                  <a:lnTo>
                    <a:pt x="27125" y="79555"/>
                  </a:lnTo>
                  <a:lnTo>
                    <a:pt x="27125" y="86222"/>
                  </a:lnTo>
                  <a:lnTo>
                    <a:pt x="28208" y="86222"/>
                  </a:lnTo>
                  <a:lnTo>
                    <a:pt x="28208" y="92000"/>
                  </a:lnTo>
                  <a:lnTo>
                    <a:pt x="29416" y="92000"/>
                  </a:lnTo>
                  <a:lnTo>
                    <a:pt x="29416" y="83555"/>
                  </a:lnTo>
                  <a:lnTo>
                    <a:pt x="30250" y="83555"/>
                  </a:lnTo>
                  <a:lnTo>
                    <a:pt x="30250" y="65777"/>
                  </a:lnTo>
                  <a:lnTo>
                    <a:pt x="35041" y="65777"/>
                  </a:lnTo>
                  <a:lnTo>
                    <a:pt x="35041" y="83555"/>
                  </a:lnTo>
                  <a:lnTo>
                    <a:pt x="35875" y="83555"/>
                  </a:lnTo>
                  <a:lnTo>
                    <a:pt x="35875" y="65777"/>
                  </a:lnTo>
                  <a:lnTo>
                    <a:pt x="39916" y="65777"/>
                  </a:lnTo>
                  <a:lnTo>
                    <a:pt x="39916" y="72888"/>
                  </a:lnTo>
                  <a:lnTo>
                    <a:pt x="41041" y="72888"/>
                  </a:lnTo>
                  <a:lnTo>
                    <a:pt x="41041" y="99555"/>
                  </a:lnTo>
                  <a:lnTo>
                    <a:pt x="42583" y="99555"/>
                  </a:lnTo>
                  <a:lnTo>
                    <a:pt x="42583" y="76888"/>
                  </a:lnTo>
                  <a:lnTo>
                    <a:pt x="45250" y="56000"/>
                  </a:lnTo>
                  <a:lnTo>
                    <a:pt x="47875" y="76888"/>
                  </a:lnTo>
                  <a:lnTo>
                    <a:pt x="47875" y="88888"/>
                  </a:lnTo>
                  <a:lnTo>
                    <a:pt x="48666" y="88888"/>
                  </a:lnTo>
                  <a:lnTo>
                    <a:pt x="48666" y="104000"/>
                  </a:lnTo>
                  <a:lnTo>
                    <a:pt x="49208" y="104000"/>
                  </a:lnTo>
                  <a:lnTo>
                    <a:pt x="49208" y="73333"/>
                  </a:lnTo>
                  <a:lnTo>
                    <a:pt x="51500" y="73333"/>
                  </a:lnTo>
                  <a:lnTo>
                    <a:pt x="51500" y="85777"/>
                  </a:lnTo>
                  <a:lnTo>
                    <a:pt x="53708" y="85777"/>
                  </a:lnTo>
                  <a:lnTo>
                    <a:pt x="53708" y="94666"/>
                  </a:lnTo>
                  <a:lnTo>
                    <a:pt x="54500" y="94666"/>
                  </a:lnTo>
                  <a:lnTo>
                    <a:pt x="54500" y="85777"/>
                  </a:lnTo>
                  <a:lnTo>
                    <a:pt x="57125" y="85777"/>
                  </a:lnTo>
                  <a:lnTo>
                    <a:pt x="57125" y="102222"/>
                  </a:lnTo>
                  <a:lnTo>
                    <a:pt x="57625" y="102222"/>
                  </a:lnTo>
                  <a:lnTo>
                    <a:pt x="57625" y="104888"/>
                  </a:lnTo>
                  <a:lnTo>
                    <a:pt x="58875" y="104888"/>
                  </a:lnTo>
                  <a:lnTo>
                    <a:pt x="58875" y="94222"/>
                  </a:lnTo>
                  <a:lnTo>
                    <a:pt x="61666" y="94222"/>
                  </a:lnTo>
                  <a:lnTo>
                    <a:pt x="61666" y="89777"/>
                  </a:lnTo>
                  <a:lnTo>
                    <a:pt x="62250" y="89777"/>
                  </a:lnTo>
                  <a:lnTo>
                    <a:pt x="62250" y="84000"/>
                  </a:lnTo>
                  <a:lnTo>
                    <a:pt x="62833" y="84000"/>
                  </a:lnTo>
                  <a:lnTo>
                    <a:pt x="62833" y="88888"/>
                  </a:lnTo>
                  <a:lnTo>
                    <a:pt x="63500" y="88888"/>
                  </a:lnTo>
                  <a:lnTo>
                    <a:pt x="63500" y="83111"/>
                  </a:lnTo>
                  <a:lnTo>
                    <a:pt x="64999" y="83111"/>
                  </a:lnTo>
                  <a:lnTo>
                    <a:pt x="64999" y="88444"/>
                  </a:lnTo>
                  <a:lnTo>
                    <a:pt x="65666" y="88444"/>
                  </a:lnTo>
                  <a:lnTo>
                    <a:pt x="65666" y="103111"/>
                  </a:lnTo>
                  <a:lnTo>
                    <a:pt x="66916" y="103111"/>
                  </a:lnTo>
                  <a:lnTo>
                    <a:pt x="66916" y="82666"/>
                  </a:lnTo>
                  <a:lnTo>
                    <a:pt x="69375" y="82666"/>
                  </a:lnTo>
                  <a:lnTo>
                    <a:pt x="69375" y="88888"/>
                  </a:lnTo>
                  <a:lnTo>
                    <a:pt x="70416" y="88888"/>
                  </a:lnTo>
                  <a:lnTo>
                    <a:pt x="70416" y="46222"/>
                  </a:lnTo>
                  <a:lnTo>
                    <a:pt x="71500" y="35111"/>
                  </a:lnTo>
                  <a:lnTo>
                    <a:pt x="72458" y="45777"/>
                  </a:lnTo>
                  <a:lnTo>
                    <a:pt x="72458" y="103111"/>
                  </a:lnTo>
                  <a:lnTo>
                    <a:pt x="73583" y="103111"/>
                  </a:lnTo>
                  <a:lnTo>
                    <a:pt x="73583" y="47555"/>
                  </a:lnTo>
                  <a:lnTo>
                    <a:pt x="76916" y="47555"/>
                  </a:lnTo>
                  <a:lnTo>
                    <a:pt x="76916" y="97777"/>
                  </a:lnTo>
                  <a:lnTo>
                    <a:pt x="77541" y="97777"/>
                  </a:lnTo>
                  <a:lnTo>
                    <a:pt x="77541" y="85777"/>
                  </a:lnTo>
                  <a:lnTo>
                    <a:pt x="79000" y="85777"/>
                  </a:lnTo>
                  <a:lnTo>
                    <a:pt x="79000" y="92888"/>
                  </a:lnTo>
                  <a:lnTo>
                    <a:pt x="82000" y="92888"/>
                  </a:lnTo>
                  <a:lnTo>
                    <a:pt x="82000" y="102222"/>
                  </a:lnTo>
                  <a:lnTo>
                    <a:pt x="84333" y="102222"/>
                  </a:lnTo>
                  <a:lnTo>
                    <a:pt x="84333" y="88000"/>
                  </a:lnTo>
                  <a:lnTo>
                    <a:pt x="85583" y="88000"/>
                  </a:lnTo>
                  <a:lnTo>
                    <a:pt x="85583" y="96000"/>
                  </a:lnTo>
                  <a:lnTo>
                    <a:pt x="86500" y="96000"/>
                  </a:lnTo>
                  <a:lnTo>
                    <a:pt x="86500" y="91111"/>
                  </a:lnTo>
                  <a:lnTo>
                    <a:pt x="87791" y="91111"/>
                  </a:lnTo>
                  <a:lnTo>
                    <a:pt x="87791" y="84888"/>
                  </a:lnTo>
                  <a:lnTo>
                    <a:pt x="89375" y="84888"/>
                  </a:lnTo>
                  <a:lnTo>
                    <a:pt x="89375" y="100888"/>
                  </a:lnTo>
                  <a:lnTo>
                    <a:pt x="90541" y="100888"/>
                  </a:lnTo>
                  <a:lnTo>
                    <a:pt x="90541" y="63111"/>
                  </a:lnTo>
                  <a:lnTo>
                    <a:pt x="92458" y="63555"/>
                  </a:lnTo>
                  <a:lnTo>
                    <a:pt x="92458" y="84444"/>
                  </a:lnTo>
                  <a:lnTo>
                    <a:pt x="93750" y="84444"/>
                  </a:lnTo>
                  <a:lnTo>
                    <a:pt x="93750" y="97333"/>
                  </a:lnTo>
                  <a:lnTo>
                    <a:pt x="95375" y="97333"/>
                  </a:lnTo>
                  <a:lnTo>
                    <a:pt x="95375" y="83111"/>
                  </a:lnTo>
                  <a:lnTo>
                    <a:pt x="96500" y="83111"/>
                  </a:lnTo>
                  <a:lnTo>
                    <a:pt x="96500" y="77333"/>
                  </a:lnTo>
                  <a:lnTo>
                    <a:pt x="98000" y="77333"/>
                  </a:lnTo>
                  <a:lnTo>
                    <a:pt x="98000" y="81333"/>
                  </a:lnTo>
                  <a:lnTo>
                    <a:pt x="99041" y="81333"/>
                  </a:lnTo>
                  <a:lnTo>
                    <a:pt x="99041" y="75111"/>
                  </a:lnTo>
                  <a:lnTo>
                    <a:pt x="101000" y="59555"/>
                  </a:lnTo>
                  <a:lnTo>
                    <a:pt x="102916" y="75111"/>
                  </a:lnTo>
                  <a:lnTo>
                    <a:pt x="102916" y="96444"/>
                  </a:lnTo>
                  <a:lnTo>
                    <a:pt x="103250" y="96444"/>
                  </a:lnTo>
                  <a:lnTo>
                    <a:pt x="103250" y="92000"/>
                  </a:lnTo>
                  <a:lnTo>
                    <a:pt x="104750" y="92000"/>
                  </a:lnTo>
                  <a:lnTo>
                    <a:pt x="104750" y="111111"/>
                  </a:lnTo>
                  <a:lnTo>
                    <a:pt x="105125" y="111111"/>
                  </a:lnTo>
                  <a:lnTo>
                    <a:pt x="105125" y="101777"/>
                  </a:lnTo>
                  <a:lnTo>
                    <a:pt x="106291" y="101777"/>
                  </a:lnTo>
                  <a:lnTo>
                    <a:pt x="106291" y="81777"/>
                  </a:lnTo>
                  <a:lnTo>
                    <a:pt x="107791" y="81777"/>
                  </a:lnTo>
                  <a:lnTo>
                    <a:pt x="107791" y="101777"/>
                  </a:lnTo>
                  <a:lnTo>
                    <a:pt x="107833" y="101777"/>
                  </a:lnTo>
                  <a:lnTo>
                    <a:pt x="107833" y="93777"/>
                  </a:lnTo>
                  <a:lnTo>
                    <a:pt x="108583" y="93777"/>
                  </a:lnTo>
                  <a:lnTo>
                    <a:pt x="108583" y="89777"/>
                  </a:lnTo>
                  <a:lnTo>
                    <a:pt x="110166" y="89777"/>
                  </a:lnTo>
                  <a:lnTo>
                    <a:pt x="110166" y="103111"/>
                  </a:lnTo>
                  <a:lnTo>
                    <a:pt x="110416" y="103111"/>
                  </a:lnTo>
                  <a:lnTo>
                    <a:pt x="110416" y="93777"/>
                  </a:lnTo>
                  <a:lnTo>
                    <a:pt x="110625" y="93777"/>
                  </a:lnTo>
                  <a:lnTo>
                    <a:pt x="110625" y="76444"/>
                  </a:lnTo>
                  <a:lnTo>
                    <a:pt x="111416" y="76444"/>
                  </a:lnTo>
                  <a:lnTo>
                    <a:pt x="111416" y="68444"/>
                  </a:lnTo>
                  <a:lnTo>
                    <a:pt x="111833" y="68444"/>
                  </a:lnTo>
                  <a:lnTo>
                    <a:pt x="111833" y="64000"/>
                  </a:lnTo>
                  <a:lnTo>
                    <a:pt x="112916" y="64000"/>
                  </a:lnTo>
                  <a:lnTo>
                    <a:pt x="112916" y="68444"/>
                  </a:lnTo>
                  <a:lnTo>
                    <a:pt x="113375" y="68444"/>
                  </a:lnTo>
                  <a:lnTo>
                    <a:pt x="113375" y="91555"/>
                  </a:lnTo>
                  <a:lnTo>
                    <a:pt x="113416" y="91555"/>
                  </a:lnTo>
                  <a:lnTo>
                    <a:pt x="113416" y="91555"/>
                  </a:lnTo>
                  <a:lnTo>
                    <a:pt x="114666" y="91555"/>
                  </a:lnTo>
                  <a:lnTo>
                    <a:pt x="114666" y="79555"/>
                  </a:lnTo>
                  <a:lnTo>
                    <a:pt x="115250" y="79555"/>
                  </a:lnTo>
                  <a:lnTo>
                    <a:pt x="115250" y="68444"/>
                  </a:lnTo>
                  <a:lnTo>
                    <a:pt x="115625" y="68444"/>
                  </a:lnTo>
                  <a:lnTo>
                    <a:pt x="115625" y="55111"/>
                  </a:lnTo>
                  <a:lnTo>
                    <a:pt x="115916" y="55111"/>
                  </a:lnTo>
                  <a:lnTo>
                    <a:pt x="115916" y="44888"/>
                  </a:lnTo>
                  <a:lnTo>
                    <a:pt x="116250" y="44888"/>
                  </a:lnTo>
                  <a:lnTo>
                    <a:pt x="116250" y="34222"/>
                  </a:lnTo>
                  <a:lnTo>
                    <a:pt x="116666" y="34222"/>
                  </a:lnTo>
                  <a:lnTo>
                    <a:pt x="116666" y="44444"/>
                  </a:lnTo>
                  <a:lnTo>
                    <a:pt x="117000" y="44444"/>
                  </a:lnTo>
                  <a:lnTo>
                    <a:pt x="117000" y="52888"/>
                  </a:lnTo>
                  <a:lnTo>
                    <a:pt x="117333" y="52888"/>
                  </a:lnTo>
                  <a:lnTo>
                    <a:pt x="117333" y="68888"/>
                  </a:lnTo>
                  <a:lnTo>
                    <a:pt x="117708" y="68888"/>
                  </a:lnTo>
                  <a:lnTo>
                    <a:pt x="117708" y="80444"/>
                  </a:lnTo>
                  <a:lnTo>
                    <a:pt x="118166" y="80444"/>
                  </a:lnTo>
                  <a:lnTo>
                    <a:pt x="118166" y="92000"/>
                  </a:lnTo>
                  <a:lnTo>
                    <a:pt x="120000" y="92000"/>
                  </a:lnTo>
                  <a:lnTo>
                    <a:pt x="120000" y="120000"/>
                  </a:lnTo>
                  <a:lnTo>
                    <a:pt x="0" y="12000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40" tIns="45720" rIns="91440" bIns="45720" anchor="t" anchorCtr="0">
              <a:normAutofit fontScale="25000" lnSpcReduction="20000"/>
            </a:bodyPr>
            <a:lstStyle>
              <a:def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1pPr>
              <a:lvl2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2pPr>
              <a:lvl3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3pPr>
              <a:lvl4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4pPr>
              <a:lvl5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5pPr>
              <a:lvl6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6pPr>
              <a:lvl7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7pPr>
              <a:lvl8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8pPr>
              <a:lvl9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7" name="îṣḷiḋê">
              <a:extLst>
                <a:ext uri="{FF2B5EF4-FFF2-40B4-BE49-F238E27FC236}">
                  <a16:creationId xmlns:a16="http://schemas.microsoft.com/office/drawing/2014/main" xmlns="" id="{9F6C66AF-5724-42F7-A86B-7127C040EE83}"/>
                </a:ext>
              </a:extLst>
            </p:cNvPr>
            <p:cNvSpPr/>
            <p:nvPr/>
          </p:nvSpPr>
          <p:spPr>
            <a:xfrm>
              <a:off x="1646563" y="1594421"/>
              <a:ext cx="9656437" cy="212965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1167" y="120000"/>
                  </a:moveTo>
                  <a:lnTo>
                    <a:pt x="105350" y="120000"/>
                  </a:lnTo>
                  <a:lnTo>
                    <a:pt x="105350" y="120000"/>
                  </a:lnTo>
                  <a:cubicBezTo>
                    <a:pt x="105603" y="120000"/>
                    <a:pt x="105843" y="119933"/>
                    <a:pt x="106097" y="119933"/>
                  </a:cubicBezTo>
                  <a:lnTo>
                    <a:pt x="106844" y="119733"/>
                  </a:lnTo>
                  <a:lnTo>
                    <a:pt x="107578" y="119334"/>
                  </a:lnTo>
                  <a:cubicBezTo>
                    <a:pt x="107818" y="119134"/>
                    <a:pt x="108058" y="119001"/>
                    <a:pt x="108298" y="118801"/>
                  </a:cubicBezTo>
                  <a:cubicBezTo>
                    <a:pt x="108539" y="118601"/>
                    <a:pt x="108765" y="118335"/>
                    <a:pt x="109006" y="118135"/>
                  </a:cubicBezTo>
                  <a:lnTo>
                    <a:pt x="109699" y="117336"/>
                  </a:lnTo>
                  <a:cubicBezTo>
                    <a:pt x="109926" y="117003"/>
                    <a:pt x="110166" y="116736"/>
                    <a:pt x="110393" y="116403"/>
                  </a:cubicBezTo>
                  <a:cubicBezTo>
                    <a:pt x="110607" y="116004"/>
                    <a:pt x="110833" y="115671"/>
                    <a:pt x="111047" y="115271"/>
                  </a:cubicBezTo>
                  <a:lnTo>
                    <a:pt x="111701" y="114073"/>
                  </a:lnTo>
                  <a:cubicBezTo>
                    <a:pt x="111914" y="113607"/>
                    <a:pt x="112114" y="113207"/>
                    <a:pt x="112328" y="112741"/>
                  </a:cubicBezTo>
                  <a:cubicBezTo>
                    <a:pt x="112528" y="112275"/>
                    <a:pt x="112741" y="111809"/>
                    <a:pt x="112941" y="111342"/>
                  </a:cubicBezTo>
                  <a:lnTo>
                    <a:pt x="113542" y="109744"/>
                  </a:lnTo>
                  <a:cubicBezTo>
                    <a:pt x="113742" y="109211"/>
                    <a:pt x="113929" y="108612"/>
                    <a:pt x="114129" y="108079"/>
                  </a:cubicBezTo>
                  <a:cubicBezTo>
                    <a:pt x="114302" y="107480"/>
                    <a:pt x="114489" y="106881"/>
                    <a:pt x="114663" y="106281"/>
                  </a:cubicBezTo>
                  <a:cubicBezTo>
                    <a:pt x="114849" y="105682"/>
                    <a:pt x="115023" y="105083"/>
                    <a:pt x="115210" y="104483"/>
                  </a:cubicBezTo>
                  <a:lnTo>
                    <a:pt x="115703" y="102419"/>
                  </a:lnTo>
                  <a:lnTo>
                    <a:pt x="116197" y="100355"/>
                  </a:lnTo>
                  <a:lnTo>
                    <a:pt x="116664" y="98224"/>
                  </a:lnTo>
                  <a:lnTo>
                    <a:pt x="117091" y="95893"/>
                  </a:lnTo>
                  <a:cubicBezTo>
                    <a:pt x="117224" y="95094"/>
                    <a:pt x="117371" y="94361"/>
                    <a:pt x="117505" y="93562"/>
                  </a:cubicBezTo>
                  <a:cubicBezTo>
                    <a:pt x="117625" y="92763"/>
                    <a:pt x="117758" y="91897"/>
                    <a:pt x="117878" y="91098"/>
                  </a:cubicBezTo>
                  <a:cubicBezTo>
                    <a:pt x="117998" y="90299"/>
                    <a:pt x="118105" y="89433"/>
                    <a:pt x="118225" y="88634"/>
                  </a:cubicBezTo>
                  <a:cubicBezTo>
                    <a:pt x="118332" y="87769"/>
                    <a:pt x="118452" y="86836"/>
                    <a:pt x="118559" y="85971"/>
                  </a:cubicBezTo>
                  <a:lnTo>
                    <a:pt x="118839" y="83374"/>
                  </a:lnTo>
                  <a:cubicBezTo>
                    <a:pt x="118932" y="82441"/>
                    <a:pt x="119012" y="81509"/>
                    <a:pt x="119106" y="80577"/>
                  </a:cubicBezTo>
                  <a:cubicBezTo>
                    <a:pt x="119186" y="79711"/>
                    <a:pt x="119266" y="78779"/>
                    <a:pt x="119346" y="77913"/>
                  </a:cubicBezTo>
                  <a:cubicBezTo>
                    <a:pt x="119412" y="76914"/>
                    <a:pt x="119466" y="75982"/>
                    <a:pt x="119533" y="74983"/>
                  </a:cubicBezTo>
                  <a:cubicBezTo>
                    <a:pt x="119586" y="74051"/>
                    <a:pt x="119653" y="73052"/>
                    <a:pt x="119706" y="72119"/>
                  </a:cubicBezTo>
                  <a:cubicBezTo>
                    <a:pt x="119746" y="71120"/>
                    <a:pt x="119799" y="70122"/>
                    <a:pt x="119839" y="69123"/>
                  </a:cubicBezTo>
                  <a:cubicBezTo>
                    <a:pt x="119866" y="68124"/>
                    <a:pt x="119906" y="67125"/>
                    <a:pt x="119933" y="66126"/>
                  </a:cubicBezTo>
                  <a:cubicBezTo>
                    <a:pt x="119946" y="65127"/>
                    <a:pt x="119973" y="64062"/>
                    <a:pt x="119986" y="63063"/>
                  </a:cubicBezTo>
                  <a:cubicBezTo>
                    <a:pt x="119986" y="62064"/>
                    <a:pt x="120000" y="60998"/>
                    <a:pt x="120000" y="60000"/>
                  </a:cubicBezTo>
                  <a:lnTo>
                    <a:pt x="120000" y="60000"/>
                  </a:lnTo>
                  <a:cubicBezTo>
                    <a:pt x="120000" y="59001"/>
                    <a:pt x="119986" y="57935"/>
                    <a:pt x="119986" y="56936"/>
                  </a:cubicBezTo>
                  <a:cubicBezTo>
                    <a:pt x="119973" y="55937"/>
                    <a:pt x="119946" y="54872"/>
                    <a:pt x="119933" y="53873"/>
                  </a:cubicBezTo>
                  <a:cubicBezTo>
                    <a:pt x="119906" y="52874"/>
                    <a:pt x="119866" y="51875"/>
                    <a:pt x="119839" y="50876"/>
                  </a:cubicBezTo>
                  <a:cubicBezTo>
                    <a:pt x="119799" y="49877"/>
                    <a:pt x="119746" y="48879"/>
                    <a:pt x="119706" y="47880"/>
                  </a:cubicBezTo>
                  <a:cubicBezTo>
                    <a:pt x="119653" y="46947"/>
                    <a:pt x="119586" y="45948"/>
                    <a:pt x="119533" y="45016"/>
                  </a:cubicBezTo>
                  <a:cubicBezTo>
                    <a:pt x="119466" y="44017"/>
                    <a:pt x="119412" y="43085"/>
                    <a:pt x="119346" y="42086"/>
                  </a:cubicBezTo>
                  <a:cubicBezTo>
                    <a:pt x="119266" y="41220"/>
                    <a:pt x="119186" y="40288"/>
                    <a:pt x="119106" y="39422"/>
                  </a:cubicBezTo>
                  <a:cubicBezTo>
                    <a:pt x="119012" y="38490"/>
                    <a:pt x="118932" y="37558"/>
                    <a:pt x="118839" y="36625"/>
                  </a:cubicBezTo>
                  <a:lnTo>
                    <a:pt x="118559" y="34028"/>
                  </a:lnTo>
                  <a:cubicBezTo>
                    <a:pt x="118452" y="33163"/>
                    <a:pt x="118332" y="32230"/>
                    <a:pt x="118225" y="31365"/>
                  </a:cubicBezTo>
                  <a:cubicBezTo>
                    <a:pt x="118105" y="30566"/>
                    <a:pt x="117998" y="29700"/>
                    <a:pt x="117878" y="28901"/>
                  </a:cubicBezTo>
                  <a:cubicBezTo>
                    <a:pt x="117758" y="28102"/>
                    <a:pt x="117625" y="27236"/>
                    <a:pt x="117505" y="26437"/>
                  </a:cubicBezTo>
                  <a:cubicBezTo>
                    <a:pt x="117371" y="25638"/>
                    <a:pt x="117224" y="24905"/>
                    <a:pt x="117091" y="24106"/>
                  </a:cubicBezTo>
                  <a:lnTo>
                    <a:pt x="116664" y="21775"/>
                  </a:lnTo>
                  <a:lnTo>
                    <a:pt x="116197" y="19644"/>
                  </a:lnTo>
                  <a:lnTo>
                    <a:pt x="115703" y="17580"/>
                  </a:lnTo>
                  <a:lnTo>
                    <a:pt x="115210" y="15516"/>
                  </a:lnTo>
                  <a:cubicBezTo>
                    <a:pt x="115023" y="14916"/>
                    <a:pt x="114849" y="14317"/>
                    <a:pt x="114663" y="13718"/>
                  </a:cubicBezTo>
                  <a:cubicBezTo>
                    <a:pt x="114489" y="13118"/>
                    <a:pt x="114302" y="12519"/>
                    <a:pt x="114129" y="11920"/>
                  </a:cubicBezTo>
                  <a:cubicBezTo>
                    <a:pt x="113929" y="11387"/>
                    <a:pt x="113742" y="10788"/>
                    <a:pt x="113542" y="10255"/>
                  </a:cubicBezTo>
                  <a:lnTo>
                    <a:pt x="112941" y="8657"/>
                  </a:lnTo>
                  <a:cubicBezTo>
                    <a:pt x="112741" y="8190"/>
                    <a:pt x="112528" y="7724"/>
                    <a:pt x="112328" y="7258"/>
                  </a:cubicBezTo>
                  <a:cubicBezTo>
                    <a:pt x="112114" y="6792"/>
                    <a:pt x="111914" y="6392"/>
                    <a:pt x="111701" y="5926"/>
                  </a:cubicBezTo>
                  <a:lnTo>
                    <a:pt x="111047" y="4728"/>
                  </a:lnTo>
                  <a:cubicBezTo>
                    <a:pt x="110833" y="4328"/>
                    <a:pt x="110607" y="3995"/>
                    <a:pt x="110393" y="3596"/>
                  </a:cubicBezTo>
                  <a:cubicBezTo>
                    <a:pt x="110166" y="3263"/>
                    <a:pt x="109926" y="2996"/>
                    <a:pt x="109699" y="2663"/>
                  </a:cubicBezTo>
                  <a:lnTo>
                    <a:pt x="109006" y="1864"/>
                  </a:lnTo>
                  <a:cubicBezTo>
                    <a:pt x="108765" y="1664"/>
                    <a:pt x="108539" y="1398"/>
                    <a:pt x="108298" y="1198"/>
                  </a:cubicBezTo>
                  <a:cubicBezTo>
                    <a:pt x="108058" y="998"/>
                    <a:pt x="107818" y="865"/>
                    <a:pt x="107578" y="665"/>
                  </a:cubicBezTo>
                  <a:lnTo>
                    <a:pt x="106844" y="266"/>
                  </a:lnTo>
                  <a:lnTo>
                    <a:pt x="106097" y="66"/>
                  </a:lnTo>
                  <a:cubicBezTo>
                    <a:pt x="105843" y="66"/>
                    <a:pt x="105603" y="0"/>
                    <a:pt x="105350" y="0"/>
                  </a:cubicBezTo>
                  <a:lnTo>
                    <a:pt x="14649" y="0"/>
                  </a:lnTo>
                  <a:lnTo>
                    <a:pt x="14649" y="0"/>
                  </a:lnTo>
                  <a:cubicBezTo>
                    <a:pt x="14396" y="0"/>
                    <a:pt x="14156" y="66"/>
                    <a:pt x="13902" y="66"/>
                  </a:cubicBezTo>
                  <a:lnTo>
                    <a:pt x="13155" y="266"/>
                  </a:lnTo>
                  <a:lnTo>
                    <a:pt x="12421" y="665"/>
                  </a:lnTo>
                  <a:cubicBezTo>
                    <a:pt x="12181" y="865"/>
                    <a:pt x="11941" y="998"/>
                    <a:pt x="11701" y="1198"/>
                  </a:cubicBezTo>
                  <a:cubicBezTo>
                    <a:pt x="11460" y="1398"/>
                    <a:pt x="11234" y="1664"/>
                    <a:pt x="10993" y="1864"/>
                  </a:cubicBezTo>
                  <a:lnTo>
                    <a:pt x="10300" y="2663"/>
                  </a:lnTo>
                  <a:cubicBezTo>
                    <a:pt x="10073" y="2996"/>
                    <a:pt x="9833" y="3263"/>
                    <a:pt x="9606" y="3596"/>
                  </a:cubicBezTo>
                  <a:cubicBezTo>
                    <a:pt x="9392" y="3995"/>
                    <a:pt x="9166" y="4328"/>
                    <a:pt x="8952" y="4728"/>
                  </a:cubicBezTo>
                  <a:lnTo>
                    <a:pt x="8298" y="5926"/>
                  </a:lnTo>
                  <a:cubicBezTo>
                    <a:pt x="8085" y="6392"/>
                    <a:pt x="7885" y="6792"/>
                    <a:pt x="7671" y="7258"/>
                  </a:cubicBezTo>
                  <a:cubicBezTo>
                    <a:pt x="7471" y="7724"/>
                    <a:pt x="7258" y="8190"/>
                    <a:pt x="7058" y="8657"/>
                  </a:cubicBezTo>
                  <a:lnTo>
                    <a:pt x="6457" y="10255"/>
                  </a:lnTo>
                  <a:cubicBezTo>
                    <a:pt x="6257" y="10788"/>
                    <a:pt x="6070" y="11387"/>
                    <a:pt x="5870" y="11920"/>
                  </a:cubicBezTo>
                  <a:cubicBezTo>
                    <a:pt x="5697" y="12519"/>
                    <a:pt x="5510" y="13118"/>
                    <a:pt x="5336" y="13718"/>
                  </a:cubicBezTo>
                  <a:cubicBezTo>
                    <a:pt x="5150" y="14317"/>
                    <a:pt x="4976" y="14916"/>
                    <a:pt x="4789" y="15516"/>
                  </a:cubicBezTo>
                  <a:lnTo>
                    <a:pt x="4296" y="17580"/>
                  </a:lnTo>
                  <a:lnTo>
                    <a:pt x="3802" y="19644"/>
                  </a:lnTo>
                  <a:lnTo>
                    <a:pt x="3335" y="21775"/>
                  </a:lnTo>
                  <a:lnTo>
                    <a:pt x="2908" y="24106"/>
                  </a:lnTo>
                  <a:cubicBezTo>
                    <a:pt x="2775" y="24905"/>
                    <a:pt x="2628" y="25638"/>
                    <a:pt x="2494" y="26437"/>
                  </a:cubicBezTo>
                  <a:cubicBezTo>
                    <a:pt x="2374" y="27236"/>
                    <a:pt x="2241" y="28102"/>
                    <a:pt x="2121" y="28901"/>
                  </a:cubicBezTo>
                  <a:cubicBezTo>
                    <a:pt x="2001" y="29700"/>
                    <a:pt x="1894" y="30566"/>
                    <a:pt x="1774" y="31365"/>
                  </a:cubicBezTo>
                  <a:cubicBezTo>
                    <a:pt x="1667" y="32230"/>
                    <a:pt x="1547" y="33163"/>
                    <a:pt x="1440" y="34028"/>
                  </a:cubicBezTo>
                  <a:lnTo>
                    <a:pt x="1160" y="36625"/>
                  </a:lnTo>
                  <a:cubicBezTo>
                    <a:pt x="1067" y="37558"/>
                    <a:pt x="987" y="38490"/>
                    <a:pt x="893" y="39422"/>
                  </a:cubicBezTo>
                  <a:cubicBezTo>
                    <a:pt x="813" y="40288"/>
                    <a:pt x="733" y="41220"/>
                    <a:pt x="653" y="42086"/>
                  </a:cubicBezTo>
                  <a:cubicBezTo>
                    <a:pt x="587" y="43085"/>
                    <a:pt x="533" y="44017"/>
                    <a:pt x="466" y="45016"/>
                  </a:cubicBezTo>
                  <a:cubicBezTo>
                    <a:pt x="413" y="45948"/>
                    <a:pt x="346" y="46947"/>
                    <a:pt x="293" y="47880"/>
                  </a:cubicBezTo>
                  <a:cubicBezTo>
                    <a:pt x="253" y="48879"/>
                    <a:pt x="200" y="49877"/>
                    <a:pt x="160" y="50876"/>
                  </a:cubicBezTo>
                  <a:cubicBezTo>
                    <a:pt x="133" y="51875"/>
                    <a:pt x="93" y="52874"/>
                    <a:pt x="66" y="53873"/>
                  </a:cubicBezTo>
                  <a:cubicBezTo>
                    <a:pt x="53" y="54872"/>
                    <a:pt x="26" y="55937"/>
                    <a:pt x="13" y="56936"/>
                  </a:cubicBezTo>
                  <a:cubicBezTo>
                    <a:pt x="13" y="57935"/>
                    <a:pt x="0" y="59001"/>
                    <a:pt x="0" y="60000"/>
                  </a:cubicBezTo>
                </a:path>
              </a:pathLst>
            </a:custGeom>
            <a:noFill/>
            <a:ln w="12700" cap="flat" cmpd="sng">
              <a:solidFill>
                <a:schemeClr val="bg1">
                  <a:lumMod val="75000"/>
                </a:schemeClr>
              </a:solidFill>
              <a:prstDash val="dash"/>
              <a:round/>
              <a:headEnd type="triangle" w="med" len="med"/>
              <a:tailEnd type="triangle" w="med" len="med"/>
            </a:ln>
          </p:spPr>
          <p:txBody>
            <a:bodyPr wrap="square" lIns="91440" tIns="45720" rIns="91440" bIns="45720" anchor="t" anchorCtr="0">
              <a:normAutofit fontScale="25000" lnSpcReduction="20000"/>
            </a:bodyPr>
            <a:lstStyle>
              <a:def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1pPr>
              <a:lvl2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2pPr>
              <a:lvl3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3pPr>
              <a:lvl4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4pPr>
              <a:lvl5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5pPr>
              <a:lvl6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6pPr>
              <a:lvl7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7pPr>
              <a:lvl8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8pPr>
              <a:lvl9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8" name="ïS1îḓe">
              <a:extLst>
                <a:ext uri="{FF2B5EF4-FFF2-40B4-BE49-F238E27FC236}">
                  <a16:creationId xmlns:a16="http://schemas.microsoft.com/office/drawing/2014/main" xmlns="" id="{2A1709A5-5BF2-40FB-86FD-59FAACC933D7}"/>
                </a:ext>
              </a:extLst>
            </p:cNvPr>
            <p:cNvSpPr/>
            <p:nvPr/>
          </p:nvSpPr>
          <p:spPr>
            <a:xfrm>
              <a:off x="3789114" y="3417093"/>
              <a:ext cx="618287" cy="618287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1pPr>
              <a:lvl2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2pPr>
              <a:lvl3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3pPr>
              <a:lvl4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4pPr>
              <a:lvl5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5pPr>
              <a:lvl6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6pPr>
              <a:lvl7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7pPr>
              <a:lvl8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8pPr>
              <a:lvl9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9" name="îs1ïḍé">
              <a:extLst>
                <a:ext uri="{FF2B5EF4-FFF2-40B4-BE49-F238E27FC236}">
                  <a16:creationId xmlns:a16="http://schemas.microsoft.com/office/drawing/2014/main" xmlns="" id="{14BA7B3B-A204-4BA2-A872-C3F535BA167E}"/>
                </a:ext>
              </a:extLst>
            </p:cNvPr>
            <p:cNvSpPr/>
            <p:nvPr/>
          </p:nvSpPr>
          <p:spPr>
            <a:xfrm>
              <a:off x="6647764" y="3417093"/>
              <a:ext cx="618287" cy="618287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1pPr>
              <a:lvl2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2pPr>
              <a:lvl3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3pPr>
              <a:lvl4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4pPr>
              <a:lvl5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5pPr>
              <a:lvl6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6pPr>
              <a:lvl7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7pPr>
              <a:lvl8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8pPr>
              <a:lvl9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0" name="îsļïḑè">
              <a:extLst>
                <a:ext uri="{FF2B5EF4-FFF2-40B4-BE49-F238E27FC236}">
                  <a16:creationId xmlns:a16="http://schemas.microsoft.com/office/drawing/2014/main" xmlns="" id="{8FE9C00B-92D9-4D3C-96A2-11E173EACAFD}"/>
                </a:ext>
              </a:extLst>
            </p:cNvPr>
            <p:cNvSpPr/>
            <p:nvPr/>
          </p:nvSpPr>
          <p:spPr>
            <a:xfrm>
              <a:off x="9506413" y="3417093"/>
              <a:ext cx="618287" cy="618287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1pPr>
              <a:lvl2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2pPr>
              <a:lvl3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3pPr>
              <a:lvl4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4pPr>
              <a:lvl5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5pPr>
              <a:lvl6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6pPr>
              <a:lvl7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7pPr>
              <a:lvl8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8pPr>
              <a:lvl9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1" name="î$liḍê">
              <a:extLst>
                <a:ext uri="{FF2B5EF4-FFF2-40B4-BE49-F238E27FC236}">
                  <a16:creationId xmlns:a16="http://schemas.microsoft.com/office/drawing/2014/main" xmlns="" id="{7AD56C89-49D5-4D51-9483-9A77014DFF0F}"/>
                </a:ext>
              </a:extLst>
            </p:cNvPr>
            <p:cNvSpPr/>
            <p:nvPr/>
          </p:nvSpPr>
          <p:spPr>
            <a:xfrm>
              <a:off x="3789114" y="1282700"/>
              <a:ext cx="618287" cy="618287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1pPr>
              <a:lvl2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2pPr>
              <a:lvl3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3pPr>
              <a:lvl4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4pPr>
              <a:lvl5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5pPr>
              <a:lvl6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6pPr>
              <a:lvl7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7pPr>
              <a:lvl8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8pPr>
              <a:lvl9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2" name="îṥḻïḍe">
              <a:extLst>
                <a:ext uri="{FF2B5EF4-FFF2-40B4-BE49-F238E27FC236}">
                  <a16:creationId xmlns:a16="http://schemas.microsoft.com/office/drawing/2014/main" xmlns="" id="{748F0563-D3F8-4C1A-96AD-0C137391DEFC}"/>
                </a:ext>
              </a:extLst>
            </p:cNvPr>
            <p:cNvSpPr/>
            <p:nvPr/>
          </p:nvSpPr>
          <p:spPr>
            <a:xfrm>
              <a:off x="1334449" y="2668774"/>
              <a:ext cx="618287" cy="6182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1pPr>
              <a:lvl2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2pPr>
              <a:lvl3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3pPr>
              <a:lvl4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4pPr>
              <a:lvl5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5pPr>
              <a:lvl6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6pPr>
              <a:lvl7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7pPr>
              <a:lvl8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8pPr>
              <a:lvl9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3" name="íṩḷiḑè">
              <a:extLst>
                <a:ext uri="{FF2B5EF4-FFF2-40B4-BE49-F238E27FC236}">
                  <a16:creationId xmlns:a16="http://schemas.microsoft.com/office/drawing/2014/main" xmlns="" id="{01CE5C43-2071-45F4-B546-BB58A413D9C8}"/>
                </a:ext>
              </a:extLst>
            </p:cNvPr>
            <p:cNvSpPr/>
            <p:nvPr/>
          </p:nvSpPr>
          <p:spPr>
            <a:xfrm>
              <a:off x="6647764" y="1282700"/>
              <a:ext cx="618287" cy="618287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1pPr>
              <a:lvl2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2pPr>
              <a:lvl3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3pPr>
              <a:lvl4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4pPr>
              <a:lvl5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5pPr>
              <a:lvl6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6pPr>
              <a:lvl7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7pPr>
              <a:lvl8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8pPr>
              <a:lvl9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4" name="ïşḻîḋè">
              <a:extLst>
                <a:ext uri="{FF2B5EF4-FFF2-40B4-BE49-F238E27FC236}">
                  <a16:creationId xmlns:a16="http://schemas.microsoft.com/office/drawing/2014/main" xmlns="" id="{92EE2376-179F-410C-B165-A1E251D8C7D6}"/>
                </a:ext>
              </a:extLst>
            </p:cNvPr>
            <p:cNvSpPr/>
            <p:nvPr/>
          </p:nvSpPr>
          <p:spPr>
            <a:xfrm>
              <a:off x="9506413" y="1282700"/>
              <a:ext cx="618287" cy="618287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1pPr>
              <a:lvl2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2pPr>
              <a:lvl3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3pPr>
              <a:lvl4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4pPr>
              <a:lvl5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5pPr>
              <a:lvl6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6pPr>
              <a:lvl7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7pPr>
              <a:lvl8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8pPr>
              <a:lvl9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/>
            </a:p>
          </p:txBody>
        </p:sp>
        <p:grpSp>
          <p:nvGrpSpPr>
            <p:cNvPr id="15" name="íṡḷîḋé">
              <a:extLst>
                <a:ext uri="{FF2B5EF4-FFF2-40B4-BE49-F238E27FC236}">
                  <a16:creationId xmlns:a16="http://schemas.microsoft.com/office/drawing/2014/main" xmlns="" id="{01702283-D323-4299-B553-B1EC6B5DFC1F}"/>
                </a:ext>
              </a:extLst>
            </p:cNvPr>
            <p:cNvGrpSpPr/>
            <p:nvPr/>
          </p:nvGrpSpPr>
          <p:grpSpPr>
            <a:xfrm>
              <a:off x="5915849" y="4154465"/>
              <a:ext cx="2082116" cy="1201838"/>
              <a:chOff x="2527145" y="4343400"/>
              <a:chExt cx="2327275" cy="1201838"/>
            </a:xfrm>
          </p:grpSpPr>
          <p:sp>
            <p:nvSpPr>
              <p:cNvPr id="41" name="ïŝḻiḓê">
                <a:extLst>
                  <a:ext uri="{FF2B5EF4-FFF2-40B4-BE49-F238E27FC236}">
                    <a16:creationId xmlns:a16="http://schemas.microsoft.com/office/drawing/2014/main" xmlns="" id="{08DBFE12-41CD-4EFC-B674-9B70793D06D5}"/>
                  </a:ext>
                </a:extLst>
              </p:cNvPr>
              <p:cNvSpPr txBox="1"/>
              <p:nvPr/>
            </p:nvSpPr>
            <p:spPr bwMode="auto">
              <a:xfrm>
                <a:off x="2527145" y="4343400"/>
                <a:ext cx="2325933" cy="3984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i="1" dirty="0"/>
                  <a:t>Text here</a:t>
                </a:r>
                <a:endParaRPr lang="zh-CN" altLang="en-US" sz="1800" b="1" i="1" dirty="0"/>
              </a:p>
            </p:txBody>
          </p:sp>
          <p:sp>
            <p:nvSpPr>
              <p:cNvPr id="42" name="îŝ1íḍê">
                <a:extLst>
                  <a:ext uri="{FF2B5EF4-FFF2-40B4-BE49-F238E27FC236}">
                    <a16:creationId xmlns:a16="http://schemas.microsoft.com/office/drawing/2014/main" xmlns="" id="{421A7DC5-3FC5-41CC-AB32-749540DF31BC}"/>
                  </a:ext>
                </a:extLst>
              </p:cNvPr>
              <p:cNvSpPr/>
              <p:nvPr/>
            </p:nvSpPr>
            <p:spPr bwMode="auto">
              <a:xfrm>
                <a:off x="2528487" y="4741861"/>
                <a:ext cx="2325933" cy="8033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6" name="îsľídè">
              <a:extLst>
                <a:ext uri="{FF2B5EF4-FFF2-40B4-BE49-F238E27FC236}">
                  <a16:creationId xmlns:a16="http://schemas.microsoft.com/office/drawing/2014/main" xmlns="" id="{D80B35E3-359D-4F1A-862E-47E21E3EBBD3}"/>
                </a:ext>
              </a:extLst>
            </p:cNvPr>
            <p:cNvGrpSpPr/>
            <p:nvPr/>
          </p:nvGrpSpPr>
          <p:grpSpPr>
            <a:xfrm>
              <a:off x="3057199" y="1942606"/>
              <a:ext cx="2082116" cy="1201838"/>
              <a:chOff x="2527145" y="4343400"/>
              <a:chExt cx="2327275" cy="1201838"/>
            </a:xfrm>
          </p:grpSpPr>
          <p:sp>
            <p:nvSpPr>
              <p:cNvPr id="39" name="ïšļide">
                <a:extLst>
                  <a:ext uri="{FF2B5EF4-FFF2-40B4-BE49-F238E27FC236}">
                    <a16:creationId xmlns:a16="http://schemas.microsoft.com/office/drawing/2014/main" xmlns="" id="{08DBFE12-41CD-4EFC-B674-9B70793D06D5}"/>
                  </a:ext>
                </a:extLst>
              </p:cNvPr>
              <p:cNvSpPr txBox="1"/>
              <p:nvPr/>
            </p:nvSpPr>
            <p:spPr bwMode="auto">
              <a:xfrm>
                <a:off x="2527145" y="4343400"/>
                <a:ext cx="2325933" cy="3984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i="1" dirty="0"/>
                  <a:t>Text here</a:t>
                </a:r>
                <a:endParaRPr lang="zh-CN" altLang="en-US" sz="1800" b="1" i="1" dirty="0"/>
              </a:p>
            </p:txBody>
          </p:sp>
          <p:sp>
            <p:nvSpPr>
              <p:cNvPr id="40" name="iṧḷiḍê">
                <a:extLst>
                  <a:ext uri="{FF2B5EF4-FFF2-40B4-BE49-F238E27FC236}">
                    <a16:creationId xmlns:a16="http://schemas.microsoft.com/office/drawing/2014/main" xmlns="" id="{421A7DC5-3FC5-41CC-AB32-749540DF31BC}"/>
                  </a:ext>
                </a:extLst>
              </p:cNvPr>
              <p:cNvSpPr/>
              <p:nvPr/>
            </p:nvSpPr>
            <p:spPr bwMode="auto">
              <a:xfrm>
                <a:off x="2528487" y="4741861"/>
                <a:ext cx="2325933" cy="8033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7" name="íṡļîḑê">
              <a:extLst>
                <a:ext uri="{FF2B5EF4-FFF2-40B4-BE49-F238E27FC236}">
                  <a16:creationId xmlns:a16="http://schemas.microsoft.com/office/drawing/2014/main" xmlns="" id="{415D19F4-08FA-47A7-8343-CCE98832899E}"/>
                </a:ext>
              </a:extLst>
            </p:cNvPr>
            <p:cNvGrpSpPr/>
            <p:nvPr/>
          </p:nvGrpSpPr>
          <p:grpSpPr>
            <a:xfrm>
              <a:off x="5915849" y="1942606"/>
              <a:ext cx="2082116" cy="1201838"/>
              <a:chOff x="2527145" y="4343400"/>
              <a:chExt cx="2327275" cy="1201838"/>
            </a:xfrm>
          </p:grpSpPr>
          <p:sp>
            <p:nvSpPr>
              <p:cNvPr id="37" name="ïṡļiďé">
                <a:extLst>
                  <a:ext uri="{FF2B5EF4-FFF2-40B4-BE49-F238E27FC236}">
                    <a16:creationId xmlns:a16="http://schemas.microsoft.com/office/drawing/2014/main" xmlns="" id="{08DBFE12-41CD-4EFC-B674-9B70793D06D5}"/>
                  </a:ext>
                </a:extLst>
              </p:cNvPr>
              <p:cNvSpPr txBox="1"/>
              <p:nvPr/>
            </p:nvSpPr>
            <p:spPr bwMode="auto">
              <a:xfrm>
                <a:off x="2527145" y="4343400"/>
                <a:ext cx="2325933" cy="3984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i="1" dirty="0"/>
                  <a:t>Text here</a:t>
                </a:r>
                <a:endParaRPr lang="zh-CN" altLang="en-US" sz="1800" b="1" i="1" dirty="0"/>
              </a:p>
            </p:txBody>
          </p:sp>
          <p:sp>
            <p:nvSpPr>
              <p:cNvPr id="38" name="íS1ïḋé">
                <a:extLst>
                  <a:ext uri="{FF2B5EF4-FFF2-40B4-BE49-F238E27FC236}">
                    <a16:creationId xmlns:a16="http://schemas.microsoft.com/office/drawing/2014/main" xmlns="" id="{421A7DC5-3FC5-41CC-AB32-749540DF31BC}"/>
                  </a:ext>
                </a:extLst>
              </p:cNvPr>
              <p:cNvSpPr/>
              <p:nvPr/>
            </p:nvSpPr>
            <p:spPr bwMode="auto">
              <a:xfrm>
                <a:off x="2528487" y="4741861"/>
                <a:ext cx="2325933" cy="8033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8" name="ïṣḷíḓè">
              <a:extLst>
                <a:ext uri="{FF2B5EF4-FFF2-40B4-BE49-F238E27FC236}">
                  <a16:creationId xmlns:a16="http://schemas.microsoft.com/office/drawing/2014/main" xmlns="" id="{33C7CC41-C05A-47C6-8272-911369D5AB88}"/>
                </a:ext>
              </a:extLst>
            </p:cNvPr>
            <p:cNvGrpSpPr/>
            <p:nvPr/>
          </p:nvGrpSpPr>
          <p:grpSpPr>
            <a:xfrm>
              <a:off x="8774498" y="1942606"/>
              <a:ext cx="2082116" cy="1201838"/>
              <a:chOff x="2527145" y="4343400"/>
              <a:chExt cx="2327275" cy="1201838"/>
            </a:xfrm>
          </p:grpSpPr>
          <p:sp>
            <p:nvSpPr>
              <p:cNvPr id="35" name="iṩḷïḋé">
                <a:extLst>
                  <a:ext uri="{FF2B5EF4-FFF2-40B4-BE49-F238E27FC236}">
                    <a16:creationId xmlns:a16="http://schemas.microsoft.com/office/drawing/2014/main" xmlns="" id="{08DBFE12-41CD-4EFC-B674-9B70793D06D5}"/>
                  </a:ext>
                </a:extLst>
              </p:cNvPr>
              <p:cNvSpPr txBox="1"/>
              <p:nvPr/>
            </p:nvSpPr>
            <p:spPr bwMode="auto">
              <a:xfrm>
                <a:off x="2527145" y="4343400"/>
                <a:ext cx="2325933" cy="3984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i="1" dirty="0"/>
                  <a:t>Text here</a:t>
                </a:r>
                <a:endParaRPr lang="zh-CN" altLang="en-US" sz="1800" b="1" i="1" dirty="0"/>
              </a:p>
            </p:txBody>
          </p:sp>
          <p:sp>
            <p:nvSpPr>
              <p:cNvPr id="36" name="ïS1ïḍé">
                <a:extLst>
                  <a:ext uri="{FF2B5EF4-FFF2-40B4-BE49-F238E27FC236}">
                    <a16:creationId xmlns:a16="http://schemas.microsoft.com/office/drawing/2014/main" xmlns="" id="{421A7DC5-3FC5-41CC-AB32-749540DF31BC}"/>
                  </a:ext>
                </a:extLst>
              </p:cNvPr>
              <p:cNvSpPr/>
              <p:nvPr/>
            </p:nvSpPr>
            <p:spPr bwMode="auto">
              <a:xfrm>
                <a:off x="2528487" y="4741861"/>
                <a:ext cx="2325933" cy="8033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9" name="ï$ḷídè">
              <a:extLst>
                <a:ext uri="{FF2B5EF4-FFF2-40B4-BE49-F238E27FC236}">
                  <a16:creationId xmlns:a16="http://schemas.microsoft.com/office/drawing/2014/main" xmlns="" id="{D9301915-B56D-40E2-889A-E473872B55D8}"/>
                </a:ext>
              </a:extLst>
            </p:cNvPr>
            <p:cNvGrpSpPr/>
            <p:nvPr/>
          </p:nvGrpSpPr>
          <p:grpSpPr>
            <a:xfrm>
              <a:off x="889000" y="3287061"/>
              <a:ext cx="1509185" cy="1010794"/>
              <a:chOff x="9739310" y="4629756"/>
              <a:chExt cx="1509185" cy="1010794"/>
            </a:xfrm>
          </p:grpSpPr>
          <p:sp>
            <p:nvSpPr>
              <p:cNvPr id="33" name="ïṧḻîḍè">
                <a:extLst>
                  <a:ext uri="{FF2B5EF4-FFF2-40B4-BE49-F238E27FC236}">
                    <a16:creationId xmlns:a16="http://schemas.microsoft.com/office/drawing/2014/main" xmlns="" id="{08DBFE12-41CD-4EFC-B674-9B70793D06D5}"/>
                  </a:ext>
                </a:extLst>
              </p:cNvPr>
              <p:cNvSpPr txBox="1"/>
              <p:nvPr/>
            </p:nvSpPr>
            <p:spPr bwMode="auto">
              <a:xfrm>
                <a:off x="9739310" y="4629756"/>
                <a:ext cx="1509185" cy="3984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i="1" dirty="0"/>
                  <a:t>Text here</a:t>
                </a:r>
                <a:endParaRPr lang="zh-CN" altLang="en-US" sz="1800" b="1" i="1" dirty="0"/>
              </a:p>
            </p:txBody>
          </p:sp>
          <p:sp>
            <p:nvSpPr>
              <p:cNvPr id="34" name="îŝlidè">
                <a:extLst>
                  <a:ext uri="{FF2B5EF4-FFF2-40B4-BE49-F238E27FC236}">
                    <a16:creationId xmlns:a16="http://schemas.microsoft.com/office/drawing/2014/main" xmlns="" id="{421A7DC5-3FC5-41CC-AB32-749540DF31BC}"/>
                  </a:ext>
                </a:extLst>
              </p:cNvPr>
              <p:cNvSpPr/>
              <p:nvPr/>
            </p:nvSpPr>
            <p:spPr bwMode="auto">
              <a:xfrm>
                <a:off x="9739310" y="5028218"/>
                <a:ext cx="1509185" cy="612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4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Supporting text here.</a:t>
                </a:r>
              </a:p>
              <a:p>
                <a:pPr algn="ctr">
                  <a:lnSpc>
                    <a:spcPct val="14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 </a:t>
                </a:r>
              </a:p>
            </p:txBody>
          </p:sp>
        </p:grpSp>
        <p:grpSp>
          <p:nvGrpSpPr>
            <p:cNvPr id="20" name="ïšļïďê">
              <a:extLst>
                <a:ext uri="{FF2B5EF4-FFF2-40B4-BE49-F238E27FC236}">
                  <a16:creationId xmlns:a16="http://schemas.microsoft.com/office/drawing/2014/main" xmlns="" id="{28F0A72B-BA04-467B-B5FE-777D43C2E20A}"/>
                </a:ext>
              </a:extLst>
            </p:cNvPr>
            <p:cNvGrpSpPr/>
            <p:nvPr/>
          </p:nvGrpSpPr>
          <p:grpSpPr>
            <a:xfrm>
              <a:off x="3057199" y="4154465"/>
              <a:ext cx="2082116" cy="1201838"/>
              <a:chOff x="2527145" y="4343400"/>
              <a:chExt cx="2327275" cy="1201838"/>
            </a:xfrm>
          </p:grpSpPr>
          <p:sp>
            <p:nvSpPr>
              <p:cNvPr id="31" name="íṡḷídè">
                <a:extLst>
                  <a:ext uri="{FF2B5EF4-FFF2-40B4-BE49-F238E27FC236}">
                    <a16:creationId xmlns:a16="http://schemas.microsoft.com/office/drawing/2014/main" xmlns="" id="{08DBFE12-41CD-4EFC-B674-9B70793D06D5}"/>
                  </a:ext>
                </a:extLst>
              </p:cNvPr>
              <p:cNvSpPr txBox="1"/>
              <p:nvPr/>
            </p:nvSpPr>
            <p:spPr bwMode="auto">
              <a:xfrm>
                <a:off x="2527145" y="4343400"/>
                <a:ext cx="2325933" cy="3984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i="1" dirty="0"/>
                  <a:t>Text here</a:t>
                </a:r>
                <a:endParaRPr lang="zh-CN" altLang="en-US" sz="1800" b="1" i="1" dirty="0"/>
              </a:p>
            </p:txBody>
          </p:sp>
          <p:sp>
            <p:nvSpPr>
              <p:cNvPr id="32" name="ïşļïdé">
                <a:extLst>
                  <a:ext uri="{FF2B5EF4-FFF2-40B4-BE49-F238E27FC236}">
                    <a16:creationId xmlns:a16="http://schemas.microsoft.com/office/drawing/2014/main" xmlns="" id="{421A7DC5-3FC5-41CC-AB32-749540DF31BC}"/>
                  </a:ext>
                </a:extLst>
              </p:cNvPr>
              <p:cNvSpPr/>
              <p:nvPr/>
            </p:nvSpPr>
            <p:spPr bwMode="auto">
              <a:xfrm>
                <a:off x="2528487" y="4741861"/>
                <a:ext cx="2325933" cy="8033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21" name="íṡľiḋe">
              <a:extLst>
                <a:ext uri="{FF2B5EF4-FFF2-40B4-BE49-F238E27FC236}">
                  <a16:creationId xmlns:a16="http://schemas.microsoft.com/office/drawing/2014/main" xmlns="" id="{44BF2046-D7D4-48A5-9262-40D1595C6C07}"/>
                </a:ext>
              </a:extLst>
            </p:cNvPr>
            <p:cNvGrpSpPr/>
            <p:nvPr/>
          </p:nvGrpSpPr>
          <p:grpSpPr>
            <a:xfrm>
              <a:off x="8774498" y="4154465"/>
              <a:ext cx="2082116" cy="1201838"/>
              <a:chOff x="2527145" y="4343400"/>
              <a:chExt cx="2327275" cy="1201838"/>
            </a:xfrm>
          </p:grpSpPr>
          <p:sp>
            <p:nvSpPr>
              <p:cNvPr id="29" name="îśļidè">
                <a:extLst>
                  <a:ext uri="{FF2B5EF4-FFF2-40B4-BE49-F238E27FC236}">
                    <a16:creationId xmlns:a16="http://schemas.microsoft.com/office/drawing/2014/main" xmlns="" id="{08DBFE12-41CD-4EFC-B674-9B70793D06D5}"/>
                  </a:ext>
                </a:extLst>
              </p:cNvPr>
              <p:cNvSpPr txBox="1"/>
              <p:nvPr/>
            </p:nvSpPr>
            <p:spPr bwMode="auto">
              <a:xfrm>
                <a:off x="2527145" y="4343400"/>
                <a:ext cx="2325933" cy="3984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i="1" dirty="0"/>
                  <a:t>Text here</a:t>
                </a:r>
                <a:endParaRPr lang="zh-CN" altLang="en-US" sz="1800" b="1" i="1" dirty="0"/>
              </a:p>
            </p:txBody>
          </p:sp>
          <p:sp>
            <p:nvSpPr>
              <p:cNvPr id="30" name="ï$ḻiḋe">
                <a:extLst>
                  <a:ext uri="{FF2B5EF4-FFF2-40B4-BE49-F238E27FC236}">
                    <a16:creationId xmlns:a16="http://schemas.microsoft.com/office/drawing/2014/main" xmlns="" id="{421A7DC5-3FC5-41CC-AB32-749540DF31BC}"/>
                  </a:ext>
                </a:extLst>
              </p:cNvPr>
              <p:cNvSpPr/>
              <p:nvPr/>
            </p:nvSpPr>
            <p:spPr bwMode="auto">
              <a:xfrm>
                <a:off x="2528487" y="4741861"/>
                <a:ext cx="2325933" cy="8033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</p:grpSp>
        <p:sp>
          <p:nvSpPr>
            <p:cNvPr id="22" name="îṣḷîḋé">
              <a:extLst>
                <a:ext uri="{FF2B5EF4-FFF2-40B4-BE49-F238E27FC236}">
                  <a16:creationId xmlns:a16="http://schemas.microsoft.com/office/drawing/2014/main" xmlns="" id="{4F5F0DC5-0E3F-41F2-AEE4-91B976E6ADA6}"/>
                </a:ext>
              </a:extLst>
            </p:cNvPr>
            <p:cNvSpPr/>
            <p:nvPr/>
          </p:nvSpPr>
          <p:spPr>
            <a:xfrm>
              <a:off x="3922363" y="3563977"/>
              <a:ext cx="351788" cy="324518"/>
            </a:xfrm>
            <a:custGeom>
              <a:avLst/>
              <a:gdLst>
                <a:gd name="connsiteX0" fmla="*/ 381018 w 608549"/>
                <a:gd name="connsiteY0" fmla="*/ 473169 h 561377"/>
                <a:gd name="connsiteX1" fmla="*/ 425157 w 608549"/>
                <a:gd name="connsiteY1" fmla="*/ 517273 h 561377"/>
                <a:gd name="connsiteX2" fmla="*/ 381018 w 608549"/>
                <a:gd name="connsiteY2" fmla="*/ 561377 h 561377"/>
                <a:gd name="connsiteX3" fmla="*/ 336879 w 608549"/>
                <a:gd name="connsiteY3" fmla="*/ 517273 h 561377"/>
                <a:gd name="connsiteX4" fmla="*/ 381018 w 608549"/>
                <a:gd name="connsiteY4" fmla="*/ 473169 h 561377"/>
                <a:gd name="connsiteX5" fmla="*/ 146741 w 608549"/>
                <a:gd name="connsiteY5" fmla="*/ 473169 h 561377"/>
                <a:gd name="connsiteX6" fmla="*/ 190880 w 608549"/>
                <a:gd name="connsiteY6" fmla="*/ 517273 h 561377"/>
                <a:gd name="connsiteX7" fmla="*/ 146741 w 608549"/>
                <a:gd name="connsiteY7" fmla="*/ 561377 h 561377"/>
                <a:gd name="connsiteX8" fmla="*/ 102602 w 608549"/>
                <a:gd name="connsiteY8" fmla="*/ 517273 h 561377"/>
                <a:gd name="connsiteX9" fmla="*/ 146741 w 608549"/>
                <a:gd name="connsiteY9" fmla="*/ 473169 h 561377"/>
                <a:gd name="connsiteX10" fmla="*/ 340091 w 608549"/>
                <a:gd name="connsiteY10" fmla="*/ 405920 h 561377"/>
                <a:gd name="connsiteX11" fmla="*/ 445268 w 608549"/>
                <a:gd name="connsiteY11" fmla="*/ 405920 h 561377"/>
                <a:gd name="connsiteX12" fmla="*/ 431622 w 608549"/>
                <a:gd name="connsiteY12" fmla="*/ 458350 h 561377"/>
                <a:gd name="connsiteX13" fmla="*/ 335821 w 608549"/>
                <a:gd name="connsiteY13" fmla="*/ 458350 h 561377"/>
                <a:gd name="connsiteX14" fmla="*/ 204428 w 608549"/>
                <a:gd name="connsiteY14" fmla="*/ 405920 h 561377"/>
                <a:gd name="connsiteX15" fmla="*/ 323260 w 608549"/>
                <a:gd name="connsiteY15" fmla="*/ 405920 h 561377"/>
                <a:gd name="connsiteX16" fmla="*/ 318989 w 608549"/>
                <a:gd name="connsiteY16" fmla="*/ 458350 h 561377"/>
                <a:gd name="connsiteX17" fmla="*/ 208699 w 608549"/>
                <a:gd name="connsiteY17" fmla="*/ 458350 h 561377"/>
                <a:gd name="connsiteX18" fmla="*/ 82420 w 608549"/>
                <a:gd name="connsiteY18" fmla="*/ 405920 h 561377"/>
                <a:gd name="connsiteX19" fmla="*/ 187643 w 608549"/>
                <a:gd name="connsiteY19" fmla="*/ 405920 h 561377"/>
                <a:gd name="connsiteX20" fmla="*/ 192008 w 608549"/>
                <a:gd name="connsiteY20" fmla="*/ 458350 h 561377"/>
                <a:gd name="connsiteX21" fmla="*/ 96072 w 608549"/>
                <a:gd name="connsiteY21" fmla="*/ 458350 h 561377"/>
                <a:gd name="connsiteX22" fmla="*/ 348616 w 608549"/>
                <a:gd name="connsiteY22" fmla="*/ 301060 h 561377"/>
                <a:gd name="connsiteX23" fmla="*/ 472294 w 608549"/>
                <a:gd name="connsiteY23" fmla="*/ 301060 h 561377"/>
                <a:gd name="connsiteX24" fmla="*/ 449638 w 608549"/>
                <a:gd name="connsiteY24" fmla="*/ 389549 h 561377"/>
                <a:gd name="connsiteX25" fmla="*/ 341466 w 608549"/>
                <a:gd name="connsiteY25" fmla="*/ 389549 h 561377"/>
                <a:gd name="connsiteX26" fmla="*/ 195890 w 608549"/>
                <a:gd name="connsiteY26" fmla="*/ 301060 h 561377"/>
                <a:gd name="connsiteX27" fmla="*/ 331799 w 608549"/>
                <a:gd name="connsiteY27" fmla="*/ 301060 h 561377"/>
                <a:gd name="connsiteX28" fmla="*/ 324651 w 608549"/>
                <a:gd name="connsiteY28" fmla="*/ 389549 h 561377"/>
                <a:gd name="connsiteX29" fmla="*/ 203038 w 608549"/>
                <a:gd name="connsiteY29" fmla="*/ 389549 h 561377"/>
                <a:gd name="connsiteX30" fmla="*/ 55394 w 608549"/>
                <a:gd name="connsiteY30" fmla="*/ 301060 h 561377"/>
                <a:gd name="connsiteX31" fmla="*/ 179165 w 608549"/>
                <a:gd name="connsiteY31" fmla="*/ 301060 h 561377"/>
                <a:gd name="connsiteX32" fmla="*/ 186222 w 608549"/>
                <a:gd name="connsiteY32" fmla="*/ 389549 h 561377"/>
                <a:gd name="connsiteX33" fmla="*/ 78050 w 608549"/>
                <a:gd name="connsiteY33" fmla="*/ 389549 h 561377"/>
                <a:gd name="connsiteX34" fmla="*/ 189892 w 608549"/>
                <a:gd name="connsiteY34" fmla="*/ 229013 h 561377"/>
                <a:gd name="connsiteX35" fmla="*/ 337868 w 608549"/>
                <a:gd name="connsiteY35" fmla="*/ 229013 h 561377"/>
                <a:gd name="connsiteX36" fmla="*/ 333226 w 608549"/>
                <a:gd name="connsiteY36" fmla="*/ 284619 h 561377"/>
                <a:gd name="connsiteX37" fmla="*/ 194534 w 608549"/>
                <a:gd name="connsiteY37" fmla="*/ 284619 h 561377"/>
                <a:gd name="connsiteX38" fmla="*/ 36200 w 608549"/>
                <a:gd name="connsiteY38" fmla="*/ 229013 h 561377"/>
                <a:gd name="connsiteX39" fmla="*/ 173089 w 608549"/>
                <a:gd name="connsiteY39" fmla="*/ 229013 h 561377"/>
                <a:gd name="connsiteX40" fmla="*/ 177825 w 608549"/>
                <a:gd name="connsiteY40" fmla="*/ 284619 h 561377"/>
                <a:gd name="connsiteX41" fmla="*/ 51059 w 608549"/>
                <a:gd name="connsiteY41" fmla="*/ 284619 h 561377"/>
                <a:gd name="connsiteX42" fmla="*/ 531055 w 608549"/>
                <a:gd name="connsiteY42" fmla="*/ 143841 h 561377"/>
                <a:gd name="connsiteX43" fmla="*/ 583971 w 608549"/>
                <a:gd name="connsiteY43" fmla="*/ 143841 h 561377"/>
                <a:gd name="connsiteX44" fmla="*/ 583971 w 608549"/>
                <a:gd name="connsiteY44" fmla="*/ 196204 h 561377"/>
                <a:gd name="connsiteX45" fmla="*/ 540432 w 608549"/>
                <a:gd name="connsiteY45" fmla="*/ 196204 h 561377"/>
                <a:gd name="connsiteX46" fmla="*/ 486309 w 608549"/>
                <a:gd name="connsiteY46" fmla="*/ 249309 h 561377"/>
                <a:gd name="connsiteX47" fmla="*/ 476654 w 608549"/>
                <a:gd name="connsiteY47" fmla="*/ 284619 h 561377"/>
                <a:gd name="connsiteX48" fmla="*/ 349934 w 608549"/>
                <a:gd name="connsiteY48" fmla="*/ 284619 h 561377"/>
                <a:gd name="connsiteX49" fmla="*/ 354669 w 608549"/>
                <a:gd name="connsiteY49" fmla="*/ 229012 h 561377"/>
                <a:gd name="connsiteX50" fmla="*/ 437849 w 608549"/>
                <a:gd name="connsiteY50" fmla="*/ 229012 h 561377"/>
                <a:gd name="connsiteX51" fmla="*/ 443233 w 608549"/>
                <a:gd name="connsiteY51" fmla="*/ 221042 h 561377"/>
                <a:gd name="connsiteX52" fmla="*/ 511189 w 608549"/>
                <a:gd name="connsiteY52" fmla="*/ 153016 h 561377"/>
                <a:gd name="connsiteX53" fmla="*/ 517316 w 608549"/>
                <a:gd name="connsiteY53" fmla="*/ 148104 h 561377"/>
                <a:gd name="connsiteX54" fmla="*/ 531055 w 608549"/>
                <a:gd name="connsiteY54" fmla="*/ 143841 h 561377"/>
                <a:gd name="connsiteX55" fmla="*/ 113649 w 608549"/>
                <a:gd name="connsiteY55" fmla="*/ 3 h 561377"/>
                <a:gd name="connsiteX56" fmla="*/ 238362 w 608549"/>
                <a:gd name="connsiteY56" fmla="*/ 56970 h 561377"/>
                <a:gd name="connsiteX57" fmla="*/ 261391 w 608549"/>
                <a:gd name="connsiteY57" fmla="*/ 34726 h 561377"/>
                <a:gd name="connsiteX58" fmla="*/ 292776 w 608549"/>
                <a:gd name="connsiteY58" fmla="*/ 199234 h 561377"/>
                <a:gd name="connsiteX59" fmla="*/ 128792 w 608549"/>
                <a:gd name="connsiteY59" fmla="*/ 163460 h 561377"/>
                <a:gd name="connsiteX60" fmla="*/ 151820 w 608549"/>
                <a:gd name="connsiteY60" fmla="*/ 141124 h 561377"/>
                <a:gd name="connsiteX61" fmla="*/ 0 w 608549"/>
                <a:gd name="connsiteY61" fmla="*/ 36673 h 561377"/>
                <a:gd name="connsiteX62" fmla="*/ 113649 w 608549"/>
                <a:gd name="connsiteY62" fmla="*/ 3 h 5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8549" h="561377">
                  <a:moveTo>
                    <a:pt x="381018" y="473169"/>
                  </a:moveTo>
                  <a:cubicBezTo>
                    <a:pt x="405395" y="473169"/>
                    <a:pt x="425157" y="492915"/>
                    <a:pt x="425157" y="517273"/>
                  </a:cubicBezTo>
                  <a:cubicBezTo>
                    <a:pt x="425157" y="541631"/>
                    <a:pt x="405395" y="561377"/>
                    <a:pt x="381018" y="561377"/>
                  </a:cubicBezTo>
                  <a:cubicBezTo>
                    <a:pt x="356641" y="561377"/>
                    <a:pt x="336879" y="541631"/>
                    <a:pt x="336879" y="517273"/>
                  </a:cubicBezTo>
                  <a:cubicBezTo>
                    <a:pt x="336879" y="492915"/>
                    <a:pt x="356641" y="473169"/>
                    <a:pt x="381018" y="473169"/>
                  </a:cubicBezTo>
                  <a:close/>
                  <a:moveTo>
                    <a:pt x="146741" y="473169"/>
                  </a:moveTo>
                  <a:cubicBezTo>
                    <a:pt x="171118" y="473169"/>
                    <a:pt x="190880" y="492915"/>
                    <a:pt x="190880" y="517273"/>
                  </a:cubicBezTo>
                  <a:cubicBezTo>
                    <a:pt x="190880" y="541631"/>
                    <a:pt x="171118" y="561377"/>
                    <a:pt x="146741" y="561377"/>
                  </a:cubicBezTo>
                  <a:cubicBezTo>
                    <a:pt x="122364" y="561377"/>
                    <a:pt x="102602" y="541631"/>
                    <a:pt x="102602" y="517273"/>
                  </a:cubicBezTo>
                  <a:cubicBezTo>
                    <a:pt x="102602" y="492915"/>
                    <a:pt x="122364" y="473169"/>
                    <a:pt x="146741" y="473169"/>
                  </a:cubicBezTo>
                  <a:close/>
                  <a:moveTo>
                    <a:pt x="340091" y="405920"/>
                  </a:moveTo>
                  <a:lnTo>
                    <a:pt x="445268" y="405920"/>
                  </a:lnTo>
                  <a:lnTo>
                    <a:pt x="431622" y="458350"/>
                  </a:lnTo>
                  <a:lnTo>
                    <a:pt x="335821" y="458350"/>
                  </a:lnTo>
                  <a:close/>
                  <a:moveTo>
                    <a:pt x="204428" y="405920"/>
                  </a:moveTo>
                  <a:lnTo>
                    <a:pt x="323260" y="405920"/>
                  </a:lnTo>
                  <a:lnTo>
                    <a:pt x="318989" y="458350"/>
                  </a:lnTo>
                  <a:lnTo>
                    <a:pt x="208699" y="458350"/>
                  </a:lnTo>
                  <a:close/>
                  <a:moveTo>
                    <a:pt x="82420" y="405920"/>
                  </a:moveTo>
                  <a:lnTo>
                    <a:pt x="187643" y="405920"/>
                  </a:lnTo>
                  <a:lnTo>
                    <a:pt x="192008" y="458350"/>
                  </a:lnTo>
                  <a:lnTo>
                    <a:pt x="96072" y="458350"/>
                  </a:lnTo>
                  <a:close/>
                  <a:moveTo>
                    <a:pt x="348616" y="301060"/>
                  </a:moveTo>
                  <a:lnTo>
                    <a:pt x="472294" y="301060"/>
                  </a:lnTo>
                  <a:lnTo>
                    <a:pt x="449638" y="389549"/>
                  </a:lnTo>
                  <a:lnTo>
                    <a:pt x="341466" y="389549"/>
                  </a:lnTo>
                  <a:close/>
                  <a:moveTo>
                    <a:pt x="195890" y="301060"/>
                  </a:moveTo>
                  <a:lnTo>
                    <a:pt x="331799" y="301060"/>
                  </a:lnTo>
                  <a:lnTo>
                    <a:pt x="324651" y="389549"/>
                  </a:lnTo>
                  <a:lnTo>
                    <a:pt x="203038" y="389549"/>
                  </a:lnTo>
                  <a:close/>
                  <a:moveTo>
                    <a:pt x="55394" y="301060"/>
                  </a:moveTo>
                  <a:lnTo>
                    <a:pt x="179165" y="301060"/>
                  </a:lnTo>
                  <a:lnTo>
                    <a:pt x="186222" y="389549"/>
                  </a:lnTo>
                  <a:lnTo>
                    <a:pt x="78050" y="389549"/>
                  </a:lnTo>
                  <a:close/>
                  <a:moveTo>
                    <a:pt x="189892" y="229013"/>
                  </a:moveTo>
                  <a:lnTo>
                    <a:pt x="337868" y="229013"/>
                  </a:lnTo>
                  <a:lnTo>
                    <a:pt x="333226" y="284619"/>
                  </a:lnTo>
                  <a:lnTo>
                    <a:pt x="194534" y="284619"/>
                  </a:lnTo>
                  <a:close/>
                  <a:moveTo>
                    <a:pt x="36200" y="229013"/>
                  </a:moveTo>
                  <a:lnTo>
                    <a:pt x="173089" y="229013"/>
                  </a:lnTo>
                  <a:lnTo>
                    <a:pt x="177825" y="284619"/>
                  </a:lnTo>
                  <a:lnTo>
                    <a:pt x="51059" y="284619"/>
                  </a:lnTo>
                  <a:close/>
                  <a:moveTo>
                    <a:pt x="531055" y="143841"/>
                  </a:moveTo>
                  <a:lnTo>
                    <a:pt x="583971" y="143841"/>
                  </a:lnTo>
                  <a:cubicBezTo>
                    <a:pt x="616742" y="143841"/>
                    <a:pt x="616742" y="196204"/>
                    <a:pt x="583971" y="196204"/>
                  </a:cubicBezTo>
                  <a:lnTo>
                    <a:pt x="540432" y="196204"/>
                  </a:lnTo>
                  <a:cubicBezTo>
                    <a:pt x="522422" y="212608"/>
                    <a:pt x="504319" y="231237"/>
                    <a:pt x="486309" y="249309"/>
                  </a:cubicBezTo>
                  <a:lnTo>
                    <a:pt x="476654" y="284619"/>
                  </a:lnTo>
                  <a:lnTo>
                    <a:pt x="349934" y="284619"/>
                  </a:lnTo>
                  <a:lnTo>
                    <a:pt x="354669" y="229012"/>
                  </a:lnTo>
                  <a:lnTo>
                    <a:pt x="437849" y="229012"/>
                  </a:lnTo>
                  <a:cubicBezTo>
                    <a:pt x="439056" y="225676"/>
                    <a:pt x="440727" y="223544"/>
                    <a:pt x="443233" y="221042"/>
                  </a:cubicBezTo>
                  <a:cubicBezTo>
                    <a:pt x="465885" y="198429"/>
                    <a:pt x="488537" y="175630"/>
                    <a:pt x="511189" y="153016"/>
                  </a:cubicBezTo>
                  <a:cubicBezTo>
                    <a:pt x="513138" y="151070"/>
                    <a:pt x="515180" y="149309"/>
                    <a:pt x="517316" y="148104"/>
                  </a:cubicBezTo>
                  <a:cubicBezTo>
                    <a:pt x="520936" y="145695"/>
                    <a:pt x="525485" y="143841"/>
                    <a:pt x="531055" y="143841"/>
                  </a:cubicBezTo>
                  <a:close/>
                  <a:moveTo>
                    <a:pt x="113649" y="3"/>
                  </a:moveTo>
                  <a:cubicBezTo>
                    <a:pt x="152263" y="202"/>
                    <a:pt x="196298" y="13839"/>
                    <a:pt x="238362" y="56970"/>
                  </a:cubicBezTo>
                  <a:lnTo>
                    <a:pt x="261391" y="34726"/>
                  </a:lnTo>
                  <a:lnTo>
                    <a:pt x="292776" y="199234"/>
                  </a:lnTo>
                  <a:lnTo>
                    <a:pt x="128792" y="163460"/>
                  </a:lnTo>
                  <a:lnTo>
                    <a:pt x="151820" y="141124"/>
                  </a:lnTo>
                  <a:cubicBezTo>
                    <a:pt x="60635" y="47702"/>
                    <a:pt x="0" y="36673"/>
                    <a:pt x="0" y="36673"/>
                  </a:cubicBezTo>
                  <a:cubicBezTo>
                    <a:pt x="0" y="36673"/>
                    <a:pt x="49294" y="-327"/>
                    <a:pt x="113649" y="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3" name="íSliḑê">
              <a:extLst>
                <a:ext uri="{FF2B5EF4-FFF2-40B4-BE49-F238E27FC236}">
                  <a16:creationId xmlns:a16="http://schemas.microsoft.com/office/drawing/2014/main" xmlns="" id="{87206633-A776-45DC-9730-B058D1096D80}"/>
                </a:ext>
              </a:extLst>
            </p:cNvPr>
            <p:cNvSpPr/>
            <p:nvPr/>
          </p:nvSpPr>
          <p:spPr>
            <a:xfrm>
              <a:off x="6786719" y="3550343"/>
              <a:ext cx="340376" cy="351787"/>
            </a:xfrm>
            <a:custGeom>
              <a:avLst/>
              <a:gdLst>
                <a:gd name="connsiteX0" fmla="*/ 579799 w 585490"/>
                <a:gd name="connsiteY0" fmla="*/ 361297 h 605117"/>
                <a:gd name="connsiteX1" fmla="*/ 450668 w 585490"/>
                <a:gd name="connsiteY1" fmla="*/ 550473 h 605117"/>
                <a:gd name="connsiteX2" fmla="*/ 447798 w 585490"/>
                <a:gd name="connsiteY2" fmla="*/ 557639 h 605117"/>
                <a:gd name="connsiteX3" fmla="*/ 456407 w 585490"/>
                <a:gd name="connsiteY3" fmla="*/ 592035 h 605117"/>
                <a:gd name="connsiteX4" fmla="*/ 444929 w 585490"/>
                <a:gd name="connsiteY4" fmla="*/ 604933 h 605117"/>
                <a:gd name="connsiteX5" fmla="*/ 331580 w 585490"/>
                <a:gd name="connsiteY5" fmla="*/ 576270 h 605117"/>
                <a:gd name="connsiteX6" fmla="*/ 308624 w 585490"/>
                <a:gd name="connsiteY6" fmla="*/ 570537 h 605117"/>
                <a:gd name="connsiteX7" fmla="*/ 304319 w 585490"/>
                <a:gd name="connsiteY7" fmla="*/ 554773 h 605117"/>
                <a:gd name="connsiteX8" fmla="*/ 331580 w 585490"/>
                <a:gd name="connsiteY8" fmla="*/ 526110 h 605117"/>
                <a:gd name="connsiteX9" fmla="*/ 401885 w 585490"/>
                <a:gd name="connsiteY9" fmla="*/ 453019 h 605117"/>
                <a:gd name="connsiteX10" fmla="*/ 419103 w 585490"/>
                <a:gd name="connsiteY10" fmla="*/ 457318 h 605117"/>
                <a:gd name="connsiteX11" fmla="*/ 426277 w 585490"/>
                <a:gd name="connsiteY11" fmla="*/ 484548 h 605117"/>
                <a:gd name="connsiteX12" fmla="*/ 430581 w 585490"/>
                <a:gd name="connsiteY12" fmla="*/ 488848 h 605117"/>
                <a:gd name="connsiteX13" fmla="*/ 437755 w 585490"/>
                <a:gd name="connsiteY13" fmla="*/ 487414 h 605117"/>
                <a:gd name="connsiteX14" fmla="*/ 513799 w 585490"/>
                <a:gd name="connsiteY14" fmla="*/ 385661 h 605117"/>
                <a:gd name="connsiteX15" fmla="*/ 523842 w 585490"/>
                <a:gd name="connsiteY15" fmla="*/ 385661 h 605117"/>
                <a:gd name="connsiteX16" fmla="*/ 572625 w 585490"/>
                <a:gd name="connsiteY16" fmla="*/ 365596 h 605117"/>
                <a:gd name="connsiteX17" fmla="*/ 579799 w 585490"/>
                <a:gd name="connsiteY17" fmla="*/ 361297 h 605117"/>
                <a:gd name="connsiteX18" fmla="*/ 294267 w 585490"/>
                <a:gd name="connsiteY18" fmla="*/ 269568 h 605117"/>
                <a:gd name="connsiteX19" fmla="*/ 292830 w 585490"/>
                <a:gd name="connsiteY19" fmla="*/ 306811 h 605117"/>
                <a:gd name="connsiteX20" fmla="*/ 271277 w 585490"/>
                <a:gd name="connsiteY20" fmla="*/ 306811 h 605117"/>
                <a:gd name="connsiteX21" fmla="*/ 271277 w 585490"/>
                <a:gd name="connsiteY21" fmla="*/ 305379 h 605117"/>
                <a:gd name="connsiteX22" fmla="*/ 566940 w 585490"/>
                <a:gd name="connsiteY22" fmla="*/ 268168 h 605117"/>
                <a:gd name="connsiteX23" fmla="*/ 566940 w 585490"/>
                <a:gd name="connsiteY23" fmla="*/ 271036 h 605117"/>
                <a:gd name="connsiteX24" fmla="*/ 566940 w 585490"/>
                <a:gd name="connsiteY24" fmla="*/ 281072 h 605117"/>
                <a:gd name="connsiteX25" fmla="*/ 565504 w 585490"/>
                <a:gd name="connsiteY25" fmla="*/ 286806 h 605117"/>
                <a:gd name="connsiteX26" fmla="*/ 562632 w 585490"/>
                <a:gd name="connsiteY26" fmla="*/ 292541 h 605117"/>
                <a:gd name="connsiteX27" fmla="*/ 561196 w 585490"/>
                <a:gd name="connsiteY27" fmla="*/ 299710 h 605117"/>
                <a:gd name="connsiteX28" fmla="*/ 558324 w 585490"/>
                <a:gd name="connsiteY28" fmla="*/ 302577 h 605117"/>
                <a:gd name="connsiteX29" fmla="*/ 556888 w 585490"/>
                <a:gd name="connsiteY29" fmla="*/ 304011 h 605117"/>
                <a:gd name="connsiteX30" fmla="*/ 538220 w 585490"/>
                <a:gd name="connsiteY30" fmla="*/ 315481 h 605117"/>
                <a:gd name="connsiteX31" fmla="*/ 529603 w 585490"/>
                <a:gd name="connsiteY31" fmla="*/ 316914 h 605117"/>
                <a:gd name="connsiteX32" fmla="*/ 526731 w 585490"/>
                <a:gd name="connsiteY32" fmla="*/ 316914 h 605117"/>
                <a:gd name="connsiteX33" fmla="*/ 535348 w 585490"/>
                <a:gd name="connsiteY33" fmla="*/ 345589 h 605117"/>
                <a:gd name="connsiteX34" fmla="*/ 538220 w 585490"/>
                <a:gd name="connsiteY34" fmla="*/ 342721 h 605117"/>
                <a:gd name="connsiteX35" fmla="*/ 548272 w 585490"/>
                <a:gd name="connsiteY35" fmla="*/ 338420 h 605117"/>
                <a:gd name="connsiteX36" fmla="*/ 554016 w 585490"/>
                <a:gd name="connsiteY36" fmla="*/ 334119 h 605117"/>
                <a:gd name="connsiteX37" fmla="*/ 561196 w 585490"/>
                <a:gd name="connsiteY37" fmla="*/ 326950 h 605117"/>
                <a:gd name="connsiteX38" fmla="*/ 565504 w 585490"/>
                <a:gd name="connsiteY38" fmla="*/ 319782 h 605117"/>
                <a:gd name="connsiteX39" fmla="*/ 569812 w 585490"/>
                <a:gd name="connsiteY39" fmla="*/ 311180 h 605117"/>
                <a:gd name="connsiteX40" fmla="*/ 571248 w 585490"/>
                <a:gd name="connsiteY40" fmla="*/ 306878 h 605117"/>
                <a:gd name="connsiteX41" fmla="*/ 571248 w 585490"/>
                <a:gd name="connsiteY41" fmla="*/ 302577 h 605117"/>
                <a:gd name="connsiteX42" fmla="*/ 572684 w 585490"/>
                <a:gd name="connsiteY42" fmla="*/ 293975 h 605117"/>
                <a:gd name="connsiteX43" fmla="*/ 572684 w 585490"/>
                <a:gd name="connsiteY43" fmla="*/ 286806 h 605117"/>
                <a:gd name="connsiteX44" fmla="*/ 571248 w 585490"/>
                <a:gd name="connsiteY44" fmla="*/ 281072 h 605117"/>
                <a:gd name="connsiteX45" fmla="*/ 568376 w 585490"/>
                <a:gd name="connsiteY45" fmla="*/ 271036 h 605117"/>
                <a:gd name="connsiteX46" fmla="*/ 566940 w 585490"/>
                <a:gd name="connsiteY46" fmla="*/ 268168 h 605117"/>
                <a:gd name="connsiteX47" fmla="*/ 348710 w 585490"/>
                <a:gd name="connsiteY47" fmla="*/ 246665 h 605117"/>
                <a:gd name="connsiteX48" fmla="*/ 348710 w 585490"/>
                <a:gd name="connsiteY48" fmla="*/ 354152 h 605117"/>
                <a:gd name="connsiteX49" fmla="*/ 375975 w 585490"/>
                <a:gd name="connsiteY49" fmla="*/ 354152 h 605117"/>
                <a:gd name="connsiteX50" fmla="*/ 375975 w 585490"/>
                <a:gd name="connsiteY50" fmla="*/ 319756 h 605117"/>
                <a:gd name="connsiteX51" fmla="*/ 377410 w 585490"/>
                <a:gd name="connsiteY51" fmla="*/ 309724 h 605117"/>
                <a:gd name="connsiteX52" fmla="*/ 393195 w 585490"/>
                <a:gd name="connsiteY52" fmla="*/ 298259 h 605117"/>
                <a:gd name="connsiteX53" fmla="*/ 401806 w 585490"/>
                <a:gd name="connsiteY53" fmla="*/ 308291 h 605117"/>
                <a:gd name="connsiteX54" fmla="*/ 401806 w 585490"/>
                <a:gd name="connsiteY54" fmla="*/ 354152 h 605117"/>
                <a:gd name="connsiteX55" fmla="*/ 427636 w 585490"/>
                <a:gd name="connsiteY55" fmla="*/ 354152 h 605117"/>
                <a:gd name="connsiteX56" fmla="*/ 427636 w 585490"/>
                <a:gd name="connsiteY56" fmla="*/ 303992 h 605117"/>
                <a:gd name="connsiteX57" fmla="*/ 398935 w 585490"/>
                <a:gd name="connsiteY57" fmla="*/ 273895 h 605117"/>
                <a:gd name="connsiteX58" fmla="*/ 375975 w 585490"/>
                <a:gd name="connsiteY58" fmla="*/ 286794 h 605117"/>
                <a:gd name="connsiteX59" fmla="*/ 374540 w 585490"/>
                <a:gd name="connsiteY59" fmla="*/ 286794 h 605117"/>
                <a:gd name="connsiteX60" fmla="*/ 375975 w 585490"/>
                <a:gd name="connsiteY60" fmla="*/ 279628 h 605117"/>
                <a:gd name="connsiteX61" fmla="*/ 375975 w 585490"/>
                <a:gd name="connsiteY61" fmla="*/ 246665 h 605117"/>
                <a:gd name="connsiteX62" fmla="*/ 287004 w 585490"/>
                <a:gd name="connsiteY62" fmla="*/ 246665 h 605117"/>
                <a:gd name="connsiteX63" fmla="*/ 245389 w 585490"/>
                <a:gd name="connsiteY63" fmla="*/ 312591 h 605117"/>
                <a:gd name="connsiteX64" fmla="*/ 245389 w 585490"/>
                <a:gd name="connsiteY64" fmla="*/ 328355 h 605117"/>
                <a:gd name="connsiteX65" fmla="*/ 292745 w 585490"/>
                <a:gd name="connsiteY65" fmla="*/ 328355 h 605117"/>
                <a:gd name="connsiteX66" fmla="*/ 292745 w 585490"/>
                <a:gd name="connsiteY66" fmla="*/ 354152 h 605117"/>
                <a:gd name="connsiteX67" fmla="*/ 318575 w 585490"/>
                <a:gd name="connsiteY67" fmla="*/ 354152 h 605117"/>
                <a:gd name="connsiteX68" fmla="*/ 318575 w 585490"/>
                <a:gd name="connsiteY68" fmla="*/ 328355 h 605117"/>
                <a:gd name="connsiteX69" fmla="*/ 331490 w 585490"/>
                <a:gd name="connsiteY69" fmla="*/ 328355 h 605117"/>
                <a:gd name="connsiteX70" fmla="*/ 331490 w 585490"/>
                <a:gd name="connsiteY70" fmla="*/ 306858 h 605117"/>
                <a:gd name="connsiteX71" fmla="*/ 318575 w 585490"/>
                <a:gd name="connsiteY71" fmla="*/ 306858 h 605117"/>
                <a:gd name="connsiteX72" fmla="*/ 318575 w 585490"/>
                <a:gd name="connsiteY72" fmla="*/ 246665 h 605117"/>
                <a:gd name="connsiteX73" fmla="*/ 195164 w 585490"/>
                <a:gd name="connsiteY73" fmla="*/ 243799 h 605117"/>
                <a:gd name="connsiteX74" fmla="*/ 156418 w 585490"/>
                <a:gd name="connsiteY74" fmla="*/ 268163 h 605117"/>
                <a:gd name="connsiteX75" fmla="*/ 176508 w 585490"/>
                <a:gd name="connsiteY75" fmla="*/ 281061 h 605117"/>
                <a:gd name="connsiteX76" fmla="*/ 192294 w 585490"/>
                <a:gd name="connsiteY76" fmla="*/ 269596 h 605117"/>
                <a:gd name="connsiteX77" fmla="*/ 203774 w 585490"/>
                <a:gd name="connsiteY77" fmla="*/ 279628 h 605117"/>
                <a:gd name="connsiteX78" fmla="*/ 156418 w 585490"/>
                <a:gd name="connsiteY78" fmla="*/ 342687 h 605117"/>
                <a:gd name="connsiteX79" fmla="*/ 157853 w 585490"/>
                <a:gd name="connsiteY79" fmla="*/ 354152 h 605117"/>
                <a:gd name="connsiteX80" fmla="*/ 233909 w 585490"/>
                <a:gd name="connsiteY80" fmla="*/ 354152 h 605117"/>
                <a:gd name="connsiteX81" fmla="*/ 233909 w 585490"/>
                <a:gd name="connsiteY81" fmla="*/ 331222 h 605117"/>
                <a:gd name="connsiteX82" fmla="*/ 187988 w 585490"/>
                <a:gd name="connsiteY82" fmla="*/ 331222 h 605117"/>
                <a:gd name="connsiteX83" fmla="*/ 232474 w 585490"/>
                <a:gd name="connsiteY83" fmla="*/ 276762 h 605117"/>
                <a:gd name="connsiteX84" fmla="*/ 195164 w 585490"/>
                <a:gd name="connsiteY84" fmla="*/ 243799 h 605117"/>
                <a:gd name="connsiteX85" fmla="*/ 292745 w 585490"/>
                <a:gd name="connsiteY85" fmla="*/ 146344 h 605117"/>
                <a:gd name="connsiteX86" fmla="*/ 450596 w 585490"/>
                <a:gd name="connsiteY86" fmla="*/ 302559 h 605117"/>
                <a:gd name="connsiteX87" fmla="*/ 292745 w 585490"/>
                <a:gd name="connsiteY87" fmla="*/ 458773 h 605117"/>
                <a:gd name="connsiteX88" fmla="*/ 136328 w 585490"/>
                <a:gd name="connsiteY88" fmla="*/ 302559 h 605117"/>
                <a:gd name="connsiteX89" fmla="*/ 292745 w 585490"/>
                <a:gd name="connsiteY89" fmla="*/ 146344 h 605117"/>
                <a:gd name="connsiteX90" fmla="*/ 375948 w 585490"/>
                <a:gd name="connsiteY90" fmla="*/ 25870 h 605117"/>
                <a:gd name="connsiteX91" fmla="*/ 365896 w 585490"/>
                <a:gd name="connsiteY91" fmla="*/ 27304 h 605117"/>
                <a:gd name="connsiteX92" fmla="*/ 357279 w 585490"/>
                <a:gd name="connsiteY92" fmla="*/ 31605 h 605117"/>
                <a:gd name="connsiteX93" fmla="*/ 350099 w 585490"/>
                <a:gd name="connsiteY93" fmla="*/ 34472 h 605117"/>
                <a:gd name="connsiteX94" fmla="*/ 341483 w 585490"/>
                <a:gd name="connsiteY94" fmla="*/ 41641 h 605117"/>
                <a:gd name="connsiteX95" fmla="*/ 340047 w 585490"/>
                <a:gd name="connsiteY95" fmla="*/ 43075 h 605117"/>
                <a:gd name="connsiteX96" fmla="*/ 338611 w 585490"/>
                <a:gd name="connsiteY96" fmla="*/ 43075 h 605117"/>
                <a:gd name="connsiteX97" fmla="*/ 360152 w 585490"/>
                <a:gd name="connsiteY97" fmla="*/ 63147 h 605117"/>
                <a:gd name="connsiteX98" fmla="*/ 361588 w 585490"/>
                <a:gd name="connsiteY98" fmla="*/ 60279 h 605117"/>
                <a:gd name="connsiteX99" fmla="*/ 367332 w 585490"/>
                <a:gd name="connsiteY99" fmla="*/ 53111 h 605117"/>
                <a:gd name="connsiteX100" fmla="*/ 370204 w 585490"/>
                <a:gd name="connsiteY100" fmla="*/ 50243 h 605117"/>
                <a:gd name="connsiteX101" fmla="*/ 373076 w 585490"/>
                <a:gd name="connsiteY101" fmla="*/ 45942 h 605117"/>
                <a:gd name="connsiteX102" fmla="*/ 378820 w 585490"/>
                <a:gd name="connsiteY102" fmla="*/ 43075 h 605117"/>
                <a:gd name="connsiteX103" fmla="*/ 384564 w 585490"/>
                <a:gd name="connsiteY103" fmla="*/ 41641 h 605117"/>
                <a:gd name="connsiteX104" fmla="*/ 391744 w 585490"/>
                <a:gd name="connsiteY104" fmla="*/ 41641 h 605117"/>
                <a:gd name="connsiteX105" fmla="*/ 397488 w 585490"/>
                <a:gd name="connsiteY105" fmla="*/ 41641 h 605117"/>
                <a:gd name="connsiteX106" fmla="*/ 410413 w 585490"/>
                <a:gd name="connsiteY106" fmla="*/ 45942 h 605117"/>
                <a:gd name="connsiteX107" fmla="*/ 419029 w 585490"/>
                <a:gd name="connsiteY107" fmla="*/ 48810 h 605117"/>
                <a:gd name="connsiteX108" fmla="*/ 421901 w 585490"/>
                <a:gd name="connsiteY108" fmla="*/ 50243 h 605117"/>
                <a:gd name="connsiteX109" fmla="*/ 420465 w 585490"/>
                <a:gd name="connsiteY109" fmla="*/ 48810 h 605117"/>
                <a:gd name="connsiteX110" fmla="*/ 413285 w 585490"/>
                <a:gd name="connsiteY110" fmla="*/ 41641 h 605117"/>
                <a:gd name="connsiteX111" fmla="*/ 401797 w 585490"/>
                <a:gd name="connsiteY111" fmla="*/ 33039 h 605117"/>
                <a:gd name="connsiteX112" fmla="*/ 393180 w 585490"/>
                <a:gd name="connsiteY112" fmla="*/ 30171 h 605117"/>
                <a:gd name="connsiteX113" fmla="*/ 384564 w 585490"/>
                <a:gd name="connsiteY113" fmla="*/ 27304 h 605117"/>
                <a:gd name="connsiteX114" fmla="*/ 375948 w 585490"/>
                <a:gd name="connsiteY114" fmla="*/ 25870 h 605117"/>
                <a:gd name="connsiteX115" fmla="*/ 387032 w 585490"/>
                <a:gd name="connsiteY115" fmla="*/ 10054 h 605117"/>
                <a:gd name="connsiteX116" fmla="*/ 529603 w 585490"/>
                <a:gd name="connsiteY116" fmla="*/ 136266 h 605117"/>
                <a:gd name="connsiteX117" fmla="*/ 569812 w 585490"/>
                <a:gd name="connsiteY117" fmla="*/ 345589 h 605117"/>
                <a:gd name="connsiteX118" fmla="*/ 487959 w 585490"/>
                <a:gd name="connsiteY118" fmla="*/ 336987 h 605117"/>
                <a:gd name="connsiteX119" fmla="*/ 506627 w 585490"/>
                <a:gd name="connsiteY119" fmla="*/ 259566 h 605117"/>
                <a:gd name="connsiteX120" fmla="*/ 477906 w 585490"/>
                <a:gd name="connsiteY120" fmla="*/ 169242 h 605117"/>
                <a:gd name="connsiteX121" fmla="*/ 407541 w 585490"/>
                <a:gd name="connsiteY121" fmla="*/ 104724 h 605117"/>
                <a:gd name="connsiteX122" fmla="*/ 328559 w 585490"/>
                <a:gd name="connsiteY122" fmla="*/ 90387 h 605117"/>
                <a:gd name="connsiteX123" fmla="*/ 355843 w 585490"/>
                <a:gd name="connsiteY123" fmla="*/ 11533 h 605117"/>
                <a:gd name="connsiteX124" fmla="*/ 387032 w 585490"/>
                <a:gd name="connsiteY124" fmla="*/ 10054 h 605117"/>
                <a:gd name="connsiteX125" fmla="*/ 140586 w 585490"/>
                <a:gd name="connsiteY125" fmla="*/ 184 h 605117"/>
                <a:gd name="connsiteX126" fmla="*/ 253915 w 585490"/>
                <a:gd name="connsiteY126" fmla="*/ 28851 h 605117"/>
                <a:gd name="connsiteX127" fmla="*/ 276868 w 585490"/>
                <a:gd name="connsiteY127" fmla="*/ 34584 h 605117"/>
                <a:gd name="connsiteX128" fmla="*/ 281172 w 585490"/>
                <a:gd name="connsiteY128" fmla="*/ 50351 h 605117"/>
                <a:gd name="connsiteX129" fmla="*/ 253915 w 585490"/>
                <a:gd name="connsiteY129" fmla="*/ 79018 h 605117"/>
                <a:gd name="connsiteX130" fmla="*/ 183622 w 585490"/>
                <a:gd name="connsiteY130" fmla="*/ 150685 h 605117"/>
                <a:gd name="connsiteX131" fmla="*/ 167842 w 585490"/>
                <a:gd name="connsiteY131" fmla="*/ 147818 h 605117"/>
                <a:gd name="connsiteX132" fmla="*/ 159235 w 585490"/>
                <a:gd name="connsiteY132" fmla="*/ 120585 h 605117"/>
                <a:gd name="connsiteX133" fmla="*/ 154931 w 585490"/>
                <a:gd name="connsiteY133" fmla="*/ 116285 h 605117"/>
                <a:gd name="connsiteX134" fmla="*/ 149193 w 585490"/>
                <a:gd name="connsiteY134" fmla="*/ 117718 h 605117"/>
                <a:gd name="connsiteX135" fmla="*/ 57382 w 585490"/>
                <a:gd name="connsiteY135" fmla="*/ 302619 h 605117"/>
                <a:gd name="connsiteX136" fmla="*/ 219486 w 585490"/>
                <a:gd name="connsiteY136" fmla="*/ 526219 h 605117"/>
                <a:gd name="connsiteX137" fmla="*/ 232397 w 585490"/>
                <a:gd name="connsiteY137" fmla="*/ 573519 h 605117"/>
                <a:gd name="connsiteX138" fmla="*/ 202272 w 585490"/>
                <a:gd name="connsiteY138" fmla="*/ 580686 h 605117"/>
                <a:gd name="connsiteX139" fmla="*/ 0 w 585490"/>
                <a:gd name="connsiteY139" fmla="*/ 302619 h 605117"/>
                <a:gd name="connsiteX140" fmla="*/ 134848 w 585490"/>
                <a:gd name="connsiteY140" fmla="*/ 56085 h 605117"/>
                <a:gd name="connsiteX141" fmla="*/ 137717 w 585490"/>
                <a:gd name="connsiteY141" fmla="*/ 46051 h 605117"/>
                <a:gd name="connsiteX142" fmla="*/ 129109 w 585490"/>
                <a:gd name="connsiteY142" fmla="*/ 13084 h 605117"/>
                <a:gd name="connsiteX143" fmla="*/ 140586 w 585490"/>
                <a:gd name="connsiteY143" fmla="*/ 184 h 60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585490" h="605117">
                  <a:moveTo>
                    <a:pt x="579799" y="361297"/>
                  </a:moveTo>
                  <a:cubicBezTo>
                    <a:pt x="564016" y="438687"/>
                    <a:pt x="518103" y="507479"/>
                    <a:pt x="450668" y="550473"/>
                  </a:cubicBezTo>
                  <a:cubicBezTo>
                    <a:pt x="447798" y="551906"/>
                    <a:pt x="446364" y="554773"/>
                    <a:pt x="447798" y="557639"/>
                  </a:cubicBezTo>
                  <a:lnTo>
                    <a:pt x="456407" y="592035"/>
                  </a:lnTo>
                  <a:cubicBezTo>
                    <a:pt x="459277" y="599200"/>
                    <a:pt x="452103" y="606366"/>
                    <a:pt x="444929" y="604933"/>
                  </a:cubicBezTo>
                  <a:lnTo>
                    <a:pt x="331580" y="576270"/>
                  </a:lnTo>
                  <a:lnTo>
                    <a:pt x="308624" y="570537"/>
                  </a:lnTo>
                  <a:cubicBezTo>
                    <a:pt x="301450" y="569104"/>
                    <a:pt x="300015" y="559072"/>
                    <a:pt x="304319" y="554773"/>
                  </a:cubicBezTo>
                  <a:lnTo>
                    <a:pt x="331580" y="526110"/>
                  </a:lnTo>
                  <a:lnTo>
                    <a:pt x="401885" y="453019"/>
                  </a:lnTo>
                  <a:cubicBezTo>
                    <a:pt x="407624" y="448719"/>
                    <a:pt x="416233" y="450152"/>
                    <a:pt x="419103" y="457318"/>
                  </a:cubicBezTo>
                  <a:lnTo>
                    <a:pt x="426277" y="484548"/>
                  </a:lnTo>
                  <a:cubicBezTo>
                    <a:pt x="426277" y="485981"/>
                    <a:pt x="429146" y="488848"/>
                    <a:pt x="430581" y="488848"/>
                  </a:cubicBezTo>
                  <a:cubicBezTo>
                    <a:pt x="433450" y="490281"/>
                    <a:pt x="434885" y="488848"/>
                    <a:pt x="437755" y="487414"/>
                  </a:cubicBezTo>
                  <a:cubicBezTo>
                    <a:pt x="472190" y="461618"/>
                    <a:pt x="498016" y="425789"/>
                    <a:pt x="513799" y="385661"/>
                  </a:cubicBezTo>
                  <a:cubicBezTo>
                    <a:pt x="516668" y="385661"/>
                    <a:pt x="519538" y="385661"/>
                    <a:pt x="523842" y="385661"/>
                  </a:cubicBezTo>
                  <a:cubicBezTo>
                    <a:pt x="542494" y="385661"/>
                    <a:pt x="559712" y="375629"/>
                    <a:pt x="572625" y="365596"/>
                  </a:cubicBezTo>
                  <a:cubicBezTo>
                    <a:pt x="575495" y="364163"/>
                    <a:pt x="576929" y="362730"/>
                    <a:pt x="579799" y="361297"/>
                  </a:cubicBezTo>
                  <a:close/>
                  <a:moveTo>
                    <a:pt x="294267" y="269568"/>
                  </a:moveTo>
                  <a:lnTo>
                    <a:pt x="292830" y="306811"/>
                  </a:lnTo>
                  <a:lnTo>
                    <a:pt x="271277" y="306811"/>
                  </a:lnTo>
                  <a:lnTo>
                    <a:pt x="271277" y="305379"/>
                  </a:lnTo>
                  <a:close/>
                  <a:moveTo>
                    <a:pt x="566940" y="268168"/>
                  </a:moveTo>
                  <a:cubicBezTo>
                    <a:pt x="566940" y="268168"/>
                    <a:pt x="566940" y="269602"/>
                    <a:pt x="566940" y="271036"/>
                  </a:cubicBezTo>
                  <a:cubicBezTo>
                    <a:pt x="566940" y="273903"/>
                    <a:pt x="566940" y="276770"/>
                    <a:pt x="566940" y="281072"/>
                  </a:cubicBezTo>
                  <a:cubicBezTo>
                    <a:pt x="565504" y="282505"/>
                    <a:pt x="565504" y="283939"/>
                    <a:pt x="565504" y="286806"/>
                  </a:cubicBezTo>
                  <a:cubicBezTo>
                    <a:pt x="564068" y="288240"/>
                    <a:pt x="564068" y="291108"/>
                    <a:pt x="562632" y="292541"/>
                  </a:cubicBezTo>
                  <a:cubicBezTo>
                    <a:pt x="562632" y="295409"/>
                    <a:pt x="561196" y="296842"/>
                    <a:pt x="561196" y="299710"/>
                  </a:cubicBezTo>
                  <a:lnTo>
                    <a:pt x="558324" y="302577"/>
                  </a:lnTo>
                  <a:lnTo>
                    <a:pt x="556888" y="304011"/>
                  </a:lnTo>
                  <a:cubicBezTo>
                    <a:pt x="551144" y="311180"/>
                    <a:pt x="543964" y="314047"/>
                    <a:pt x="538220" y="315481"/>
                  </a:cubicBezTo>
                  <a:cubicBezTo>
                    <a:pt x="535348" y="315481"/>
                    <a:pt x="532476" y="316914"/>
                    <a:pt x="529603" y="316914"/>
                  </a:cubicBezTo>
                  <a:cubicBezTo>
                    <a:pt x="528167" y="316914"/>
                    <a:pt x="526731" y="316914"/>
                    <a:pt x="526731" y="316914"/>
                  </a:cubicBezTo>
                  <a:lnTo>
                    <a:pt x="535348" y="345589"/>
                  </a:lnTo>
                  <a:cubicBezTo>
                    <a:pt x="535348" y="345589"/>
                    <a:pt x="536784" y="344155"/>
                    <a:pt x="538220" y="342721"/>
                  </a:cubicBezTo>
                  <a:cubicBezTo>
                    <a:pt x="541092" y="342721"/>
                    <a:pt x="543964" y="339854"/>
                    <a:pt x="548272" y="338420"/>
                  </a:cubicBezTo>
                  <a:cubicBezTo>
                    <a:pt x="549708" y="336987"/>
                    <a:pt x="552580" y="335553"/>
                    <a:pt x="554016" y="334119"/>
                  </a:cubicBezTo>
                  <a:cubicBezTo>
                    <a:pt x="556888" y="331252"/>
                    <a:pt x="558324" y="329818"/>
                    <a:pt x="561196" y="326950"/>
                  </a:cubicBezTo>
                  <a:cubicBezTo>
                    <a:pt x="562632" y="325517"/>
                    <a:pt x="564068" y="322649"/>
                    <a:pt x="565504" y="319782"/>
                  </a:cubicBezTo>
                  <a:cubicBezTo>
                    <a:pt x="568376" y="316914"/>
                    <a:pt x="568376" y="314047"/>
                    <a:pt x="569812" y="311180"/>
                  </a:cubicBezTo>
                  <a:lnTo>
                    <a:pt x="571248" y="306878"/>
                  </a:lnTo>
                  <a:lnTo>
                    <a:pt x="571248" y="302577"/>
                  </a:lnTo>
                  <a:cubicBezTo>
                    <a:pt x="572684" y="299710"/>
                    <a:pt x="572684" y="296842"/>
                    <a:pt x="572684" y="293975"/>
                  </a:cubicBezTo>
                  <a:cubicBezTo>
                    <a:pt x="572684" y="291108"/>
                    <a:pt x="572684" y="289674"/>
                    <a:pt x="572684" y="286806"/>
                  </a:cubicBezTo>
                  <a:cubicBezTo>
                    <a:pt x="571248" y="283939"/>
                    <a:pt x="571248" y="282505"/>
                    <a:pt x="571248" y="281072"/>
                  </a:cubicBezTo>
                  <a:cubicBezTo>
                    <a:pt x="569812" y="276770"/>
                    <a:pt x="569812" y="273903"/>
                    <a:pt x="568376" y="271036"/>
                  </a:cubicBezTo>
                  <a:cubicBezTo>
                    <a:pt x="568376" y="269602"/>
                    <a:pt x="566940" y="268168"/>
                    <a:pt x="566940" y="268168"/>
                  </a:cubicBezTo>
                  <a:close/>
                  <a:moveTo>
                    <a:pt x="348710" y="246665"/>
                  </a:moveTo>
                  <a:lnTo>
                    <a:pt x="348710" y="354152"/>
                  </a:lnTo>
                  <a:lnTo>
                    <a:pt x="375975" y="354152"/>
                  </a:lnTo>
                  <a:lnTo>
                    <a:pt x="375975" y="319756"/>
                  </a:lnTo>
                  <a:cubicBezTo>
                    <a:pt x="375975" y="316890"/>
                    <a:pt x="375975" y="312591"/>
                    <a:pt x="377410" y="309724"/>
                  </a:cubicBezTo>
                  <a:cubicBezTo>
                    <a:pt x="378845" y="302559"/>
                    <a:pt x="384585" y="298259"/>
                    <a:pt x="393195" y="298259"/>
                  </a:cubicBezTo>
                  <a:cubicBezTo>
                    <a:pt x="398935" y="298259"/>
                    <a:pt x="401806" y="301125"/>
                    <a:pt x="401806" y="308291"/>
                  </a:cubicBezTo>
                  <a:lnTo>
                    <a:pt x="401806" y="354152"/>
                  </a:lnTo>
                  <a:lnTo>
                    <a:pt x="427636" y="354152"/>
                  </a:lnTo>
                  <a:lnTo>
                    <a:pt x="427636" y="303992"/>
                  </a:lnTo>
                  <a:cubicBezTo>
                    <a:pt x="427636" y="282494"/>
                    <a:pt x="414721" y="273895"/>
                    <a:pt x="398935" y="273895"/>
                  </a:cubicBezTo>
                  <a:cubicBezTo>
                    <a:pt x="388890" y="273895"/>
                    <a:pt x="380280" y="279628"/>
                    <a:pt x="375975" y="286794"/>
                  </a:cubicBezTo>
                  <a:lnTo>
                    <a:pt x="374540" y="286794"/>
                  </a:lnTo>
                  <a:cubicBezTo>
                    <a:pt x="374540" y="286794"/>
                    <a:pt x="375975" y="283927"/>
                    <a:pt x="375975" y="279628"/>
                  </a:cubicBezTo>
                  <a:lnTo>
                    <a:pt x="375975" y="246665"/>
                  </a:lnTo>
                  <a:close/>
                  <a:moveTo>
                    <a:pt x="287004" y="246665"/>
                  </a:moveTo>
                  <a:lnTo>
                    <a:pt x="245389" y="312591"/>
                  </a:lnTo>
                  <a:lnTo>
                    <a:pt x="245389" y="328355"/>
                  </a:lnTo>
                  <a:lnTo>
                    <a:pt x="292745" y="328355"/>
                  </a:lnTo>
                  <a:lnTo>
                    <a:pt x="292745" y="354152"/>
                  </a:lnTo>
                  <a:lnTo>
                    <a:pt x="318575" y="354152"/>
                  </a:lnTo>
                  <a:lnTo>
                    <a:pt x="318575" y="328355"/>
                  </a:lnTo>
                  <a:lnTo>
                    <a:pt x="331490" y="328355"/>
                  </a:lnTo>
                  <a:lnTo>
                    <a:pt x="331490" y="306858"/>
                  </a:lnTo>
                  <a:lnTo>
                    <a:pt x="318575" y="306858"/>
                  </a:lnTo>
                  <a:lnTo>
                    <a:pt x="318575" y="246665"/>
                  </a:lnTo>
                  <a:close/>
                  <a:moveTo>
                    <a:pt x="195164" y="243799"/>
                  </a:moveTo>
                  <a:cubicBezTo>
                    <a:pt x="166463" y="243799"/>
                    <a:pt x="156418" y="268163"/>
                    <a:pt x="156418" y="268163"/>
                  </a:cubicBezTo>
                  <a:lnTo>
                    <a:pt x="176508" y="281061"/>
                  </a:lnTo>
                  <a:cubicBezTo>
                    <a:pt x="176508" y="281061"/>
                    <a:pt x="182248" y="269596"/>
                    <a:pt x="192294" y="269596"/>
                  </a:cubicBezTo>
                  <a:cubicBezTo>
                    <a:pt x="198034" y="269596"/>
                    <a:pt x="203774" y="272462"/>
                    <a:pt x="203774" y="279628"/>
                  </a:cubicBezTo>
                  <a:cubicBezTo>
                    <a:pt x="203774" y="295393"/>
                    <a:pt x="156418" y="302559"/>
                    <a:pt x="156418" y="342687"/>
                  </a:cubicBezTo>
                  <a:cubicBezTo>
                    <a:pt x="156418" y="346987"/>
                    <a:pt x="157853" y="349853"/>
                    <a:pt x="157853" y="354152"/>
                  </a:cubicBezTo>
                  <a:lnTo>
                    <a:pt x="233909" y="354152"/>
                  </a:lnTo>
                  <a:lnTo>
                    <a:pt x="233909" y="331222"/>
                  </a:lnTo>
                  <a:lnTo>
                    <a:pt x="187988" y="331222"/>
                  </a:lnTo>
                  <a:cubicBezTo>
                    <a:pt x="187988" y="318323"/>
                    <a:pt x="232474" y="311157"/>
                    <a:pt x="232474" y="276762"/>
                  </a:cubicBezTo>
                  <a:cubicBezTo>
                    <a:pt x="232474" y="253831"/>
                    <a:pt x="212384" y="243799"/>
                    <a:pt x="195164" y="243799"/>
                  </a:cubicBezTo>
                  <a:close/>
                  <a:moveTo>
                    <a:pt x="292745" y="146344"/>
                  </a:moveTo>
                  <a:cubicBezTo>
                    <a:pt x="380280" y="146344"/>
                    <a:pt x="450596" y="216569"/>
                    <a:pt x="450596" y="302559"/>
                  </a:cubicBezTo>
                  <a:cubicBezTo>
                    <a:pt x="450596" y="388548"/>
                    <a:pt x="380280" y="458773"/>
                    <a:pt x="292745" y="458773"/>
                  </a:cubicBezTo>
                  <a:cubicBezTo>
                    <a:pt x="206644" y="458773"/>
                    <a:pt x="136328" y="388548"/>
                    <a:pt x="136328" y="302559"/>
                  </a:cubicBezTo>
                  <a:cubicBezTo>
                    <a:pt x="136328" y="216569"/>
                    <a:pt x="206644" y="146344"/>
                    <a:pt x="292745" y="146344"/>
                  </a:cubicBezTo>
                  <a:close/>
                  <a:moveTo>
                    <a:pt x="375948" y="25870"/>
                  </a:moveTo>
                  <a:cubicBezTo>
                    <a:pt x="373076" y="27304"/>
                    <a:pt x="368768" y="27304"/>
                    <a:pt x="365896" y="27304"/>
                  </a:cubicBezTo>
                  <a:cubicBezTo>
                    <a:pt x="363024" y="28737"/>
                    <a:pt x="360152" y="30171"/>
                    <a:pt x="357279" y="31605"/>
                  </a:cubicBezTo>
                  <a:cubicBezTo>
                    <a:pt x="354407" y="31605"/>
                    <a:pt x="352971" y="33039"/>
                    <a:pt x="350099" y="34472"/>
                  </a:cubicBezTo>
                  <a:cubicBezTo>
                    <a:pt x="347227" y="37340"/>
                    <a:pt x="344355" y="40207"/>
                    <a:pt x="341483" y="41641"/>
                  </a:cubicBezTo>
                  <a:cubicBezTo>
                    <a:pt x="341483" y="41641"/>
                    <a:pt x="340047" y="41641"/>
                    <a:pt x="340047" y="43075"/>
                  </a:cubicBezTo>
                  <a:cubicBezTo>
                    <a:pt x="340047" y="43075"/>
                    <a:pt x="338611" y="43075"/>
                    <a:pt x="338611" y="43075"/>
                  </a:cubicBezTo>
                  <a:lnTo>
                    <a:pt x="360152" y="63147"/>
                  </a:lnTo>
                  <a:cubicBezTo>
                    <a:pt x="360152" y="61713"/>
                    <a:pt x="361588" y="61713"/>
                    <a:pt x="361588" y="60279"/>
                  </a:cubicBezTo>
                  <a:cubicBezTo>
                    <a:pt x="363024" y="58846"/>
                    <a:pt x="364460" y="55978"/>
                    <a:pt x="367332" y="53111"/>
                  </a:cubicBezTo>
                  <a:cubicBezTo>
                    <a:pt x="367332" y="51677"/>
                    <a:pt x="368768" y="50243"/>
                    <a:pt x="370204" y="50243"/>
                  </a:cubicBezTo>
                  <a:cubicBezTo>
                    <a:pt x="371640" y="48810"/>
                    <a:pt x="371640" y="47376"/>
                    <a:pt x="373076" y="45942"/>
                  </a:cubicBezTo>
                  <a:cubicBezTo>
                    <a:pt x="374512" y="44508"/>
                    <a:pt x="377384" y="44508"/>
                    <a:pt x="378820" y="43075"/>
                  </a:cubicBezTo>
                  <a:cubicBezTo>
                    <a:pt x="380256" y="43075"/>
                    <a:pt x="381692" y="41641"/>
                    <a:pt x="384564" y="41641"/>
                  </a:cubicBezTo>
                  <a:cubicBezTo>
                    <a:pt x="386000" y="41641"/>
                    <a:pt x="388872" y="41641"/>
                    <a:pt x="391744" y="41641"/>
                  </a:cubicBezTo>
                  <a:cubicBezTo>
                    <a:pt x="393180" y="41641"/>
                    <a:pt x="396052" y="41641"/>
                    <a:pt x="397488" y="41641"/>
                  </a:cubicBezTo>
                  <a:cubicBezTo>
                    <a:pt x="403233" y="43075"/>
                    <a:pt x="407541" y="44508"/>
                    <a:pt x="410413" y="45942"/>
                  </a:cubicBezTo>
                  <a:cubicBezTo>
                    <a:pt x="414721" y="47376"/>
                    <a:pt x="417593" y="48810"/>
                    <a:pt x="419029" y="48810"/>
                  </a:cubicBezTo>
                  <a:cubicBezTo>
                    <a:pt x="421901" y="50243"/>
                    <a:pt x="421901" y="50243"/>
                    <a:pt x="421901" y="50243"/>
                  </a:cubicBezTo>
                  <a:cubicBezTo>
                    <a:pt x="421901" y="50243"/>
                    <a:pt x="421901" y="50243"/>
                    <a:pt x="420465" y="48810"/>
                  </a:cubicBezTo>
                  <a:cubicBezTo>
                    <a:pt x="417593" y="47376"/>
                    <a:pt x="416157" y="44508"/>
                    <a:pt x="413285" y="41641"/>
                  </a:cubicBezTo>
                  <a:cubicBezTo>
                    <a:pt x="410413" y="38774"/>
                    <a:pt x="406105" y="35906"/>
                    <a:pt x="401797" y="33039"/>
                  </a:cubicBezTo>
                  <a:cubicBezTo>
                    <a:pt x="398924" y="33039"/>
                    <a:pt x="396052" y="31605"/>
                    <a:pt x="393180" y="30171"/>
                  </a:cubicBezTo>
                  <a:cubicBezTo>
                    <a:pt x="391744" y="28737"/>
                    <a:pt x="388872" y="27304"/>
                    <a:pt x="384564" y="27304"/>
                  </a:cubicBezTo>
                  <a:cubicBezTo>
                    <a:pt x="381692" y="27304"/>
                    <a:pt x="378820" y="27304"/>
                    <a:pt x="375948" y="25870"/>
                  </a:cubicBezTo>
                  <a:close/>
                  <a:moveTo>
                    <a:pt x="387032" y="10054"/>
                  </a:moveTo>
                  <a:cubicBezTo>
                    <a:pt x="424863" y="19060"/>
                    <a:pt x="480060" y="59921"/>
                    <a:pt x="529603" y="136266"/>
                  </a:cubicBezTo>
                  <a:cubicBezTo>
                    <a:pt x="594225" y="238060"/>
                    <a:pt x="595661" y="324083"/>
                    <a:pt x="569812" y="345589"/>
                  </a:cubicBezTo>
                  <a:cubicBezTo>
                    <a:pt x="546836" y="362793"/>
                    <a:pt x="513807" y="390034"/>
                    <a:pt x="487959" y="336987"/>
                  </a:cubicBezTo>
                  <a:cubicBezTo>
                    <a:pt x="462110" y="285373"/>
                    <a:pt x="482214" y="275337"/>
                    <a:pt x="506627" y="259566"/>
                  </a:cubicBezTo>
                  <a:cubicBezTo>
                    <a:pt x="523859" y="249530"/>
                    <a:pt x="502319" y="206518"/>
                    <a:pt x="477906" y="169242"/>
                  </a:cubicBezTo>
                  <a:cubicBezTo>
                    <a:pt x="453494" y="130531"/>
                    <a:pt x="424773" y="93255"/>
                    <a:pt x="407541" y="104724"/>
                  </a:cubicBezTo>
                  <a:cubicBezTo>
                    <a:pt x="383128" y="120495"/>
                    <a:pt x="365896" y="134832"/>
                    <a:pt x="328559" y="90387"/>
                  </a:cubicBezTo>
                  <a:cubicBezTo>
                    <a:pt x="292658" y="44508"/>
                    <a:pt x="329995" y="24436"/>
                    <a:pt x="355843" y="11533"/>
                  </a:cubicBezTo>
                  <a:cubicBezTo>
                    <a:pt x="363741" y="7590"/>
                    <a:pt x="374422" y="7053"/>
                    <a:pt x="387032" y="10054"/>
                  </a:cubicBezTo>
                  <a:close/>
                  <a:moveTo>
                    <a:pt x="140586" y="184"/>
                  </a:moveTo>
                  <a:lnTo>
                    <a:pt x="253915" y="28851"/>
                  </a:lnTo>
                  <a:lnTo>
                    <a:pt x="276868" y="34584"/>
                  </a:lnTo>
                  <a:cubicBezTo>
                    <a:pt x="284041" y="36018"/>
                    <a:pt x="286910" y="46051"/>
                    <a:pt x="281172" y="50351"/>
                  </a:cubicBezTo>
                  <a:lnTo>
                    <a:pt x="253915" y="79018"/>
                  </a:lnTo>
                  <a:lnTo>
                    <a:pt x="183622" y="150685"/>
                  </a:lnTo>
                  <a:cubicBezTo>
                    <a:pt x="177884" y="156418"/>
                    <a:pt x="169277" y="154985"/>
                    <a:pt x="167842" y="147818"/>
                  </a:cubicBezTo>
                  <a:lnTo>
                    <a:pt x="159235" y="120585"/>
                  </a:lnTo>
                  <a:cubicBezTo>
                    <a:pt x="159235" y="117718"/>
                    <a:pt x="157801" y="116285"/>
                    <a:pt x="154931" y="116285"/>
                  </a:cubicBezTo>
                  <a:cubicBezTo>
                    <a:pt x="153497" y="114851"/>
                    <a:pt x="150628" y="116285"/>
                    <a:pt x="149193" y="117718"/>
                  </a:cubicBezTo>
                  <a:cubicBezTo>
                    <a:pt x="91811" y="160718"/>
                    <a:pt x="57382" y="229518"/>
                    <a:pt x="57382" y="302619"/>
                  </a:cubicBezTo>
                  <a:cubicBezTo>
                    <a:pt x="57382" y="407252"/>
                    <a:pt x="126240" y="494686"/>
                    <a:pt x="219486" y="526219"/>
                  </a:cubicBezTo>
                  <a:cubicBezTo>
                    <a:pt x="241004" y="531953"/>
                    <a:pt x="246743" y="557753"/>
                    <a:pt x="232397" y="573519"/>
                  </a:cubicBezTo>
                  <a:cubicBezTo>
                    <a:pt x="223790" y="582119"/>
                    <a:pt x="212313" y="584986"/>
                    <a:pt x="202272" y="580686"/>
                  </a:cubicBezTo>
                  <a:cubicBezTo>
                    <a:pt x="84638" y="543419"/>
                    <a:pt x="0" y="433052"/>
                    <a:pt x="0" y="302619"/>
                  </a:cubicBezTo>
                  <a:cubicBezTo>
                    <a:pt x="0" y="202285"/>
                    <a:pt x="50209" y="110551"/>
                    <a:pt x="134848" y="56085"/>
                  </a:cubicBezTo>
                  <a:cubicBezTo>
                    <a:pt x="137717" y="53218"/>
                    <a:pt x="139151" y="48918"/>
                    <a:pt x="137717" y="46051"/>
                  </a:cubicBezTo>
                  <a:lnTo>
                    <a:pt x="129109" y="13084"/>
                  </a:lnTo>
                  <a:cubicBezTo>
                    <a:pt x="126240" y="5918"/>
                    <a:pt x="133413" y="-1249"/>
                    <a:pt x="140586" y="18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4" name="ïṥḻîḓè">
              <a:extLst>
                <a:ext uri="{FF2B5EF4-FFF2-40B4-BE49-F238E27FC236}">
                  <a16:creationId xmlns:a16="http://schemas.microsoft.com/office/drawing/2014/main" xmlns="" id="{D628F306-48C7-4B5F-AAB0-E25A2E797129}"/>
                </a:ext>
              </a:extLst>
            </p:cNvPr>
            <p:cNvSpPr/>
            <p:nvPr/>
          </p:nvSpPr>
          <p:spPr>
            <a:xfrm>
              <a:off x="9639662" y="3582887"/>
              <a:ext cx="351788" cy="286697"/>
            </a:xfrm>
            <a:custGeom>
              <a:avLst/>
              <a:gdLst>
                <a:gd name="T0" fmla="*/ 3086 w 5212"/>
                <a:gd name="T1" fmla="*/ 0 h 4254"/>
                <a:gd name="T2" fmla="*/ 2624 w 5212"/>
                <a:gd name="T3" fmla="*/ 51 h 4254"/>
                <a:gd name="T4" fmla="*/ 2127 w 5212"/>
                <a:gd name="T5" fmla="*/ 0 h 4254"/>
                <a:gd name="T6" fmla="*/ 0 w 5212"/>
                <a:gd name="T7" fmla="*/ 2127 h 4254"/>
                <a:gd name="T8" fmla="*/ 2127 w 5212"/>
                <a:gd name="T9" fmla="*/ 4254 h 4254"/>
                <a:gd name="T10" fmla="*/ 2604 w 5212"/>
                <a:gd name="T11" fmla="*/ 4198 h 4254"/>
                <a:gd name="T12" fmla="*/ 3086 w 5212"/>
                <a:gd name="T13" fmla="*/ 4254 h 4254"/>
                <a:gd name="T14" fmla="*/ 5212 w 5212"/>
                <a:gd name="T15" fmla="*/ 2127 h 4254"/>
                <a:gd name="T16" fmla="*/ 3086 w 5212"/>
                <a:gd name="T17" fmla="*/ 0 h 4254"/>
                <a:gd name="T18" fmla="*/ 2219 w 5212"/>
                <a:gd name="T19" fmla="*/ 3118 h 4254"/>
                <a:gd name="T20" fmla="*/ 2219 w 5212"/>
                <a:gd name="T21" fmla="*/ 3455 h 4254"/>
                <a:gd name="T22" fmla="*/ 2015 w 5212"/>
                <a:gd name="T23" fmla="*/ 3455 h 4254"/>
                <a:gd name="T24" fmla="*/ 2015 w 5212"/>
                <a:gd name="T25" fmla="*/ 3131 h 4254"/>
                <a:gd name="T26" fmla="*/ 1523 w 5212"/>
                <a:gd name="T27" fmla="*/ 2988 h 4254"/>
                <a:gd name="T28" fmla="*/ 1600 w 5212"/>
                <a:gd name="T29" fmla="*/ 2772 h 4254"/>
                <a:gd name="T30" fmla="*/ 2063 w 5212"/>
                <a:gd name="T31" fmla="*/ 2911 h 4254"/>
                <a:gd name="T32" fmla="*/ 2428 w 5212"/>
                <a:gd name="T33" fmla="*/ 2593 h 4254"/>
                <a:gd name="T34" fmla="*/ 2083 w 5212"/>
                <a:gd name="T35" fmla="*/ 2208 h 4254"/>
                <a:gd name="T36" fmla="*/ 1549 w 5212"/>
                <a:gd name="T37" fmla="*/ 1644 h 4254"/>
                <a:gd name="T38" fmla="*/ 2034 w 5212"/>
                <a:gd name="T39" fmla="*/ 1123 h 4254"/>
                <a:gd name="T40" fmla="*/ 2034 w 5212"/>
                <a:gd name="T41" fmla="*/ 799 h 4254"/>
                <a:gd name="T42" fmla="*/ 2238 w 5212"/>
                <a:gd name="T43" fmla="*/ 799 h 4254"/>
                <a:gd name="T44" fmla="*/ 2238 w 5212"/>
                <a:gd name="T45" fmla="*/ 1114 h 4254"/>
                <a:gd name="T46" fmla="*/ 2659 w 5212"/>
                <a:gd name="T47" fmla="*/ 1227 h 4254"/>
                <a:gd name="T48" fmla="*/ 2578 w 5212"/>
                <a:gd name="T49" fmla="*/ 1441 h 4254"/>
                <a:gd name="T50" fmla="*/ 2170 w 5212"/>
                <a:gd name="T51" fmla="*/ 1327 h 4254"/>
                <a:gd name="T52" fmla="*/ 1848 w 5212"/>
                <a:gd name="T53" fmla="*/ 1609 h 4254"/>
                <a:gd name="T54" fmla="*/ 2229 w 5212"/>
                <a:gd name="T55" fmla="*/ 1978 h 4254"/>
                <a:gd name="T56" fmla="*/ 2730 w 5212"/>
                <a:gd name="T57" fmla="*/ 2568 h 4254"/>
                <a:gd name="T58" fmla="*/ 2219 w 5212"/>
                <a:gd name="T59" fmla="*/ 3118 h 4254"/>
                <a:gd name="T60" fmla="*/ 3086 w 5212"/>
                <a:gd name="T61" fmla="*/ 4049 h 4254"/>
                <a:gd name="T62" fmla="*/ 3037 w 5212"/>
                <a:gd name="T63" fmla="*/ 4046 h 4254"/>
                <a:gd name="T64" fmla="*/ 4253 w 5212"/>
                <a:gd name="T65" fmla="*/ 2127 h 4254"/>
                <a:gd name="T66" fmla="*/ 3037 w 5212"/>
                <a:gd name="T67" fmla="*/ 208 h 4254"/>
                <a:gd name="T68" fmla="*/ 3086 w 5212"/>
                <a:gd name="T69" fmla="*/ 205 h 4254"/>
                <a:gd name="T70" fmla="*/ 5007 w 5212"/>
                <a:gd name="T71" fmla="*/ 2127 h 4254"/>
                <a:gd name="T72" fmla="*/ 3086 w 5212"/>
                <a:gd name="T73" fmla="*/ 4049 h 4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12" h="4254">
                  <a:moveTo>
                    <a:pt x="3086" y="0"/>
                  </a:moveTo>
                  <a:cubicBezTo>
                    <a:pt x="2929" y="0"/>
                    <a:pt x="2774" y="17"/>
                    <a:pt x="2624" y="51"/>
                  </a:cubicBezTo>
                  <a:cubicBezTo>
                    <a:pt x="2624" y="51"/>
                    <a:pt x="2299" y="0"/>
                    <a:pt x="2127" y="0"/>
                  </a:cubicBezTo>
                  <a:cubicBezTo>
                    <a:pt x="954" y="0"/>
                    <a:pt x="0" y="955"/>
                    <a:pt x="0" y="2127"/>
                  </a:cubicBezTo>
                  <a:cubicBezTo>
                    <a:pt x="0" y="3300"/>
                    <a:pt x="954" y="4254"/>
                    <a:pt x="2127" y="4254"/>
                  </a:cubicBezTo>
                  <a:cubicBezTo>
                    <a:pt x="2291" y="4254"/>
                    <a:pt x="2450" y="4233"/>
                    <a:pt x="2604" y="4198"/>
                  </a:cubicBezTo>
                  <a:cubicBezTo>
                    <a:pt x="2761" y="4235"/>
                    <a:pt x="2923" y="4254"/>
                    <a:pt x="3086" y="4254"/>
                  </a:cubicBezTo>
                  <a:cubicBezTo>
                    <a:pt x="4258" y="4254"/>
                    <a:pt x="5212" y="3300"/>
                    <a:pt x="5212" y="2127"/>
                  </a:cubicBezTo>
                  <a:cubicBezTo>
                    <a:pt x="5212" y="955"/>
                    <a:pt x="4258" y="0"/>
                    <a:pt x="3086" y="0"/>
                  </a:cubicBezTo>
                  <a:close/>
                  <a:moveTo>
                    <a:pt x="2219" y="3118"/>
                  </a:moveTo>
                  <a:lnTo>
                    <a:pt x="2219" y="3455"/>
                  </a:lnTo>
                  <a:lnTo>
                    <a:pt x="2015" y="3455"/>
                  </a:lnTo>
                  <a:lnTo>
                    <a:pt x="2015" y="3131"/>
                  </a:lnTo>
                  <a:cubicBezTo>
                    <a:pt x="1827" y="3128"/>
                    <a:pt x="1636" y="3070"/>
                    <a:pt x="1523" y="2988"/>
                  </a:cubicBezTo>
                  <a:lnTo>
                    <a:pt x="1600" y="2772"/>
                  </a:lnTo>
                  <a:cubicBezTo>
                    <a:pt x="1713" y="2846"/>
                    <a:pt x="1882" y="2911"/>
                    <a:pt x="2063" y="2911"/>
                  </a:cubicBezTo>
                  <a:cubicBezTo>
                    <a:pt x="2294" y="2911"/>
                    <a:pt x="2428" y="2778"/>
                    <a:pt x="2428" y="2593"/>
                  </a:cubicBezTo>
                  <a:cubicBezTo>
                    <a:pt x="2428" y="2415"/>
                    <a:pt x="2322" y="2305"/>
                    <a:pt x="2083" y="2208"/>
                  </a:cubicBezTo>
                  <a:cubicBezTo>
                    <a:pt x="1753" y="2078"/>
                    <a:pt x="1548" y="1926"/>
                    <a:pt x="1549" y="1644"/>
                  </a:cubicBezTo>
                  <a:cubicBezTo>
                    <a:pt x="1549" y="1376"/>
                    <a:pt x="1739" y="1172"/>
                    <a:pt x="2034" y="1123"/>
                  </a:cubicBezTo>
                  <a:lnTo>
                    <a:pt x="2034" y="799"/>
                  </a:lnTo>
                  <a:lnTo>
                    <a:pt x="2238" y="799"/>
                  </a:lnTo>
                  <a:lnTo>
                    <a:pt x="2238" y="1114"/>
                  </a:lnTo>
                  <a:cubicBezTo>
                    <a:pt x="2429" y="1120"/>
                    <a:pt x="2562" y="1172"/>
                    <a:pt x="2659" y="1227"/>
                  </a:cubicBezTo>
                  <a:lnTo>
                    <a:pt x="2578" y="1441"/>
                  </a:lnTo>
                  <a:cubicBezTo>
                    <a:pt x="2510" y="1402"/>
                    <a:pt x="2377" y="1327"/>
                    <a:pt x="2170" y="1327"/>
                  </a:cubicBezTo>
                  <a:cubicBezTo>
                    <a:pt x="1921" y="1327"/>
                    <a:pt x="1848" y="1476"/>
                    <a:pt x="1848" y="1609"/>
                  </a:cubicBezTo>
                  <a:cubicBezTo>
                    <a:pt x="1848" y="1774"/>
                    <a:pt x="1947" y="1858"/>
                    <a:pt x="2229" y="1978"/>
                  </a:cubicBezTo>
                  <a:cubicBezTo>
                    <a:pt x="2562" y="2114"/>
                    <a:pt x="2730" y="2280"/>
                    <a:pt x="2730" y="2568"/>
                  </a:cubicBezTo>
                  <a:cubicBezTo>
                    <a:pt x="2730" y="2827"/>
                    <a:pt x="2553" y="3067"/>
                    <a:pt x="2219" y="3118"/>
                  </a:cubicBezTo>
                  <a:close/>
                  <a:moveTo>
                    <a:pt x="3086" y="4049"/>
                  </a:moveTo>
                  <a:cubicBezTo>
                    <a:pt x="3069" y="4049"/>
                    <a:pt x="3053" y="4047"/>
                    <a:pt x="3037" y="4046"/>
                  </a:cubicBezTo>
                  <a:cubicBezTo>
                    <a:pt x="3755" y="3704"/>
                    <a:pt x="4253" y="2974"/>
                    <a:pt x="4253" y="2127"/>
                  </a:cubicBezTo>
                  <a:cubicBezTo>
                    <a:pt x="4253" y="1280"/>
                    <a:pt x="3755" y="550"/>
                    <a:pt x="3037" y="208"/>
                  </a:cubicBezTo>
                  <a:cubicBezTo>
                    <a:pt x="3053" y="208"/>
                    <a:pt x="3069" y="205"/>
                    <a:pt x="3086" y="205"/>
                  </a:cubicBezTo>
                  <a:cubicBezTo>
                    <a:pt x="4146" y="205"/>
                    <a:pt x="5007" y="1068"/>
                    <a:pt x="5007" y="2127"/>
                  </a:cubicBezTo>
                  <a:cubicBezTo>
                    <a:pt x="5007" y="3187"/>
                    <a:pt x="4146" y="4049"/>
                    <a:pt x="3086" y="40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5" name="ïSḷíde">
              <a:extLst>
                <a:ext uri="{FF2B5EF4-FFF2-40B4-BE49-F238E27FC236}">
                  <a16:creationId xmlns:a16="http://schemas.microsoft.com/office/drawing/2014/main" xmlns="" id="{51B562F3-B26E-4E8B-89B4-A8176F36A739}"/>
                </a:ext>
              </a:extLst>
            </p:cNvPr>
            <p:cNvSpPr/>
            <p:nvPr/>
          </p:nvSpPr>
          <p:spPr>
            <a:xfrm>
              <a:off x="3922363" y="1442511"/>
              <a:ext cx="351788" cy="298663"/>
            </a:xfrm>
            <a:custGeom>
              <a:avLst/>
              <a:gdLst>
                <a:gd name="connsiteX0" fmla="*/ 282755 w 591091"/>
                <a:gd name="connsiteY0" fmla="*/ 187347 h 501829"/>
                <a:gd name="connsiteX1" fmla="*/ 308576 w 591091"/>
                <a:gd name="connsiteY1" fmla="*/ 187347 h 501829"/>
                <a:gd name="connsiteX2" fmla="*/ 308576 w 591091"/>
                <a:gd name="connsiteY2" fmla="*/ 210541 h 501829"/>
                <a:gd name="connsiteX3" fmla="*/ 346017 w 591091"/>
                <a:gd name="connsiteY3" fmla="*/ 218917 h 501829"/>
                <a:gd name="connsiteX4" fmla="*/ 338916 w 591091"/>
                <a:gd name="connsiteY4" fmla="*/ 248554 h 501829"/>
                <a:gd name="connsiteX5" fmla="*/ 301475 w 591091"/>
                <a:gd name="connsiteY5" fmla="*/ 239534 h 501829"/>
                <a:gd name="connsiteX6" fmla="*/ 278882 w 591091"/>
                <a:gd name="connsiteY6" fmla="*/ 253708 h 501829"/>
                <a:gd name="connsiteX7" fmla="*/ 309867 w 591091"/>
                <a:gd name="connsiteY7" fmla="*/ 276258 h 501829"/>
                <a:gd name="connsiteX8" fmla="*/ 353763 w 591091"/>
                <a:gd name="connsiteY8" fmla="*/ 324580 h 501829"/>
                <a:gd name="connsiteX9" fmla="*/ 307285 w 591091"/>
                <a:gd name="connsiteY9" fmla="*/ 372901 h 501829"/>
                <a:gd name="connsiteX10" fmla="*/ 307285 w 591091"/>
                <a:gd name="connsiteY10" fmla="*/ 399317 h 501829"/>
                <a:gd name="connsiteX11" fmla="*/ 281464 w 591091"/>
                <a:gd name="connsiteY11" fmla="*/ 399317 h 501829"/>
                <a:gd name="connsiteX12" fmla="*/ 281464 w 591091"/>
                <a:gd name="connsiteY12" fmla="*/ 374834 h 501829"/>
                <a:gd name="connsiteX13" fmla="*/ 237568 w 591091"/>
                <a:gd name="connsiteY13" fmla="*/ 363881 h 501829"/>
                <a:gd name="connsiteX14" fmla="*/ 245314 w 591091"/>
                <a:gd name="connsiteY14" fmla="*/ 332956 h 501829"/>
                <a:gd name="connsiteX15" fmla="*/ 288565 w 591091"/>
                <a:gd name="connsiteY15" fmla="*/ 344553 h 501829"/>
                <a:gd name="connsiteX16" fmla="*/ 313740 w 591091"/>
                <a:gd name="connsiteY16" fmla="*/ 328446 h 501829"/>
                <a:gd name="connsiteX17" fmla="*/ 285983 w 591091"/>
                <a:gd name="connsiteY17" fmla="*/ 305896 h 501829"/>
                <a:gd name="connsiteX18" fmla="*/ 238859 w 591091"/>
                <a:gd name="connsiteY18" fmla="*/ 258218 h 501829"/>
                <a:gd name="connsiteX19" fmla="*/ 282755 w 591091"/>
                <a:gd name="connsiteY19" fmla="*/ 212474 h 501829"/>
                <a:gd name="connsiteX20" fmla="*/ 295666 w 591091"/>
                <a:gd name="connsiteY20" fmla="*/ 151161 h 501829"/>
                <a:gd name="connsiteX21" fmla="*/ 151700 w 591091"/>
                <a:gd name="connsiteY21" fmla="*/ 294909 h 501829"/>
                <a:gd name="connsiteX22" fmla="*/ 295666 w 591091"/>
                <a:gd name="connsiteY22" fmla="*/ 438657 h 501829"/>
                <a:gd name="connsiteX23" fmla="*/ 439631 w 591091"/>
                <a:gd name="connsiteY23" fmla="*/ 294909 h 501829"/>
                <a:gd name="connsiteX24" fmla="*/ 295666 w 591091"/>
                <a:gd name="connsiteY24" fmla="*/ 151161 h 501829"/>
                <a:gd name="connsiteX25" fmla="*/ 295423 w 591091"/>
                <a:gd name="connsiteY25" fmla="*/ 0 h 501829"/>
                <a:gd name="connsiteX26" fmla="*/ 309223 w 591091"/>
                <a:gd name="connsiteY26" fmla="*/ 4834 h 501829"/>
                <a:gd name="connsiteX27" fmla="*/ 415744 w 591091"/>
                <a:gd name="connsiteY27" fmla="*/ 86700 h 501829"/>
                <a:gd name="connsiteX28" fmla="*/ 415744 w 591091"/>
                <a:gd name="connsiteY28" fmla="*/ 21594 h 501829"/>
                <a:gd name="connsiteX29" fmla="*/ 437694 w 591091"/>
                <a:gd name="connsiteY29" fmla="*/ 322 h 501829"/>
                <a:gd name="connsiteX30" fmla="*/ 459644 w 591091"/>
                <a:gd name="connsiteY30" fmla="*/ 21594 h 501829"/>
                <a:gd name="connsiteX31" fmla="*/ 459644 w 591091"/>
                <a:gd name="connsiteY31" fmla="*/ 120219 h 501829"/>
                <a:gd name="connsiteX32" fmla="*/ 582305 w 591091"/>
                <a:gd name="connsiteY32" fmla="*/ 214977 h 501829"/>
                <a:gd name="connsiteX33" fmla="*/ 586825 w 591091"/>
                <a:gd name="connsiteY33" fmla="*/ 245919 h 501829"/>
                <a:gd name="connsiteX34" fmla="*/ 569394 w 591091"/>
                <a:gd name="connsiteY34" fmla="*/ 254298 h 501829"/>
                <a:gd name="connsiteX35" fmla="*/ 555836 w 591091"/>
                <a:gd name="connsiteY35" fmla="*/ 249786 h 501829"/>
                <a:gd name="connsiteX36" fmla="*/ 529367 w 591091"/>
                <a:gd name="connsiteY36" fmla="*/ 229159 h 501829"/>
                <a:gd name="connsiteX37" fmla="*/ 529367 w 591091"/>
                <a:gd name="connsiteY37" fmla="*/ 479912 h 501829"/>
                <a:gd name="connsiteX38" fmla="*/ 507418 w 591091"/>
                <a:gd name="connsiteY38" fmla="*/ 501829 h 501829"/>
                <a:gd name="connsiteX39" fmla="*/ 81331 w 591091"/>
                <a:gd name="connsiteY39" fmla="*/ 501829 h 501829"/>
                <a:gd name="connsiteX40" fmla="*/ 59381 w 591091"/>
                <a:gd name="connsiteY40" fmla="*/ 479912 h 501829"/>
                <a:gd name="connsiteX41" fmla="*/ 59381 w 591091"/>
                <a:gd name="connsiteY41" fmla="*/ 231092 h 501829"/>
                <a:gd name="connsiteX42" fmla="*/ 35495 w 591091"/>
                <a:gd name="connsiteY42" fmla="*/ 249786 h 501829"/>
                <a:gd name="connsiteX43" fmla="*/ 4506 w 591091"/>
                <a:gd name="connsiteY43" fmla="*/ 245919 h 501829"/>
                <a:gd name="connsiteX44" fmla="*/ 8380 w 591091"/>
                <a:gd name="connsiteY44" fmla="*/ 214977 h 501829"/>
                <a:gd name="connsiteX45" fmla="*/ 282108 w 591091"/>
                <a:gd name="connsiteY45" fmla="*/ 4834 h 501829"/>
                <a:gd name="connsiteX46" fmla="*/ 295423 w 591091"/>
                <a:gd name="connsiteY46" fmla="*/ 0 h 501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591091" h="501829">
                  <a:moveTo>
                    <a:pt x="282755" y="187347"/>
                  </a:moveTo>
                  <a:lnTo>
                    <a:pt x="308576" y="187347"/>
                  </a:lnTo>
                  <a:lnTo>
                    <a:pt x="308576" y="210541"/>
                  </a:lnTo>
                  <a:cubicBezTo>
                    <a:pt x="326005" y="211186"/>
                    <a:pt x="337625" y="215051"/>
                    <a:pt x="346017" y="218917"/>
                  </a:cubicBezTo>
                  <a:lnTo>
                    <a:pt x="338916" y="248554"/>
                  </a:lnTo>
                  <a:cubicBezTo>
                    <a:pt x="331815" y="245333"/>
                    <a:pt x="320196" y="239534"/>
                    <a:pt x="301475" y="239534"/>
                  </a:cubicBezTo>
                  <a:cubicBezTo>
                    <a:pt x="284046" y="239534"/>
                    <a:pt x="278882" y="246621"/>
                    <a:pt x="278882" y="253708"/>
                  </a:cubicBezTo>
                  <a:cubicBezTo>
                    <a:pt x="278882" y="262728"/>
                    <a:pt x="287919" y="267883"/>
                    <a:pt x="309867" y="276258"/>
                  </a:cubicBezTo>
                  <a:cubicBezTo>
                    <a:pt x="340852" y="287211"/>
                    <a:pt x="353763" y="301386"/>
                    <a:pt x="353763" y="324580"/>
                  </a:cubicBezTo>
                  <a:cubicBezTo>
                    <a:pt x="353763" y="347774"/>
                    <a:pt x="336979" y="367747"/>
                    <a:pt x="307285" y="372901"/>
                  </a:cubicBezTo>
                  <a:lnTo>
                    <a:pt x="307285" y="399317"/>
                  </a:lnTo>
                  <a:lnTo>
                    <a:pt x="281464" y="399317"/>
                  </a:lnTo>
                  <a:lnTo>
                    <a:pt x="281464" y="374834"/>
                  </a:lnTo>
                  <a:cubicBezTo>
                    <a:pt x="264035" y="374190"/>
                    <a:pt x="247251" y="369036"/>
                    <a:pt x="237568" y="363881"/>
                  </a:cubicBezTo>
                  <a:lnTo>
                    <a:pt x="245314" y="332956"/>
                  </a:lnTo>
                  <a:cubicBezTo>
                    <a:pt x="256288" y="339398"/>
                    <a:pt x="271781" y="344553"/>
                    <a:pt x="288565" y="344553"/>
                  </a:cubicBezTo>
                  <a:cubicBezTo>
                    <a:pt x="303412" y="344553"/>
                    <a:pt x="313740" y="338754"/>
                    <a:pt x="313740" y="328446"/>
                  </a:cubicBezTo>
                  <a:cubicBezTo>
                    <a:pt x="313740" y="318781"/>
                    <a:pt x="305348" y="312338"/>
                    <a:pt x="285983" y="305896"/>
                  </a:cubicBezTo>
                  <a:cubicBezTo>
                    <a:pt x="258225" y="296876"/>
                    <a:pt x="238859" y="283346"/>
                    <a:pt x="238859" y="258218"/>
                  </a:cubicBezTo>
                  <a:cubicBezTo>
                    <a:pt x="238859" y="235668"/>
                    <a:pt x="254997" y="217628"/>
                    <a:pt x="282755" y="212474"/>
                  </a:cubicBezTo>
                  <a:close/>
                  <a:moveTo>
                    <a:pt x="295666" y="151161"/>
                  </a:moveTo>
                  <a:cubicBezTo>
                    <a:pt x="216258" y="151161"/>
                    <a:pt x="151700" y="215622"/>
                    <a:pt x="151700" y="294909"/>
                  </a:cubicBezTo>
                  <a:cubicBezTo>
                    <a:pt x="151700" y="374196"/>
                    <a:pt x="216258" y="438657"/>
                    <a:pt x="295666" y="438657"/>
                  </a:cubicBezTo>
                  <a:cubicBezTo>
                    <a:pt x="375073" y="438657"/>
                    <a:pt x="439631" y="374196"/>
                    <a:pt x="439631" y="294909"/>
                  </a:cubicBezTo>
                  <a:cubicBezTo>
                    <a:pt x="439631" y="215622"/>
                    <a:pt x="375073" y="151161"/>
                    <a:pt x="295666" y="151161"/>
                  </a:cubicBezTo>
                  <a:close/>
                  <a:moveTo>
                    <a:pt x="295423" y="0"/>
                  </a:moveTo>
                  <a:cubicBezTo>
                    <a:pt x="300185" y="0"/>
                    <a:pt x="305026" y="1611"/>
                    <a:pt x="309223" y="4834"/>
                  </a:cubicBezTo>
                  <a:lnTo>
                    <a:pt x="415744" y="86700"/>
                  </a:lnTo>
                  <a:lnTo>
                    <a:pt x="415744" y="21594"/>
                  </a:lnTo>
                  <a:cubicBezTo>
                    <a:pt x="415744" y="9991"/>
                    <a:pt x="425428" y="322"/>
                    <a:pt x="437694" y="322"/>
                  </a:cubicBezTo>
                  <a:cubicBezTo>
                    <a:pt x="449960" y="322"/>
                    <a:pt x="459644" y="9991"/>
                    <a:pt x="459644" y="21594"/>
                  </a:cubicBezTo>
                  <a:lnTo>
                    <a:pt x="459644" y="120219"/>
                  </a:lnTo>
                  <a:lnTo>
                    <a:pt x="582305" y="214977"/>
                  </a:lnTo>
                  <a:cubicBezTo>
                    <a:pt x="591989" y="222068"/>
                    <a:pt x="593926" y="236249"/>
                    <a:pt x="586825" y="245919"/>
                  </a:cubicBezTo>
                  <a:cubicBezTo>
                    <a:pt x="582305" y="251075"/>
                    <a:pt x="575850" y="254298"/>
                    <a:pt x="569394" y="254298"/>
                  </a:cubicBezTo>
                  <a:cubicBezTo>
                    <a:pt x="564229" y="254298"/>
                    <a:pt x="559710" y="252365"/>
                    <a:pt x="555836" y="249786"/>
                  </a:cubicBezTo>
                  <a:lnTo>
                    <a:pt x="529367" y="229159"/>
                  </a:lnTo>
                  <a:lnTo>
                    <a:pt x="529367" y="479912"/>
                  </a:lnTo>
                  <a:cubicBezTo>
                    <a:pt x="529367" y="492160"/>
                    <a:pt x="519038" y="501829"/>
                    <a:pt x="507418" y="501829"/>
                  </a:cubicBezTo>
                  <a:lnTo>
                    <a:pt x="81331" y="501829"/>
                  </a:lnTo>
                  <a:cubicBezTo>
                    <a:pt x="69065" y="501829"/>
                    <a:pt x="59381" y="492160"/>
                    <a:pt x="59381" y="479912"/>
                  </a:cubicBezTo>
                  <a:lnTo>
                    <a:pt x="59381" y="231092"/>
                  </a:lnTo>
                  <a:lnTo>
                    <a:pt x="35495" y="249786"/>
                  </a:lnTo>
                  <a:cubicBezTo>
                    <a:pt x="25811" y="256877"/>
                    <a:pt x="11608" y="254943"/>
                    <a:pt x="4506" y="245919"/>
                  </a:cubicBezTo>
                  <a:cubicBezTo>
                    <a:pt x="-2595" y="236249"/>
                    <a:pt x="-1304" y="222068"/>
                    <a:pt x="8380" y="214977"/>
                  </a:cubicBezTo>
                  <a:lnTo>
                    <a:pt x="282108" y="4834"/>
                  </a:lnTo>
                  <a:cubicBezTo>
                    <a:pt x="285982" y="1611"/>
                    <a:pt x="290662" y="0"/>
                    <a:pt x="29542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6" name="ïṥļïḋê">
              <a:extLst>
                <a:ext uri="{FF2B5EF4-FFF2-40B4-BE49-F238E27FC236}">
                  <a16:creationId xmlns:a16="http://schemas.microsoft.com/office/drawing/2014/main" xmlns="" id="{7E211254-11A1-4B60-9092-67CC21DBD978}"/>
                </a:ext>
              </a:extLst>
            </p:cNvPr>
            <p:cNvSpPr/>
            <p:nvPr/>
          </p:nvSpPr>
          <p:spPr>
            <a:xfrm>
              <a:off x="6781013" y="1426686"/>
              <a:ext cx="351788" cy="330314"/>
            </a:xfrm>
            <a:custGeom>
              <a:avLst/>
              <a:gdLst>
                <a:gd name="T0" fmla="*/ 0 w 2366"/>
                <a:gd name="T1" fmla="*/ 330 h 2225"/>
                <a:gd name="T2" fmla="*/ 2062 w 2366"/>
                <a:gd name="T3" fmla="*/ 225 h 2225"/>
                <a:gd name="T4" fmla="*/ 2062 w 2366"/>
                <a:gd name="T5" fmla="*/ 461 h 2225"/>
                <a:gd name="T6" fmla="*/ 0 w 2366"/>
                <a:gd name="T7" fmla="*/ 330 h 2225"/>
                <a:gd name="T8" fmla="*/ 937 w 2366"/>
                <a:gd name="T9" fmla="*/ 1254 h 2225"/>
                <a:gd name="T10" fmla="*/ 937 w 2366"/>
                <a:gd name="T11" fmla="*/ 1318 h 2225"/>
                <a:gd name="T12" fmla="*/ 1062 w 2366"/>
                <a:gd name="T13" fmla="*/ 1326 h 2225"/>
                <a:gd name="T14" fmla="*/ 1125 w 2366"/>
                <a:gd name="T15" fmla="*/ 1432 h 2225"/>
                <a:gd name="T16" fmla="*/ 960 w 2366"/>
                <a:gd name="T17" fmla="*/ 1423 h 2225"/>
                <a:gd name="T18" fmla="*/ 960 w 2366"/>
                <a:gd name="T19" fmla="*/ 1487 h 2225"/>
                <a:gd name="T20" fmla="*/ 1136 w 2366"/>
                <a:gd name="T21" fmla="*/ 1496 h 2225"/>
                <a:gd name="T22" fmla="*/ 1136 w 2366"/>
                <a:gd name="T23" fmla="*/ 1719 h 2225"/>
                <a:gd name="T24" fmla="*/ 1229 w 2366"/>
                <a:gd name="T25" fmla="*/ 1720 h 2225"/>
                <a:gd name="T26" fmla="*/ 1229 w 2366"/>
                <a:gd name="T27" fmla="*/ 1496 h 2225"/>
                <a:gd name="T28" fmla="*/ 1410 w 2366"/>
                <a:gd name="T29" fmla="*/ 1487 h 2225"/>
                <a:gd name="T30" fmla="*/ 1410 w 2366"/>
                <a:gd name="T31" fmla="*/ 1423 h 2225"/>
                <a:gd name="T32" fmla="*/ 1240 w 2366"/>
                <a:gd name="T33" fmla="*/ 1432 h 2225"/>
                <a:gd name="T34" fmla="*/ 1303 w 2366"/>
                <a:gd name="T35" fmla="*/ 1326 h 2225"/>
                <a:gd name="T36" fmla="*/ 1426 w 2366"/>
                <a:gd name="T37" fmla="*/ 1318 h 2225"/>
                <a:gd name="T38" fmla="*/ 1426 w 2366"/>
                <a:gd name="T39" fmla="*/ 1254 h 2225"/>
                <a:gd name="T40" fmla="*/ 1342 w 2366"/>
                <a:gd name="T41" fmla="*/ 1260 h 2225"/>
                <a:gd name="T42" fmla="*/ 1470 w 2366"/>
                <a:gd name="T43" fmla="*/ 1038 h 2225"/>
                <a:gd name="T44" fmla="*/ 1361 w 2366"/>
                <a:gd name="T45" fmla="*/ 1048 h 2225"/>
                <a:gd name="T46" fmla="*/ 1183 w 2366"/>
                <a:gd name="T47" fmla="*/ 1374 h 2225"/>
                <a:gd name="T48" fmla="*/ 1005 w 2366"/>
                <a:gd name="T49" fmla="*/ 1048 h 2225"/>
                <a:gd name="T50" fmla="*/ 896 w 2366"/>
                <a:gd name="T51" fmla="*/ 1038 h 2225"/>
                <a:gd name="T52" fmla="*/ 1024 w 2366"/>
                <a:gd name="T53" fmla="*/ 1260 h 2225"/>
                <a:gd name="T54" fmla="*/ 937 w 2366"/>
                <a:gd name="T55" fmla="*/ 1254 h 2225"/>
                <a:gd name="T56" fmla="*/ 0 w 2366"/>
                <a:gd name="T57" fmla="*/ 258 h 2225"/>
                <a:gd name="T58" fmla="*/ 1748 w 2366"/>
                <a:gd name="T59" fmla="*/ 282 h 2225"/>
                <a:gd name="T60" fmla="*/ 1748 w 2366"/>
                <a:gd name="T61" fmla="*/ 0 h 2225"/>
                <a:gd name="T62" fmla="*/ 0 w 2366"/>
                <a:gd name="T63" fmla="*/ 258 h 2225"/>
                <a:gd name="T64" fmla="*/ 0 w 2366"/>
                <a:gd name="T65" fmla="*/ 409 h 2225"/>
                <a:gd name="T66" fmla="*/ 2366 w 2366"/>
                <a:gd name="T67" fmla="*/ 409 h 2225"/>
                <a:gd name="T68" fmla="*/ 2366 w 2366"/>
                <a:gd name="T69" fmla="*/ 1846 h 2225"/>
                <a:gd name="T70" fmla="*/ 0 w 2366"/>
                <a:gd name="T71" fmla="*/ 1846 h 2225"/>
                <a:gd name="T72" fmla="*/ 0 w 2366"/>
                <a:gd name="T73" fmla="*/ 409 h 2225"/>
                <a:gd name="T74" fmla="*/ 685 w 2366"/>
                <a:gd name="T75" fmla="*/ 1339 h 2225"/>
                <a:gd name="T76" fmla="*/ 1183 w 2366"/>
                <a:gd name="T77" fmla="*/ 1874 h 2225"/>
                <a:gd name="T78" fmla="*/ 1682 w 2366"/>
                <a:gd name="T79" fmla="*/ 1339 h 2225"/>
                <a:gd name="T80" fmla="*/ 1183 w 2366"/>
                <a:gd name="T81" fmla="*/ 900 h 2225"/>
                <a:gd name="T82" fmla="*/ 685 w 2366"/>
                <a:gd name="T83" fmla="*/ 1339 h 2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66" h="2225">
                  <a:moveTo>
                    <a:pt x="0" y="330"/>
                  </a:moveTo>
                  <a:cubicBezTo>
                    <a:pt x="644" y="579"/>
                    <a:pt x="1391" y="544"/>
                    <a:pt x="2062" y="225"/>
                  </a:cubicBezTo>
                  <a:lnTo>
                    <a:pt x="2062" y="461"/>
                  </a:lnTo>
                  <a:cubicBezTo>
                    <a:pt x="1391" y="702"/>
                    <a:pt x="644" y="658"/>
                    <a:pt x="0" y="330"/>
                  </a:cubicBezTo>
                  <a:close/>
                  <a:moveTo>
                    <a:pt x="937" y="1254"/>
                  </a:moveTo>
                  <a:lnTo>
                    <a:pt x="937" y="1318"/>
                  </a:lnTo>
                  <a:cubicBezTo>
                    <a:pt x="978" y="1322"/>
                    <a:pt x="1020" y="1325"/>
                    <a:pt x="1062" y="1326"/>
                  </a:cubicBezTo>
                  <a:cubicBezTo>
                    <a:pt x="1083" y="1362"/>
                    <a:pt x="1104" y="1397"/>
                    <a:pt x="1125" y="1432"/>
                  </a:cubicBezTo>
                  <a:cubicBezTo>
                    <a:pt x="1070" y="1430"/>
                    <a:pt x="1014" y="1428"/>
                    <a:pt x="960" y="1423"/>
                  </a:cubicBezTo>
                  <a:lnTo>
                    <a:pt x="960" y="1487"/>
                  </a:lnTo>
                  <a:cubicBezTo>
                    <a:pt x="1018" y="1492"/>
                    <a:pt x="1077" y="1495"/>
                    <a:pt x="1136" y="1496"/>
                  </a:cubicBezTo>
                  <a:lnTo>
                    <a:pt x="1136" y="1719"/>
                  </a:lnTo>
                  <a:cubicBezTo>
                    <a:pt x="1167" y="1720"/>
                    <a:pt x="1198" y="1720"/>
                    <a:pt x="1229" y="1720"/>
                  </a:cubicBezTo>
                  <a:lnTo>
                    <a:pt x="1229" y="1496"/>
                  </a:lnTo>
                  <a:cubicBezTo>
                    <a:pt x="1289" y="1495"/>
                    <a:pt x="1350" y="1492"/>
                    <a:pt x="1410" y="1487"/>
                  </a:cubicBezTo>
                  <a:lnTo>
                    <a:pt x="1410" y="1423"/>
                  </a:lnTo>
                  <a:cubicBezTo>
                    <a:pt x="1354" y="1428"/>
                    <a:pt x="1297" y="1431"/>
                    <a:pt x="1240" y="1432"/>
                  </a:cubicBezTo>
                  <a:cubicBezTo>
                    <a:pt x="1261" y="1397"/>
                    <a:pt x="1282" y="1362"/>
                    <a:pt x="1303" y="1326"/>
                  </a:cubicBezTo>
                  <a:cubicBezTo>
                    <a:pt x="1344" y="1325"/>
                    <a:pt x="1385" y="1322"/>
                    <a:pt x="1426" y="1318"/>
                  </a:cubicBezTo>
                  <a:lnTo>
                    <a:pt x="1426" y="1254"/>
                  </a:lnTo>
                  <a:cubicBezTo>
                    <a:pt x="1398" y="1256"/>
                    <a:pt x="1370" y="1259"/>
                    <a:pt x="1342" y="1260"/>
                  </a:cubicBezTo>
                  <a:cubicBezTo>
                    <a:pt x="1385" y="1187"/>
                    <a:pt x="1427" y="1113"/>
                    <a:pt x="1470" y="1038"/>
                  </a:cubicBezTo>
                  <a:cubicBezTo>
                    <a:pt x="1434" y="1042"/>
                    <a:pt x="1398" y="1045"/>
                    <a:pt x="1361" y="1048"/>
                  </a:cubicBezTo>
                  <a:cubicBezTo>
                    <a:pt x="1302" y="1158"/>
                    <a:pt x="1242" y="1267"/>
                    <a:pt x="1183" y="1374"/>
                  </a:cubicBezTo>
                  <a:cubicBezTo>
                    <a:pt x="1123" y="1267"/>
                    <a:pt x="1064" y="1158"/>
                    <a:pt x="1005" y="1048"/>
                  </a:cubicBezTo>
                  <a:cubicBezTo>
                    <a:pt x="968" y="1045"/>
                    <a:pt x="932" y="1042"/>
                    <a:pt x="896" y="1038"/>
                  </a:cubicBezTo>
                  <a:cubicBezTo>
                    <a:pt x="939" y="1113"/>
                    <a:pt x="981" y="1187"/>
                    <a:pt x="1024" y="1260"/>
                  </a:cubicBezTo>
                  <a:cubicBezTo>
                    <a:pt x="995" y="1259"/>
                    <a:pt x="966" y="1256"/>
                    <a:pt x="937" y="1254"/>
                  </a:cubicBezTo>
                  <a:close/>
                  <a:moveTo>
                    <a:pt x="0" y="258"/>
                  </a:moveTo>
                  <a:cubicBezTo>
                    <a:pt x="545" y="470"/>
                    <a:pt x="1163" y="478"/>
                    <a:pt x="1748" y="282"/>
                  </a:cubicBezTo>
                  <a:lnTo>
                    <a:pt x="1748" y="0"/>
                  </a:lnTo>
                  <a:cubicBezTo>
                    <a:pt x="1163" y="290"/>
                    <a:pt x="545" y="376"/>
                    <a:pt x="0" y="258"/>
                  </a:cubicBezTo>
                  <a:close/>
                  <a:moveTo>
                    <a:pt x="0" y="409"/>
                  </a:moveTo>
                  <a:cubicBezTo>
                    <a:pt x="743" y="787"/>
                    <a:pt x="1623" y="787"/>
                    <a:pt x="2366" y="409"/>
                  </a:cubicBezTo>
                  <a:lnTo>
                    <a:pt x="2366" y="1846"/>
                  </a:lnTo>
                  <a:cubicBezTo>
                    <a:pt x="1623" y="2225"/>
                    <a:pt x="743" y="2225"/>
                    <a:pt x="0" y="1846"/>
                  </a:cubicBezTo>
                  <a:lnTo>
                    <a:pt x="0" y="409"/>
                  </a:lnTo>
                  <a:close/>
                  <a:moveTo>
                    <a:pt x="685" y="1339"/>
                  </a:moveTo>
                  <a:cubicBezTo>
                    <a:pt x="684" y="1607"/>
                    <a:pt x="906" y="1874"/>
                    <a:pt x="1183" y="1874"/>
                  </a:cubicBezTo>
                  <a:cubicBezTo>
                    <a:pt x="1460" y="1875"/>
                    <a:pt x="1682" y="1607"/>
                    <a:pt x="1682" y="1339"/>
                  </a:cubicBezTo>
                  <a:cubicBezTo>
                    <a:pt x="1682" y="1069"/>
                    <a:pt x="1460" y="901"/>
                    <a:pt x="1183" y="900"/>
                  </a:cubicBezTo>
                  <a:cubicBezTo>
                    <a:pt x="906" y="901"/>
                    <a:pt x="684" y="1069"/>
                    <a:pt x="685" y="133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7" name="îś1îḓè">
              <a:extLst>
                <a:ext uri="{FF2B5EF4-FFF2-40B4-BE49-F238E27FC236}">
                  <a16:creationId xmlns:a16="http://schemas.microsoft.com/office/drawing/2014/main" xmlns="" id="{2481B63D-3819-42A8-AFB2-5DDB2FE2275C}"/>
                </a:ext>
              </a:extLst>
            </p:cNvPr>
            <p:cNvSpPr/>
            <p:nvPr/>
          </p:nvSpPr>
          <p:spPr>
            <a:xfrm>
              <a:off x="9639662" y="1427899"/>
              <a:ext cx="351788" cy="327887"/>
            </a:xfrm>
            <a:custGeom>
              <a:avLst/>
              <a:gdLst>
                <a:gd name="connsiteX0" fmla="*/ 103209 w 600657"/>
                <a:gd name="connsiteY0" fmla="*/ 435200 h 559848"/>
                <a:gd name="connsiteX1" fmla="*/ 103209 w 600657"/>
                <a:gd name="connsiteY1" fmla="*/ 502743 h 559848"/>
                <a:gd name="connsiteX2" fmla="*/ 121655 w 600657"/>
                <a:gd name="connsiteY2" fmla="*/ 521164 h 559848"/>
                <a:gd name="connsiteX3" fmla="*/ 544078 w 600657"/>
                <a:gd name="connsiteY3" fmla="*/ 521164 h 559848"/>
                <a:gd name="connsiteX4" fmla="*/ 562525 w 600657"/>
                <a:gd name="connsiteY4" fmla="*/ 502743 h 559848"/>
                <a:gd name="connsiteX5" fmla="*/ 564369 w 600657"/>
                <a:gd name="connsiteY5" fmla="*/ 502743 h 559848"/>
                <a:gd name="connsiteX6" fmla="*/ 564369 w 600657"/>
                <a:gd name="connsiteY6" fmla="*/ 435200 h 559848"/>
                <a:gd name="connsiteX7" fmla="*/ 121655 w 600657"/>
                <a:gd name="connsiteY7" fmla="*/ 216604 h 559848"/>
                <a:gd name="connsiteX8" fmla="*/ 103209 w 600657"/>
                <a:gd name="connsiteY8" fmla="*/ 235025 h 559848"/>
                <a:gd name="connsiteX9" fmla="*/ 103209 w 600657"/>
                <a:gd name="connsiteY9" fmla="*/ 303183 h 559848"/>
                <a:gd name="connsiteX10" fmla="*/ 562525 w 600657"/>
                <a:gd name="connsiteY10" fmla="*/ 303183 h 559848"/>
                <a:gd name="connsiteX11" fmla="*/ 562525 w 600657"/>
                <a:gd name="connsiteY11" fmla="*/ 235025 h 559848"/>
                <a:gd name="connsiteX12" fmla="*/ 544078 w 600657"/>
                <a:gd name="connsiteY12" fmla="*/ 216604 h 559848"/>
                <a:gd name="connsiteX13" fmla="*/ 121655 w 600657"/>
                <a:gd name="connsiteY13" fmla="*/ 177920 h 559848"/>
                <a:gd name="connsiteX14" fmla="*/ 544078 w 600657"/>
                <a:gd name="connsiteY14" fmla="*/ 177920 h 559848"/>
                <a:gd name="connsiteX15" fmla="*/ 600647 w 600657"/>
                <a:gd name="connsiteY15" fmla="*/ 235025 h 559848"/>
                <a:gd name="connsiteX16" fmla="*/ 600647 w 600657"/>
                <a:gd name="connsiteY16" fmla="*/ 502743 h 559848"/>
                <a:gd name="connsiteX17" fmla="*/ 544078 w 600657"/>
                <a:gd name="connsiteY17" fmla="*/ 559848 h 559848"/>
                <a:gd name="connsiteX18" fmla="*/ 121655 w 600657"/>
                <a:gd name="connsiteY18" fmla="*/ 559848 h 559848"/>
                <a:gd name="connsiteX19" fmla="*/ 64471 w 600657"/>
                <a:gd name="connsiteY19" fmla="*/ 502743 h 559848"/>
                <a:gd name="connsiteX20" fmla="*/ 64471 w 600657"/>
                <a:gd name="connsiteY20" fmla="*/ 235025 h 559848"/>
                <a:gd name="connsiteX21" fmla="*/ 121655 w 600657"/>
                <a:gd name="connsiteY21" fmla="*/ 177920 h 559848"/>
                <a:gd name="connsiteX22" fmla="*/ 472657 w 600657"/>
                <a:gd name="connsiteY22" fmla="*/ 412 h 559848"/>
                <a:gd name="connsiteX23" fmla="*/ 520129 w 600657"/>
                <a:gd name="connsiteY23" fmla="*/ 42280 h 559848"/>
                <a:gd name="connsiteX24" fmla="*/ 547800 w 600657"/>
                <a:gd name="connsiteY24" fmla="*/ 149095 h 559848"/>
                <a:gd name="connsiteX25" fmla="*/ 544111 w 600657"/>
                <a:gd name="connsiteY25" fmla="*/ 149095 h 559848"/>
                <a:gd name="connsiteX26" fmla="*/ 544111 w 600657"/>
                <a:gd name="connsiteY26" fmla="*/ 147253 h 559848"/>
                <a:gd name="connsiteX27" fmla="*/ 123515 w 600657"/>
                <a:gd name="connsiteY27" fmla="*/ 147253 h 559848"/>
                <a:gd name="connsiteX28" fmla="*/ 37428 w 600657"/>
                <a:gd name="connsiteY28" fmla="*/ 233196 h 559848"/>
                <a:gd name="connsiteX29" fmla="*/ 37428 w 600657"/>
                <a:gd name="connsiteY29" fmla="*/ 311772 h 559848"/>
                <a:gd name="connsiteX30" fmla="*/ 2379 w 600657"/>
                <a:gd name="connsiteY30" fmla="*/ 179789 h 559848"/>
                <a:gd name="connsiteX31" fmla="*/ 42962 w 600657"/>
                <a:gd name="connsiteY31" fmla="*/ 110420 h 559848"/>
                <a:gd name="connsiteX32" fmla="*/ 450645 w 600657"/>
                <a:gd name="connsiteY32" fmla="*/ 2378 h 559848"/>
                <a:gd name="connsiteX33" fmla="*/ 472657 w 600657"/>
                <a:gd name="connsiteY33" fmla="*/ 412 h 559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00657" h="559848">
                  <a:moveTo>
                    <a:pt x="103209" y="435200"/>
                  </a:moveTo>
                  <a:lnTo>
                    <a:pt x="103209" y="502743"/>
                  </a:lnTo>
                  <a:cubicBezTo>
                    <a:pt x="103209" y="511954"/>
                    <a:pt x="110587" y="521164"/>
                    <a:pt x="121655" y="521164"/>
                  </a:cubicBezTo>
                  <a:lnTo>
                    <a:pt x="544078" y="521164"/>
                  </a:lnTo>
                  <a:cubicBezTo>
                    <a:pt x="553301" y="521164"/>
                    <a:pt x="562525" y="513796"/>
                    <a:pt x="562525" y="502743"/>
                  </a:cubicBezTo>
                  <a:lnTo>
                    <a:pt x="564369" y="502743"/>
                  </a:lnTo>
                  <a:lnTo>
                    <a:pt x="564369" y="435200"/>
                  </a:lnTo>
                  <a:close/>
                  <a:moveTo>
                    <a:pt x="121655" y="216604"/>
                  </a:moveTo>
                  <a:cubicBezTo>
                    <a:pt x="112432" y="216604"/>
                    <a:pt x="103209" y="223972"/>
                    <a:pt x="103209" y="235025"/>
                  </a:cubicBezTo>
                  <a:lnTo>
                    <a:pt x="103209" y="303183"/>
                  </a:lnTo>
                  <a:lnTo>
                    <a:pt x="562525" y="303183"/>
                  </a:lnTo>
                  <a:lnTo>
                    <a:pt x="562525" y="235025"/>
                  </a:lnTo>
                  <a:cubicBezTo>
                    <a:pt x="562525" y="225815"/>
                    <a:pt x="555146" y="216604"/>
                    <a:pt x="544078" y="216604"/>
                  </a:cubicBezTo>
                  <a:close/>
                  <a:moveTo>
                    <a:pt x="121655" y="177920"/>
                  </a:moveTo>
                  <a:lnTo>
                    <a:pt x="544078" y="177920"/>
                  </a:lnTo>
                  <a:cubicBezTo>
                    <a:pt x="575437" y="177920"/>
                    <a:pt x="601262" y="203709"/>
                    <a:pt x="600647" y="235025"/>
                  </a:cubicBezTo>
                  <a:lnTo>
                    <a:pt x="600647" y="502743"/>
                  </a:lnTo>
                  <a:cubicBezTo>
                    <a:pt x="600647" y="534059"/>
                    <a:pt x="575437" y="559848"/>
                    <a:pt x="544078" y="559848"/>
                  </a:cubicBezTo>
                  <a:lnTo>
                    <a:pt x="121655" y="559848"/>
                  </a:lnTo>
                  <a:cubicBezTo>
                    <a:pt x="90296" y="559848"/>
                    <a:pt x="64471" y="534059"/>
                    <a:pt x="64471" y="502743"/>
                  </a:cubicBezTo>
                  <a:lnTo>
                    <a:pt x="64471" y="235025"/>
                  </a:lnTo>
                  <a:cubicBezTo>
                    <a:pt x="64471" y="203709"/>
                    <a:pt x="90296" y="177920"/>
                    <a:pt x="121655" y="177920"/>
                  </a:cubicBezTo>
                  <a:close/>
                  <a:moveTo>
                    <a:pt x="472657" y="412"/>
                  </a:moveTo>
                  <a:cubicBezTo>
                    <a:pt x="494534" y="3145"/>
                    <a:pt x="514595" y="19260"/>
                    <a:pt x="520129" y="42280"/>
                  </a:cubicBezTo>
                  <a:lnTo>
                    <a:pt x="547800" y="149095"/>
                  </a:lnTo>
                  <a:lnTo>
                    <a:pt x="544111" y="149095"/>
                  </a:lnTo>
                  <a:lnTo>
                    <a:pt x="544111" y="147253"/>
                  </a:lnTo>
                  <a:lnTo>
                    <a:pt x="123515" y="147253"/>
                  </a:lnTo>
                  <a:cubicBezTo>
                    <a:pt x="75552" y="147253"/>
                    <a:pt x="37428" y="185313"/>
                    <a:pt x="37428" y="233196"/>
                  </a:cubicBezTo>
                  <a:lnTo>
                    <a:pt x="37428" y="311772"/>
                  </a:lnTo>
                  <a:lnTo>
                    <a:pt x="2379" y="179789"/>
                  </a:lnTo>
                  <a:cubicBezTo>
                    <a:pt x="-6845" y="150936"/>
                    <a:pt x="11602" y="117787"/>
                    <a:pt x="42962" y="110420"/>
                  </a:cubicBezTo>
                  <a:lnTo>
                    <a:pt x="450645" y="2378"/>
                  </a:lnTo>
                  <a:cubicBezTo>
                    <a:pt x="457870" y="76"/>
                    <a:pt x="465364" y="-499"/>
                    <a:pt x="472657" y="4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8" name="îṩļiḍe">
              <a:extLst>
                <a:ext uri="{FF2B5EF4-FFF2-40B4-BE49-F238E27FC236}">
                  <a16:creationId xmlns:a16="http://schemas.microsoft.com/office/drawing/2014/main" xmlns="" id="{A703DE64-3B93-440F-A686-6CF0FC849C99}"/>
                </a:ext>
              </a:extLst>
            </p:cNvPr>
            <p:cNvSpPr/>
            <p:nvPr/>
          </p:nvSpPr>
          <p:spPr>
            <a:xfrm>
              <a:off x="1499264" y="2802023"/>
              <a:ext cx="288655" cy="351788"/>
            </a:xfrm>
            <a:custGeom>
              <a:avLst/>
              <a:gdLst>
                <a:gd name="connsiteX0" fmla="*/ 200292 w 457260"/>
                <a:gd name="connsiteY0" fmla="*/ 314540 h 557269"/>
                <a:gd name="connsiteX1" fmla="*/ 227728 w 457260"/>
                <a:gd name="connsiteY1" fmla="*/ 319382 h 557269"/>
                <a:gd name="connsiteX2" fmla="*/ 230956 w 457260"/>
                <a:gd name="connsiteY2" fmla="*/ 319382 h 557269"/>
                <a:gd name="connsiteX3" fmla="*/ 256778 w 457260"/>
                <a:gd name="connsiteY3" fmla="*/ 314540 h 557269"/>
                <a:gd name="connsiteX4" fmla="*/ 232570 w 457260"/>
                <a:gd name="connsiteY4" fmla="*/ 353272 h 557269"/>
                <a:gd name="connsiteX5" fmla="*/ 255164 w 457260"/>
                <a:gd name="connsiteY5" fmla="*/ 375866 h 557269"/>
                <a:gd name="connsiteX6" fmla="*/ 230956 w 457260"/>
                <a:gd name="connsiteY6" fmla="*/ 517882 h 557269"/>
                <a:gd name="connsiteX7" fmla="*/ 229342 w 457260"/>
                <a:gd name="connsiteY7" fmla="*/ 519496 h 557269"/>
                <a:gd name="connsiteX8" fmla="*/ 226114 w 457260"/>
                <a:gd name="connsiteY8" fmla="*/ 517882 h 557269"/>
                <a:gd name="connsiteX9" fmla="*/ 203520 w 457260"/>
                <a:gd name="connsiteY9" fmla="*/ 375866 h 557269"/>
                <a:gd name="connsiteX10" fmla="*/ 226114 w 457260"/>
                <a:gd name="connsiteY10" fmla="*/ 353272 h 557269"/>
                <a:gd name="connsiteX11" fmla="*/ 146953 w 457260"/>
                <a:gd name="connsiteY11" fmla="*/ 282411 h 557269"/>
                <a:gd name="connsiteX12" fmla="*/ 156642 w 457260"/>
                <a:gd name="connsiteY12" fmla="*/ 290471 h 557269"/>
                <a:gd name="connsiteX13" fmla="*/ 156642 w 457260"/>
                <a:gd name="connsiteY13" fmla="*/ 359791 h 557269"/>
                <a:gd name="connsiteX14" fmla="*/ 219623 w 457260"/>
                <a:gd name="connsiteY14" fmla="*/ 529059 h 557269"/>
                <a:gd name="connsiteX15" fmla="*/ 229312 w 457260"/>
                <a:gd name="connsiteY15" fmla="*/ 535507 h 557269"/>
                <a:gd name="connsiteX16" fmla="*/ 237387 w 457260"/>
                <a:gd name="connsiteY16" fmla="*/ 529059 h 557269"/>
                <a:gd name="connsiteX17" fmla="*/ 301982 w 457260"/>
                <a:gd name="connsiteY17" fmla="*/ 359791 h 557269"/>
                <a:gd name="connsiteX18" fmla="*/ 300367 w 457260"/>
                <a:gd name="connsiteY18" fmla="*/ 290471 h 557269"/>
                <a:gd name="connsiteX19" fmla="*/ 311671 w 457260"/>
                <a:gd name="connsiteY19" fmla="*/ 282411 h 557269"/>
                <a:gd name="connsiteX20" fmla="*/ 385955 w 457260"/>
                <a:gd name="connsiteY20" fmla="*/ 314653 h 557269"/>
                <a:gd name="connsiteX21" fmla="*/ 418252 w 457260"/>
                <a:gd name="connsiteY21" fmla="*/ 337222 h 557269"/>
                <a:gd name="connsiteX22" fmla="*/ 457009 w 457260"/>
                <a:gd name="connsiteY22" fmla="*/ 490369 h 557269"/>
                <a:gd name="connsiteX23" fmla="*/ 445705 w 457260"/>
                <a:gd name="connsiteY23" fmla="*/ 530671 h 557269"/>
                <a:gd name="connsiteX24" fmla="*/ 12919 w 457260"/>
                <a:gd name="connsiteY24" fmla="*/ 530671 h 557269"/>
                <a:gd name="connsiteX25" fmla="*/ 0 w 457260"/>
                <a:gd name="connsiteY25" fmla="*/ 490369 h 557269"/>
                <a:gd name="connsiteX26" fmla="*/ 38757 w 457260"/>
                <a:gd name="connsiteY26" fmla="*/ 337222 h 557269"/>
                <a:gd name="connsiteX27" fmla="*/ 72669 w 457260"/>
                <a:gd name="connsiteY27" fmla="*/ 314653 h 557269"/>
                <a:gd name="connsiteX28" fmla="*/ 146953 w 457260"/>
                <a:gd name="connsiteY28" fmla="*/ 282411 h 557269"/>
                <a:gd name="connsiteX29" fmla="*/ 210191 w 457260"/>
                <a:gd name="connsiteY29" fmla="*/ 135 h 557269"/>
                <a:gd name="connsiteX30" fmla="*/ 255199 w 457260"/>
                <a:gd name="connsiteY30" fmla="*/ 6683 h 557269"/>
                <a:gd name="connsiteX31" fmla="*/ 319820 w 457260"/>
                <a:gd name="connsiteY31" fmla="*/ 42143 h 557269"/>
                <a:gd name="connsiteX32" fmla="*/ 332744 w 457260"/>
                <a:gd name="connsiteY32" fmla="*/ 135627 h 557269"/>
                <a:gd name="connsiteX33" fmla="*/ 335975 w 457260"/>
                <a:gd name="connsiteY33" fmla="*/ 138850 h 557269"/>
                <a:gd name="connsiteX34" fmla="*/ 337591 w 457260"/>
                <a:gd name="connsiteY34" fmla="*/ 172698 h 557269"/>
                <a:gd name="connsiteX35" fmla="*/ 329513 w 457260"/>
                <a:gd name="connsiteY35" fmla="*/ 193651 h 557269"/>
                <a:gd name="connsiteX36" fmla="*/ 230966 w 457260"/>
                <a:gd name="connsiteY36" fmla="*/ 296806 h 557269"/>
                <a:gd name="connsiteX37" fmla="*/ 129188 w 457260"/>
                <a:gd name="connsiteY37" fmla="*/ 193651 h 557269"/>
                <a:gd name="connsiteX38" fmla="*/ 121110 w 457260"/>
                <a:gd name="connsiteY38" fmla="*/ 174310 h 557269"/>
                <a:gd name="connsiteX39" fmla="*/ 121110 w 457260"/>
                <a:gd name="connsiteY39" fmla="*/ 138850 h 557269"/>
                <a:gd name="connsiteX40" fmla="*/ 124341 w 457260"/>
                <a:gd name="connsiteY40" fmla="*/ 135627 h 557269"/>
                <a:gd name="connsiteX41" fmla="*/ 122725 w 457260"/>
                <a:gd name="connsiteY41" fmla="*/ 66319 h 557269"/>
                <a:gd name="connsiteX42" fmla="*/ 210191 w 457260"/>
                <a:gd name="connsiteY42" fmla="*/ 135 h 557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457260" h="557269">
                  <a:moveTo>
                    <a:pt x="200292" y="314540"/>
                  </a:moveTo>
                  <a:cubicBezTo>
                    <a:pt x="209976" y="317768"/>
                    <a:pt x="219659" y="319382"/>
                    <a:pt x="227728" y="319382"/>
                  </a:cubicBezTo>
                  <a:lnTo>
                    <a:pt x="230956" y="319382"/>
                  </a:lnTo>
                  <a:cubicBezTo>
                    <a:pt x="240639" y="319382"/>
                    <a:pt x="248709" y="317768"/>
                    <a:pt x="256778" y="314540"/>
                  </a:cubicBezTo>
                  <a:lnTo>
                    <a:pt x="232570" y="353272"/>
                  </a:lnTo>
                  <a:lnTo>
                    <a:pt x="255164" y="375866"/>
                  </a:lnTo>
                  <a:lnTo>
                    <a:pt x="230956" y="517882"/>
                  </a:lnTo>
                  <a:cubicBezTo>
                    <a:pt x="230956" y="517882"/>
                    <a:pt x="230956" y="519496"/>
                    <a:pt x="229342" y="519496"/>
                  </a:cubicBezTo>
                  <a:cubicBezTo>
                    <a:pt x="227728" y="519496"/>
                    <a:pt x="226114" y="517882"/>
                    <a:pt x="226114" y="517882"/>
                  </a:cubicBezTo>
                  <a:lnTo>
                    <a:pt x="203520" y="375866"/>
                  </a:lnTo>
                  <a:lnTo>
                    <a:pt x="226114" y="353272"/>
                  </a:lnTo>
                  <a:close/>
                  <a:moveTo>
                    <a:pt x="146953" y="282411"/>
                  </a:moveTo>
                  <a:cubicBezTo>
                    <a:pt x="146953" y="282411"/>
                    <a:pt x="156642" y="290471"/>
                    <a:pt x="156642" y="290471"/>
                  </a:cubicBezTo>
                  <a:cubicBezTo>
                    <a:pt x="156642" y="290471"/>
                    <a:pt x="156642" y="359791"/>
                    <a:pt x="156642" y="359791"/>
                  </a:cubicBezTo>
                  <a:lnTo>
                    <a:pt x="219623" y="529059"/>
                  </a:lnTo>
                  <a:cubicBezTo>
                    <a:pt x="221238" y="533895"/>
                    <a:pt x="224468" y="535507"/>
                    <a:pt x="229312" y="535507"/>
                  </a:cubicBezTo>
                  <a:cubicBezTo>
                    <a:pt x="232542" y="535507"/>
                    <a:pt x="235772" y="533895"/>
                    <a:pt x="237387" y="529059"/>
                  </a:cubicBezTo>
                  <a:lnTo>
                    <a:pt x="301982" y="359791"/>
                  </a:lnTo>
                  <a:lnTo>
                    <a:pt x="300367" y="290471"/>
                  </a:lnTo>
                  <a:lnTo>
                    <a:pt x="311671" y="282411"/>
                  </a:lnTo>
                  <a:cubicBezTo>
                    <a:pt x="334279" y="300144"/>
                    <a:pt x="385955" y="314653"/>
                    <a:pt x="385955" y="314653"/>
                  </a:cubicBezTo>
                  <a:cubicBezTo>
                    <a:pt x="408563" y="324325"/>
                    <a:pt x="418252" y="337222"/>
                    <a:pt x="418252" y="337222"/>
                  </a:cubicBezTo>
                  <a:cubicBezTo>
                    <a:pt x="453780" y="388808"/>
                    <a:pt x="455394" y="450067"/>
                    <a:pt x="457009" y="490369"/>
                  </a:cubicBezTo>
                  <a:cubicBezTo>
                    <a:pt x="458624" y="517774"/>
                    <a:pt x="452165" y="527446"/>
                    <a:pt x="445705" y="530671"/>
                  </a:cubicBezTo>
                  <a:cubicBezTo>
                    <a:pt x="356887" y="566136"/>
                    <a:pt x="101737" y="566136"/>
                    <a:pt x="12919" y="530671"/>
                  </a:cubicBezTo>
                  <a:cubicBezTo>
                    <a:pt x="4844" y="527446"/>
                    <a:pt x="0" y="517774"/>
                    <a:pt x="0" y="490369"/>
                  </a:cubicBezTo>
                  <a:cubicBezTo>
                    <a:pt x="3229" y="450067"/>
                    <a:pt x="4844" y="388808"/>
                    <a:pt x="38757" y="337222"/>
                  </a:cubicBezTo>
                  <a:cubicBezTo>
                    <a:pt x="38757" y="337222"/>
                    <a:pt x="48446" y="324325"/>
                    <a:pt x="72669" y="314653"/>
                  </a:cubicBezTo>
                  <a:cubicBezTo>
                    <a:pt x="72669" y="314653"/>
                    <a:pt x="122730" y="300144"/>
                    <a:pt x="146953" y="282411"/>
                  </a:cubicBezTo>
                  <a:close/>
                  <a:moveTo>
                    <a:pt x="210191" y="135"/>
                  </a:moveTo>
                  <a:cubicBezTo>
                    <a:pt x="223999" y="-570"/>
                    <a:pt x="239044" y="1445"/>
                    <a:pt x="255199" y="6683"/>
                  </a:cubicBezTo>
                  <a:cubicBezTo>
                    <a:pt x="277816" y="14742"/>
                    <a:pt x="302049" y="24413"/>
                    <a:pt x="319820" y="42143"/>
                  </a:cubicBezTo>
                  <a:cubicBezTo>
                    <a:pt x="352130" y="75990"/>
                    <a:pt x="339206" y="114673"/>
                    <a:pt x="332744" y="135627"/>
                  </a:cubicBezTo>
                  <a:cubicBezTo>
                    <a:pt x="332744" y="135627"/>
                    <a:pt x="335975" y="138850"/>
                    <a:pt x="335975" y="138850"/>
                  </a:cubicBezTo>
                  <a:cubicBezTo>
                    <a:pt x="342437" y="146909"/>
                    <a:pt x="339206" y="163027"/>
                    <a:pt x="337591" y="172698"/>
                  </a:cubicBezTo>
                  <a:cubicBezTo>
                    <a:pt x="335975" y="182369"/>
                    <a:pt x="332744" y="190428"/>
                    <a:pt x="329513" y="193651"/>
                  </a:cubicBezTo>
                  <a:cubicBezTo>
                    <a:pt x="319820" y="238782"/>
                    <a:pt x="282663" y="295194"/>
                    <a:pt x="230966" y="296806"/>
                  </a:cubicBezTo>
                  <a:cubicBezTo>
                    <a:pt x="188962" y="300030"/>
                    <a:pt x="137265" y="250064"/>
                    <a:pt x="129188" y="193651"/>
                  </a:cubicBezTo>
                  <a:cubicBezTo>
                    <a:pt x="125956" y="188816"/>
                    <a:pt x="122725" y="183981"/>
                    <a:pt x="121110" y="174310"/>
                  </a:cubicBezTo>
                  <a:cubicBezTo>
                    <a:pt x="117879" y="164639"/>
                    <a:pt x="114648" y="146909"/>
                    <a:pt x="121110" y="138850"/>
                  </a:cubicBezTo>
                  <a:cubicBezTo>
                    <a:pt x="121110" y="137238"/>
                    <a:pt x="122725" y="137238"/>
                    <a:pt x="124341" y="135627"/>
                  </a:cubicBezTo>
                  <a:cubicBezTo>
                    <a:pt x="111417" y="93720"/>
                    <a:pt x="121110" y="69543"/>
                    <a:pt x="122725" y="66319"/>
                  </a:cubicBezTo>
                  <a:cubicBezTo>
                    <a:pt x="138477" y="28845"/>
                    <a:pt x="168768" y="2251"/>
                    <a:pt x="210191" y="1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759747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Supporting text here.</a:t>
            </a:r>
          </a:p>
          <a:p>
            <a:pPr lvl="0"/>
            <a:r>
              <a:rPr lang="en-US" altLang="zh-CN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04F69230-F3A6-4586-9371-A858F4763E9F}"/>
              </a:ext>
            </a:extLst>
          </p:cNvPr>
          <p:cNvSpPr txBox="1"/>
          <p:nvPr/>
        </p:nvSpPr>
        <p:spPr>
          <a:xfrm>
            <a:off x="1734177" y="2758582"/>
            <a:ext cx="1985304" cy="1726148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5209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="" id="{AD2B31D5-A210-4C70-8DBC-F98477477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xmlns="" id="{9B425912-47DF-4179-8CD1-0B1359C0E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xmlns="" id="{80F96DEE-9F83-42AB-9A6E-6CB7444942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grpSp>
        <p:nvGrpSpPr>
          <p:cNvPr id="5" name="21202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B787FFD8-388B-4E4F-853C-EC63EB8D785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3099" y="1511602"/>
            <a:ext cx="10845801" cy="4253896"/>
            <a:chOff x="673099" y="1511602"/>
            <a:chExt cx="10845801" cy="4253896"/>
          </a:xfrm>
        </p:grpSpPr>
        <p:sp>
          <p:nvSpPr>
            <p:cNvPr id="6" name="iśḻïḓe">
              <a:extLst>
                <a:ext uri="{FF2B5EF4-FFF2-40B4-BE49-F238E27FC236}">
                  <a16:creationId xmlns:a16="http://schemas.microsoft.com/office/drawing/2014/main" xmlns="" id="{06257DCC-5440-4524-8B50-36706D68F453}"/>
                </a:ext>
              </a:extLst>
            </p:cNvPr>
            <p:cNvSpPr txBox="1"/>
            <p:nvPr/>
          </p:nvSpPr>
          <p:spPr>
            <a:xfrm>
              <a:off x="673099" y="2084856"/>
              <a:ext cx="5070476" cy="18660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marL="0" marR="0" lvl="0" indent="0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3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Unified </a:t>
              </a:r>
            </a:p>
            <a:p>
              <a:pPr marL="0" marR="0" lvl="0" indent="0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3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fonts make </a:t>
              </a:r>
            </a:p>
            <a:p>
              <a:pPr marL="0" marR="0" lvl="0" indent="0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3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reading more fluent.</a:t>
              </a:r>
            </a:p>
          </p:txBody>
        </p:sp>
        <p:sp>
          <p:nvSpPr>
            <p:cNvPr id="7" name="îŝļíḍè">
              <a:extLst>
                <a:ext uri="{FF2B5EF4-FFF2-40B4-BE49-F238E27FC236}">
                  <a16:creationId xmlns:a16="http://schemas.microsoft.com/office/drawing/2014/main" xmlns="" id="{4641708F-6DF9-4373-9906-F0ED83E3BF8F}"/>
                </a:ext>
              </a:extLst>
            </p:cNvPr>
            <p:cNvSpPr/>
            <p:nvPr/>
          </p:nvSpPr>
          <p:spPr bwMode="auto">
            <a:xfrm>
              <a:off x="673100" y="1731576"/>
              <a:ext cx="5070475" cy="353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Supporting text here. </a:t>
              </a:r>
            </a:p>
          </p:txBody>
        </p:sp>
        <p:sp>
          <p:nvSpPr>
            <p:cNvPr id="8" name="isļide">
              <a:extLst>
                <a:ext uri="{FF2B5EF4-FFF2-40B4-BE49-F238E27FC236}">
                  <a16:creationId xmlns:a16="http://schemas.microsoft.com/office/drawing/2014/main" xmlns="" id="{A908BFA4-5DFC-496B-832B-8B725FDF4AE7}"/>
                </a:ext>
              </a:extLst>
            </p:cNvPr>
            <p:cNvSpPr txBox="1"/>
            <p:nvPr/>
          </p:nvSpPr>
          <p:spPr>
            <a:xfrm>
              <a:off x="673101" y="4304181"/>
              <a:ext cx="5070474" cy="10421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>
                <a:lnSpc>
                  <a:spcPct val="150000"/>
                </a:lnSpc>
                <a:buSzPct val="25000"/>
              </a:pPr>
              <a:r>
                <a:rPr lang="en-US" sz="1200" dirty="0"/>
                <a:t>Theme color makes PPT more convenient to change.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sz="1200" dirty="0"/>
                <a:t>Adjust the spacing to adapt to Chinese typesetting, use the reference line in PPT.</a:t>
              </a:r>
            </a:p>
          </p:txBody>
        </p:sp>
        <p:grpSp>
          <p:nvGrpSpPr>
            <p:cNvPr id="9" name="îŝľîḋê">
              <a:extLst>
                <a:ext uri="{FF2B5EF4-FFF2-40B4-BE49-F238E27FC236}">
                  <a16:creationId xmlns:a16="http://schemas.microsoft.com/office/drawing/2014/main" xmlns="" id="{BD7F9E20-9C6E-48D5-BED3-67E8B3E360B4}"/>
                </a:ext>
              </a:extLst>
            </p:cNvPr>
            <p:cNvGrpSpPr/>
            <p:nvPr/>
          </p:nvGrpSpPr>
          <p:grpSpPr>
            <a:xfrm>
              <a:off x="673100" y="4074196"/>
              <a:ext cx="4460875" cy="19055"/>
              <a:chOff x="673100" y="4350421"/>
              <a:chExt cx="4460875" cy="19055"/>
            </a:xfrm>
          </p:grpSpPr>
          <p:sp>
            <p:nvSpPr>
              <p:cNvPr id="28" name="ïṩ1îḋe">
                <a:extLst>
                  <a:ext uri="{FF2B5EF4-FFF2-40B4-BE49-F238E27FC236}">
                    <a16:creationId xmlns:a16="http://schemas.microsoft.com/office/drawing/2014/main" xmlns="" id="{A45E77FA-6425-4E32-9202-26EDEAFECE24}"/>
                  </a:ext>
                </a:extLst>
              </p:cNvPr>
              <p:cNvSpPr/>
              <p:nvPr/>
            </p:nvSpPr>
            <p:spPr>
              <a:xfrm>
                <a:off x="673100" y="4350421"/>
                <a:ext cx="1615714" cy="5"/>
              </a:xfrm>
              <a:prstGeom prst="line">
                <a:avLst/>
              </a:prstGeom>
              <a:noFill/>
              <a:ln w="25400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numCol="1" anchor="t">
                <a:normAutofit fontScale="25000" lnSpcReduction="20000"/>
              </a:bodyPr>
              <a:lstStyle/>
              <a:p>
                <a:endParaRPr/>
              </a:p>
            </p:txBody>
          </p:sp>
          <p:sp>
            <p:nvSpPr>
              <p:cNvPr id="29" name="işľîḋè">
                <a:extLst>
                  <a:ext uri="{FF2B5EF4-FFF2-40B4-BE49-F238E27FC236}">
                    <a16:creationId xmlns:a16="http://schemas.microsoft.com/office/drawing/2014/main" xmlns="" id="{B7A4D882-940F-4C45-A9BB-02E16AE744B9}"/>
                  </a:ext>
                </a:extLst>
              </p:cNvPr>
              <p:cNvSpPr/>
              <p:nvPr/>
            </p:nvSpPr>
            <p:spPr>
              <a:xfrm>
                <a:off x="673100" y="4369476"/>
                <a:ext cx="4460875" cy="0"/>
              </a:xfrm>
              <a:prstGeom prst="line">
                <a:avLst/>
              </a:prstGeom>
              <a:noFill/>
              <a:ln w="9525" cap="flat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wrap="square" lIns="91440" tIns="45720" rIns="91440" bIns="45720" numCol="1" anchor="t">
                <a:normAutofit fontScale="25000" lnSpcReduction="20000"/>
              </a:bodyPr>
              <a:lstStyle/>
              <a:p>
                <a:endParaRPr/>
              </a:p>
            </p:txBody>
          </p:sp>
        </p:grpSp>
        <p:grpSp>
          <p:nvGrpSpPr>
            <p:cNvPr id="10" name="islïḍê">
              <a:extLst>
                <a:ext uri="{FF2B5EF4-FFF2-40B4-BE49-F238E27FC236}">
                  <a16:creationId xmlns:a16="http://schemas.microsoft.com/office/drawing/2014/main" xmlns="" id="{7921B4D2-E7C2-4848-8EBB-DD3E7D4D75BC}"/>
                </a:ext>
              </a:extLst>
            </p:cNvPr>
            <p:cNvGrpSpPr/>
            <p:nvPr/>
          </p:nvGrpSpPr>
          <p:grpSpPr>
            <a:xfrm>
              <a:off x="6936460" y="1511602"/>
              <a:ext cx="1160205" cy="1160205"/>
              <a:chOff x="1440535" y="2881262"/>
              <a:chExt cx="1160205" cy="1160205"/>
            </a:xfrm>
          </p:grpSpPr>
          <p:sp>
            <p:nvSpPr>
              <p:cNvPr id="26" name="íṧḷïḑè">
                <a:extLst>
                  <a:ext uri="{FF2B5EF4-FFF2-40B4-BE49-F238E27FC236}">
                    <a16:creationId xmlns:a16="http://schemas.microsoft.com/office/drawing/2014/main" xmlns="" id="{5FCCF5BE-2209-4802-9712-C22FF355F021}"/>
                  </a:ext>
                </a:extLst>
              </p:cNvPr>
              <p:cNvSpPr/>
              <p:nvPr/>
            </p:nvSpPr>
            <p:spPr>
              <a:xfrm>
                <a:off x="1440535" y="2881262"/>
                <a:ext cx="1160205" cy="1160205"/>
              </a:xfrm>
              <a:prstGeom prst="ellipse">
                <a:avLst/>
              </a:prstGeom>
              <a:noFill/>
              <a:ln w="317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id-ID" sz="2400"/>
              </a:p>
            </p:txBody>
          </p:sp>
          <p:sp>
            <p:nvSpPr>
              <p:cNvPr id="27" name="işlîḑe">
                <a:extLst>
                  <a:ext uri="{FF2B5EF4-FFF2-40B4-BE49-F238E27FC236}">
                    <a16:creationId xmlns:a16="http://schemas.microsoft.com/office/drawing/2014/main" xmlns="" id="{DF5F749A-C960-4844-A83A-C8AC4573D68D}"/>
                  </a:ext>
                </a:extLst>
              </p:cNvPr>
              <p:cNvSpPr/>
              <p:nvPr/>
            </p:nvSpPr>
            <p:spPr bwMode="auto">
              <a:xfrm>
                <a:off x="1791904" y="3208701"/>
                <a:ext cx="457464" cy="505326"/>
              </a:xfrm>
              <a:custGeom>
                <a:avLst/>
                <a:gdLst>
                  <a:gd name="connsiteX0" fmla="*/ 485820 w 551045"/>
                  <a:gd name="connsiteY0" fmla="*/ 430096 h 608697"/>
                  <a:gd name="connsiteX1" fmla="*/ 550987 w 551045"/>
                  <a:gd name="connsiteY1" fmla="*/ 492317 h 608697"/>
                  <a:gd name="connsiteX2" fmla="*/ 551045 w 551045"/>
                  <a:gd name="connsiteY2" fmla="*/ 492490 h 608697"/>
                  <a:gd name="connsiteX3" fmla="*/ 550987 w 551045"/>
                  <a:gd name="connsiteY3" fmla="*/ 493813 h 608697"/>
                  <a:gd name="connsiteX4" fmla="*/ 551045 w 551045"/>
                  <a:gd name="connsiteY4" fmla="*/ 495193 h 608697"/>
                  <a:gd name="connsiteX5" fmla="*/ 485820 w 551045"/>
                  <a:gd name="connsiteY5" fmla="*/ 560289 h 608697"/>
                  <a:gd name="connsiteX6" fmla="*/ 421862 w 551045"/>
                  <a:gd name="connsiteY6" fmla="*/ 507902 h 608697"/>
                  <a:gd name="connsiteX7" fmla="*/ 420134 w 551045"/>
                  <a:gd name="connsiteY7" fmla="*/ 494560 h 608697"/>
                  <a:gd name="connsiteX8" fmla="*/ 422611 w 551045"/>
                  <a:gd name="connsiteY8" fmla="*/ 479034 h 608697"/>
                  <a:gd name="connsiteX9" fmla="*/ 485820 w 551045"/>
                  <a:gd name="connsiteY9" fmla="*/ 430096 h 608697"/>
                  <a:gd name="connsiteX10" fmla="*/ 485137 w 551045"/>
                  <a:gd name="connsiteY10" fmla="*/ 236253 h 608697"/>
                  <a:gd name="connsiteX11" fmla="*/ 551045 w 551045"/>
                  <a:gd name="connsiteY11" fmla="*/ 302055 h 608697"/>
                  <a:gd name="connsiteX12" fmla="*/ 485137 w 551045"/>
                  <a:gd name="connsiteY12" fmla="*/ 367857 h 608697"/>
                  <a:gd name="connsiteX13" fmla="*/ 419229 w 551045"/>
                  <a:gd name="connsiteY13" fmla="*/ 302055 h 608697"/>
                  <a:gd name="connsiteX14" fmla="*/ 485137 w 551045"/>
                  <a:gd name="connsiteY14" fmla="*/ 236253 h 608697"/>
                  <a:gd name="connsiteX15" fmla="*/ 45513 w 551045"/>
                  <a:gd name="connsiteY15" fmla="*/ 160819 h 608697"/>
                  <a:gd name="connsiteX16" fmla="*/ 62048 w 551045"/>
                  <a:gd name="connsiteY16" fmla="*/ 160819 h 608697"/>
                  <a:gd name="connsiteX17" fmla="*/ 78583 w 551045"/>
                  <a:gd name="connsiteY17" fmla="*/ 243365 h 608697"/>
                  <a:gd name="connsiteX18" fmla="*/ 98228 w 551045"/>
                  <a:gd name="connsiteY18" fmla="*/ 243365 h 608697"/>
                  <a:gd name="connsiteX19" fmla="*/ 103356 w 551045"/>
                  <a:gd name="connsiteY19" fmla="*/ 187625 h 608697"/>
                  <a:gd name="connsiteX20" fmla="*/ 102722 w 551045"/>
                  <a:gd name="connsiteY20" fmla="*/ 184634 h 608697"/>
                  <a:gd name="connsiteX21" fmla="*/ 94368 w 551045"/>
                  <a:gd name="connsiteY21" fmla="*/ 163293 h 608697"/>
                  <a:gd name="connsiteX22" fmla="*/ 93331 w 551045"/>
                  <a:gd name="connsiteY22" fmla="*/ 161107 h 608697"/>
                  <a:gd name="connsiteX23" fmla="*/ 93389 w 551045"/>
                  <a:gd name="connsiteY23" fmla="*/ 161107 h 608697"/>
                  <a:gd name="connsiteX24" fmla="*/ 93274 w 551045"/>
                  <a:gd name="connsiteY24" fmla="*/ 160819 h 608697"/>
                  <a:gd name="connsiteX25" fmla="*/ 137347 w 551045"/>
                  <a:gd name="connsiteY25" fmla="*/ 160819 h 608697"/>
                  <a:gd name="connsiteX26" fmla="*/ 137232 w 551045"/>
                  <a:gd name="connsiteY26" fmla="*/ 161107 h 608697"/>
                  <a:gd name="connsiteX27" fmla="*/ 137404 w 551045"/>
                  <a:gd name="connsiteY27" fmla="*/ 161107 h 608697"/>
                  <a:gd name="connsiteX28" fmla="*/ 136367 w 551045"/>
                  <a:gd name="connsiteY28" fmla="*/ 163293 h 608697"/>
                  <a:gd name="connsiteX29" fmla="*/ 127322 w 551045"/>
                  <a:gd name="connsiteY29" fmla="*/ 187913 h 608697"/>
                  <a:gd name="connsiteX30" fmla="*/ 132450 w 551045"/>
                  <a:gd name="connsiteY30" fmla="*/ 243365 h 608697"/>
                  <a:gd name="connsiteX31" fmla="*/ 152038 w 551045"/>
                  <a:gd name="connsiteY31" fmla="*/ 243365 h 608697"/>
                  <a:gd name="connsiteX32" fmla="*/ 168630 w 551045"/>
                  <a:gd name="connsiteY32" fmla="*/ 160819 h 608697"/>
                  <a:gd name="connsiteX33" fmla="*/ 185165 w 551045"/>
                  <a:gd name="connsiteY33" fmla="*/ 160819 h 608697"/>
                  <a:gd name="connsiteX34" fmla="*/ 230678 w 551045"/>
                  <a:gd name="connsiteY34" fmla="*/ 206263 h 608697"/>
                  <a:gd name="connsiteX35" fmla="*/ 230678 w 551045"/>
                  <a:gd name="connsiteY35" fmla="*/ 338682 h 608697"/>
                  <a:gd name="connsiteX36" fmla="*/ 185165 w 551045"/>
                  <a:gd name="connsiteY36" fmla="*/ 384125 h 608697"/>
                  <a:gd name="connsiteX37" fmla="*/ 179346 w 551045"/>
                  <a:gd name="connsiteY37" fmla="*/ 384125 h 608697"/>
                  <a:gd name="connsiteX38" fmla="*/ 179346 w 551045"/>
                  <a:gd name="connsiteY38" fmla="*/ 576599 h 608697"/>
                  <a:gd name="connsiteX39" fmla="*/ 147256 w 551045"/>
                  <a:gd name="connsiteY39" fmla="*/ 608697 h 608697"/>
                  <a:gd name="connsiteX40" fmla="*/ 115339 w 551045"/>
                  <a:gd name="connsiteY40" fmla="*/ 580223 h 608697"/>
                  <a:gd name="connsiteX41" fmla="*/ 83422 w 551045"/>
                  <a:gd name="connsiteY41" fmla="*/ 608697 h 608697"/>
                  <a:gd name="connsiteX42" fmla="*/ 51332 w 551045"/>
                  <a:gd name="connsiteY42" fmla="*/ 576599 h 608697"/>
                  <a:gd name="connsiteX43" fmla="*/ 51332 w 551045"/>
                  <a:gd name="connsiteY43" fmla="*/ 384125 h 608697"/>
                  <a:gd name="connsiteX44" fmla="*/ 45513 w 551045"/>
                  <a:gd name="connsiteY44" fmla="*/ 384125 h 608697"/>
                  <a:gd name="connsiteX45" fmla="*/ 0 w 551045"/>
                  <a:gd name="connsiteY45" fmla="*/ 338682 h 608697"/>
                  <a:gd name="connsiteX46" fmla="*/ 0 w 551045"/>
                  <a:gd name="connsiteY46" fmla="*/ 206263 h 608697"/>
                  <a:gd name="connsiteX47" fmla="*/ 45513 w 551045"/>
                  <a:gd name="connsiteY47" fmla="*/ 160819 h 608697"/>
                  <a:gd name="connsiteX48" fmla="*/ 400710 w 551045"/>
                  <a:gd name="connsiteY48" fmla="*/ 89618 h 608697"/>
                  <a:gd name="connsiteX49" fmla="*/ 400710 w 551045"/>
                  <a:gd name="connsiteY49" fmla="*/ 134086 h 608697"/>
                  <a:gd name="connsiteX50" fmla="*/ 355362 w 551045"/>
                  <a:gd name="connsiteY50" fmla="*/ 179359 h 608697"/>
                  <a:gd name="connsiteX51" fmla="*/ 355362 w 551045"/>
                  <a:gd name="connsiteY51" fmla="*/ 279857 h 608697"/>
                  <a:gd name="connsiteX52" fmla="*/ 401517 w 551045"/>
                  <a:gd name="connsiteY52" fmla="*/ 279857 h 608697"/>
                  <a:gd name="connsiteX53" fmla="*/ 401517 w 551045"/>
                  <a:gd name="connsiteY53" fmla="*/ 324325 h 608697"/>
                  <a:gd name="connsiteX54" fmla="*/ 355362 w 551045"/>
                  <a:gd name="connsiteY54" fmla="*/ 324325 h 608697"/>
                  <a:gd name="connsiteX55" fmla="*/ 355362 w 551045"/>
                  <a:gd name="connsiteY55" fmla="*/ 424823 h 608697"/>
                  <a:gd name="connsiteX56" fmla="*/ 400710 w 551045"/>
                  <a:gd name="connsiteY56" fmla="*/ 470038 h 608697"/>
                  <a:gd name="connsiteX57" fmla="*/ 400710 w 551045"/>
                  <a:gd name="connsiteY57" fmla="*/ 514563 h 608697"/>
                  <a:gd name="connsiteX58" fmla="*/ 310820 w 551045"/>
                  <a:gd name="connsiteY58" fmla="*/ 424823 h 608697"/>
                  <a:gd name="connsiteX59" fmla="*/ 310820 w 551045"/>
                  <a:gd name="connsiteY59" fmla="*/ 324325 h 608697"/>
                  <a:gd name="connsiteX60" fmla="*/ 270830 w 551045"/>
                  <a:gd name="connsiteY60" fmla="*/ 324325 h 608697"/>
                  <a:gd name="connsiteX61" fmla="*/ 270830 w 551045"/>
                  <a:gd name="connsiteY61" fmla="*/ 279857 h 608697"/>
                  <a:gd name="connsiteX62" fmla="*/ 310820 w 551045"/>
                  <a:gd name="connsiteY62" fmla="*/ 279857 h 608697"/>
                  <a:gd name="connsiteX63" fmla="*/ 310820 w 551045"/>
                  <a:gd name="connsiteY63" fmla="*/ 179359 h 608697"/>
                  <a:gd name="connsiteX64" fmla="*/ 400710 w 551045"/>
                  <a:gd name="connsiteY64" fmla="*/ 89618 h 608697"/>
                  <a:gd name="connsiteX65" fmla="*/ 487441 w 551045"/>
                  <a:gd name="connsiteY65" fmla="*/ 44033 h 608697"/>
                  <a:gd name="connsiteX66" fmla="*/ 487729 w 551045"/>
                  <a:gd name="connsiteY66" fmla="*/ 44148 h 608697"/>
                  <a:gd name="connsiteX67" fmla="*/ 550282 w 551045"/>
                  <a:gd name="connsiteY67" fmla="*/ 107206 h 608697"/>
                  <a:gd name="connsiteX68" fmla="*/ 550340 w 551045"/>
                  <a:gd name="connsiteY68" fmla="*/ 107897 h 608697"/>
                  <a:gd name="connsiteX69" fmla="*/ 550340 w 551045"/>
                  <a:gd name="connsiteY69" fmla="*/ 108760 h 608697"/>
                  <a:gd name="connsiteX70" fmla="*/ 550340 w 551045"/>
                  <a:gd name="connsiteY70" fmla="*/ 109220 h 608697"/>
                  <a:gd name="connsiteX71" fmla="*/ 550340 w 551045"/>
                  <a:gd name="connsiteY71" fmla="*/ 109680 h 608697"/>
                  <a:gd name="connsiteX72" fmla="*/ 550282 w 551045"/>
                  <a:gd name="connsiteY72" fmla="*/ 111867 h 608697"/>
                  <a:gd name="connsiteX73" fmla="*/ 550167 w 551045"/>
                  <a:gd name="connsiteY73" fmla="*/ 113420 h 608697"/>
                  <a:gd name="connsiteX74" fmla="*/ 550167 w 551045"/>
                  <a:gd name="connsiteY74" fmla="*/ 113938 h 608697"/>
                  <a:gd name="connsiteX75" fmla="*/ 485137 w 551045"/>
                  <a:gd name="connsiteY75" fmla="*/ 174349 h 608697"/>
                  <a:gd name="connsiteX76" fmla="*/ 484158 w 551045"/>
                  <a:gd name="connsiteY76" fmla="*/ 174292 h 608697"/>
                  <a:gd name="connsiteX77" fmla="*/ 467685 w 551045"/>
                  <a:gd name="connsiteY77" fmla="*/ 171933 h 608697"/>
                  <a:gd name="connsiteX78" fmla="*/ 419993 w 551045"/>
                  <a:gd name="connsiteY78" fmla="*/ 110428 h 608697"/>
                  <a:gd name="connsiteX79" fmla="*/ 419935 w 551045"/>
                  <a:gd name="connsiteY79" fmla="*/ 110083 h 608697"/>
                  <a:gd name="connsiteX80" fmla="*/ 419993 w 551045"/>
                  <a:gd name="connsiteY80" fmla="*/ 109680 h 608697"/>
                  <a:gd name="connsiteX81" fmla="*/ 419935 w 551045"/>
                  <a:gd name="connsiteY81" fmla="*/ 109220 h 608697"/>
                  <a:gd name="connsiteX82" fmla="*/ 419993 w 551045"/>
                  <a:gd name="connsiteY82" fmla="*/ 108530 h 608697"/>
                  <a:gd name="connsiteX83" fmla="*/ 419993 w 551045"/>
                  <a:gd name="connsiteY83" fmla="*/ 106516 h 608697"/>
                  <a:gd name="connsiteX84" fmla="*/ 485137 w 551045"/>
                  <a:gd name="connsiteY84" fmla="*/ 44090 h 608697"/>
                  <a:gd name="connsiteX85" fmla="*/ 486001 w 551045"/>
                  <a:gd name="connsiteY85" fmla="*/ 44090 h 608697"/>
                  <a:gd name="connsiteX86" fmla="*/ 487441 w 551045"/>
                  <a:gd name="connsiteY86" fmla="*/ 44033 h 608697"/>
                  <a:gd name="connsiteX87" fmla="*/ 114993 w 551045"/>
                  <a:gd name="connsiteY87" fmla="*/ 748 h 608697"/>
                  <a:gd name="connsiteX88" fmla="*/ 115281 w 551045"/>
                  <a:gd name="connsiteY88" fmla="*/ 748 h 608697"/>
                  <a:gd name="connsiteX89" fmla="*/ 115569 w 551045"/>
                  <a:gd name="connsiteY89" fmla="*/ 748 h 608697"/>
                  <a:gd name="connsiteX90" fmla="*/ 179403 w 551045"/>
                  <a:gd name="connsiteY90" fmla="*/ 50176 h 608697"/>
                  <a:gd name="connsiteX91" fmla="*/ 181534 w 551045"/>
                  <a:gd name="connsiteY91" fmla="*/ 66863 h 608697"/>
                  <a:gd name="connsiteX92" fmla="*/ 115685 w 551045"/>
                  <a:gd name="connsiteY92" fmla="*/ 132634 h 608697"/>
                  <a:gd name="connsiteX93" fmla="*/ 115397 w 551045"/>
                  <a:gd name="connsiteY93" fmla="*/ 132634 h 608697"/>
                  <a:gd name="connsiteX94" fmla="*/ 115109 w 551045"/>
                  <a:gd name="connsiteY94" fmla="*/ 132634 h 608697"/>
                  <a:gd name="connsiteX95" fmla="*/ 51275 w 551045"/>
                  <a:gd name="connsiteY95" fmla="*/ 83262 h 608697"/>
                  <a:gd name="connsiteX96" fmla="*/ 49144 w 551045"/>
                  <a:gd name="connsiteY96" fmla="*/ 66575 h 608697"/>
                  <a:gd name="connsiteX97" fmla="*/ 114993 w 551045"/>
                  <a:gd name="connsiteY97" fmla="*/ 748 h 608697"/>
                  <a:gd name="connsiteX98" fmla="*/ 114958 w 551045"/>
                  <a:gd name="connsiteY98" fmla="*/ 423 h 608697"/>
                  <a:gd name="connsiteX99" fmla="*/ 48690 w 551045"/>
                  <a:gd name="connsiteY99" fmla="*/ 66575 h 608697"/>
                  <a:gd name="connsiteX100" fmla="*/ 50822 w 551045"/>
                  <a:gd name="connsiteY100" fmla="*/ 83372 h 608697"/>
                  <a:gd name="connsiteX101" fmla="*/ 115073 w 551045"/>
                  <a:gd name="connsiteY101" fmla="*/ 133015 h 608697"/>
                  <a:gd name="connsiteX102" fmla="*/ 115361 w 551045"/>
                  <a:gd name="connsiteY102" fmla="*/ 133015 h 608697"/>
                  <a:gd name="connsiteX103" fmla="*/ 115649 w 551045"/>
                  <a:gd name="connsiteY103" fmla="*/ 133015 h 608697"/>
                  <a:gd name="connsiteX104" fmla="*/ 181917 w 551045"/>
                  <a:gd name="connsiteY104" fmla="*/ 66863 h 608697"/>
                  <a:gd name="connsiteX105" fmla="*/ 179785 w 551045"/>
                  <a:gd name="connsiteY105" fmla="*/ 50066 h 608697"/>
                  <a:gd name="connsiteX106" fmla="*/ 115534 w 551045"/>
                  <a:gd name="connsiteY106" fmla="*/ 423 h 608697"/>
                  <a:gd name="connsiteX107" fmla="*/ 115246 w 551045"/>
                  <a:gd name="connsiteY107" fmla="*/ 423 h 608697"/>
                  <a:gd name="connsiteX108" fmla="*/ 114958 w 551045"/>
                  <a:gd name="connsiteY108" fmla="*/ 423 h 608697"/>
                  <a:gd name="connsiteX109" fmla="*/ 114993 w 551045"/>
                  <a:gd name="connsiteY109" fmla="*/ 0 h 608697"/>
                  <a:gd name="connsiteX110" fmla="*/ 115281 w 551045"/>
                  <a:gd name="connsiteY110" fmla="*/ 0 h 608697"/>
                  <a:gd name="connsiteX111" fmla="*/ 115569 w 551045"/>
                  <a:gd name="connsiteY111" fmla="*/ 0 h 608697"/>
                  <a:gd name="connsiteX112" fmla="*/ 180152 w 551045"/>
                  <a:gd name="connsiteY112" fmla="*/ 49946 h 608697"/>
                  <a:gd name="connsiteX113" fmla="*/ 182341 w 551045"/>
                  <a:gd name="connsiteY113" fmla="*/ 66863 h 608697"/>
                  <a:gd name="connsiteX114" fmla="*/ 115685 w 551045"/>
                  <a:gd name="connsiteY114" fmla="*/ 133439 h 608697"/>
                  <a:gd name="connsiteX115" fmla="*/ 115397 w 551045"/>
                  <a:gd name="connsiteY115" fmla="*/ 133439 h 608697"/>
                  <a:gd name="connsiteX116" fmla="*/ 115109 w 551045"/>
                  <a:gd name="connsiteY116" fmla="*/ 133439 h 608697"/>
                  <a:gd name="connsiteX117" fmla="*/ 50526 w 551045"/>
                  <a:gd name="connsiteY117" fmla="*/ 83493 h 608697"/>
                  <a:gd name="connsiteX118" fmla="*/ 48337 w 551045"/>
                  <a:gd name="connsiteY118" fmla="*/ 66575 h 608697"/>
                  <a:gd name="connsiteX119" fmla="*/ 114993 w 551045"/>
                  <a:gd name="connsiteY119" fmla="*/ 0 h 608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551045" h="608697">
                    <a:moveTo>
                      <a:pt x="485820" y="430096"/>
                    </a:moveTo>
                    <a:cubicBezTo>
                      <a:pt x="520910" y="430096"/>
                      <a:pt x="549489" y="457699"/>
                      <a:pt x="550987" y="492317"/>
                    </a:cubicBezTo>
                    <a:cubicBezTo>
                      <a:pt x="550987" y="492375"/>
                      <a:pt x="551045" y="492432"/>
                      <a:pt x="551045" y="492490"/>
                    </a:cubicBezTo>
                    <a:cubicBezTo>
                      <a:pt x="551045" y="492950"/>
                      <a:pt x="551045" y="493353"/>
                      <a:pt x="550987" y="493813"/>
                    </a:cubicBezTo>
                    <a:cubicBezTo>
                      <a:pt x="551045" y="494273"/>
                      <a:pt x="551045" y="494733"/>
                      <a:pt x="551045" y="495193"/>
                    </a:cubicBezTo>
                    <a:cubicBezTo>
                      <a:pt x="551045" y="531134"/>
                      <a:pt x="521832" y="560289"/>
                      <a:pt x="485820" y="560289"/>
                    </a:cubicBezTo>
                    <a:cubicBezTo>
                      <a:pt x="454129" y="560289"/>
                      <a:pt x="427739" y="537747"/>
                      <a:pt x="421862" y="507902"/>
                    </a:cubicBezTo>
                    <a:cubicBezTo>
                      <a:pt x="420710" y="503474"/>
                      <a:pt x="420076" y="499046"/>
                      <a:pt x="420134" y="494560"/>
                    </a:cubicBezTo>
                    <a:cubicBezTo>
                      <a:pt x="420134" y="489385"/>
                      <a:pt x="421056" y="484152"/>
                      <a:pt x="422611" y="479034"/>
                    </a:cubicBezTo>
                    <a:cubicBezTo>
                      <a:pt x="429814" y="450913"/>
                      <a:pt x="455397" y="430096"/>
                      <a:pt x="485820" y="430096"/>
                    </a:cubicBezTo>
                    <a:close/>
                    <a:moveTo>
                      <a:pt x="485137" y="236253"/>
                    </a:moveTo>
                    <a:cubicBezTo>
                      <a:pt x="521537" y="236253"/>
                      <a:pt x="551045" y="265714"/>
                      <a:pt x="551045" y="302055"/>
                    </a:cubicBezTo>
                    <a:cubicBezTo>
                      <a:pt x="551045" y="338396"/>
                      <a:pt x="521537" y="367857"/>
                      <a:pt x="485137" y="367857"/>
                    </a:cubicBezTo>
                    <a:cubicBezTo>
                      <a:pt x="448737" y="367857"/>
                      <a:pt x="419229" y="338396"/>
                      <a:pt x="419229" y="302055"/>
                    </a:cubicBezTo>
                    <a:cubicBezTo>
                      <a:pt x="419229" y="265714"/>
                      <a:pt x="448737" y="236253"/>
                      <a:pt x="485137" y="236253"/>
                    </a:cubicBezTo>
                    <a:close/>
                    <a:moveTo>
                      <a:pt x="45513" y="160819"/>
                    </a:moveTo>
                    <a:lnTo>
                      <a:pt x="62048" y="160819"/>
                    </a:lnTo>
                    <a:lnTo>
                      <a:pt x="78583" y="243365"/>
                    </a:lnTo>
                    <a:lnTo>
                      <a:pt x="98228" y="243365"/>
                    </a:lnTo>
                    <a:lnTo>
                      <a:pt x="103356" y="187625"/>
                    </a:lnTo>
                    <a:cubicBezTo>
                      <a:pt x="103183" y="186647"/>
                      <a:pt x="102952" y="185612"/>
                      <a:pt x="102722" y="184634"/>
                    </a:cubicBezTo>
                    <a:cubicBezTo>
                      <a:pt x="100936" y="177386"/>
                      <a:pt x="97767" y="170483"/>
                      <a:pt x="94368" y="163293"/>
                    </a:cubicBezTo>
                    <a:cubicBezTo>
                      <a:pt x="94368" y="163293"/>
                      <a:pt x="93677" y="161855"/>
                      <a:pt x="93331" y="161107"/>
                    </a:cubicBezTo>
                    <a:lnTo>
                      <a:pt x="93389" y="161107"/>
                    </a:lnTo>
                    <a:cubicBezTo>
                      <a:pt x="93331" y="160992"/>
                      <a:pt x="93274" y="160877"/>
                      <a:pt x="93274" y="160819"/>
                    </a:cubicBezTo>
                    <a:lnTo>
                      <a:pt x="137347" y="160819"/>
                    </a:lnTo>
                    <a:cubicBezTo>
                      <a:pt x="137289" y="160877"/>
                      <a:pt x="137232" y="160992"/>
                      <a:pt x="137232" y="161107"/>
                    </a:cubicBezTo>
                    <a:lnTo>
                      <a:pt x="137404" y="161107"/>
                    </a:lnTo>
                    <a:cubicBezTo>
                      <a:pt x="137059" y="161855"/>
                      <a:pt x="136367" y="163293"/>
                      <a:pt x="136367" y="163293"/>
                    </a:cubicBezTo>
                    <a:cubicBezTo>
                      <a:pt x="132507" y="171576"/>
                      <a:pt x="128820" y="179514"/>
                      <a:pt x="127322" y="187913"/>
                    </a:cubicBezTo>
                    <a:lnTo>
                      <a:pt x="132450" y="243365"/>
                    </a:lnTo>
                    <a:lnTo>
                      <a:pt x="152038" y="243365"/>
                    </a:lnTo>
                    <a:lnTo>
                      <a:pt x="168630" y="160819"/>
                    </a:lnTo>
                    <a:lnTo>
                      <a:pt x="185165" y="160819"/>
                    </a:lnTo>
                    <a:cubicBezTo>
                      <a:pt x="210283" y="160819"/>
                      <a:pt x="230678" y="181125"/>
                      <a:pt x="230678" y="206263"/>
                    </a:cubicBezTo>
                    <a:lnTo>
                      <a:pt x="230678" y="338682"/>
                    </a:lnTo>
                    <a:cubicBezTo>
                      <a:pt x="230678" y="363820"/>
                      <a:pt x="210283" y="384125"/>
                      <a:pt x="185165" y="384125"/>
                    </a:cubicBezTo>
                    <a:lnTo>
                      <a:pt x="179346" y="384125"/>
                    </a:lnTo>
                    <a:lnTo>
                      <a:pt x="179346" y="576599"/>
                    </a:lnTo>
                    <a:cubicBezTo>
                      <a:pt x="179346" y="594316"/>
                      <a:pt x="165000" y="608697"/>
                      <a:pt x="147256" y="608697"/>
                    </a:cubicBezTo>
                    <a:cubicBezTo>
                      <a:pt x="130721" y="608697"/>
                      <a:pt x="117125" y="596215"/>
                      <a:pt x="115339" y="580223"/>
                    </a:cubicBezTo>
                    <a:cubicBezTo>
                      <a:pt x="113553" y="596215"/>
                      <a:pt x="99957" y="608697"/>
                      <a:pt x="83422" y="608697"/>
                    </a:cubicBezTo>
                    <a:cubicBezTo>
                      <a:pt x="65678" y="608697"/>
                      <a:pt x="51332" y="594316"/>
                      <a:pt x="51332" y="576599"/>
                    </a:cubicBezTo>
                    <a:lnTo>
                      <a:pt x="51332" y="384125"/>
                    </a:lnTo>
                    <a:lnTo>
                      <a:pt x="45513" y="384125"/>
                    </a:lnTo>
                    <a:cubicBezTo>
                      <a:pt x="20395" y="384125"/>
                      <a:pt x="0" y="363820"/>
                      <a:pt x="0" y="338682"/>
                    </a:cubicBezTo>
                    <a:lnTo>
                      <a:pt x="0" y="206263"/>
                    </a:lnTo>
                    <a:cubicBezTo>
                      <a:pt x="0" y="181125"/>
                      <a:pt x="20395" y="160819"/>
                      <a:pt x="45513" y="160819"/>
                    </a:cubicBezTo>
                    <a:close/>
                    <a:moveTo>
                      <a:pt x="400710" y="89618"/>
                    </a:moveTo>
                    <a:lnTo>
                      <a:pt x="400710" y="134086"/>
                    </a:lnTo>
                    <a:cubicBezTo>
                      <a:pt x="375702" y="134086"/>
                      <a:pt x="355362" y="154393"/>
                      <a:pt x="355362" y="179359"/>
                    </a:cubicBezTo>
                    <a:lnTo>
                      <a:pt x="355362" y="279857"/>
                    </a:lnTo>
                    <a:lnTo>
                      <a:pt x="401517" y="279857"/>
                    </a:lnTo>
                    <a:lnTo>
                      <a:pt x="401517" y="324325"/>
                    </a:lnTo>
                    <a:lnTo>
                      <a:pt x="355362" y="324325"/>
                    </a:lnTo>
                    <a:lnTo>
                      <a:pt x="355362" y="424823"/>
                    </a:lnTo>
                    <a:cubicBezTo>
                      <a:pt x="355362" y="449731"/>
                      <a:pt x="375702" y="470038"/>
                      <a:pt x="400710" y="470038"/>
                    </a:cubicBezTo>
                    <a:lnTo>
                      <a:pt x="400710" y="514563"/>
                    </a:lnTo>
                    <a:cubicBezTo>
                      <a:pt x="351155" y="514563"/>
                      <a:pt x="310820" y="474295"/>
                      <a:pt x="310820" y="424823"/>
                    </a:cubicBezTo>
                    <a:lnTo>
                      <a:pt x="310820" y="324325"/>
                    </a:lnTo>
                    <a:lnTo>
                      <a:pt x="270830" y="324325"/>
                    </a:lnTo>
                    <a:lnTo>
                      <a:pt x="270830" y="279857"/>
                    </a:lnTo>
                    <a:lnTo>
                      <a:pt x="310820" y="279857"/>
                    </a:lnTo>
                    <a:lnTo>
                      <a:pt x="310820" y="179359"/>
                    </a:lnTo>
                    <a:cubicBezTo>
                      <a:pt x="310820" y="129886"/>
                      <a:pt x="351155" y="89618"/>
                      <a:pt x="400710" y="89618"/>
                    </a:cubicBezTo>
                    <a:close/>
                    <a:moveTo>
                      <a:pt x="487441" y="44033"/>
                    </a:moveTo>
                    <a:cubicBezTo>
                      <a:pt x="487557" y="44090"/>
                      <a:pt x="487614" y="44090"/>
                      <a:pt x="487729" y="44148"/>
                    </a:cubicBezTo>
                    <a:cubicBezTo>
                      <a:pt x="521828" y="45471"/>
                      <a:pt x="549246" y="73030"/>
                      <a:pt x="550282" y="107206"/>
                    </a:cubicBezTo>
                    <a:cubicBezTo>
                      <a:pt x="550282" y="107436"/>
                      <a:pt x="550282" y="107667"/>
                      <a:pt x="550340" y="107897"/>
                    </a:cubicBezTo>
                    <a:cubicBezTo>
                      <a:pt x="550340" y="108184"/>
                      <a:pt x="550340" y="108472"/>
                      <a:pt x="550340" y="108760"/>
                    </a:cubicBezTo>
                    <a:cubicBezTo>
                      <a:pt x="550340" y="108875"/>
                      <a:pt x="550340" y="109047"/>
                      <a:pt x="550340" y="109220"/>
                    </a:cubicBezTo>
                    <a:cubicBezTo>
                      <a:pt x="550340" y="109393"/>
                      <a:pt x="550340" y="109508"/>
                      <a:pt x="550340" y="109680"/>
                    </a:cubicBezTo>
                    <a:cubicBezTo>
                      <a:pt x="550340" y="110371"/>
                      <a:pt x="550282" y="111119"/>
                      <a:pt x="550282" y="111867"/>
                    </a:cubicBezTo>
                    <a:cubicBezTo>
                      <a:pt x="550225" y="112384"/>
                      <a:pt x="550225" y="112902"/>
                      <a:pt x="550167" y="113420"/>
                    </a:cubicBezTo>
                    <a:cubicBezTo>
                      <a:pt x="550167" y="113593"/>
                      <a:pt x="550167" y="113765"/>
                      <a:pt x="550167" y="113938"/>
                    </a:cubicBezTo>
                    <a:cubicBezTo>
                      <a:pt x="547748" y="147653"/>
                      <a:pt x="519582" y="174349"/>
                      <a:pt x="485137" y="174349"/>
                    </a:cubicBezTo>
                    <a:cubicBezTo>
                      <a:pt x="484792" y="174349"/>
                      <a:pt x="484446" y="174292"/>
                      <a:pt x="484158" y="174292"/>
                    </a:cubicBezTo>
                    <a:cubicBezTo>
                      <a:pt x="478629" y="174579"/>
                      <a:pt x="473099" y="173716"/>
                      <a:pt x="467685" y="171933"/>
                    </a:cubicBezTo>
                    <a:cubicBezTo>
                      <a:pt x="440556" y="164396"/>
                      <a:pt x="420511" y="139828"/>
                      <a:pt x="419993" y="110428"/>
                    </a:cubicBezTo>
                    <a:cubicBezTo>
                      <a:pt x="419993" y="110313"/>
                      <a:pt x="419935" y="110198"/>
                      <a:pt x="419935" y="110083"/>
                    </a:cubicBezTo>
                    <a:cubicBezTo>
                      <a:pt x="419935" y="109910"/>
                      <a:pt x="419935" y="109795"/>
                      <a:pt x="419993" y="109680"/>
                    </a:cubicBezTo>
                    <a:cubicBezTo>
                      <a:pt x="419993" y="109508"/>
                      <a:pt x="419935" y="109335"/>
                      <a:pt x="419935" y="109220"/>
                    </a:cubicBezTo>
                    <a:cubicBezTo>
                      <a:pt x="419935" y="108990"/>
                      <a:pt x="419935" y="108760"/>
                      <a:pt x="419993" y="108530"/>
                    </a:cubicBezTo>
                    <a:cubicBezTo>
                      <a:pt x="419993" y="107839"/>
                      <a:pt x="419993" y="107206"/>
                      <a:pt x="419993" y="106516"/>
                    </a:cubicBezTo>
                    <a:cubicBezTo>
                      <a:pt x="421433" y="71822"/>
                      <a:pt x="450059" y="44090"/>
                      <a:pt x="485137" y="44090"/>
                    </a:cubicBezTo>
                    <a:cubicBezTo>
                      <a:pt x="485425" y="44090"/>
                      <a:pt x="485713" y="44090"/>
                      <a:pt x="486001" y="44090"/>
                    </a:cubicBezTo>
                    <a:cubicBezTo>
                      <a:pt x="486462" y="44090"/>
                      <a:pt x="486981" y="44033"/>
                      <a:pt x="487441" y="44033"/>
                    </a:cubicBezTo>
                    <a:close/>
                    <a:moveTo>
                      <a:pt x="114993" y="748"/>
                    </a:moveTo>
                    <a:lnTo>
                      <a:pt x="115281" y="748"/>
                    </a:lnTo>
                    <a:lnTo>
                      <a:pt x="115569" y="748"/>
                    </a:lnTo>
                    <a:cubicBezTo>
                      <a:pt x="145700" y="748"/>
                      <a:pt x="171913" y="21060"/>
                      <a:pt x="179403" y="50176"/>
                    </a:cubicBezTo>
                    <a:cubicBezTo>
                      <a:pt x="180843" y="55585"/>
                      <a:pt x="181534" y="61224"/>
                      <a:pt x="181534" y="66863"/>
                    </a:cubicBezTo>
                    <a:cubicBezTo>
                      <a:pt x="181534" y="103115"/>
                      <a:pt x="151980" y="132634"/>
                      <a:pt x="115685" y="132634"/>
                    </a:cubicBezTo>
                    <a:lnTo>
                      <a:pt x="115397" y="132634"/>
                    </a:lnTo>
                    <a:lnTo>
                      <a:pt x="115109" y="132634"/>
                    </a:lnTo>
                    <a:cubicBezTo>
                      <a:pt x="84978" y="132634"/>
                      <a:pt x="58765" y="112321"/>
                      <a:pt x="51275" y="83262"/>
                    </a:cubicBezTo>
                    <a:cubicBezTo>
                      <a:pt x="49835" y="77854"/>
                      <a:pt x="49144" y="72214"/>
                      <a:pt x="49144" y="66575"/>
                    </a:cubicBezTo>
                    <a:cubicBezTo>
                      <a:pt x="49144" y="30267"/>
                      <a:pt x="78698" y="748"/>
                      <a:pt x="114993" y="748"/>
                    </a:cubicBezTo>
                    <a:close/>
                    <a:moveTo>
                      <a:pt x="114958" y="423"/>
                    </a:moveTo>
                    <a:cubicBezTo>
                      <a:pt x="78366" y="423"/>
                      <a:pt x="48690" y="30047"/>
                      <a:pt x="48690" y="66575"/>
                    </a:cubicBezTo>
                    <a:cubicBezTo>
                      <a:pt x="48690" y="72385"/>
                      <a:pt x="49439" y="78022"/>
                      <a:pt x="50822" y="83372"/>
                    </a:cubicBezTo>
                    <a:cubicBezTo>
                      <a:pt x="58198" y="111904"/>
                      <a:pt x="84129" y="133015"/>
                      <a:pt x="115073" y="133015"/>
                    </a:cubicBezTo>
                    <a:cubicBezTo>
                      <a:pt x="115131" y="133015"/>
                      <a:pt x="115246" y="133015"/>
                      <a:pt x="115361" y="133015"/>
                    </a:cubicBezTo>
                    <a:cubicBezTo>
                      <a:pt x="115419" y="133015"/>
                      <a:pt x="115534" y="133015"/>
                      <a:pt x="115649" y="133015"/>
                    </a:cubicBezTo>
                    <a:cubicBezTo>
                      <a:pt x="152241" y="133015"/>
                      <a:pt x="181917" y="103391"/>
                      <a:pt x="181917" y="66863"/>
                    </a:cubicBezTo>
                    <a:cubicBezTo>
                      <a:pt x="181917" y="61053"/>
                      <a:pt x="181168" y="55415"/>
                      <a:pt x="179785" y="50066"/>
                    </a:cubicBezTo>
                    <a:cubicBezTo>
                      <a:pt x="172409" y="21534"/>
                      <a:pt x="146478" y="423"/>
                      <a:pt x="115534" y="423"/>
                    </a:cubicBezTo>
                    <a:cubicBezTo>
                      <a:pt x="115476" y="423"/>
                      <a:pt x="115361" y="423"/>
                      <a:pt x="115246" y="423"/>
                    </a:cubicBezTo>
                    <a:cubicBezTo>
                      <a:pt x="115188" y="423"/>
                      <a:pt x="115073" y="423"/>
                      <a:pt x="114958" y="423"/>
                    </a:cubicBezTo>
                    <a:close/>
                    <a:moveTo>
                      <a:pt x="114993" y="0"/>
                    </a:moveTo>
                    <a:lnTo>
                      <a:pt x="115281" y="0"/>
                    </a:lnTo>
                    <a:lnTo>
                      <a:pt x="115569" y="0"/>
                    </a:lnTo>
                    <a:cubicBezTo>
                      <a:pt x="146046" y="0"/>
                      <a:pt x="172605" y="20542"/>
                      <a:pt x="180152" y="49946"/>
                    </a:cubicBezTo>
                    <a:cubicBezTo>
                      <a:pt x="181592" y="55470"/>
                      <a:pt x="182341" y="61109"/>
                      <a:pt x="182341" y="66863"/>
                    </a:cubicBezTo>
                    <a:cubicBezTo>
                      <a:pt x="182341" y="103575"/>
                      <a:pt x="152441" y="133439"/>
                      <a:pt x="115685" y="133439"/>
                    </a:cubicBezTo>
                    <a:lnTo>
                      <a:pt x="115397" y="133439"/>
                    </a:lnTo>
                    <a:lnTo>
                      <a:pt x="115109" y="133439"/>
                    </a:lnTo>
                    <a:cubicBezTo>
                      <a:pt x="84632" y="133439"/>
                      <a:pt x="58073" y="112897"/>
                      <a:pt x="50526" y="83493"/>
                    </a:cubicBezTo>
                    <a:cubicBezTo>
                      <a:pt x="49086" y="77969"/>
                      <a:pt x="48337" y="72272"/>
                      <a:pt x="48337" y="66575"/>
                    </a:cubicBezTo>
                    <a:cubicBezTo>
                      <a:pt x="48337" y="29864"/>
                      <a:pt x="78237" y="0"/>
                      <a:pt x="114993" y="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i="1"/>
              </a:p>
            </p:txBody>
          </p:sp>
        </p:grpSp>
        <p:grpSp>
          <p:nvGrpSpPr>
            <p:cNvPr id="11" name="iṥļîḍé">
              <a:extLst>
                <a:ext uri="{FF2B5EF4-FFF2-40B4-BE49-F238E27FC236}">
                  <a16:creationId xmlns:a16="http://schemas.microsoft.com/office/drawing/2014/main" xmlns="" id="{CDF15DE6-8AC6-4F9B-945A-22A315F9519A}"/>
                </a:ext>
              </a:extLst>
            </p:cNvPr>
            <p:cNvGrpSpPr/>
            <p:nvPr/>
          </p:nvGrpSpPr>
          <p:grpSpPr>
            <a:xfrm>
              <a:off x="8239125" y="1637435"/>
              <a:ext cx="3279775" cy="908538"/>
              <a:chOff x="-342900" y="4659981"/>
              <a:chExt cx="2195910" cy="908538"/>
            </a:xfrm>
          </p:grpSpPr>
          <p:sp>
            <p:nvSpPr>
              <p:cNvPr id="24" name="iSḻíḍe">
                <a:extLst>
                  <a:ext uri="{FF2B5EF4-FFF2-40B4-BE49-F238E27FC236}">
                    <a16:creationId xmlns:a16="http://schemas.microsoft.com/office/drawing/2014/main" xmlns="" id="{96029B2C-46A0-45E5-BCCF-F6338701DE82}"/>
                  </a:ext>
                </a:extLst>
              </p:cNvPr>
              <p:cNvSpPr/>
              <p:nvPr/>
            </p:nvSpPr>
            <p:spPr bwMode="auto">
              <a:xfrm>
                <a:off x="-342900" y="5011120"/>
                <a:ext cx="2195910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/>
              <a:p>
                <a:pPr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….</a:t>
                </a:r>
              </a:p>
            </p:txBody>
          </p:sp>
          <p:sp>
            <p:nvSpPr>
              <p:cNvPr id="25" name="ïṡḻiďe">
                <a:extLst>
                  <a:ext uri="{FF2B5EF4-FFF2-40B4-BE49-F238E27FC236}">
                    <a16:creationId xmlns:a16="http://schemas.microsoft.com/office/drawing/2014/main" xmlns="" id="{1B483F25-8588-42F1-B33B-34514EFC1921}"/>
                  </a:ext>
                </a:extLst>
              </p:cNvPr>
              <p:cNvSpPr txBox="1"/>
              <p:nvPr/>
            </p:nvSpPr>
            <p:spPr bwMode="auto">
              <a:xfrm>
                <a:off x="-342900" y="4659981"/>
                <a:ext cx="2195910" cy="3511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 lnSpcReduction="10000"/>
              </a:bodyPr>
              <a:lstStyle/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Text here</a:t>
                </a:r>
                <a:endParaRPr lang="zh-CN" altLang="en-US" sz="1800" b="1" dirty="0"/>
              </a:p>
            </p:txBody>
          </p:sp>
        </p:grpSp>
        <p:grpSp>
          <p:nvGrpSpPr>
            <p:cNvPr id="12" name="ïŝḷídé">
              <a:extLst>
                <a:ext uri="{FF2B5EF4-FFF2-40B4-BE49-F238E27FC236}">
                  <a16:creationId xmlns:a16="http://schemas.microsoft.com/office/drawing/2014/main" xmlns="" id="{34BD1CB8-3758-4D5C-A14E-CBA6F682DB5E}"/>
                </a:ext>
              </a:extLst>
            </p:cNvPr>
            <p:cNvGrpSpPr/>
            <p:nvPr/>
          </p:nvGrpSpPr>
          <p:grpSpPr>
            <a:xfrm>
              <a:off x="6936460" y="3058448"/>
              <a:ext cx="1160205" cy="1160205"/>
              <a:chOff x="1440535" y="2881262"/>
              <a:chExt cx="1160205" cy="1160205"/>
            </a:xfrm>
          </p:grpSpPr>
          <p:sp>
            <p:nvSpPr>
              <p:cNvPr id="22" name="iŝ1îḓé">
                <a:extLst>
                  <a:ext uri="{FF2B5EF4-FFF2-40B4-BE49-F238E27FC236}">
                    <a16:creationId xmlns:a16="http://schemas.microsoft.com/office/drawing/2014/main" xmlns="" id="{38B428ED-8B6A-46BB-B6B6-3F10E23CAAAE}"/>
                  </a:ext>
                </a:extLst>
              </p:cNvPr>
              <p:cNvSpPr/>
              <p:nvPr/>
            </p:nvSpPr>
            <p:spPr>
              <a:xfrm>
                <a:off x="1440535" y="2881262"/>
                <a:ext cx="1160205" cy="1160205"/>
              </a:xfrm>
              <a:prstGeom prst="ellipse">
                <a:avLst/>
              </a:prstGeom>
              <a:noFill/>
              <a:ln w="317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id-ID" sz="2400"/>
              </a:p>
            </p:txBody>
          </p:sp>
          <p:sp>
            <p:nvSpPr>
              <p:cNvPr id="23" name="î$ľiďé">
                <a:extLst>
                  <a:ext uri="{FF2B5EF4-FFF2-40B4-BE49-F238E27FC236}">
                    <a16:creationId xmlns:a16="http://schemas.microsoft.com/office/drawing/2014/main" xmlns="" id="{CEDDF75A-BC7E-4106-9C12-ABB4C6642623}"/>
                  </a:ext>
                </a:extLst>
              </p:cNvPr>
              <p:cNvSpPr/>
              <p:nvPr/>
            </p:nvSpPr>
            <p:spPr bwMode="auto">
              <a:xfrm>
                <a:off x="1804853" y="3208701"/>
                <a:ext cx="431566" cy="505326"/>
              </a:xfrm>
              <a:custGeom>
                <a:avLst/>
                <a:gdLst>
                  <a:gd name="connsiteX0" fmla="*/ 242883 w 518162"/>
                  <a:gd name="connsiteY0" fmla="*/ 408292 h 606722"/>
                  <a:gd name="connsiteX1" fmla="*/ 303572 w 518162"/>
                  <a:gd name="connsiteY1" fmla="*/ 408292 h 606722"/>
                  <a:gd name="connsiteX2" fmla="*/ 287021 w 518162"/>
                  <a:gd name="connsiteY2" fmla="*/ 514954 h 606722"/>
                  <a:gd name="connsiteX3" fmla="*/ 252760 w 518162"/>
                  <a:gd name="connsiteY3" fmla="*/ 540019 h 606722"/>
                  <a:gd name="connsiteX4" fmla="*/ 227755 w 518162"/>
                  <a:gd name="connsiteY4" fmla="*/ 505799 h 606722"/>
                  <a:gd name="connsiteX5" fmla="*/ 90606 w 518162"/>
                  <a:gd name="connsiteY5" fmla="*/ 408292 h 606722"/>
                  <a:gd name="connsiteX6" fmla="*/ 151310 w 518162"/>
                  <a:gd name="connsiteY6" fmla="*/ 408292 h 606722"/>
                  <a:gd name="connsiteX7" fmla="*/ 166353 w 518162"/>
                  <a:gd name="connsiteY7" fmla="*/ 505799 h 606722"/>
                  <a:gd name="connsiteX8" fmla="*/ 141341 w 518162"/>
                  <a:gd name="connsiteY8" fmla="*/ 540019 h 606722"/>
                  <a:gd name="connsiteX9" fmla="*/ 107073 w 518162"/>
                  <a:gd name="connsiteY9" fmla="*/ 514954 h 606722"/>
                  <a:gd name="connsiteX10" fmla="*/ 357338 w 518162"/>
                  <a:gd name="connsiteY10" fmla="*/ 183515 h 606722"/>
                  <a:gd name="connsiteX11" fmla="*/ 336868 w 518162"/>
                  <a:gd name="connsiteY11" fmla="*/ 203867 h 606722"/>
                  <a:gd name="connsiteX12" fmla="*/ 357338 w 518162"/>
                  <a:gd name="connsiteY12" fmla="*/ 224219 h 606722"/>
                  <a:gd name="connsiteX13" fmla="*/ 377719 w 518162"/>
                  <a:gd name="connsiteY13" fmla="*/ 203867 h 606722"/>
                  <a:gd name="connsiteX14" fmla="*/ 357338 w 518162"/>
                  <a:gd name="connsiteY14" fmla="*/ 183515 h 606722"/>
                  <a:gd name="connsiteX15" fmla="*/ 265667 w 518162"/>
                  <a:gd name="connsiteY15" fmla="*/ 137391 h 606722"/>
                  <a:gd name="connsiteX16" fmla="*/ 448920 w 518162"/>
                  <a:gd name="connsiteY16" fmla="*/ 137391 h 606722"/>
                  <a:gd name="connsiteX17" fmla="*/ 461291 w 518162"/>
                  <a:gd name="connsiteY17" fmla="*/ 149744 h 606722"/>
                  <a:gd name="connsiteX18" fmla="*/ 461291 w 518162"/>
                  <a:gd name="connsiteY18" fmla="*/ 257990 h 606722"/>
                  <a:gd name="connsiteX19" fmla="*/ 448920 w 518162"/>
                  <a:gd name="connsiteY19" fmla="*/ 270343 h 606722"/>
                  <a:gd name="connsiteX20" fmla="*/ 381546 w 518162"/>
                  <a:gd name="connsiteY20" fmla="*/ 270343 h 606722"/>
                  <a:gd name="connsiteX21" fmla="*/ 381546 w 518162"/>
                  <a:gd name="connsiteY21" fmla="*/ 305803 h 606722"/>
                  <a:gd name="connsiteX22" fmla="*/ 415989 w 518162"/>
                  <a:gd name="connsiteY22" fmla="*/ 305803 h 606722"/>
                  <a:gd name="connsiteX23" fmla="*/ 430853 w 518162"/>
                  <a:gd name="connsiteY23" fmla="*/ 320644 h 606722"/>
                  <a:gd name="connsiteX24" fmla="*/ 428539 w 518162"/>
                  <a:gd name="connsiteY24" fmla="*/ 328465 h 606722"/>
                  <a:gd name="connsiteX25" fmla="*/ 507215 w 518162"/>
                  <a:gd name="connsiteY25" fmla="*/ 328465 h 606722"/>
                  <a:gd name="connsiteX26" fmla="*/ 518162 w 518162"/>
                  <a:gd name="connsiteY26" fmla="*/ 339396 h 606722"/>
                  <a:gd name="connsiteX27" fmla="*/ 518162 w 518162"/>
                  <a:gd name="connsiteY27" fmla="*/ 378944 h 606722"/>
                  <a:gd name="connsiteX28" fmla="*/ 507215 w 518162"/>
                  <a:gd name="connsiteY28" fmla="*/ 389875 h 606722"/>
                  <a:gd name="connsiteX29" fmla="*/ 489949 w 518162"/>
                  <a:gd name="connsiteY29" fmla="*/ 389875 h 606722"/>
                  <a:gd name="connsiteX30" fmla="*/ 489949 w 518162"/>
                  <a:gd name="connsiteY30" fmla="*/ 584415 h 606722"/>
                  <a:gd name="connsiteX31" fmla="*/ 467699 w 518162"/>
                  <a:gd name="connsiteY31" fmla="*/ 606722 h 606722"/>
                  <a:gd name="connsiteX32" fmla="*/ 445449 w 518162"/>
                  <a:gd name="connsiteY32" fmla="*/ 584415 h 606722"/>
                  <a:gd name="connsiteX33" fmla="*/ 445449 w 518162"/>
                  <a:gd name="connsiteY33" fmla="*/ 389875 h 606722"/>
                  <a:gd name="connsiteX34" fmla="*/ 72714 w 518162"/>
                  <a:gd name="connsiteY34" fmla="*/ 389875 h 606722"/>
                  <a:gd name="connsiteX35" fmla="*/ 72714 w 518162"/>
                  <a:gd name="connsiteY35" fmla="*/ 584415 h 606722"/>
                  <a:gd name="connsiteX36" fmla="*/ 50375 w 518162"/>
                  <a:gd name="connsiteY36" fmla="*/ 606722 h 606722"/>
                  <a:gd name="connsiteX37" fmla="*/ 28124 w 518162"/>
                  <a:gd name="connsiteY37" fmla="*/ 584415 h 606722"/>
                  <a:gd name="connsiteX38" fmla="*/ 28124 w 518162"/>
                  <a:gd name="connsiteY38" fmla="*/ 389875 h 606722"/>
                  <a:gd name="connsiteX39" fmla="*/ 10947 w 518162"/>
                  <a:gd name="connsiteY39" fmla="*/ 389875 h 606722"/>
                  <a:gd name="connsiteX40" fmla="*/ 0 w 518162"/>
                  <a:gd name="connsiteY40" fmla="*/ 378944 h 606722"/>
                  <a:gd name="connsiteX41" fmla="*/ 0 w 518162"/>
                  <a:gd name="connsiteY41" fmla="*/ 339396 h 606722"/>
                  <a:gd name="connsiteX42" fmla="*/ 10947 w 518162"/>
                  <a:gd name="connsiteY42" fmla="*/ 328465 h 606722"/>
                  <a:gd name="connsiteX43" fmla="*/ 286048 w 518162"/>
                  <a:gd name="connsiteY43" fmla="*/ 328465 h 606722"/>
                  <a:gd name="connsiteX44" fmla="*/ 283823 w 518162"/>
                  <a:gd name="connsiteY44" fmla="*/ 320644 h 606722"/>
                  <a:gd name="connsiteX45" fmla="*/ 298687 w 518162"/>
                  <a:gd name="connsiteY45" fmla="*/ 305803 h 606722"/>
                  <a:gd name="connsiteX46" fmla="*/ 333130 w 518162"/>
                  <a:gd name="connsiteY46" fmla="*/ 305803 h 606722"/>
                  <a:gd name="connsiteX47" fmla="*/ 333130 w 518162"/>
                  <a:gd name="connsiteY47" fmla="*/ 270343 h 606722"/>
                  <a:gd name="connsiteX48" fmla="*/ 265667 w 518162"/>
                  <a:gd name="connsiteY48" fmla="*/ 270343 h 606722"/>
                  <a:gd name="connsiteX49" fmla="*/ 253385 w 518162"/>
                  <a:gd name="connsiteY49" fmla="*/ 257990 h 606722"/>
                  <a:gd name="connsiteX50" fmla="*/ 253385 w 518162"/>
                  <a:gd name="connsiteY50" fmla="*/ 149744 h 606722"/>
                  <a:gd name="connsiteX51" fmla="*/ 265667 w 518162"/>
                  <a:gd name="connsiteY51" fmla="*/ 137391 h 606722"/>
                  <a:gd name="connsiteX52" fmla="*/ 134071 w 518162"/>
                  <a:gd name="connsiteY52" fmla="*/ 119961 h 606722"/>
                  <a:gd name="connsiteX53" fmla="*/ 261429 w 518162"/>
                  <a:gd name="connsiteY53" fmla="*/ 119961 h 606722"/>
                  <a:gd name="connsiteX54" fmla="*/ 235530 w 518162"/>
                  <a:gd name="connsiteY54" fmla="*/ 149734 h 606722"/>
                  <a:gd name="connsiteX55" fmla="*/ 235530 w 518162"/>
                  <a:gd name="connsiteY55" fmla="*/ 257983 h 606722"/>
                  <a:gd name="connsiteX56" fmla="*/ 265256 w 518162"/>
                  <a:gd name="connsiteY56" fmla="*/ 288112 h 606722"/>
                  <a:gd name="connsiteX57" fmla="*/ 265256 w 518162"/>
                  <a:gd name="connsiteY57" fmla="*/ 310064 h 606722"/>
                  <a:gd name="connsiteX58" fmla="*/ 189785 w 518162"/>
                  <a:gd name="connsiteY58" fmla="*/ 310064 h 606722"/>
                  <a:gd name="connsiteX59" fmla="*/ 197439 w 518162"/>
                  <a:gd name="connsiteY59" fmla="*/ 298333 h 606722"/>
                  <a:gd name="connsiteX60" fmla="*/ 174922 w 518162"/>
                  <a:gd name="connsiteY60" fmla="*/ 240297 h 606722"/>
                  <a:gd name="connsiteX61" fmla="*/ 132825 w 518162"/>
                  <a:gd name="connsiteY61" fmla="*/ 221811 h 606722"/>
                  <a:gd name="connsiteX62" fmla="*/ 130244 w 518162"/>
                  <a:gd name="connsiteY62" fmla="*/ 174708 h 606722"/>
                  <a:gd name="connsiteX63" fmla="*/ 128553 w 518162"/>
                  <a:gd name="connsiteY63" fmla="*/ 172753 h 606722"/>
                  <a:gd name="connsiteX64" fmla="*/ 127663 w 518162"/>
                  <a:gd name="connsiteY64" fmla="*/ 173908 h 606722"/>
                  <a:gd name="connsiteX65" fmla="*/ 102298 w 518162"/>
                  <a:gd name="connsiteY65" fmla="*/ 229188 h 606722"/>
                  <a:gd name="connsiteX66" fmla="*/ 167268 w 518162"/>
                  <a:gd name="connsiteY66" fmla="*/ 257717 h 606722"/>
                  <a:gd name="connsiteX67" fmla="*/ 180084 w 518162"/>
                  <a:gd name="connsiteY67" fmla="*/ 290600 h 606722"/>
                  <a:gd name="connsiteX68" fmla="*/ 147065 w 518162"/>
                  <a:gd name="connsiteY68" fmla="*/ 303398 h 606722"/>
                  <a:gd name="connsiteX69" fmla="*/ 59578 w 518162"/>
                  <a:gd name="connsiteY69" fmla="*/ 264916 h 606722"/>
                  <a:gd name="connsiteX70" fmla="*/ 46495 w 518162"/>
                  <a:gd name="connsiteY70" fmla="*/ 232832 h 606722"/>
                  <a:gd name="connsiteX71" fmla="*/ 82718 w 518162"/>
                  <a:gd name="connsiteY71" fmla="*/ 152045 h 606722"/>
                  <a:gd name="connsiteX72" fmla="*/ 134071 w 518162"/>
                  <a:gd name="connsiteY72" fmla="*/ 119961 h 606722"/>
                  <a:gd name="connsiteX73" fmla="*/ 198757 w 518162"/>
                  <a:gd name="connsiteY73" fmla="*/ 0 h 606722"/>
                  <a:gd name="connsiteX74" fmla="*/ 250578 w 518162"/>
                  <a:gd name="connsiteY74" fmla="*/ 51725 h 606722"/>
                  <a:gd name="connsiteX75" fmla="*/ 198757 w 518162"/>
                  <a:gd name="connsiteY75" fmla="*/ 103449 h 606722"/>
                  <a:gd name="connsiteX76" fmla="*/ 146847 w 518162"/>
                  <a:gd name="connsiteY76" fmla="*/ 51725 h 606722"/>
                  <a:gd name="connsiteX77" fmla="*/ 198757 w 518162"/>
                  <a:gd name="connsiteY77" fmla="*/ 0 h 606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518162" h="606722">
                    <a:moveTo>
                      <a:pt x="242883" y="408292"/>
                    </a:moveTo>
                    <a:lnTo>
                      <a:pt x="303572" y="408292"/>
                    </a:lnTo>
                    <a:lnTo>
                      <a:pt x="287021" y="514954"/>
                    </a:lnTo>
                    <a:cubicBezTo>
                      <a:pt x="284529" y="531309"/>
                      <a:pt x="269134" y="542508"/>
                      <a:pt x="252760" y="540019"/>
                    </a:cubicBezTo>
                    <a:cubicBezTo>
                      <a:pt x="236476" y="537442"/>
                      <a:pt x="225174" y="522153"/>
                      <a:pt x="227755" y="505799"/>
                    </a:cubicBezTo>
                    <a:close/>
                    <a:moveTo>
                      <a:pt x="90606" y="408292"/>
                    </a:moveTo>
                    <a:lnTo>
                      <a:pt x="151310" y="408292"/>
                    </a:lnTo>
                    <a:lnTo>
                      <a:pt x="166353" y="505799"/>
                    </a:lnTo>
                    <a:cubicBezTo>
                      <a:pt x="168934" y="522153"/>
                      <a:pt x="157719" y="537442"/>
                      <a:pt x="141341" y="540019"/>
                    </a:cubicBezTo>
                    <a:cubicBezTo>
                      <a:pt x="124964" y="542508"/>
                      <a:pt x="109654" y="531309"/>
                      <a:pt x="107073" y="514954"/>
                    </a:cubicBezTo>
                    <a:close/>
                    <a:moveTo>
                      <a:pt x="357338" y="183515"/>
                    </a:moveTo>
                    <a:cubicBezTo>
                      <a:pt x="346035" y="183515"/>
                      <a:pt x="336868" y="192580"/>
                      <a:pt x="336868" y="203867"/>
                    </a:cubicBezTo>
                    <a:cubicBezTo>
                      <a:pt x="336868" y="215154"/>
                      <a:pt x="346035" y="224219"/>
                      <a:pt x="357338" y="224219"/>
                    </a:cubicBezTo>
                    <a:cubicBezTo>
                      <a:pt x="368552" y="224219"/>
                      <a:pt x="377719" y="215154"/>
                      <a:pt x="377719" y="203867"/>
                    </a:cubicBezTo>
                    <a:cubicBezTo>
                      <a:pt x="377719" y="192580"/>
                      <a:pt x="368552" y="183515"/>
                      <a:pt x="357338" y="183515"/>
                    </a:cubicBezTo>
                    <a:close/>
                    <a:moveTo>
                      <a:pt x="265667" y="137391"/>
                    </a:moveTo>
                    <a:lnTo>
                      <a:pt x="448920" y="137391"/>
                    </a:lnTo>
                    <a:cubicBezTo>
                      <a:pt x="455773" y="137391"/>
                      <a:pt x="461291" y="142901"/>
                      <a:pt x="461291" y="149744"/>
                    </a:cubicBezTo>
                    <a:lnTo>
                      <a:pt x="461291" y="257990"/>
                    </a:lnTo>
                    <a:cubicBezTo>
                      <a:pt x="461291" y="264833"/>
                      <a:pt x="455773" y="270343"/>
                      <a:pt x="448920" y="270343"/>
                    </a:cubicBezTo>
                    <a:lnTo>
                      <a:pt x="381546" y="270343"/>
                    </a:lnTo>
                    <a:lnTo>
                      <a:pt x="381546" y="305803"/>
                    </a:lnTo>
                    <a:lnTo>
                      <a:pt x="415989" y="305803"/>
                    </a:lnTo>
                    <a:cubicBezTo>
                      <a:pt x="424178" y="305803"/>
                      <a:pt x="430853" y="312468"/>
                      <a:pt x="430853" y="320644"/>
                    </a:cubicBezTo>
                    <a:cubicBezTo>
                      <a:pt x="430853" y="323488"/>
                      <a:pt x="429963" y="326243"/>
                      <a:pt x="428539" y="328465"/>
                    </a:cubicBezTo>
                    <a:lnTo>
                      <a:pt x="507215" y="328465"/>
                    </a:lnTo>
                    <a:cubicBezTo>
                      <a:pt x="513267" y="328465"/>
                      <a:pt x="518162" y="333442"/>
                      <a:pt x="518162" y="339396"/>
                    </a:cubicBezTo>
                    <a:lnTo>
                      <a:pt x="518162" y="378944"/>
                    </a:lnTo>
                    <a:cubicBezTo>
                      <a:pt x="518162" y="384987"/>
                      <a:pt x="513267" y="389875"/>
                      <a:pt x="507215" y="389875"/>
                    </a:cubicBezTo>
                    <a:lnTo>
                      <a:pt x="489949" y="389875"/>
                    </a:lnTo>
                    <a:lnTo>
                      <a:pt x="489949" y="584415"/>
                    </a:lnTo>
                    <a:cubicBezTo>
                      <a:pt x="489949" y="596768"/>
                      <a:pt x="479981" y="606722"/>
                      <a:pt x="467699" y="606722"/>
                    </a:cubicBezTo>
                    <a:cubicBezTo>
                      <a:pt x="455417" y="606722"/>
                      <a:pt x="445449" y="596768"/>
                      <a:pt x="445449" y="584415"/>
                    </a:cubicBezTo>
                    <a:lnTo>
                      <a:pt x="445449" y="389875"/>
                    </a:lnTo>
                    <a:lnTo>
                      <a:pt x="72714" y="389875"/>
                    </a:lnTo>
                    <a:lnTo>
                      <a:pt x="72714" y="584415"/>
                    </a:lnTo>
                    <a:cubicBezTo>
                      <a:pt x="72714" y="596768"/>
                      <a:pt x="62746" y="606722"/>
                      <a:pt x="50375" y="606722"/>
                    </a:cubicBezTo>
                    <a:cubicBezTo>
                      <a:pt x="38092" y="606722"/>
                      <a:pt x="28124" y="596768"/>
                      <a:pt x="28124" y="584415"/>
                    </a:cubicBezTo>
                    <a:lnTo>
                      <a:pt x="28124" y="389875"/>
                    </a:lnTo>
                    <a:lnTo>
                      <a:pt x="10947" y="389875"/>
                    </a:lnTo>
                    <a:cubicBezTo>
                      <a:pt x="4895" y="389875"/>
                      <a:pt x="0" y="384987"/>
                      <a:pt x="0" y="378944"/>
                    </a:cubicBezTo>
                    <a:lnTo>
                      <a:pt x="0" y="339396"/>
                    </a:lnTo>
                    <a:cubicBezTo>
                      <a:pt x="0" y="333442"/>
                      <a:pt x="4895" y="328465"/>
                      <a:pt x="10947" y="328465"/>
                    </a:cubicBezTo>
                    <a:lnTo>
                      <a:pt x="286048" y="328465"/>
                    </a:lnTo>
                    <a:cubicBezTo>
                      <a:pt x="284624" y="326243"/>
                      <a:pt x="283823" y="323488"/>
                      <a:pt x="283823" y="320644"/>
                    </a:cubicBezTo>
                    <a:cubicBezTo>
                      <a:pt x="283823" y="312379"/>
                      <a:pt x="290498" y="305803"/>
                      <a:pt x="298687" y="305803"/>
                    </a:cubicBezTo>
                    <a:lnTo>
                      <a:pt x="333130" y="305803"/>
                    </a:lnTo>
                    <a:lnTo>
                      <a:pt x="333130" y="270343"/>
                    </a:lnTo>
                    <a:lnTo>
                      <a:pt x="265667" y="270343"/>
                    </a:lnTo>
                    <a:cubicBezTo>
                      <a:pt x="258903" y="270343"/>
                      <a:pt x="253385" y="264833"/>
                      <a:pt x="253385" y="257990"/>
                    </a:cubicBezTo>
                    <a:lnTo>
                      <a:pt x="253385" y="149744"/>
                    </a:lnTo>
                    <a:cubicBezTo>
                      <a:pt x="253385" y="142901"/>
                      <a:pt x="258903" y="137391"/>
                      <a:pt x="265667" y="137391"/>
                    </a:cubicBezTo>
                    <a:close/>
                    <a:moveTo>
                      <a:pt x="134071" y="119961"/>
                    </a:moveTo>
                    <a:lnTo>
                      <a:pt x="261429" y="119961"/>
                    </a:lnTo>
                    <a:cubicBezTo>
                      <a:pt x="246833" y="122005"/>
                      <a:pt x="235530" y="134536"/>
                      <a:pt x="235530" y="149734"/>
                    </a:cubicBezTo>
                    <a:lnTo>
                      <a:pt x="235530" y="257983"/>
                    </a:lnTo>
                    <a:cubicBezTo>
                      <a:pt x="235530" y="274425"/>
                      <a:pt x="248791" y="287845"/>
                      <a:pt x="265256" y="288112"/>
                    </a:cubicBezTo>
                    <a:lnTo>
                      <a:pt x="265256" y="310064"/>
                    </a:lnTo>
                    <a:lnTo>
                      <a:pt x="189785" y="310064"/>
                    </a:lnTo>
                    <a:cubicBezTo>
                      <a:pt x="192900" y="306687"/>
                      <a:pt x="195481" y="302776"/>
                      <a:pt x="197439" y="298333"/>
                    </a:cubicBezTo>
                    <a:cubicBezTo>
                      <a:pt x="207318" y="276025"/>
                      <a:pt x="197172" y="250074"/>
                      <a:pt x="174922" y="240297"/>
                    </a:cubicBezTo>
                    <a:lnTo>
                      <a:pt x="132825" y="221811"/>
                    </a:lnTo>
                    <a:lnTo>
                      <a:pt x="130244" y="174708"/>
                    </a:lnTo>
                    <a:cubicBezTo>
                      <a:pt x="130155" y="173730"/>
                      <a:pt x="129532" y="172930"/>
                      <a:pt x="128553" y="172753"/>
                    </a:cubicBezTo>
                    <a:cubicBezTo>
                      <a:pt x="127663" y="172575"/>
                      <a:pt x="128108" y="173019"/>
                      <a:pt x="127663" y="173908"/>
                    </a:cubicBezTo>
                    <a:cubicBezTo>
                      <a:pt x="119030" y="191594"/>
                      <a:pt x="109685" y="212213"/>
                      <a:pt x="102298" y="229188"/>
                    </a:cubicBezTo>
                    <a:lnTo>
                      <a:pt x="167268" y="257717"/>
                    </a:lnTo>
                    <a:cubicBezTo>
                      <a:pt x="179906" y="263316"/>
                      <a:pt x="185602" y="277980"/>
                      <a:pt x="180084" y="290600"/>
                    </a:cubicBezTo>
                    <a:cubicBezTo>
                      <a:pt x="174477" y="303221"/>
                      <a:pt x="159703" y="308997"/>
                      <a:pt x="147065" y="303398"/>
                    </a:cubicBezTo>
                    <a:lnTo>
                      <a:pt x="59578" y="264916"/>
                    </a:lnTo>
                    <a:cubicBezTo>
                      <a:pt x="47296" y="259494"/>
                      <a:pt x="41422" y="245274"/>
                      <a:pt x="46495" y="232832"/>
                    </a:cubicBezTo>
                    <a:cubicBezTo>
                      <a:pt x="53170" y="216035"/>
                      <a:pt x="68834" y="180485"/>
                      <a:pt x="82718" y="152045"/>
                    </a:cubicBezTo>
                    <a:cubicBezTo>
                      <a:pt x="92241" y="132581"/>
                      <a:pt x="112355" y="119961"/>
                      <a:pt x="134071" y="119961"/>
                    </a:cubicBezTo>
                    <a:close/>
                    <a:moveTo>
                      <a:pt x="198757" y="0"/>
                    </a:moveTo>
                    <a:cubicBezTo>
                      <a:pt x="227339" y="0"/>
                      <a:pt x="250578" y="23107"/>
                      <a:pt x="250578" y="51725"/>
                    </a:cubicBezTo>
                    <a:cubicBezTo>
                      <a:pt x="250578" y="80342"/>
                      <a:pt x="227339" y="103449"/>
                      <a:pt x="198757" y="103449"/>
                    </a:cubicBezTo>
                    <a:cubicBezTo>
                      <a:pt x="170087" y="103449"/>
                      <a:pt x="146847" y="80253"/>
                      <a:pt x="146847" y="51725"/>
                    </a:cubicBezTo>
                    <a:cubicBezTo>
                      <a:pt x="146847" y="23196"/>
                      <a:pt x="169998" y="0"/>
                      <a:pt x="19875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i="1"/>
              </a:p>
            </p:txBody>
          </p:sp>
        </p:grpSp>
        <p:grpSp>
          <p:nvGrpSpPr>
            <p:cNvPr id="13" name="ïṡlîḋè">
              <a:extLst>
                <a:ext uri="{FF2B5EF4-FFF2-40B4-BE49-F238E27FC236}">
                  <a16:creationId xmlns:a16="http://schemas.microsoft.com/office/drawing/2014/main" xmlns="" id="{50C28AB2-7299-4CBF-8C97-8533FFB2B521}"/>
                </a:ext>
              </a:extLst>
            </p:cNvPr>
            <p:cNvGrpSpPr/>
            <p:nvPr/>
          </p:nvGrpSpPr>
          <p:grpSpPr>
            <a:xfrm>
              <a:off x="8239125" y="3184281"/>
              <a:ext cx="3279775" cy="908538"/>
              <a:chOff x="-342900" y="4659981"/>
              <a:chExt cx="2195910" cy="908538"/>
            </a:xfrm>
          </p:grpSpPr>
          <p:sp>
            <p:nvSpPr>
              <p:cNvPr id="20" name="íṩľíde">
                <a:extLst>
                  <a:ext uri="{FF2B5EF4-FFF2-40B4-BE49-F238E27FC236}">
                    <a16:creationId xmlns:a16="http://schemas.microsoft.com/office/drawing/2014/main" xmlns="" id="{C8D7199E-A925-45EB-8EF7-0136073278B6}"/>
                  </a:ext>
                </a:extLst>
              </p:cNvPr>
              <p:cNvSpPr/>
              <p:nvPr/>
            </p:nvSpPr>
            <p:spPr bwMode="auto">
              <a:xfrm>
                <a:off x="-342900" y="5011120"/>
                <a:ext cx="2195910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/>
              <a:p>
                <a:pPr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….</a:t>
                </a:r>
              </a:p>
            </p:txBody>
          </p:sp>
          <p:sp>
            <p:nvSpPr>
              <p:cNvPr id="21" name="ï$ḻïḍe">
                <a:extLst>
                  <a:ext uri="{FF2B5EF4-FFF2-40B4-BE49-F238E27FC236}">
                    <a16:creationId xmlns:a16="http://schemas.microsoft.com/office/drawing/2014/main" xmlns="" id="{6B53CD89-261B-42EC-AF49-B21BFB7F66EE}"/>
                  </a:ext>
                </a:extLst>
              </p:cNvPr>
              <p:cNvSpPr txBox="1"/>
              <p:nvPr/>
            </p:nvSpPr>
            <p:spPr bwMode="auto">
              <a:xfrm>
                <a:off x="-342900" y="4659981"/>
                <a:ext cx="2195910" cy="3511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 lnSpcReduction="10000"/>
              </a:bodyPr>
              <a:lstStyle/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Text here</a:t>
                </a:r>
                <a:endParaRPr lang="zh-CN" altLang="en-US" sz="1800" b="1" dirty="0"/>
              </a:p>
            </p:txBody>
          </p:sp>
        </p:grpSp>
        <p:grpSp>
          <p:nvGrpSpPr>
            <p:cNvPr id="14" name="iš1íḍê">
              <a:extLst>
                <a:ext uri="{FF2B5EF4-FFF2-40B4-BE49-F238E27FC236}">
                  <a16:creationId xmlns:a16="http://schemas.microsoft.com/office/drawing/2014/main" xmlns="" id="{5AC27F2B-DCA1-49E0-97CF-8AEA3C656838}"/>
                </a:ext>
              </a:extLst>
            </p:cNvPr>
            <p:cNvGrpSpPr/>
            <p:nvPr/>
          </p:nvGrpSpPr>
          <p:grpSpPr>
            <a:xfrm>
              <a:off x="6936460" y="4605293"/>
              <a:ext cx="1160205" cy="1160205"/>
              <a:chOff x="1440535" y="2881262"/>
              <a:chExt cx="1160205" cy="1160205"/>
            </a:xfrm>
          </p:grpSpPr>
          <p:sp>
            <p:nvSpPr>
              <p:cNvPr id="18" name="išľiḑê">
                <a:extLst>
                  <a:ext uri="{FF2B5EF4-FFF2-40B4-BE49-F238E27FC236}">
                    <a16:creationId xmlns:a16="http://schemas.microsoft.com/office/drawing/2014/main" xmlns="" id="{DC5B3F36-D763-49B4-9E8C-CFEC8C869791}"/>
                  </a:ext>
                </a:extLst>
              </p:cNvPr>
              <p:cNvSpPr/>
              <p:nvPr/>
            </p:nvSpPr>
            <p:spPr>
              <a:xfrm>
                <a:off x="1440535" y="2881262"/>
                <a:ext cx="1160205" cy="1160205"/>
              </a:xfrm>
              <a:prstGeom prst="ellipse">
                <a:avLst/>
              </a:prstGeom>
              <a:noFill/>
              <a:ln w="317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id-ID" sz="2400"/>
              </a:p>
            </p:txBody>
          </p:sp>
          <p:sp>
            <p:nvSpPr>
              <p:cNvPr id="19" name="îśḷîḓê">
                <a:extLst>
                  <a:ext uri="{FF2B5EF4-FFF2-40B4-BE49-F238E27FC236}">
                    <a16:creationId xmlns:a16="http://schemas.microsoft.com/office/drawing/2014/main" xmlns="" id="{A98638E2-93A9-42D6-8D16-08F6B292E220}"/>
                  </a:ext>
                </a:extLst>
              </p:cNvPr>
              <p:cNvSpPr/>
              <p:nvPr/>
            </p:nvSpPr>
            <p:spPr bwMode="auto">
              <a:xfrm>
                <a:off x="1779496" y="3208701"/>
                <a:ext cx="482281" cy="505326"/>
              </a:xfrm>
              <a:custGeom>
                <a:avLst/>
                <a:gdLst>
                  <a:gd name="connsiteX0" fmla="*/ 345269 w 578992"/>
                  <a:gd name="connsiteY0" fmla="*/ 346719 h 606657"/>
                  <a:gd name="connsiteX1" fmla="*/ 527264 w 578992"/>
                  <a:gd name="connsiteY1" fmla="*/ 395415 h 606657"/>
                  <a:gd name="connsiteX2" fmla="*/ 536965 w 578992"/>
                  <a:gd name="connsiteY2" fmla="*/ 431758 h 606657"/>
                  <a:gd name="connsiteX3" fmla="*/ 512135 w 578992"/>
                  <a:gd name="connsiteY3" fmla="*/ 456550 h 606657"/>
                  <a:gd name="connsiteX4" fmla="*/ 572652 w 578992"/>
                  <a:gd name="connsiteY4" fmla="*/ 516975 h 606657"/>
                  <a:gd name="connsiteX5" fmla="*/ 572652 w 578992"/>
                  <a:gd name="connsiteY5" fmla="*/ 547632 h 606657"/>
                  <a:gd name="connsiteX6" fmla="*/ 519877 w 578992"/>
                  <a:gd name="connsiteY6" fmla="*/ 600326 h 606657"/>
                  <a:gd name="connsiteX7" fmla="*/ 489174 w 578992"/>
                  <a:gd name="connsiteY7" fmla="*/ 600326 h 606657"/>
                  <a:gd name="connsiteX8" fmla="*/ 428657 w 578992"/>
                  <a:gd name="connsiteY8" fmla="*/ 539901 h 606657"/>
                  <a:gd name="connsiteX9" fmla="*/ 403739 w 578992"/>
                  <a:gd name="connsiteY9" fmla="*/ 564782 h 606657"/>
                  <a:gd name="connsiteX10" fmla="*/ 366628 w 578992"/>
                  <a:gd name="connsiteY10" fmla="*/ 552075 h 606657"/>
                  <a:gd name="connsiteX11" fmla="*/ 318659 w 578992"/>
                  <a:gd name="connsiteY11" fmla="*/ 373288 h 606657"/>
                  <a:gd name="connsiteX12" fmla="*/ 345269 w 578992"/>
                  <a:gd name="connsiteY12" fmla="*/ 346719 h 606657"/>
                  <a:gd name="connsiteX13" fmla="*/ 233275 w 578992"/>
                  <a:gd name="connsiteY13" fmla="*/ 312148 h 606657"/>
                  <a:gd name="connsiteX14" fmla="*/ 255262 w 578992"/>
                  <a:gd name="connsiteY14" fmla="*/ 334095 h 606657"/>
                  <a:gd name="connsiteX15" fmla="*/ 281255 w 578992"/>
                  <a:gd name="connsiteY15" fmla="*/ 357464 h 606657"/>
                  <a:gd name="connsiteX16" fmla="*/ 289000 w 578992"/>
                  <a:gd name="connsiteY16" fmla="*/ 365016 h 606657"/>
                  <a:gd name="connsiteX17" fmla="*/ 300127 w 578992"/>
                  <a:gd name="connsiteY17" fmla="*/ 416019 h 606657"/>
                  <a:gd name="connsiteX18" fmla="*/ 298791 w 578992"/>
                  <a:gd name="connsiteY18" fmla="*/ 422416 h 606657"/>
                  <a:gd name="connsiteX19" fmla="*/ 260514 w 578992"/>
                  <a:gd name="connsiteY19" fmla="*/ 407844 h 606657"/>
                  <a:gd name="connsiteX20" fmla="*/ 260514 w 578992"/>
                  <a:gd name="connsiteY20" fmla="*/ 398159 h 606657"/>
                  <a:gd name="connsiteX21" fmla="*/ 211822 w 578992"/>
                  <a:gd name="connsiteY21" fmla="*/ 335339 h 606657"/>
                  <a:gd name="connsiteX22" fmla="*/ 233275 w 578992"/>
                  <a:gd name="connsiteY22" fmla="*/ 312148 h 606657"/>
                  <a:gd name="connsiteX23" fmla="*/ 283295 w 578992"/>
                  <a:gd name="connsiteY23" fmla="*/ 133638 h 606657"/>
                  <a:gd name="connsiteX24" fmla="*/ 303944 w 578992"/>
                  <a:gd name="connsiteY24" fmla="*/ 155858 h 606657"/>
                  <a:gd name="connsiteX25" fmla="*/ 303944 w 578992"/>
                  <a:gd name="connsiteY25" fmla="*/ 165457 h 606657"/>
                  <a:gd name="connsiteX26" fmla="*/ 352630 w 578992"/>
                  <a:gd name="connsiteY26" fmla="*/ 228294 h 606657"/>
                  <a:gd name="connsiteX27" fmla="*/ 331180 w 578992"/>
                  <a:gd name="connsiteY27" fmla="*/ 251580 h 606657"/>
                  <a:gd name="connsiteX28" fmla="*/ 309196 w 578992"/>
                  <a:gd name="connsiteY28" fmla="*/ 229538 h 606657"/>
                  <a:gd name="connsiteX29" fmla="*/ 283206 w 578992"/>
                  <a:gd name="connsiteY29" fmla="*/ 206252 h 606657"/>
                  <a:gd name="connsiteX30" fmla="*/ 256327 w 578992"/>
                  <a:gd name="connsiteY30" fmla="*/ 240648 h 606657"/>
                  <a:gd name="connsiteX31" fmla="*/ 282583 w 578992"/>
                  <a:gd name="connsiteY31" fmla="*/ 260112 h 606657"/>
                  <a:gd name="connsiteX32" fmla="*/ 348625 w 578992"/>
                  <a:gd name="connsiteY32" fmla="*/ 307306 h 606657"/>
                  <a:gd name="connsiteX33" fmla="*/ 341594 w 578992"/>
                  <a:gd name="connsiteY33" fmla="*/ 317083 h 606657"/>
                  <a:gd name="connsiteX34" fmla="*/ 316494 w 578992"/>
                  <a:gd name="connsiteY34" fmla="*/ 322594 h 606657"/>
                  <a:gd name="connsiteX35" fmla="*/ 306792 w 578992"/>
                  <a:gd name="connsiteY35" fmla="*/ 319305 h 606657"/>
                  <a:gd name="connsiteX36" fmla="*/ 282227 w 578992"/>
                  <a:gd name="connsiteY36" fmla="*/ 303485 h 606657"/>
                  <a:gd name="connsiteX37" fmla="*/ 211825 w 578992"/>
                  <a:gd name="connsiteY37" fmla="*/ 234604 h 606657"/>
                  <a:gd name="connsiteX38" fmla="*/ 260510 w 578992"/>
                  <a:gd name="connsiteY38" fmla="*/ 166612 h 606657"/>
                  <a:gd name="connsiteX39" fmla="*/ 260510 w 578992"/>
                  <a:gd name="connsiteY39" fmla="*/ 155236 h 606657"/>
                  <a:gd name="connsiteX40" fmla="*/ 283295 w 578992"/>
                  <a:gd name="connsiteY40" fmla="*/ 133638 h 606657"/>
                  <a:gd name="connsiteX41" fmla="*/ 282248 w 578992"/>
                  <a:gd name="connsiteY41" fmla="*/ 0 h 606657"/>
                  <a:gd name="connsiteX42" fmla="*/ 551768 w 578992"/>
                  <a:gd name="connsiteY42" fmla="*/ 365640 h 606657"/>
                  <a:gd name="connsiteX43" fmla="*/ 541888 w 578992"/>
                  <a:gd name="connsiteY43" fmla="*/ 369995 h 606657"/>
                  <a:gd name="connsiteX44" fmla="*/ 534768 w 578992"/>
                  <a:gd name="connsiteY44" fmla="*/ 367507 h 606657"/>
                  <a:gd name="connsiteX45" fmla="*/ 487148 w 578992"/>
                  <a:gd name="connsiteY45" fmla="*/ 354797 h 606657"/>
                  <a:gd name="connsiteX46" fmla="*/ 482163 w 578992"/>
                  <a:gd name="connsiteY46" fmla="*/ 345554 h 606657"/>
                  <a:gd name="connsiteX47" fmla="*/ 282248 w 578992"/>
                  <a:gd name="connsiteY47" fmla="*/ 72257 h 606657"/>
                  <a:gd name="connsiteX48" fmla="*/ 72364 w 578992"/>
                  <a:gd name="connsiteY48" fmla="*/ 281829 h 606657"/>
                  <a:gd name="connsiteX49" fmla="*/ 313134 w 578992"/>
                  <a:gd name="connsiteY49" fmla="*/ 489180 h 606657"/>
                  <a:gd name="connsiteX50" fmla="*/ 321145 w 578992"/>
                  <a:gd name="connsiteY50" fmla="*/ 494423 h 606657"/>
                  <a:gd name="connsiteX51" fmla="*/ 336277 w 578992"/>
                  <a:gd name="connsiteY51" fmla="*/ 550771 h 606657"/>
                  <a:gd name="connsiteX52" fmla="*/ 330580 w 578992"/>
                  <a:gd name="connsiteY52" fmla="*/ 559748 h 606657"/>
                  <a:gd name="connsiteX53" fmla="*/ 0 w 578992"/>
                  <a:gd name="connsiteY53" fmla="*/ 281829 h 606657"/>
                  <a:gd name="connsiteX54" fmla="*/ 282248 w 578992"/>
                  <a:gd name="connsiteY54" fmla="*/ 0 h 606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578992" h="606657">
                    <a:moveTo>
                      <a:pt x="345269" y="346719"/>
                    </a:moveTo>
                    <a:lnTo>
                      <a:pt x="527264" y="395415"/>
                    </a:lnTo>
                    <a:cubicBezTo>
                      <a:pt x="543372" y="399769"/>
                      <a:pt x="548801" y="419940"/>
                      <a:pt x="536965" y="431758"/>
                    </a:cubicBezTo>
                    <a:lnTo>
                      <a:pt x="512135" y="456550"/>
                    </a:lnTo>
                    <a:lnTo>
                      <a:pt x="572652" y="516975"/>
                    </a:lnTo>
                    <a:cubicBezTo>
                      <a:pt x="581106" y="525506"/>
                      <a:pt x="581106" y="539190"/>
                      <a:pt x="572652" y="547632"/>
                    </a:cubicBezTo>
                    <a:lnTo>
                      <a:pt x="519877" y="600326"/>
                    </a:lnTo>
                    <a:cubicBezTo>
                      <a:pt x="511334" y="608768"/>
                      <a:pt x="497629" y="608768"/>
                      <a:pt x="489174" y="600326"/>
                    </a:cubicBezTo>
                    <a:lnTo>
                      <a:pt x="428657" y="539901"/>
                    </a:lnTo>
                    <a:lnTo>
                      <a:pt x="403739" y="564782"/>
                    </a:lnTo>
                    <a:cubicBezTo>
                      <a:pt x="393148" y="575357"/>
                      <a:pt x="372501" y="574024"/>
                      <a:pt x="366628" y="552075"/>
                    </a:cubicBezTo>
                    <a:cubicBezTo>
                      <a:pt x="366005" y="549854"/>
                      <a:pt x="319015" y="374799"/>
                      <a:pt x="318659" y="373288"/>
                    </a:cubicBezTo>
                    <a:cubicBezTo>
                      <a:pt x="314298" y="357205"/>
                      <a:pt x="329071" y="342454"/>
                      <a:pt x="345269" y="346719"/>
                    </a:cubicBezTo>
                    <a:close/>
                    <a:moveTo>
                      <a:pt x="233275" y="312148"/>
                    </a:moveTo>
                    <a:cubicBezTo>
                      <a:pt x="245470" y="311970"/>
                      <a:pt x="255440" y="321922"/>
                      <a:pt x="255262" y="334095"/>
                    </a:cubicBezTo>
                    <a:cubicBezTo>
                      <a:pt x="255084" y="345646"/>
                      <a:pt x="263986" y="357464"/>
                      <a:pt x="281255" y="357464"/>
                    </a:cubicBezTo>
                    <a:cubicBezTo>
                      <a:pt x="286329" y="357464"/>
                      <a:pt x="289267" y="361195"/>
                      <a:pt x="289000" y="365016"/>
                    </a:cubicBezTo>
                    <a:cubicBezTo>
                      <a:pt x="288465" y="375412"/>
                      <a:pt x="290068" y="378611"/>
                      <a:pt x="300127" y="416019"/>
                    </a:cubicBezTo>
                    <a:cubicBezTo>
                      <a:pt x="300750" y="418240"/>
                      <a:pt x="300305" y="420639"/>
                      <a:pt x="298791" y="422416"/>
                    </a:cubicBezTo>
                    <a:cubicBezTo>
                      <a:pt x="285706" y="437788"/>
                      <a:pt x="260514" y="428458"/>
                      <a:pt x="260514" y="407844"/>
                    </a:cubicBezTo>
                    <a:lnTo>
                      <a:pt x="260514" y="398159"/>
                    </a:lnTo>
                    <a:cubicBezTo>
                      <a:pt x="232919" y="390340"/>
                      <a:pt x="212534" y="365283"/>
                      <a:pt x="211822" y="335339"/>
                    </a:cubicBezTo>
                    <a:cubicBezTo>
                      <a:pt x="211555" y="323077"/>
                      <a:pt x="220902" y="312237"/>
                      <a:pt x="233275" y="312148"/>
                    </a:cubicBezTo>
                    <a:close/>
                    <a:moveTo>
                      <a:pt x="283295" y="133638"/>
                    </a:moveTo>
                    <a:cubicBezTo>
                      <a:pt x="294955" y="134171"/>
                      <a:pt x="303944" y="144215"/>
                      <a:pt x="303944" y="155858"/>
                    </a:cubicBezTo>
                    <a:lnTo>
                      <a:pt x="303944" y="165457"/>
                    </a:lnTo>
                    <a:cubicBezTo>
                      <a:pt x="331536" y="173367"/>
                      <a:pt x="351918" y="198430"/>
                      <a:pt x="352630" y="228294"/>
                    </a:cubicBezTo>
                    <a:cubicBezTo>
                      <a:pt x="352897" y="240648"/>
                      <a:pt x="343552" y="251402"/>
                      <a:pt x="331180" y="251580"/>
                    </a:cubicBezTo>
                    <a:cubicBezTo>
                      <a:pt x="318987" y="251757"/>
                      <a:pt x="309018" y="241803"/>
                      <a:pt x="309196" y="229538"/>
                    </a:cubicBezTo>
                    <a:cubicBezTo>
                      <a:pt x="309374" y="218073"/>
                      <a:pt x="300473" y="206252"/>
                      <a:pt x="283206" y="206252"/>
                    </a:cubicBezTo>
                    <a:cubicBezTo>
                      <a:pt x="265583" y="206252"/>
                      <a:pt x="251076" y="222783"/>
                      <a:pt x="256327" y="240648"/>
                    </a:cubicBezTo>
                    <a:cubicBezTo>
                      <a:pt x="259709" y="252202"/>
                      <a:pt x="270568" y="260112"/>
                      <a:pt x="282583" y="260112"/>
                    </a:cubicBezTo>
                    <a:cubicBezTo>
                      <a:pt x="312845" y="260290"/>
                      <a:pt x="339013" y="280021"/>
                      <a:pt x="348625" y="307306"/>
                    </a:cubicBezTo>
                    <a:cubicBezTo>
                      <a:pt x="350405" y="312106"/>
                      <a:pt x="346756" y="317350"/>
                      <a:pt x="341594" y="317083"/>
                    </a:cubicBezTo>
                    <a:cubicBezTo>
                      <a:pt x="332960" y="316728"/>
                      <a:pt x="324327" y="318594"/>
                      <a:pt x="316494" y="322594"/>
                    </a:cubicBezTo>
                    <a:cubicBezTo>
                      <a:pt x="312934" y="324460"/>
                      <a:pt x="308484" y="322949"/>
                      <a:pt x="306792" y="319305"/>
                    </a:cubicBezTo>
                    <a:cubicBezTo>
                      <a:pt x="302520" y="310062"/>
                      <a:pt x="293086" y="303485"/>
                      <a:pt x="282227" y="303485"/>
                    </a:cubicBezTo>
                    <a:cubicBezTo>
                      <a:pt x="244133" y="303485"/>
                      <a:pt x="212537" y="272555"/>
                      <a:pt x="211825" y="234604"/>
                    </a:cubicBezTo>
                    <a:cubicBezTo>
                      <a:pt x="211202" y="203141"/>
                      <a:pt x="231673" y="176300"/>
                      <a:pt x="260510" y="166612"/>
                    </a:cubicBezTo>
                    <a:lnTo>
                      <a:pt x="260510" y="155236"/>
                    </a:lnTo>
                    <a:cubicBezTo>
                      <a:pt x="260510" y="142970"/>
                      <a:pt x="270835" y="133016"/>
                      <a:pt x="283295" y="133638"/>
                    </a:cubicBezTo>
                    <a:close/>
                    <a:moveTo>
                      <a:pt x="282248" y="0"/>
                    </a:moveTo>
                    <a:cubicBezTo>
                      <a:pt x="471126" y="0"/>
                      <a:pt x="608556" y="183353"/>
                      <a:pt x="551768" y="365640"/>
                    </a:cubicBezTo>
                    <a:cubicBezTo>
                      <a:pt x="550522" y="369729"/>
                      <a:pt x="545894" y="371773"/>
                      <a:pt x="541888" y="369995"/>
                    </a:cubicBezTo>
                    <a:cubicBezTo>
                      <a:pt x="539574" y="369018"/>
                      <a:pt x="537260" y="368218"/>
                      <a:pt x="534768" y="367507"/>
                    </a:cubicBezTo>
                    <a:lnTo>
                      <a:pt x="487148" y="354797"/>
                    </a:lnTo>
                    <a:cubicBezTo>
                      <a:pt x="483142" y="353731"/>
                      <a:pt x="480917" y="349554"/>
                      <a:pt x="482163" y="345554"/>
                    </a:cubicBezTo>
                    <a:cubicBezTo>
                      <a:pt x="525600" y="210372"/>
                      <a:pt x="423773" y="72257"/>
                      <a:pt x="282248" y="72257"/>
                    </a:cubicBezTo>
                    <a:cubicBezTo>
                      <a:pt x="166536" y="72257"/>
                      <a:pt x="72364" y="166289"/>
                      <a:pt x="72364" y="281829"/>
                    </a:cubicBezTo>
                    <a:cubicBezTo>
                      <a:pt x="72364" y="410257"/>
                      <a:pt x="187453" y="507933"/>
                      <a:pt x="313134" y="489180"/>
                    </a:cubicBezTo>
                    <a:cubicBezTo>
                      <a:pt x="316784" y="488646"/>
                      <a:pt x="320255" y="490957"/>
                      <a:pt x="321145" y="494423"/>
                    </a:cubicBezTo>
                    <a:lnTo>
                      <a:pt x="336277" y="550771"/>
                    </a:lnTo>
                    <a:cubicBezTo>
                      <a:pt x="337345" y="554860"/>
                      <a:pt x="334764" y="559037"/>
                      <a:pt x="330580" y="559748"/>
                    </a:cubicBezTo>
                    <a:cubicBezTo>
                      <a:pt x="163332" y="589433"/>
                      <a:pt x="0" y="461006"/>
                      <a:pt x="0" y="281829"/>
                    </a:cubicBezTo>
                    <a:cubicBezTo>
                      <a:pt x="0" y="126472"/>
                      <a:pt x="126571" y="0"/>
                      <a:pt x="282248" y="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i="1"/>
              </a:p>
            </p:txBody>
          </p:sp>
        </p:grpSp>
        <p:grpSp>
          <p:nvGrpSpPr>
            <p:cNvPr id="15" name="íş1iḑé">
              <a:extLst>
                <a:ext uri="{FF2B5EF4-FFF2-40B4-BE49-F238E27FC236}">
                  <a16:creationId xmlns:a16="http://schemas.microsoft.com/office/drawing/2014/main" xmlns="" id="{F7DFAD94-5F13-434C-947D-2D15D2CE07CA}"/>
                </a:ext>
              </a:extLst>
            </p:cNvPr>
            <p:cNvGrpSpPr/>
            <p:nvPr/>
          </p:nvGrpSpPr>
          <p:grpSpPr>
            <a:xfrm>
              <a:off x="8239125" y="4731126"/>
              <a:ext cx="3279775" cy="908538"/>
              <a:chOff x="-342900" y="4659981"/>
              <a:chExt cx="2195910" cy="908538"/>
            </a:xfrm>
          </p:grpSpPr>
          <p:sp>
            <p:nvSpPr>
              <p:cNvPr id="16" name="iṩlíďè">
                <a:extLst>
                  <a:ext uri="{FF2B5EF4-FFF2-40B4-BE49-F238E27FC236}">
                    <a16:creationId xmlns:a16="http://schemas.microsoft.com/office/drawing/2014/main" xmlns="" id="{F92CB6DC-5781-4743-805B-5EF7B22897F1}"/>
                  </a:ext>
                </a:extLst>
              </p:cNvPr>
              <p:cNvSpPr/>
              <p:nvPr/>
            </p:nvSpPr>
            <p:spPr bwMode="auto">
              <a:xfrm>
                <a:off x="-342900" y="5011120"/>
                <a:ext cx="2195910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/>
              <a:p>
                <a:pPr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….</a:t>
                </a:r>
              </a:p>
            </p:txBody>
          </p:sp>
          <p:sp>
            <p:nvSpPr>
              <p:cNvPr id="17" name="îş1íďe">
                <a:extLst>
                  <a:ext uri="{FF2B5EF4-FFF2-40B4-BE49-F238E27FC236}">
                    <a16:creationId xmlns:a16="http://schemas.microsoft.com/office/drawing/2014/main" xmlns="" id="{C18A7EE9-7B1E-4DBE-BFFC-4D832A16F79C}"/>
                  </a:ext>
                </a:extLst>
              </p:cNvPr>
              <p:cNvSpPr txBox="1"/>
              <p:nvPr/>
            </p:nvSpPr>
            <p:spPr bwMode="auto">
              <a:xfrm>
                <a:off x="-342900" y="4659981"/>
                <a:ext cx="2195910" cy="3511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 lnSpcReduction="10000"/>
              </a:bodyPr>
              <a:lstStyle/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/>
                  <a:t>Text here</a:t>
                </a:r>
                <a:endParaRPr lang="zh-CN" altLang="en-US" sz="1800" b="1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83138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3d09a1d7-7c63-43a4-b3ee-df21fa2c8d6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120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565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208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99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3478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892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635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63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754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643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7558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3476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362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648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6496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92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750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642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641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2" val="iSlide，让PPT设计简单起来！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308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563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53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087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1249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2021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70C5A"/>
      </a:accent1>
      <a:accent2>
        <a:srgbClr val="4F5DCB"/>
      </a:accent2>
      <a:accent3>
        <a:srgbClr val="265989"/>
      </a:accent3>
      <a:accent4>
        <a:srgbClr val="41E7DF"/>
      </a:accent4>
      <a:accent5>
        <a:srgbClr val="757579"/>
      </a:accent5>
      <a:accent6>
        <a:srgbClr val="5C5E60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70C5A"/>
    </a:accent1>
    <a:accent2>
      <a:srgbClr val="4F5DCB"/>
    </a:accent2>
    <a:accent3>
      <a:srgbClr val="265989"/>
    </a:accent3>
    <a:accent4>
      <a:srgbClr val="41E7DF"/>
    </a:accent4>
    <a:accent5>
      <a:srgbClr val="757579"/>
    </a:accent5>
    <a:accent6>
      <a:srgbClr val="5C5E60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70C5A"/>
    </a:accent1>
    <a:accent2>
      <a:srgbClr val="4F5DCB"/>
    </a:accent2>
    <a:accent3>
      <a:srgbClr val="265989"/>
    </a:accent3>
    <a:accent4>
      <a:srgbClr val="41E7DF"/>
    </a:accent4>
    <a:accent5>
      <a:srgbClr val="757579"/>
    </a:accent5>
    <a:accent6>
      <a:srgbClr val="5C5E60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70C5A"/>
    </a:accent1>
    <a:accent2>
      <a:srgbClr val="4F5DCB"/>
    </a:accent2>
    <a:accent3>
      <a:srgbClr val="265989"/>
    </a:accent3>
    <a:accent4>
      <a:srgbClr val="41E7DF"/>
    </a:accent4>
    <a:accent5>
      <a:srgbClr val="757579"/>
    </a:accent5>
    <a:accent6>
      <a:srgbClr val="5C5E60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70C5A"/>
    </a:accent1>
    <a:accent2>
      <a:srgbClr val="4F5DCB"/>
    </a:accent2>
    <a:accent3>
      <a:srgbClr val="265989"/>
    </a:accent3>
    <a:accent4>
      <a:srgbClr val="41E7DF"/>
    </a:accent4>
    <a:accent5>
      <a:srgbClr val="757579"/>
    </a:accent5>
    <a:accent6>
      <a:srgbClr val="5C5E60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70C5A"/>
    </a:accent1>
    <a:accent2>
      <a:srgbClr val="4F5DCB"/>
    </a:accent2>
    <a:accent3>
      <a:srgbClr val="265989"/>
    </a:accent3>
    <a:accent4>
      <a:srgbClr val="41E7DF"/>
    </a:accent4>
    <a:accent5>
      <a:srgbClr val="757579"/>
    </a:accent5>
    <a:accent6>
      <a:srgbClr val="5C5E60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70C5A"/>
    </a:accent1>
    <a:accent2>
      <a:srgbClr val="4F5DCB"/>
    </a:accent2>
    <a:accent3>
      <a:srgbClr val="265989"/>
    </a:accent3>
    <a:accent4>
      <a:srgbClr val="41E7DF"/>
    </a:accent4>
    <a:accent5>
      <a:srgbClr val="757579"/>
    </a:accent5>
    <a:accent6>
      <a:srgbClr val="5C5E60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70C5A"/>
    </a:accent1>
    <a:accent2>
      <a:srgbClr val="4F5DCB"/>
    </a:accent2>
    <a:accent3>
      <a:srgbClr val="265989"/>
    </a:accent3>
    <a:accent4>
      <a:srgbClr val="41E7DF"/>
    </a:accent4>
    <a:accent5>
      <a:srgbClr val="757579"/>
    </a:accent5>
    <a:accent6>
      <a:srgbClr val="5C5E60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0</TotalTime>
  <Words>2565</Words>
  <Application>Microsoft Office PowerPoint</Application>
  <PresentationFormat>宽屏</PresentationFormat>
  <Paragraphs>441</Paragraphs>
  <Slides>3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4</vt:i4>
      </vt:variant>
    </vt:vector>
  </HeadingPairs>
  <TitlesOfParts>
    <vt:vector size="41" baseType="lpstr">
      <vt:lpstr>宋体</vt:lpstr>
      <vt:lpstr>微软雅黑</vt:lpstr>
      <vt:lpstr>Arial</vt:lpstr>
      <vt:lpstr>Calibri</vt:lpstr>
      <vt:lpstr>Impact</vt:lpstr>
      <vt:lpstr>主题5</vt:lpstr>
      <vt:lpstr>think-cell Slide</vt:lpstr>
      <vt:lpstr>大气科技视觉通用PPT模板</vt:lpstr>
      <vt:lpstr>PowerPoint 演示文稿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PowerPoint 演示文稿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Thanks And Your Slogan Here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ww.51pptmoban.com</dc:title>
  <dc:creator>iSlide</dc:creator>
  <cp:keywords>51PPT模板网</cp:keywords>
  <cp:lastModifiedBy>阳光 男孩</cp:lastModifiedBy>
  <cp:revision>7</cp:revision>
  <cp:lastPrinted>2018-09-20T16:00:00Z</cp:lastPrinted>
  <dcterms:created xsi:type="dcterms:W3CDTF">2018-09-20T16:00:00Z</dcterms:created>
  <dcterms:modified xsi:type="dcterms:W3CDTF">2019-11-27T12:5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